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wdp" ContentType="image/vnd.ms-photo"/>
  <Default Extension="xlsb" ContentType="application/vnd.ms-excel.sheet.binary.macroEnabled.12"/>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heme/theme2.xml" ContentType="application/vnd.openxmlformats-officedocument.theme+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3.xml" ContentType="application/vnd.openxmlformats-officedocument.theme+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theme/theme4.xml" ContentType="application/vnd.openxmlformats-officedocument.theme+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theme/theme5.xml" ContentType="application/vnd.openxmlformats-officedocument.theme+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theme/theme6.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theme/theme7.xml" ContentType="application/vnd.openxmlformats-officedocument.theme+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heme/theme8.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266.xml" ContentType="application/vnd.openxmlformats-officedocument.presentationml.tags+xml"/>
  <Override PartName="/ppt/notesSlides/notesSlide5.xml" ContentType="application/vnd.openxmlformats-officedocument.presentationml.notesSlide+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charts/chart1.xml" ContentType="application/vnd.openxmlformats-officedocument.drawingml.chart+xml"/>
  <Override PartName="/ppt/charts/chart2.xml" ContentType="application/vnd.openxmlformats-officedocument.drawingml.chart+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charts/chart3.xml" ContentType="application/vnd.openxmlformats-officedocument.drawingml.chart+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charts/chart4.xml" ContentType="application/vnd.openxmlformats-officedocument.drawingml.chart+xml"/>
  <Override PartName="/ppt/charts/chart5.xml" ContentType="application/vnd.openxmlformats-officedocument.drawingml.chart+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tags/tag419.xml" ContentType="application/vnd.openxmlformats-officedocument.presentationml.tags+xml"/>
  <Override PartName="/ppt/tags/tag420.xml" ContentType="application/vnd.openxmlformats-officedocument.presentationml.tags+xml"/>
  <Override PartName="/ppt/tags/tag421.xml" ContentType="application/vnd.openxmlformats-officedocument.presentationml.tags+xml"/>
  <Override PartName="/ppt/tags/tag422.xml" ContentType="application/vnd.openxmlformats-officedocument.presentationml.tags+xml"/>
  <Override PartName="/ppt/tags/tag423.xml" ContentType="application/vnd.openxmlformats-officedocument.presentationml.tags+xml"/>
  <Override PartName="/ppt/tags/tag424.xml" ContentType="application/vnd.openxmlformats-officedocument.presentationml.tags+xml"/>
  <Override PartName="/ppt/tags/tag425.xml" ContentType="application/vnd.openxmlformats-officedocument.presentationml.tags+xml"/>
  <Override PartName="/ppt/tags/tag426.xml" ContentType="application/vnd.openxmlformats-officedocument.presentationml.tags+xml"/>
  <Override PartName="/ppt/tags/tag427.xml" ContentType="application/vnd.openxmlformats-officedocument.presentationml.tags+xml"/>
  <Override PartName="/ppt/tags/tag428.xml" ContentType="application/vnd.openxmlformats-officedocument.presentationml.tags+xml"/>
  <Override PartName="/ppt/tags/tag429.xml" ContentType="application/vnd.openxmlformats-officedocument.presentationml.tags+xml"/>
  <Override PartName="/ppt/tags/tag430.xml" ContentType="application/vnd.openxmlformats-officedocument.presentationml.tags+xml"/>
  <Override PartName="/ppt/charts/chart6.xml" ContentType="application/vnd.openxmlformats-officedocument.drawingml.chart+xml"/>
  <Override PartName="/ppt/tags/tag431.xml" ContentType="application/vnd.openxmlformats-officedocument.presentationml.tags+xml"/>
  <Override PartName="/ppt/tags/tag432.xml" ContentType="application/vnd.openxmlformats-officedocument.presentationml.tags+xml"/>
  <Override PartName="/ppt/tags/tag433.xml" ContentType="application/vnd.openxmlformats-officedocument.presentationml.tags+xml"/>
  <Override PartName="/ppt/tags/tag434.xml" ContentType="application/vnd.openxmlformats-officedocument.presentationml.tags+xml"/>
  <Override PartName="/ppt/tags/tag435.xml" ContentType="application/vnd.openxmlformats-officedocument.presentationml.tags+xml"/>
  <Override PartName="/ppt/tags/tag436.xml" ContentType="application/vnd.openxmlformats-officedocument.presentationml.tags+xml"/>
  <Override PartName="/ppt/tags/tag437.xml" ContentType="application/vnd.openxmlformats-officedocument.presentationml.tags+xml"/>
  <Override PartName="/ppt/tags/tag438.xml" ContentType="application/vnd.openxmlformats-officedocument.presentationml.tags+xml"/>
  <Override PartName="/ppt/tags/tag439.xml" ContentType="application/vnd.openxmlformats-officedocument.presentationml.tags+xml"/>
  <Override PartName="/ppt/tags/tag440.xml" ContentType="application/vnd.openxmlformats-officedocument.presentationml.tags+xml"/>
  <Override PartName="/ppt/tags/tag441.xml" ContentType="application/vnd.openxmlformats-officedocument.presentationml.tags+xml"/>
  <Override PartName="/ppt/tags/tag442.xml" ContentType="application/vnd.openxmlformats-officedocument.presentationml.tags+xml"/>
  <Override PartName="/ppt/tags/tag443.xml" ContentType="application/vnd.openxmlformats-officedocument.presentationml.tags+xml"/>
  <Override PartName="/ppt/tags/tag444.xml" ContentType="application/vnd.openxmlformats-officedocument.presentationml.tags+xml"/>
  <Override PartName="/ppt/tags/tag445.xml" ContentType="application/vnd.openxmlformats-officedocument.presentationml.tags+xml"/>
  <Override PartName="/ppt/tags/tag446.xml" ContentType="application/vnd.openxmlformats-officedocument.presentationml.tags+xml"/>
  <Override PartName="/ppt/tags/tag447.xml" ContentType="application/vnd.openxmlformats-officedocument.presentationml.tags+xml"/>
  <Override PartName="/ppt/tags/tag448.xml" ContentType="application/vnd.openxmlformats-officedocument.presentationml.tags+xml"/>
  <Override PartName="/ppt/tags/tag449.xml" ContentType="application/vnd.openxmlformats-officedocument.presentationml.tags+xml"/>
  <Override PartName="/ppt/tags/tag450.xml" ContentType="application/vnd.openxmlformats-officedocument.presentationml.tags+xml"/>
  <Override PartName="/ppt/tags/tag451.xml" ContentType="application/vnd.openxmlformats-officedocument.presentationml.tags+xml"/>
  <Override PartName="/ppt/tags/tag452.xml" ContentType="application/vnd.openxmlformats-officedocument.presentationml.tags+xml"/>
  <Override PartName="/ppt/tags/tag453.xml" ContentType="application/vnd.openxmlformats-officedocument.presentationml.tags+xml"/>
  <Override PartName="/ppt/tags/tag454.xml" ContentType="application/vnd.openxmlformats-officedocument.presentationml.tags+xml"/>
  <Override PartName="/ppt/tags/tag455.xml" ContentType="application/vnd.openxmlformats-officedocument.presentationml.tags+xml"/>
  <Override PartName="/ppt/tags/tag456.xml" ContentType="application/vnd.openxmlformats-officedocument.presentationml.tags+xml"/>
  <Override PartName="/ppt/tags/tag457.xml" ContentType="application/vnd.openxmlformats-officedocument.presentationml.tags+xml"/>
  <Override PartName="/ppt/tags/tag458.xml" ContentType="application/vnd.openxmlformats-officedocument.presentationml.tags+xml"/>
  <Override PartName="/ppt/tags/tag459.xml" ContentType="application/vnd.openxmlformats-officedocument.presentationml.tags+xml"/>
  <Override PartName="/ppt/tags/tag460.xml" ContentType="application/vnd.openxmlformats-officedocument.presentationml.tags+xml"/>
  <Override PartName="/ppt/tags/tag461.xml" ContentType="application/vnd.openxmlformats-officedocument.presentationml.tags+xml"/>
  <Override PartName="/ppt/tags/tag462.xml" ContentType="application/vnd.openxmlformats-officedocument.presentationml.tags+xml"/>
  <Override PartName="/ppt/tags/tag463.xml" ContentType="application/vnd.openxmlformats-officedocument.presentationml.tags+xml"/>
  <Override PartName="/ppt/tags/tag464.xml" ContentType="application/vnd.openxmlformats-officedocument.presentationml.tags+xml"/>
  <Override PartName="/ppt/tags/tag465.xml" ContentType="application/vnd.openxmlformats-officedocument.presentationml.tags+xml"/>
  <Override PartName="/ppt/tags/tag466.xml" ContentType="application/vnd.openxmlformats-officedocument.presentationml.tags+xml"/>
  <Override PartName="/ppt/tags/tag467.xml" ContentType="application/vnd.openxmlformats-officedocument.presentationml.tags+xml"/>
  <Override PartName="/ppt/tags/tag468.xml" ContentType="application/vnd.openxmlformats-officedocument.presentationml.tags+xml"/>
  <Override PartName="/ppt/tags/tag469.xml" ContentType="application/vnd.openxmlformats-officedocument.presentationml.tags+xml"/>
  <Override PartName="/ppt/tags/tag470.xml" ContentType="application/vnd.openxmlformats-officedocument.presentationml.tags+xml"/>
  <Override PartName="/ppt/charts/chart7.xml" ContentType="application/vnd.openxmlformats-officedocument.drawingml.chart+xml"/>
  <Override PartName="/ppt/charts/chart8.xml" ContentType="application/vnd.openxmlformats-officedocument.drawingml.chart+xml"/>
  <Override PartName="/ppt/charts/chart9.xml" ContentType="application/vnd.openxmlformats-officedocument.drawingml.chart+xml"/>
  <Override PartName="/ppt/charts/chart10.xml" ContentType="application/vnd.openxmlformats-officedocument.drawingml.chart+xml"/>
  <Override PartName="/ppt/charts/chart11.xml" ContentType="application/vnd.openxmlformats-officedocument.drawingml.chart+xml"/>
  <Override PartName="/ppt/charts/chart12.xml" ContentType="application/vnd.openxmlformats-officedocument.drawingml.chart+xml"/>
  <Override PartName="/ppt/tags/tag471.xml" ContentType="application/vnd.openxmlformats-officedocument.presentationml.tags+xml"/>
  <Override PartName="/ppt/tags/tag472.xml" ContentType="application/vnd.openxmlformats-officedocument.presentationml.tags+xml"/>
  <Override PartName="/ppt/tags/tag473.xml" ContentType="application/vnd.openxmlformats-officedocument.presentationml.tags+xml"/>
  <Override PartName="/ppt/tags/tag474.xml" ContentType="application/vnd.openxmlformats-officedocument.presentationml.tags+xml"/>
  <Override PartName="/ppt/tags/tag475.xml" ContentType="application/vnd.openxmlformats-officedocument.presentationml.tags+xml"/>
  <Override PartName="/ppt/tags/tag476.xml" ContentType="application/vnd.openxmlformats-officedocument.presentationml.tags+xml"/>
  <Override PartName="/ppt/tags/tag477.xml" ContentType="application/vnd.openxmlformats-officedocument.presentationml.tags+xml"/>
  <Override PartName="/ppt/tags/tag478.xml" ContentType="application/vnd.openxmlformats-officedocument.presentationml.tags+xml"/>
  <Override PartName="/ppt/tags/tag479.xml" ContentType="application/vnd.openxmlformats-officedocument.presentationml.tags+xml"/>
  <Override PartName="/ppt/tags/tag480.xml" ContentType="application/vnd.openxmlformats-officedocument.presentationml.tags+xml"/>
  <Override PartName="/ppt/tags/tag481.xml" ContentType="application/vnd.openxmlformats-officedocument.presentationml.tags+xml"/>
  <Override PartName="/ppt/tags/tag482.xml" ContentType="application/vnd.openxmlformats-officedocument.presentationml.tags+xml"/>
  <Override PartName="/ppt/tags/tag483.xml" ContentType="application/vnd.openxmlformats-officedocument.presentationml.tags+xml"/>
  <Override PartName="/ppt/tags/tag484.xml" ContentType="application/vnd.openxmlformats-officedocument.presentationml.tags+xml"/>
  <Override PartName="/ppt/tags/tag485.xml" ContentType="application/vnd.openxmlformats-officedocument.presentationml.tags+xml"/>
  <Override PartName="/ppt/tags/tag486.xml" ContentType="application/vnd.openxmlformats-officedocument.presentationml.tags+xml"/>
  <Override PartName="/ppt/tags/tag487.xml" ContentType="application/vnd.openxmlformats-officedocument.presentationml.tags+xml"/>
  <Override PartName="/ppt/tags/tag488.xml" ContentType="application/vnd.openxmlformats-officedocument.presentationml.tags+xml"/>
  <Override PartName="/ppt/tags/tag489.xml" ContentType="application/vnd.openxmlformats-officedocument.presentationml.tags+xml"/>
  <Override PartName="/ppt/tags/tag490.xml" ContentType="application/vnd.openxmlformats-officedocument.presentationml.tags+xml"/>
  <Override PartName="/ppt/tags/tag491.xml" ContentType="application/vnd.openxmlformats-officedocument.presentationml.tags+xml"/>
  <Override PartName="/ppt/tags/tag492.xml" ContentType="application/vnd.openxmlformats-officedocument.presentationml.tags+xml"/>
  <Override PartName="/ppt/tags/tag493.xml" ContentType="application/vnd.openxmlformats-officedocument.presentationml.tags+xml"/>
  <Override PartName="/ppt/tags/tag494.xml" ContentType="application/vnd.openxmlformats-officedocument.presentationml.tags+xml"/>
  <Override PartName="/ppt/tags/tag495.xml" ContentType="application/vnd.openxmlformats-officedocument.presentationml.tags+xml"/>
  <Override PartName="/ppt/tags/tag496.xml" ContentType="application/vnd.openxmlformats-officedocument.presentationml.tags+xml"/>
  <Override PartName="/ppt/tags/tag497.xml" ContentType="application/vnd.openxmlformats-officedocument.presentationml.tags+xml"/>
  <Override PartName="/ppt/tags/tag498.xml" ContentType="application/vnd.openxmlformats-officedocument.presentationml.tags+xml"/>
  <Override PartName="/ppt/tags/tag499.xml" ContentType="application/vnd.openxmlformats-officedocument.presentationml.tags+xml"/>
  <Override PartName="/ppt/tags/tag500.xml" ContentType="application/vnd.openxmlformats-officedocument.presentationml.tags+xml"/>
  <Override PartName="/ppt/tags/tag501.xml" ContentType="application/vnd.openxmlformats-officedocument.presentationml.tags+xml"/>
  <Override PartName="/ppt/tags/tag502.xml" ContentType="application/vnd.openxmlformats-officedocument.presentationml.tags+xml"/>
  <Override PartName="/ppt/tags/tag503.xml" ContentType="application/vnd.openxmlformats-officedocument.presentationml.tags+xml"/>
  <Override PartName="/ppt/tags/tag504.xml" ContentType="application/vnd.openxmlformats-officedocument.presentationml.tags+xml"/>
  <Override PartName="/ppt/tags/tag505.xml" ContentType="application/vnd.openxmlformats-officedocument.presentationml.tags+xml"/>
  <Override PartName="/ppt/tags/tag506.xml" ContentType="application/vnd.openxmlformats-officedocument.presentationml.tags+xml"/>
  <Override PartName="/ppt/tags/tag507.xml" ContentType="application/vnd.openxmlformats-officedocument.presentationml.tags+xml"/>
  <Override PartName="/ppt/tags/tag508.xml" ContentType="application/vnd.openxmlformats-officedocument.presentationml.tags+xml"/>
  <Override PartName="/ppt/tags/tag509.xml" ContentType="application/vnd.openxmlformats-officedocument.presentationml.tags+xml"/>
  <Override PartName="/ppt/tags/tag510.xml" ContentType="application/vnd.openxmlformats-officedocument.presentationml.tags+xml"/>
  <Override PartName="/ppt/tags/tag511.xml" ContentType="application/vnd.openxmlformats-officedocument.presentationml.tags+xml"/>
  <Override PartName="/ppt/tags/tag512.xml" ContentType="application/vnd.openxmlformats-officedocument.presentationml.tags+xml"/>
  <Override PartName="/ppt/tags/tag513.xml" ContentType="application/vnd.openxmlformats-officedocument.presentationml.tags+xml"/>
  <Override PartName="/ppt/tags/tag514.xml" ContentType="application/vnd.openxmlformats-officedocument.presentationml.tags+xml"/>
  <Override PartName="/ppt/tags/tag515.xml" ContentType="application/vnd.openxmlformats-officedocument.presentationml.tags+xml"/>
  <Override PartName="/ppt/tags/tag516.xml" ContentType="application/vnd.openxmlformats-officedocument.presentationml.tags+xml"/>
  <Override PartName="/ppt/tags/tag517.xml" ContentType="application/vnd.openxmlformats-officedocument.presentationml.tags+xml"/>
  <Override PartName="/ppt/tags/tag518.xml" ContentType="application/vnd.openxmlformats-officedocument.presentationml.tags+xml"/>
  <Override PartName="/ppt/tags/tag519.xml" ContentType="application/vnd.openxmlformats-officedocument.presentationml.tags+xml"/>
  <Override PartName="/ppt/tags/tag520.xml" ContentType="application/vnd.openxmlformats-officedocument.presentationml.tags+xml"/>
  <Override PartName="/ppt/tags/tag521.xml" ContentType="application/vnd.openxmlformats-officedocument.presentationml.tags+xml"/>
  <Override PartName="/ppt/tags/tag522.xml" ContentType="application/vnd.openxmlformats-officedocument.presentationml.tags+xml"/>
  <Override PartName="/ppt/tags/tag523.xml" ContentType="application/vnd.openxmlformats-officedocument.presentationml.tags+xml"/>
  <Override PartName="/ppt/tags/tag524.xml" ContentType="application/vnd.openxmlformats-officedocument.presentationml.tags+xml"/>
  <Override PartName="/ppt/tags/tag525.xml" ContentType="application/vnd.openxmlformats-officedocument.presentationml.tags+xml"/>
  <Override PartName="/ppt/tags/tag526.xml" ContentType="application/vnd.openxmlformats-officedocument.presentationml.tags+xml"/>
  <Override PartName="/ppt/charts/chart13.xml" ContentType="application/vnd.openxmlformats-officedocument.drawingml.chart+xml"/>
  <Override PartName="/ppt/tags/tag527.xml" ContentType="application/vnd.openxmlformats-officedocument.presentationml.tags+xml"/>
  <Override PartName="/ppt/tags/tag528.xml" ContentType="application/vnd.openxmlformats-officedocument.presentationml.tags+xml"/>
  <Override PartName="/ppt/tags/tag529.xml" ContentType="application/vnd.openxmlformats-officedocument.presentationml.tags+xml"/>
  <Override PartName="/ppt/tags/tag530.xml" ContentType="application/vnd.openxmlformats-officedocument.presentationml.tags+xml"/>
  <Override PartName="/ppt/tags/tag531.xml" ContentType="application/vnd.openxmlformats-officedocument.presentationml.tags+xml"/>
  <Override PartName="/ppt/tags/tag532.xml" ContentType="application/vnd.openxmlformats-officedocument.presentationml.tags+xml"/>
  <Override PartName="/ppt/tags/tag533.xml" ContentType="application/vnd.openxmlformats-officedocument.presentationml.tags+xml"/>
  <Override PartName="/ppt/tags/tag534.xml" ContentType="application/vnd.openxmlformats-officedocument.presentationml.tags+xml"/>
  <Override PartName="/ppt/tags/tag535.xml" ContentType="application/vnd.openxmlformats-officedocument.presentationml.tags+xml"/>
  <Override PartName="/ppt/tags/tag536.xml" ContentType="application/vnd.openxmlformats-officedocument.presentationml.tags+xml"/>
  <Override PartName="/ppt/tags/tag537.xml" ContentType="application/vnd.openxmlformats-officedocument.presentationml.tags+xml"/>
  <Override PartName="/ppt/tags/tag538.xml" ContentType="application/vnd.openxmlformats-officedocument.presentationml.tags+xml"/>
  <Override PartName="/ppt/tags/tag539.xml" ContentType="application/vnd.openxmlformats-officedocument.presentationml.tags+xml"/>
  <Override PartName="/ppt/tags/tag540.xml" ContentType="application/vnd.openxmlformats-officedocument.presentationml.tags+xml"/>
  <Override PartName="/ppt/tags/tag541.xml" ContentType="application/vnd.openxmlformats-officedocument.presentationml.tags+xml"/>
  <Override PartName="/ppt/tags/tag542.xml" ContentType="application/vnd.openxmlformats-officedocument.presentationml.tags+xml"/>
  <Override PartName="/ppt/tags/tag543.xml" ContentType="application/vnd.openxmlformats-officedocument.presentationml.tags+xml"/>
  <Override PartName="/ppt/tags/tag544.xml" ContentType="application/vnd.openxmlformats-officedocument.presentationml.tags+xml"/>
  <Override PartName="/ppt/tags/tag545.xml" ContentType="application/vnd.openxmlformats-officedocument.presentationml.tags+xml"/>
  <Override PartName="/ppt/tags/tag546.xml" ContentType="application/vnd.openxmlformats-officedocument.presentationml.tags+xml"/>
  <Override PartName="/ppt/tags/tag547.xml" ContentType="application/vnd.openxmlformats-officedocument.presentationml.tags+xml"/>
  <Override PartName="/ppt/tags/tag548.xml" ContentType="application/vnd.openxmlformats-officedocument.presentationml.tags+xml"/>
  <Override PartName="/ppt/tags/tag549.xml" ContentType="application/vnd.openxmlformats-officedocument.presentationml.tags+xml"/>
  <Override PartName="/ppt/tags/tag550.xml" ContentType="application/vnd.openxmlformats-officedocument.presentationml.tags+xml"/>
  <Override PartName="/ppt/tags/tag551.xml" ContentType="application/vnd.openxmlformats-officedocument.presentationml.tags+xml"/>
  <Override PartName="/ppt/tags/tag552.xml" ContentType="application/vnd.openxmlformats-officedocument.presentationml.tags+xml"/>
  <Override PartName="/ppt/tags/tag553.xml" ContentType="application/vnd.openxmlformats-officedocument.presentationml.tags+xml"/>
  <Override PartName="/ppt/tags/tag554.xml" ContentType="application/vnd.openxmlformats-officedocument.presentationml.tags+xml"/>
  <Override PartName="/ppt/tags/tag555.xml" ContentType="application/vnd.openxmlformats-officedocument.presentationml.tags+xml"/>
  <Override PartName="/ppt/tags/tag556.xml" ContentType="application/vnd.openxmlformats-officedocument.presentationml.tags+xml"/>
  <Override PartName="/ppt/tags/tag557.xml" ContentType="application/vnd.openxmlformats-officedocument.presentationml.tags+xml"/>
  <Override PartName="/ppt/tags/tag558.xml" ContentType="application/vnd.openxmlformats-officedocument.presentationml.tags+xml"/>
  <Override PartName="/ppt/tags/tag559.xml" ContentType="application/vnd.openxmlformats-officedocument.presentationml.tags+xml"/>
  <Override PartName="/ppt/tags/tag560.xml" ContentType="application/vnd.openxmlformats-officedocument.presentationml.tags+xml"/>
  <Override PartName="/ppt/tags/tag561.xml" ContentType="application/vnd.openxmlformats-officedocument.presentationml.tags+xml"/>
  <Override PartName="/ppt/tags/tag562.xml" ContentType="application/vnd.openxmlformats-officedocument.presentationml.tags+xml"/>
  <Override PartName="/ppt/tags/tag563.xml" ContentType="application/vnd.openxmlformats-officedocument.presentationml.tags+xml"/>
  <Override PartName="/ppt/tags/tag564.xml" ContentType="application/vnd.openxmlformats-officedocument.presentationml.tags+xml"/>
  <Override PartName="/ppt/tags/tag565.xml" ContentType="application/vnd.openxmlformats-officedocument.presentationml.tags+xml"/>
  <Override PartName="/ppt/tags/tag566.xml" ContentType="application/vnd.openxmlformats-officedocument.presentationml.tags+xml"/>
  <Override PartName="/ppt/tags/tag567.xml" ContentType="application/vnd.openxmlformats-officedocument.presentationml.tags+xml"/>
  <Override PartName="/ppt/tags/tag568.xml" ContentType="application/vnd.openxmlformats-officedocument.presentationml.tags+xml"/>
  <Override PartName="/ppt/tags/tag569.xml" ContentType="application/vnd.openxmlformats-officedocument.presentationml.tags+xml"/>
  <Override PartName="/ppt/tags/tag570.xml" ContentType="application/vnd.openxmlformats-officedocument.presentationml.tags+xml"/>
  <Override PartName="/ppt/tags/tag571.xml" ContentType="application/vnd.openxmlformats-officedocument.presentationml.tags+xml"/>
  <Override PartName="/ppt/tags/tag572.xml" ContentType="application/vnd.openxmlformats-officedocument.presentationml.tags+xml"/>
  <Override PartName="/ppt/tags/tag573.xml" ContentType="application/vnd.openxmlformats-officedocument.presentationml.tags+xml"/>
  <Override PartName="/ppt/tags/tag574.xml" ContentType="application/vnd.openxmlformats-officedocument.presentationml.tags+xml"/>
  <Override PartName="/ppt/tags/tag575.xml" ContentType="application/vnd.openxmlformats-officedocument.presentationml.tags+xml"/>
  <Override PartName="/ppt/tags/tag576.xml" ContentType="application/vnd.openxmlformats-officedocument.presentationml.tags+xml"/>
  <Override PartName="/ppt/tags/tag577.xml" ContentType="application/vnd.openxmlformats-officedocument.presentationml.tags+xml"/>
  <Override PartName="/ppt/tags/tag578.xml" ContentType="application/vnd.openxmlformats-officedocument.presentationml.tags+xml"/>
  <Override PartName="/ppt/tags/tag579.xml" ContentType="application/vnd.openxmlformats-officedocument.presentationml.tags+xml"/>
  <Override PartName="/ppt/tags/tag580.xml" ContentType="application/vnd.openxmlformats-officedocument.presentationml.tags+xml"/>
  <Override PartName="/ppt/tags/tag581.xml" ContentType="application/vnd.openxmlformats-officedocument.presentationml.tags+xml"/>
  <Override PartName="/ppt/charts/chart14.xml" ContentType="application/vnd.openxmlformats-officedocument.drawingml.chart+xml"/>
  <Override PartName="/ppt/tags/tag582.xml" ContentType="application/vnd.openxmlformats-officedocument.presentationml.tags+xml"/>
  <Override PartName="/ppt/tags/tag583.xml" ContentType="application/vnd.openxmlformats-officedocument.presentationml.tags+xml"/>
  <Override PartName="/ppt/tags/tag584.xml" ContentType="application/vnd.openxmlformats-officedocument.presentationml.tags+xml"/>
  <Override PartName="/ppt/tags/tag585.xml" ContentType="application/vnd.openxmlformats-officedocument.presentationml.tags+xml"/>
  <Override PartName="/ppt/tags/tag586.xml" ContentType="application/vnd.openxmlformats-officedocument.presentationml.tags+xml"/>
  <Override PartName="/ppt/tags/tag587.xml" ContentType="application/vnd.openxmlformats-officedocument.presentationml.tags+xml"/>
  <Override PartName="/ppt/tags/tag588.xml" ContentType="application/vnd.openxmlformats-officedocument.presentationml.tags+xml"/>
  <Override PartName="/ppt/tags/tag589.xml" ContentType="application/vnd.openxmlformats-officedocument.presentationml.tags+xml"/>
  <Override PartName="/ppt/tags/tag590.xml" ContentType="application/vnd.openxmlformats-officedocument.presentationml.tags+xml"/>
  <Override PartName="/ppt/tags/tag591.xml" ContentType="application/vnd.openxmlformats-officedocument.presentationml.tags+xml"/>
  <Override PartName="/ppt/tags/tag592.xml" ContentType="application/vnd.openxmlformats-officedocument.presentationml.tags+xml"/>
  <Override PartName="/ppt/tags/tag593.xml" ContentType="application/vnd.openxmlformats-officedocument.presentationml.tags+xml"/>
  <Override PartName="/ppt/tags/tag594.xml" ContentType="application/vnd.openxmlformats-officedocument.presentationml.tags+xml"/>
  <Override PartName="/ppt/tags/tag595.xml" ContentType="application/vnd.openxmlformats-officedocument.presentationml.tags+xml"/>
  <Override PartName="/ppt/tags/tag596.xml" ContentType="application/vnd.openxmlformats-officedocument.presentationml.tags+xml"/>
  <Override PartName="/ppt/tags/tag597.xml" ContentType="application/vnd.openxmlformats-officedocument.presentationml.tags+xml"/>
  <Override PartName="/ppt/tags/tag598.xml" ContentType="application/vnd.openxmlformats-officedocument.presentationml.tags+xml"/>
  <Override PartName="/ppt/tags/tag599.xml" ContentType="application/vnd.openxmlformats-officedocument.presentationml.tags+xml"/>
  <Override PartName="/ppt/tags/tag600.xml" ContentType="application/vnd.openxmlformats-officedocument.presentationml.tags+xml"/>
  <Override PartName="/ppt/tags/tag601.xml" ContentType="application/vnd.openxmlformats-officedocument.presentationml.tags+xml"/>
  <Override PartName="/ppt/tags/tag602.xml" ContentType="application/vnd.openxmlformats-officedocument.presentationml.tags+xml"/>
  <Override PartName="/ppt/tags/tag603.xml" ContentType="application/vnd.openxmlformats-officedocument.presentationml.tags+xml"/>
  <Override PartName="/ppt/tags/tag604.xml" ContentType="application/vnd.openxmlformats-officedocument.presentationml.tags+xml"/>
  <Override PartName="/ppt/tags/tag605.xml" ContentType="application/vnd.openxmlformats-officedocument.presentationml.tags+xml"/>
  <Override PartName="/ppt/tags/tag606.xml" ContentType="application/vnd.openxmlformats-officedocument.presentationml.tags+xml"/>
  <Override PartName="/ppt/tags/tag607.xml" ContentType="application/vnd.openxmlformats-officedocument.presentationml.tags+xml"/>
  <Override PartName="/ppt/tags/tag608.xml" ContentType="application/vnd.openxmlformats-officedocument.presentationml.tags+xml"/>
  <Override PartName="/ppt/tags/tag609.xml" ContentType="application/vnd.openxmlformats-officedocument.presentationml.tags+xml"/>
  <Override PartName="/ppt/tags/tag610.xml" ContentType="application/vnd.openxmlformats-officedocument.presentationml.tags+xml"/>
  <Override PartName="/ppt/tags/tag611.xml" ContentType="application/vnd.openxmlformats-officedocument.presentationml.tags+xml"/>
  <Override PartName="/ppt/tags/tag612.xml" ContentType="application/vnd.openxmlformats-officedocument.presentationml.tags+xml"/>
  <Override PartName="/ppt/tags/tag613.xml" ContentType="application/vnd.openxmlformats-officedocument.presentationml.tags+xml"/>
  <Override PartName="/ppt/tags/tag614.xml" ContentType="application/vnd.openxmlformats-officedocument.presentationml.tags+xml"/>
  <Override PartName="/ppt/tags/tag615.xml" ContentType="application/vnd.openxmlformats-officedocument.presentationml.tags+xml"/>
  <Override PartName="/ppt/tags/tag616.xml" ContentType="application/vnd.openxmlformats-officedocument.presentationml.tags+xml"/>
  <Override PartName="/ppt/tags/tag617.xml" ContentType="application/vnd.openxmlformats-officedocument.presentationml.tags+xml"/>
  <Override PartName="/ppt/tags/tag618.xml" ContentType="application/vnd.openxmlformats-officedocument.presentationml.tags+xml"/>
  <Override PartName="/ppt/tags/tag619.xml" ContentType="application/vnd.openxmlformats-officedocument.presentationml.tags+xml"/>
  <Override PartName="/ppt/tags/tag620.xml" ContentType="application/vnd.openxmlformats-officedocument.presentationml.tags+xml"/>
  <Override PartName="/ppt/tags/tag621.xml" ContentType="application/vnd.openxmlformats-officedocument.presentationml.tags+xml"/>
  <Override PartName="/ppt/tags/tag622.xml" ContentType="application/vnd.openxmlformats-officedocument.presentationml.tags+xml"/>
  <Override PartName="/ppt/tags/tag623.xml" ContentType="application/vnd.openxmlformats-officedocument.presentationml.tags+xml"/>
  <Override PartName="/ppt/tags/tag624.xml" ContentType="application/vnd.openxmlformats-officedocument.presentationml.tags+xml"/>
  <Override PartName="/ppt/tags/tag625.xml" ContentType="application/vnd.openxmlformats-officedocument.presentationml.tags+xml"/>
  <Override PartName="/ppt/tags/tag626.xml" ContentType="application/vnd.openxmlformats-officedocument.presentationml.tags+xml"/>
  <Override PartName="/ppt/tags/tag627.xml" ContentType="application/vnd.openxmlformats-officedocument.presentationml.tags+xml"/>
  <Override PartName="/ppt/tags/tag628.xml" ContentType="application/vnd.openxmlformats-officedocument.presentationml.tags+xml"/>
  <Override PartName="/ppt/tags/tag629.xml" ContentType="application/vnd.openxmlformats-officedocument.presentationml.tags+xml"/>
  <Override PartName="/ppt/tags/tag630.xml" ContentType="application/vnd.openxmlformats-officedocument.presentationml.tags+xml"/>
  <Override PartName="/ppt/tags/tag631.xml" ContentType="application/vnd.openxmlformats-officedocument.presentationml.tags+xml"/>
  <Override PartName="/ppt/tags/tag632.xml" ContentType="application/vnd.openxmlformats-officedocument.presentationml.tags+xml"/>
  <Override PartName="/ppt/tags/tag633.xml" ContentType="application/vnd.openxmlformats-officedocument.presentationml.tags+xml"/>
  <Override PartName="/ppt/tags/tag634.xml" ContentType="application/vnd.openxmlformats-officedocument.presentationml.tags+xml"/>
  <Override PartName="/ppt/tags/tag635.xml" ContentType="application/vnd.openxmlformats-officedocument.presentationml.tags+xml"/>
  <Override PartName="/ppt/tags/tag636.xml" ContentType="application/vnd.openxmlformats-officedocument.presentationml.tags+xml"/>
  <Override PartName="/ppt/tags/tag637.xml" ContentType="application/vnd.openxmlformats-officedocument.presentationml.tags+xml"/>
  <Override PartName="/ppt/tags/tag638.xml" ContentType="application/vnd.openxmlformats-officedocument.presentationml.tags+xml"/>
  <Override PartName="/ppt/tags/tag639.xml" ContentType="application/vnd.openxmlformats-officedocument.presentationml.tags+xml"/>
  <Override PartName="/ppt/tags/tag640.xml" ContentType="application/vnd.openxmlformats-officedocument.presentationml.tags+xml"/>
  <Override PartName="/ppt/tags/tag641.xml" ContentType="application/vnd.openxmlformats-officedocument.presentationml.tags+xml"/>
  <Override PartName="/ppt/tags/tag642.xml" ContentType="application/vnd.openxmlformats-officedocument.presentationml.tags+xml"/>
  <Override PartName="/ppt/tags/tag643.xml" ContentType="application/vnd.openxmlformats-officedocument.presentationml.tags+xml"/>
  <Override PartName="/ppt/tags/tag644.xml" ContentType="application/vnd.openxmlformats-officedocument.presentationml.tags+xml"/>
  <Override PartName="/ppt/tags/tag645.xml" ContentType="application/vnd.openxmlformats-officedocument.presentationml.tags+xml"/>
  <Override PartName="/ppt/tags/tag646.xml" ContentType="application/vnd.openxmlformats-officedocument.presentationml.tags+xml"/>
  <Override PartName="/ppt/tags/tag647.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851" r:id="rId4"/>
    <p:sldMasterId id="2147483850" r:id="rId5"/>
    <p:sldMasterId id="2147483773" r:id="rId6"/>
    <p:sldMasterId id="2147483780" r:id="rId7"/>
    <p:sldMasterId id="2147483815" r:id="rId8"/>
    <p:sldMasterId id="2147483683" r:id="rId9"/>
    <p:sldMasterId id="2147483660" r:id="rId10"/>
  </p:sldMasterIdLst>
  <p:notesMasterIdLst>
    <p:notesMasterId r:id="rId120"/>
  </p:notesMasterIdLst>
  <p:sldIdLst>
    <p:sldId id="263" r:id="rId11"/>
    <p:sldId id="564" r:id="rId12"/>
    <p:sldId id="543" r:id="rId13"/>
    <p:sldId id="542" r:id="rId14"/>
    <p:sldId id="553" r:id="rId15"/>
    <p:sldId id="603" r:id="rId16"/>
    <p:sldId id="604" r:id="rId17"/>
    <p:sldId id="605" r:id="rId18"/>
    <p:sldId id="606" r:id="rId19"/>
    <p:sldId id="607" r:id="rId20"/>
    <p:sldId id="608" r:id="rId21"/>
    <p:sldId id="609" r:id="rId22"/>
    <p:sldId id="610" r:id="rId23"/>
    <p:sldId id="611" r:id="rId24"/>
    <p:sldId id="612" r:id="rId25"/>
    <p:sldId id="613" r:id="rId26"/>
    <p:sldId id="615" r:id="rId27"/>
    <p:sldId id="616" r:id="rId28"/>
    <p:sldId id="617" r:id="rId29"/>
    <p:sldId id="618" r:id="rId30"/>
    <p:sldId id="619" r:id="rId31"/>
    <p:sldId id="620" r:id="rId32"/>
    <p:sldId id="602" r:id="rId33"/>
    <p:sldId id="600" r:id="rId34"/>
    <p:sldId id="592" r:id="rId35"/>
    <p:sldId id="593" r:id="rId36"/>
    <p:sldId id="338" r:id="rId37"/>
    <p:sldId id="368" r:id="rId38"/>
    <p:sldId id="355" r:id="rId39"/>
    <p:sldId id="334" r:id="rId40"/>
    <p:sldId id="594" r:id="rId41"/>
    <p:sldId id="339" r:id="rId42"/>
    <p:sldId id="261" r:id="rId43"/>
    <p:sldId id="337" r:id="rId44"/>
    <p:sldId id="596" r:id="rId45"/>
    <p:sldId id="363" r:id="rId46"/>
    <p:sldId id="364" r:id="rId47"/>
    <p:sldId id="346" r:id="rId48"/>
    <p:sldId id="347" r:id="rId49"/>
    <p:sldId id="597" r:id="rId50"/>
    <p:sldId id="598" r:id="rId51"/>
    <p:sldId id="369" r:id="rId52"/>
    <p:sldId id="354" r:id="rId53"/>
    <p:sldId id="352" r:id="rId54"/>
    <p:sldId id="367" r:id="rId55"/>
    <p:sldId id="599" r:id="rId56"/>
    <p:sldId id="601" r:id="rId57"/>
    <p:sldId id="256" r:id="rId58"/>
    <p:sldId id="308" r:id="rId59"/>
    <p:sldId id="258" r:id="rId60"/>
    <p:sldId id="316" r:id="rId61"/>
    <p:sldId id="318" r:id="rId62"/>
    <p:sldId id="300" r:id="rId63"/>
    <p:sldId id="310" r:id="rId64"/>
    <p:sldId id="349" r:id="rId65"/>
    <p:sldId id="332" r:id="rId66"/>
    <p:sldId id="340" r:id="rId67"/>
    <p:sldId id="342" r:id="rId68"/>
    <p:sldId id="335" r:id="rId69"/>
    <p:sldId id="591" r:id="rId70"/>
    <p:sldId id="343" r:id="rId71"/>
    <p:sldId id="268" r:id="rId72"/>
    <p:sldId id="344" r:id="rId73"/>
    <p:sldId id="299" r:id="rId74"/>
    <p:sldId id="295" r:id="rId75"/>
    <p:sldId id="307" r:id="rId76"/>
    <p:sldId id="348" r:id="rId77"/>
    <p:sldId id="313" r:id="rId78"/>
    <p:sldId id="275" r:id="rId79"/>
    <p:sldId id="314" r:id="rId80"/>
    <p:sldId id="371" r:id="rId81"/>
    <p:sldId id="282" r:id="rId82"/>
    <p:sldId id="326" r:id="rId83"/>
    <p:sldId id="315" r:id="rId84"/>
    <p:sldId id="350" r:id="rId85"/>
    <p:sldId id="285" r:id="rId86"/>
    <p:sldId id="286" r:id="rId87"/>
    <p:sldId id="317" r:id="rId88"/>
    <p:sldId id="372" r:id="rId89"/>
    <p:sldId id="321" r:id="rId90"/>
    <p:sldId id="290" r:id="rId91"/>
    <p:sldId id="544" r:id="rId92"/>
    <p:sldId id="556" r:id="rId93"/>
    <p:sldId id="566" r:id="rId94"/>
    <p:sldId id="567" r:id="rId95"/>
    <p:sldId id="568" r:id="rId96"/>
    <p:sldId id="569" r:id="rId97"/>
    <p:sldId id="571" r:id="rId98"/>
    <p:sldId id="572" r:id="rId99"/>
    <p:sldId id="574" r:id="rId100"/>
    <p:sldId id="573" r:id="rId101"/>
    <p:sldId id="560" r:id="rId102"/>
    <p:sldId id="575" r:id="rId103"/>
    <p:sldId id="576" r:id="rId104"/>
    <p:sldId id="577" r:id="rId105"/>
    <p:sldId id="561" r:id="rId106"/>
    <p:sldId id="557" r:id="rId107"/>
    <p:sldId id="624" r:id="rId108"/>
    <p:sldId id="625" r:id="rId109"/>
    <p:sldId id="626" r:id="rId110"/>
    <p:sldId id="562" r:id="rId111"/>
    <p:sldId id="558" r:id="rId112"/>
    <p:sldId id="587" r:id="rId113"/>
    <p:sldId id="588" r:id="rId114"/>
    <p:sldId id="589" r:id="rId115"/>
    <p:sldId id="590" r:id="rId116"/>
    <p:sldId id="563" r:id="rId117"/>
    <p:sldId id="551" r:id="rId118"/>
    <p:sldId id="552" r:id="rId119"/>
  </p:sldIdLst>
  <p:sldSz cx="12192000" cy="6858000"/>
  <p:notesSz cx="6858000" cy="9313863"/>
  <p:defaultTextStyle>
    <a:defPPr>
      <a:defRPr lang="en-US"/>
    </a:defPPr>
    <a:lvl1pPr algn="l" rtl="0" eaLnBrk="0" fontAlgn="base" hangingPunct="0">
      <a:spcBef>
        <a:spcPct val="0"/>
      </a:spcBef>
      <a:spcAft>
        <a:spcPct val="0"/>
      </a:spcAft>
      <a:defRPr kern="1200">
        <a:solidFill>
          <a:schemeClr val="tx1"/>
        </a:solidFill>
        <a:latin typeface="Franklin Gothic Book" panose="020B05030201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Franklin Gothic Book" panose="020B05030201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Franklin Gothic Book" panose="020B05030201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Franklin Gothic Book" panose="020B05030201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Franklin Gothic Book" panose="020B0503020102020204" pitchFamily="34" charset="0"/>
        <a:ea typeface="+mn-ea"/>
        <a:cs typeface="+mn-cs"/>
      </a:defRPr>
    </a:lvl5pPr>
    <a:lvl6pPr marL="2286000" algn="l" defTabSz="914400" rtl="0" eaLnBrk="1" latinLnBrk="0" hangingPunct="1">
      <a:defRPr kern="1200">
        <a:solidFill>
          <a:schemeClr val="tx1"/>
        </a:solidFill>
        <a:latin typeface="Franklin Gothic Book" panose="020B0503020102020204" pitchFamily="34" charset="0"/>
        <a:ea typeface="+mn-ea"/>
        <a:cs typeface="+mn-cs"/>
      </a:defRPr>
    </a:lvl6pPr>
    <a:lvl7pPr marL="2743200" algn="l" defTabSz="914400" rtl="0" eaLnBrk="1" latinLnBrk="0" hangingPunct="1">
      <a:defRPr kern="1200">
        <a:solidFill>
          <a:schemeClr val="tx1"/>
        </a:solidFill>
        <a:latin typeface="Franklin Gothic Book" panose="020B0503020102020204" pitchFamily="34" charset="0"/>
        <a:ea typeface="+mn-ea"/>
        <a:cs typeface="+mn-cs"/>
      </a:defRPr>
    </a:lvl7pPr>
    <a:lvl8pPr marL="3200400" algn="l" defTabSz="914400" rtl="0" eaLnBrk="1" latinLnBrk="0" hangingPunct="1">
      <a:defRPr kern="1200">
        <a:solidFill>
          <a:schemeClr val="tx1"/>
        </a:solidFill>
        <a:latin typeface="Franklin Gothic Book" panose="020B0503020102020204" pitchFamily="34" charset="0"/>
        <a:ea typeface="+mn-ea"/>
        <a:cs typeface="+mn-cs"/>
      </a:defRPr>
    </a:lvl8pPr>
    <a:lvl9pPr marL="3657600" algn="l" defTabSz="914400" rtl="0" eaLnBrk="1" latinLnBrk="0" hangingPunct="1">
      <a:defRPr kern="1200">
        <a:solidFill>
          <a:schemeClr val="tx1"/>
        </a:solidFill>
        <a:latin typeface="Franklin Gothic Book" panose="020B0503020102020204" pitchFamily="34" charset="0"/>
        <a:ea typeface="+mn-ea"/>
        <a:cs typeface="+mn-cs"/>
      </a:defRPr>
    </a:lvl9pPr>
  </p:defaultTextStyle>
  <p:extLst>
    <p:ext uri="{521415D9-36F7-43E2-AB2F-B90AF26B5E84}">
      <p14:sectionLst xmlns:p14="http://schemas.microsoft.com/office/powerpoint/2010/main">
        <p14:section name="Default Section" id="{CB4CAE93-0271-46FF-A543-62C6D10C78AF}">
          <p14:sldIdLst>
            <p14:sldId id="263"/>
            <p14:sldId id="564"/>
          </p14:sldIdLst>
        </p14:section>
        <p14:section name="Opening" id="{96F3B658-B068-4919-BBC5-8E72CFAC2879}">
          <p14:sldIdLst>
            <p14:sldId id="543"/>
            <p14:sldId id="542"/>
          </p14:sldIdLst>
        </p14:section>
        <p14:section name="Liftoff Reports" id="{6B800D32-EBF0-4A1B-A5C4-7BAFD7EE9FD1}">
          <p14:sldIdLst>
            <p14:sldId id="553"/>
            <p14:sldId id="603"/>
            <p14:sldId id="604"/>
            <p14:sldId id="605"/>
            <p14:sldId id="606"/>
            <p14:sldId id="607"/>
            <p14:sldId id="608"/>
            <p14:sldId id="609"/>
            <p14:sldId id="610"/>
            <p14:sldId id="611"/>
            <p14:sldId id="612"/>
            <p14:sldId id="613"/>
            <p14:sldId id="615"/>
            <p14:sldId id="616"/>
            <p14:sldId id="617"/>
            <p14:sldId id="618"/>
            <p14:sldId id="619"/>
            <p14:sldId id="620"/>
            <p14:sldId id="602"/>
          </p14:sldIdLst>
        </p14:section>
        <p14:section name="Advanced Reactor Reports" id="{FA67C657-E4B7-4E47-95DC-2F8F0C2A2434}">
          <p14:sldIdLst>
            <p14:sldId id="600"/>
            <p14:sldId id="592"/>
            <p14:sldId id="593"/>
            <p14:sldId id="338"/>
            <p14:sldId id="368"/>
            <p14:sldId id="355"/>
            <p14:sldId id="334"/>
            <p14:sldId id="594"/>
            <p14:sldId id="339"/>
            <p14:sldId id="261"/>
            <p14:sldId id="337"/>
            <p14:sldId id="596"/>
            <p14:sldId id="363"/>
            <p14:sldId id="364"/>
            <p14:sldId id="346"/>
            <p14:sldId id="347"/>
            <p14:sldId id="597"/>
            <p14:sldId id="598"/>
            <p14:sldId id="369"/>
            <p14:sldId id="354"/>
            <p14:sldId id="352"/>
            <p14:sldId id="367"/>
            <p14:sldId id="599"/>
          </p14:sldIdLst>
        </p14:section>
        <p14:section name="Fuel Cycles Briefing" id="{DAB50005-4A45-4D3F-B203-AC8C8E267D0A}">
          <p14:sldIdLst>
            <p14:sldId id="601"/>
            <p14:sldId id="256"/>
            <p14:sldId id="308"/>
            <p14:sldId id="258"/>
            <p14:sldId id="316"/>
            <p14:sldId id="318"/>
            <p14:sldId id="300"/>
            <p14:sldId id="310"/>
            <p14:sldId id="349"/>
            <p14:sldId id="332"/>
            <p14:sldId id="340"/>
            <p14:sldId id="342"/>
            <p14:sldId id="335"/>
            <p14:sldId id="591"/>
            <p14:sldId id="343"/>
            <p14:sldId id="268"/>
            <p14:sldId id="344"/>
            <p14:sldId id="299"/>
            <p14:sldId id="295"/>
            <p14:sldId id="307"/>
            <p14:sldId id="348"/>
            <p14:sldId id="313"/>
            <p14:sldId id="275"/>
            <p14:sldId id="314"/>
            <p14:sldId id="371"/>
            <p14:sldId id="282"/>
            <p14:sldId id="326"/>
            <p14:sldId id="315"/>
            <p14:sldId id="350"/>
            <p14:sldId id="285"/>
            <p14:sldId id="286"/>
            <p14:sldId id="317"/>
            <p14:sldId id="372"/>
            <p14:sldId id="321"/>
            <p14:sldId id="290"/>
            <p14:sldId id="544"/>
          </p14:sldIdLst>
        </p14:section>
        <p14:section name="Committee updates" id="{A236F04C-D276-40DB-A5E7-7B0189316C43}">
          <p14:sldIdLst>
            <p14:sldId id="556"/>
            <p14:sldId id="566"/>
            <p14:sldId id="567"/>
            <p14:sldId id="568"/>
            <p14:sldId id="569"/>
            <p14:sldId id="571"/>
            <p14:sldId id="572"/>
            <p14:sldId id="574"/>
            <p14:sldId id="573"/>
            <p14:sldId id="560"/>
            <p14:sldId id="575"/>
            <p14:sldId id="576"/>
            <p14:sldId id="577"/>
            <p14:sldId id="561"/>
            <p14:sldId id="557"/>
            <p14:sldId id="624"/>
            <p14:sldId id="625"/>
            <p14:sldId id="626"/>
            <p14:sldId id="562"/>
            <p14:sldId id="558"/>
            <p14:sldId id="587"/>
            <p14:sldId id="588"/>
            <p14:sldId id="589"/>
            <p14:sldId id="590"/>
            <p14:sldId id="563"/>
          </p14:sldIdLst>
        </p14:section>
        <p14:section name="Comment and closing" id="{97FB8AAF-7493-4FEF-B96E-5FE0B14281FC}">
          <p14:sldIdLst>
            <p14:sldId id="551"/>
            <p14:sldId id="552"/>
          </p14:sldIdLst>
        </p14:section>
      </p14:sectionLst>
    </p:ex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15:guide id="1" orient="horz" pos="2934">
          <p15:clr>
            <a:srgbClr val="A4A3A4"/>
          </p15:clr>
        </p15:guide>
        <p15:guide id="2" pos="2160">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B4522B3B-A98F-F1A6-3CD9-1AAD5A90C724}" name="Huff, Kathryn" initials="HK" userId="S::kathryn.huff@nuclear.energy.gov::3b1ee8e0-d072-4041-a8f3-9df7c3704cc0" providerId="AD"/>
  <p188:author id="{4899D99D-ACDF-1D2B-D09E-10B823B47B48}" name="Branscum, Luke" initials="BL" userId="S::luke.branscum@nuclear.energy.gov::5cb66260-73e2-427f-bf0a-7f1459a85d40" providerId="AD"/>
  <p188:author id="{A34F98C9-CA8D-B38F-51F4-614F38B7BE84}" name="Milam, Krystal" initials="MK" userId="S::krystal.milam@nuclear.energy.gov::e364bb51-e4ed-4349-9b4f-3acc4c5bce60"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Taiwo, Temitope A." initials="" lastIdx="18" clrIdx="0"/>
  <p:cmAuthor id="2" name="DOEUSER" initials="" lastIdx="4" clrIdx="1"/>
  <p:cmAuthor id="3" name="Richards, Andrew" initials="" lastIdx="1" clrIdx="2"/>
  <p:cmAuthor id="4" name="Bishop, Tracey" initials="" lastIdx="5" clrIdx="3"/>
  <p:cmAuthor id="5" name="Edgerton, Patrick" initials="" lastIdx="9" clrIdx="4"/>
  <p:cmAuthor id="6" name="Miotla, Dennis" initials="" lastIdx="9" clrIdx="5"/>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srgbClr val="FF0000"/>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883AF"/>
    <a:srgbClr val="747474"/>
    <a:srgbClr val="00769C"/>
    <a:srgbClr val="CCCCCC"/>
    <a:srgbClr val="333333"/>
    <a:srgbClr val="63911C"/>
    <a:srgbClr val="007A9E"/>
    <a:srgbClr val="203864"/>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559E0F65-45E5-4978-AAE9-A2386C7A1758}" v="24" dt="2023-08-08T22:00:27.283"/>
    <p1510:client id="{7DFD9E1B-A495-49C8-9922-9A70AA00CECA}" v="3" dt="2023-08-08T22:00:00.789"/>
    <p1510:client id="{CC03EA75-E07B-40B3-50D0-017E12AFEF44}" v="50" dt="2023-08-08T14:21:38.950"/>
    <p1510:client id="{E0385ABB-2245-435C-B6AA-AF2C276A508B}" v="16" dt="2023-08-09T12:24:00.084"/>
    <p1510:client id="{E81D6C0A-1652-9D63-7C73-52A4F01420CA}" v="34" dt="2023-08-09T12:20:51.315"/>
  </p1510:revLst>
</p1510:revInfo>
</file>

<file path=ppt/tableStyles.xml><?xml version="1.0" encoding="utf-8"?>
<a:tblStyleLst xmlns:a="http://schemas.openxmlformats.org/drawingml/2006/main" def="{5C22544A-7EE6-4342-B048-85BDC9FD1C3A}">
  <a:tblStyle styleId="{D113A9D2-9D6B-4929-AA2D-F23B5EE8CBE7}" styleName="Themed Style 2 - Accent 1">
    <a:tblBg>
      <a:fillRef idx="3">
        <a:schemeClr val="accent1"/>
      </a:fillRef>
      <a:effectRef idx="3">
        <a:schemeClr val="accent1"/>
      </a:effectRef>
    </a:tblBg>
    <a:wholeTbl>
      <a:tcTxStyle>
        <a:fontRef idx="minor">
          <a:scrgbClr r="0" g="0" b="0"/>
        </a:fontRef>
        <a:schemeClr val="lt1"/>
      </a:tcTxStyle>
      <a:tcStyle>
        <a:tcBdr>
          <a:left>
            <a:lnRef idx="1">
              <a:schemeClr val="accent1">
                <a:tint val="50000"/>
              </a:schemeClr>
            </a:lnRef>
          </a:left>
          <a:right>
            <a:lnRef idx="1">
              <a:schemeClr val="accent1">
                <a:tint val="50000"/>
              </a:schemeClr>
            </a:lnRef>
          </a:right>
          <a:top>
            <a:lnRef idx="1">
              <a:schemeClr val="accent1">
                <a:tint val="50000"/>
              </a:schemeClr>
            </a:lnRef>
          </a:top>
          <a:bottom>
            <a:lnRef idx="1">
              <a:schemeClr val="accent1">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18603FDC-E32A-4AB5-989C-0864C3EAD2B8}" styleName="Themed Style 2 - Accent 2">
    <a:tblBg>
      <a:fillRef idx="3">
        <a:schemeClr val="accent2"/>
      </a:fillRef>
      <a:effectRef idx="3">
        <a:schemeClr val="accent2"/>
      </a:effectRef>
    </a:tblBg>
    <a:wholeTbl>
      <a:tcTxStyle>
        <a:fontRef idx="minor">
          <a:scrgbClr r="0" g="0" b="0"/>
        </a:fontRef>
        <a:schemeClr val="lt1"/>
      </a:tcTxStyle>
      <a:tcStyle>
        <a:tcBdr>
          <a:left>
            <a:lnRef idx="1">
              <a:schemeClr val="accent2">
                <a:tint val="50000"/>
              </a:schemeClr>
            </a:lnRef>
          </a:left>
          <a:right>
            <a:lnRef idx="1">
              <a:schemeClr val="accent2">
                <a:tint val="50000"/>
              </a:schemeClr>
            </a:lnRef>
          </a:right>
          <a:top>
            <a:lnRef idx="1">
              <a:schemeClr val="accent2">
                <a:tint val="50000"/>
              </a:schemeClr>
            </a:lnRef>
          </a:top>
          <a:bottom>
            <a:lnRef idx="1">
              <a:schemeClr val="accent2">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slideViewPr>
    <p:cSldViewPr snapToGrid="0">
      <p:cViewPr>
        <p:scale>
          <a:sx n="1" d="2"/>
          <a:sy n="1" d="2"/>
        </p:scale>
        <p:origin x="0" y="0"/>
      </p:cViewPr>
      <p:guideLst>
        <p:guide orient="horz" pos="2160"/>
        <p:guide pos="3840"/>
      </p:guideLst>
    </p:cSldViewPr>
  </p:slideViewPr>
  <p:notesViewPr>
    <p:cSldViewPr snapToGrid="0">
      <p:cViewPr>
        <p:scale>
          <a:sx n="1" d="2"/>
          <a:sy n="1" d="2"/>
        </p:scale>
        <p:origin x="0" y="0"/>
      </p:cViewPr>
      <p:guideLst>
        <p:guide orient="horz" pos="2934"/>
        <p:guide pos="2160"/>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6.xml"/><Relationship Id="rId117" Type="http://schemas.openxmlformats.org/officeDocument/2006/relationships/slide" Target="slides/slide107.xml"/><Relationship Id="rId21" Type="http://schemas.openxmlformats.org/officeDocument/2006/relationships/slide" Target="slides/slide11.xml"/><Relationship Id="rId42" Type="http://schemas.openxmlformats.org/officeDocument/2006/relationships/slide" Target="slides/slide32.xml"/><Relationship Id="rId47" Type="http://schemas.openxmlformats.org/officeDocument/2006/relationships/slide" Target="slides/slide37.xml"/><Relationship Id="rId63" Type="http://schemas.openxmlformats.org/officeDocument/2006/relationships/slide" Target="slides/slide53.xml"/><Relationship Id="rId68" Type="http://schemas.openxmlformats.org/officeDocument/2006/relationships/slide" Target="slides/slide58.xml"/><Relationship Id="rId84" Type="http://schemas.openxmlformats.org/officeDocument/2006/relationships/slide" Target="slides/slide74.xml"/><Relationship Id="rId89" Type="http://schemas.openxmlformats.org/officeDocument/2006/relationships/slide" Target="slides/slide79.xml"/><Relationship Id="rId112" Type="http://schemas.openxmlformats.org/officeDocument/2006/relationships/slide" Target="slides/slide102.xml"/><Relationship Id="rId16" Type="http://schemas.openxmlformats.org/officeDocument/2006/relationships/slide" Target="slides/slide6.xml"/><Relationship Id="rId107" Type="http://schemas.openxmlformats.org/officeDocument/2006/relationships/slide" Target="slides/slide97.xml"/><Relationship Id="rId11" Type="http://schemas.openxmlformats.org/officeDocument/2006/relationships/slide" Target="slides/slide1.xml"/><Relationship Id="rId32" Type="http://schemas.openxmlformats.org/officeDocument/2006/relationships/slide" Target="slides/slide22.xml"/><Relationship Id="rId37" Type="http://schemas.openxmlformats.org/officeDocument/2006/relationships/slide" Target="slides/slide27.xml"/><Relationship Id="rId53" Type="http://schemas.openxmlformats.org/officeDocument/2006/relationships/slide" Target="slides/slide43.xml"/><Relationship Id="rId58" Type="http://schemas.openxmlformats.org/officeDocument/2006/relationships/slide" Target="slides/slide48.xml"/><Relationship Id="rId74" Type="http://schemas.openxmlformats.org/officeDocument/2006/relationships/slide" Target="slides/slide64.xml"/><Relationship Id="rId79" Type="http://schemas.openxmlformats.org/officeDocument/2006/relationships/slide" Target="slides/slide69.xml"/><Relationship Id="rId102" Type="http://schemas.openxmlformats.org/officeDocument/2006/relationships/slide" Target="slides/slide92.xml"/><Relationship Id="rId123" Type="http://schemas.openxmlformats.org/officeDocument/2006/relationships/viewProps" Target="viewProps.xml"/><Relationship Id="rId5" Type="http://schemas.openxmlformats.org/officeDocument/2006/relationships/slideMaster" Target="slideMasters/slideMaster2.xml"/><Relationship Id="rId90" Type="http://schemas.openxmlformats.org/officeDocument/2006/relationships/slide" Target="slides/slide80.xml"/><Relationship Id="rId95" Type="http://schemas.openxmlformats.org/officeDocument/2006/relationships/slide" Target="slides/slide85.xml"/><Relationship Id="rId22" Type="http://schemas.openxmlformats.org/officeDocument/2006/relationships/slide" Target="slides/slide12.xml"/><Relationship Id="rId27" Type="http://schemas.openxmlformats.org/officeDocument/2006/relationships/slide" Target="slides/slide17.xml"/><Relationship Id="rId43" Type="http://schemas.openxmlformats.org/officeDocument/2006/relationships/slide" Target="slides/slide33.xml"/><Relationship Id="rId48" Type="http://schemas.openxmlformats.org/officeDocument/2006/relationships/slide" Target="slides/slide38.xml"/><Relationship Id="rId64" Type="http://schemas.openxmlformats.org/officeDocument/2006/relationships/slide" Target="slides/slide54.xml"/><Relationship Id="rId69" Type="http://schemas.openxmlformats.org/officeDocument/2006/relationships/slide" Target="slides/slide59.xml"/><Relationship Id="rId113" Type="http://schemas.openxmlformats.org/officeDocument/2006/relationships/slide" Target="slides/slide103.xml"/><Relationship Id="rId118" Type="http://schemas.openxmlformats.org/officeDocument/2006/relationships/slide" Target="slides/slide108.xml"/><Relationship Id="rId80" Type="http://schemas.openxmlformats.org/officeDocument/2006/relationships/slide" Target="slides/slide70.xml"/><Relationship Id="rId85" Type="http://schemas.openxmlformats.org/officeDocument/2006/relationships/slide" Target="slides/slide75.xml"/><Relationship Id="rId12" Type="http://schemas.openxmlformats.org/officeDocument/2006/relationships/slide" Target="slides/slide2.xml"/><Relationship Id="rId17" Type="http://schemas.openxmlformats.org/officeDocument/2006/relationships/slide" Target="slides/slide7.xml"/><Relationship Id="rId33" Type="http://schemas.openxmlformats.org/officeDocument/2006/relationships/slide" Target="slides/slide23.xml"/><Relationship Id="rId38" Type="http://schemas.openxmlformats.org/officeDocument/2006/relationships/slide" Target="slides/slide28.xml"/><Relationship Id="rId59" Type="http://schemas.openxmlformats.org/officeDocument/2006/relationships/slide" Target="slides/slide49.xml"/><Relationship Id="rId103" Type="http://schemas.openxmlformats.org/officeDocument/2006/relationships/slide" Target="slides/slide93.xml"/><Relationship Id="rId108" Type="http://schemas.openxmlformats.org/officeDocument/2006/relationships/slide" Target="slides/slide98.xml"/><Relationship Id="rId124" Type="http://schemas.openxmlformats.org/officeDocument/2006/relationships/theme" Target="theme/theme1.xml"/><Relationship Id="rId54" Type="http://schemas.openxmlformats.org/officeDocument/2006/relationships/slide" Target="slides/slide44.xml"/><Relationship Id="rId70" Type="http://schemas.openxmlformats.org/officeDocument/2006/relationships/slide" Target="slides/slide60.xml"/><Relationship Id="rId75" Type="http://schemas.openxmlformats.org/officeDocument/2006/relationships/slide" Target="slides/slide65.xml"/><Relationship Id="rId91" Type="http://schemas.openxmlformats.org/officeDocument/2006/relationships/slide" Target="slides/slide81.xml"/><Relationship Id="rId96" Type="http://schemas.openxmlformats.org/officeDocument/2006/relationships/slide" Target="slides/slide86.xml"/><Relationship Id="rId1" Type="http://schemas.openxmlformats.org/officeDocument/2006/relationships/customXml" Target="../customXml/item1.xml"/><Relationship Id="rId6" Type="http://schemas.openxmlformats.org/officeDocument/2006/relationships/slideMaster" Target="slideMasters/slideMaster3.xml"/><Relationship Id="rId23" Type="http://schemas.openxmlformats.org/officeDocument/2006/relationships/slide" Target="slides/slide13.xml"/><Relationship Id="rId28" Type="http://schemas.openxmlformats.org/officeDocument/2006/relationships/slide" Target="slides/slide18.xml"/><Relationship Id="rId49" Type="http://schemas.openxmlformats.org/officeDocument/2006/relationships/slide" Target="slides/slide39.xml"/><Relationship Id="rId114" Type="http://schemas.openxmlformats.org/officeDocument/2006/relationships/slide" Target="slides/slide104.xml"/><Relationship Id="rId119" Type="http://schemas.openxmlformats.org/officeDocument/2006/relationships/slide" Target="slides/slide109.xml"/><Relationship Id="rId44" Type="http://schemas.openxmlformats.org/officeDocument/2006/relationships/slide" Target="slides/slide34.xml"/><Relationship Id="rId60" Type="http://schemas.openxmlformats.org/officeDocument/2006/relationships/slide" Target="slides/slide50.xml"/><Relationship Id="rId65" Type="http://schemas.openxmlformats.org/officeDocument/2006/relationships/slide" Target="slides/slide55.xml"/><Relationship Id="rId81" Type="http://schemas.openxmlformats.org/officeDocument/2006/relationships/slide" Target="slides/slide71.xml"/><Relationship Id="rId86" Type="http://schemas.openxmlformats.org/officeDocument/2006/relationships/slide" Target="slides/slide76.xml"/><Relationship Id="rId13" Type="http://schemas.openxmlformats.org/officeDocument/2006/relationships/slide" Target="slides/slide3.xml"/><Relationship Id="rId18" Type="http://schemas.openxmlformats.org/officeDocument/2006/relationships/slide" Target="slides/slide8.xml"/><Relationship Id="rId39" Type="http://schemas.openxmlformats.org/officeDocument/2006/relationships/slide" Target="slides/slide29.xml"/><Relationship Id="rId109" Type="http://schemas.openxmlformats.org/officeDocument/2006/relationships/slide" Target="slides/slide99.xml"/><Relationship Id="rId34" Type="http://schemas.openxmlformats.org/officeDocument/2006/relationships/slide" Target="slides/slide24.xml"/><Relationship Id="rId50" Type="http://schemas.openxmlformats.org/officeDocument/2006/relationships/slide" Target="slides/slide40.xml"/><Relationship Id="rId55" Type="http://schemas.openxmlformats.org/officeDocument/2006/relationships/slide" Target="slides/slide45.xml"/><Relationship Id="rId76" Type="http://schemas.openxmlformats.org/officeDocument/2006/relationships/slide" Target="slides/slide66.xml"/><Relationship Id="rId97" Type="http://schemas.openxmlformats.org/officeDocument/2006/relationships/slide" Target="slides/slide87.xml"/><Relationship Id="rId104" Type="http://schemas.openxmlformats.org/officeDocument/2006/relationships/slide" Target="slides/slide94.xml"/><Relationship Id="rId120" Type="http://schemas.openxmlformats.org/officeDocument/2006/relationships/notesMaster" Target="notesMasters/notesMaster1.xml"/><Relationship Id="rId125" Type="http://schemas.openxmlformats.org/officeDocument/2006/relationships/tableStyles" Target="tableStyles.xml"/><Relationship Id="rId7" Type="http://schemas.openxmlformats.org/officeDocument/2006/relationships/slideMaster" Target="slideMasters/slideMaster4.xml"/><Relationship Id="rId71" Type="http://schemas.openxmlformats.org/officeDocument/2006/relationships/slide" Target="slides/slide61.xml"/><Relationship Id="rId92" Type="http://schemas.openxmlformats.org/officeDocument/2006/relationships/slide" Target="slides/slide82.xml"/><Relationship Id="rId2" Type="http://schemas.openxmlformats.org/officeDocument/2006/relationships/customXml" Target="../customXml/item2.xml"/><Relationship Id="rId29" Type="http://schemas.openxmlformats.org/officeDocument/2006/relationships/slide" Target="slides/slide19.xml"/><Relationship Id="rId24" Type="http://schemas.openxmlformats.org/officeDocument/2006/relationships/slide" Target="slides/slide14.xml"/><Relationship Id="rId40" Type="http://schemas.openxmlformats.org/officeDocument/2006/relationships/slide" Target="slides/slide30.xml"/><Relationship Id="rId45" Type="http://schemas.openxmlformats.org/officeDocument/2006/relationships/slide" Target="slides/slide35.xml"/><Relationship Id="rId66" Type="http://schemas.openxmlformats.org/officeDocument/2006/relationships/slide" Target="slides/slide56.xml"/><Relationship Id="rId87" Type="http://schemas.openxmlformats.org/officeDocument/2006/relationships/slide" Target="slides/slide77.xml"/><Relationship Id="rId110" Type="http://schemas.openxmlformats.org/officeDocument/2006/relationships/slide" Target="slides/slide100.xml"/><Relationship Id="rId115" Type="http://schemas.openxmlformats.org/officeDocument/2006/relationships/slide" Target="slides/slide105.xml"/><Relationship Id="rId61" Type="http://schemas.openxmlformats.org/officeDocument/2006/relationships/slide" Target="slides/slide51.xml"/><Relationship Id="rId82" Type="http://schemas.openxmlformats.org/officeDocument/2006/relationships/slide" Target="slides/slide72.xml"/><Relationship Id="rId19" Type="http://schemas.openxmlformats.org/officeDocument/2006/relationships/slide" Target="slides/slide9.xml"/><Relationship Id="rId14" Type="http://schemas.openxmlformats.org/officeDocument/2006/relationships/slide" Target="slides/slide4.xml"/><Relationship Id="rId30" Type="http://schemas.openxmlformats.org/officeDocument/2006/relationships/slide" Target="slides/slide20.xml"/><Relationship Id="rId35" Type="http://schemas.openxmlformats.org/officeDocument/2006/relationships/slide" Target="slides/slide25.xml"/><Relationship Id="rId56" Type="http://schemas.openxmlformats.org/officeDocument/2006/relationships/slide" Target="slides/slide46.xml"/><Relationship Id="rId77" Type="http://schemas.openxmlformats.org/officeDocument/2006/relationships/slide" Target="slides/slide67.xml"/><Relationship Id="rId100" Type="http://schemas.openxmlformats.org/officeDocument/2006/relationships/slide" Target="slides/slide90.xml"/><Relationship Id="rId105" Type="http://schemas.openxmlformats.org/officeDocument/2006/relationships/slide" Target="slides/slide95.xml"/><Relationship Id="rId126" Type="http://schemas.microsoft.com/office/2015/10/relationships/revisionInfo" Target="revisionInfo.xml"/><Relationship Id="rId8" Type="http://schemas.openxmlformats.org/officeDocument/2006/relationships/slideMaster" Target="slideMasters/slideMaster5.xml"/><Relationship Id="rId51" Type="http://schemas.openxmlformats.org/officeDocument/2006/relationships/slide" Target="slides/slide41.xml"/><Relationship Id="rId72" Type="http://schemas.openxmlformats.org/officeDocument/2006/relationships/slide" Target="slides/slide62.xml"/><Relationship Id="rId93" Type="http://schemas.openxmlformats.org/officeDocument/2006/relationships/slide" Target="slides/slide83.xml"/><Relationship Id="rId98" Type="http://schemas.openxmlformats.org/officeDocument/2006/relationships/slide" Target="slides/slide88.xml"/><Relationship Id="rId121" Type="http://schemas.openxmlformats.org/officeDocument/2006/relationships/commentAuthors" Target="commentAuthors.xml"/><Relationship Id="rId3" Type="http://schemas.openxmlformats.org/officeDocument/2006/relationships/customXml" Target="../customXml/item3.xml"/><Relationship Id="rId25" Type="http://schemas.openxmlformats.org/officeDocument/2006/relationships/slide" Target="slides/slide15.xml"/><Relationship Id="rId46" Type="http://schemas.openxmlformats.org/officeDocument/2006/relationships/slide" Target="slides/slide36.xml"/><Relationship Id="rId67" Type="http://schemas.openxmlformats.org/officeDocument/2006/relationships/slide" Target="slides/slide57.xml"/><Relationship Id="rId116" Type="http://schemas.openxmlformats.org/officeDocument/2006/relationships/slide" Target="slides/slide106.xml"/><Relationship Id="rId20" Type="http://schemas.openxmlformats.org/officeDocument/2006/relationships/slide" Target="slides/slide10.xml"/><Relationship Id="rId41" Type="http://schemas.openxmlformats.org/officeDocument/2006/relationships/slide" Target="slides/slide31.xml"/><Relationship Id="rId62" Type="http://schemas.openxmlformats.org/officeDocument/2006/relationships/slide" Target="slides/slide52.xml"/><Relationship Id="rId83" Type="http://schemas.openxmlformats.org/officeDocument/2006/relationships/slide" Target="slides/slide73.xml"/><Relationship Id="rId88" Type="http://schemas.openxmlformats.org/officeDocument/2006/relationships/slide" Target="slides/slide78.xml"/><Relationship Id="rId111" Type="http://schemas.openxmlformats.org/officeDocument/2006/relationships/slide" Target="slides/slide101.xml"/><Relationship Id="rId15" Type="http://schemas.openxmlformats.org/officeDocument/2006/relationships/slide" Target="slides/slide5.xml"/><Relationship Id="rId36" Type="http://schemas.openxmlformats.org/officeDocument/2006/relationships/slide" Target="slides/slide26.xml"/><Relationship Id="rId57" Type="http://schemas.openxmlformats.org/officeDocument/2006/relationships/slide" Target="slides/slide47.xml"/><Relationship Id="rId106" Type="http://schemas.openxmlformats.org/officeDocument/2006/relationships/slide" Target="slides/slide96.xml"/><Relationship Id="rId127" Type="http://schemas.microsoft.com/office/2018/10/relationships/authors" Target="authors.xml"/><Relationship Id="rId10" Type="http://schemas.openxmlformats.org/officeDocument/2006/relationships/slideMaster" Target="slideMasters/slideMaster7.xml"/><Relationship Id="rId31" Type="http://schemas.openxmlformats.org/officeDocument/2006/relationships/slide" Target="slides/slide21.xml"/><Relationship Id="rId52" Type="http://schemas.openxmlformats.org/officeDocument/2006/relationships/slide" Target="slides/slide42.xml"/><Relationship Id="rId73" Type="http://schemas.openxmlformats.org/officeDocument/2006/relationships/slide" Target="slides/slide63.xml"/><Relationship Id="rId78" Type="http://schemas.openxmlformats.org/officeDocument/2006/relationships/slide" Target="slides/slide68.xml"/><Relationship Id="rId94" Type="http://schemas.openxmlformats.org/officeDocument/2006/relationships/slide" Target="slides/slide84.xml"/><Relationship Id="rId99" Type="http://schemas.openxmlformats.org/officeDocument/2006/relationships/slide" Target="slides/slide89.xml"/><Relationship Id="rId101" Type="http://schemas.openxmlformats.org/officeDocument/2006/relationships/slide" Target="slides/slide91.xml"/><Relationship Id="rId122"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Master" Target="slideMasters/slideMaster6.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Binary_25E_331E5207.xlsb"/></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Binary_268_1FE162B45.xlsb"/></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Binary_268_1FE162B46.xlsb"/></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Binary_268_1FE162B47.xlsb"/></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Binary_269_83B5F2B3.xlsb"/></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Binary_26A_13A7DBC1.xlsb"/></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Binary_25E_331E52071.xlsb"/></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Binary_260_527C2B1D.xlsb"/></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Binary_262_1E20D741.xlsb"/></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Binary_262_1E20D7412.xlsb"/></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Binary_264_59E83683.xlsb"/></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Binary_268_1FE162B4.xlsb"/></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Binary_268_1FE162B43.xlsb"/></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Binary_268_1FE162B44.xlsb"/></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9468363908648447E-2"/>
          <c:y val="3.3635187580853813E-2"/>
          <c:w val="0.96106327218270315"/>
          <c:h val="0.93272962483829236"/>
        </c:manualLayout>
      </c:layout>
      <c:barChart>
        <c:barDir val="col"/>
        <c:grouping val="stacked"/>
        <c:varyColors val="0"/>
        <c:ser>
          <c:idx val="0"/>
          <c:order val="0"/>
          <c:spPr>
            <a:solidFill>
              <a:schemeClr val="accent1"/>
            </a:solidFill>
            <a:ln w="9525" algn="ctr">
              <a:solidFill>
                <a:schemeClr val="bg1"/>
              </a:solidFill>
              <a:prstDash val="solid"/>
            </a:ln>
          </c:spPr>
          <c:invertIfNegative val="0"/>
          <c:dLbls>
            <c:dLbl>
              <c:idx val="0"/>
              <c:layout>
                <c:manualLayout>
                  <c:x val="0"/>
                  <c:y val="0"/>
                </c:manualLayout>
              </c:layout>
              <c:numFmt formatCode="#,##0;&quot;-&quot;#,##0;0" sourceLinked="0"/>
              <c:spPr>
                <a:noFill/>
                <a:ln>
                  <a:noFill/>
                </a:ln>
              </c:spPr>
              <c:txPr>
                <a:bodyPr wrap="none"/>
                <a:lstStyle/>
                <a:p>
                  <a:pPr>
                    <a:defRPr sz="1400" kern="1200">
                      <a:solidFill>
                        <a:schemeClr val="tx2"/>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A88B-49EC-9AEF-3E33C688B01E}"/>
                </c:ext>
              </c:extLst>
            </c:dLbl>
            <c:dLbl>
              <c:idx val="1"/>
              <c:layout>
                <c:manualLayout>
                  <c:x val="0"/>
                  <c:y val="0"/>
                </c:manualLayout>
              </c:layout>
              <c:numFmt formatCode="#,##0;&quot;-&quot;#,##0;0" sourceLinked="0"/>
              <c:spPr>
                <a:noFill/>
                <a:ln>
                  <a:noFill/>
                </a:ln>
              </c:spPr>
              <c:txPr>
                <a:bodyPr wrap="none"/>
                <a:lstStyle/>
                <a:p>
                  <a:pPr>
                    <a:defRPr sz="1400" kern="1200">
                      <a:solidFill>
                        <a:schemeClr val="tx2"/>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88B-49EC-9AEF-3E33C688B01E}"/>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B$1</c:f>
              <c:numCache>
                <c:formatCode>General</c:formatCode>
                <c:ptCount val="2"/>
                <c:pt idx="0">
                  <c:v>206.3</c:v>
                </c:pt>
                <c:pt idx="1">
                  <c:v>979.4</c:v>
                </c:pt>
              </c:numCache>
            </c:numRef>
          </c:val>
          <c:extLst>
            <c:ext xmlns:c16="http://schemas.microsoft.com/office/drawing/2014/chart" uri="{C3380CC4-5D6E-409C-BE32-E72D297353CC}">
              <c16:uniqueId val="{00000002-A88B-49EC-9AEF-3E33C688B01E}"/>
            </c:ext>
          </c:extLst>
        </c:ser>
        <c:ser>
          <c:idx val="1"/>
          <c:order val="1"/>
          <c:spPr>
            <a:solidFill>
              <a:schemeClr val="accent2"/>
            </a:solidFill>
            <a:ln w="9525" algn="ctr">
              <a:solidFill>
                <a:schemeClr val="bg1"/>
              </a:solidFill>
              <a:prstDash val="solid"/>
            </a:ln>
          </c:spPr>
          <c:invertIfNegative val="0"/>
          <c:dLbls>
            <c:dLbl>
              <c:idx val="0"/>
              <c:layout>
                <c:manualLayout>
                  <c:x val="0"/>
                  <c:y val="0"/>
                </c:manualLayout>
              </c:layout>
              <c:numFmt formatCode="#,##0;&quot;-&quot;#,##0;0" sourceLinked="0"/>
              <c:spPr>
                <a:noFill/>
                <a:ln>
                  <a:noFill/>
                </a:ln>
              </c:spPr>
              <c:txPr>
                <a:bodyPr wrap="none"/>
                <a:lstStyle/>
                <a:p>
                  <a:pPr>
                    <a:defRPr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88B-49EC-9AEF-3E33C688B01E}"/>
                </c:ext>
              </c:extLst>
            </c:dLbl>
            <c:dLbl>
              <c:idx val="1"/>
              <c:layout>
                <c:manualLayout>
                  <c:x val="0"/>
                  <c:y val="0"/>
                </c:manualLayout>
              </c:layout>
              <c:numFmt formatCode="#,##0;&quot;-&quot;#,##0;0" sourceLinked="0"/>
              <c:spPr>
                <a:noFill/>
                <a:ln>
                  <a:noFill/>
                </a:ln>
              </c:spPr>
              <c:txPr>
                <a:bodyPr wrap="none"/>
                <a:lstStyle/>
                <a:p>
                  <a:pPr>
                    <a:defRPr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A88B-49EC-9AEF-3E33C688B01E}"/>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B$2</c:f>
              <c:numCache>
                <c:formatCode>General</c:formatCode>
                <c:ptCount val="2"/>
                <c:pt idx="0">
                  <c:v>866</c:v>
                </c:pt>
                <c:pt idx="1">
                  <c:v>514.69999999999993</c:v>
                </c:pt>
              </c:numCache>
            </c:numRef>
          </c:val>
          <c:extLst>
            <c:ext xmlns:c16="http://schemas.microsoft.com/office/drawing/2014/chart" uri="{C3380CC4-5D6E-409C-BE32-E72D297353CC}">
              <c16:uniqueId val="{00000005-A88B-49EC-9AEF-3E33C688B01E}"/>
            </c:ext>
          </c:extLst>
        </c:ser>
        <c:ser>
          <c:idx val="2"/>
          <c:order val="2"/>
          <c:spPr>
            <a:solidFill>
              <a:schemeClr val="accent4"/>
            </a:solidFill>
            <a:ln w="9525" algn="ctr">
              <a:solidFill>
                <a:schemeClr val="bg1"/>
              </a:solidFill>
              <a:prstDash val="solid"/>
            </a:ln>
          </c:spPr>
          <c:invertIfNegative val="0"/>
          <c:dLbls>
            <c:dLbl>
              <c:idx val="0"/>
              <c:layout>
                <c:manualLayout>
                  <c:x val="0"/>
                  <c:y val="0"/>
                </c:manualLayout>
              </c:layout>
              <c:numFmt formatCode="#,##0;&quot;-&quot;#,##0;0" sourceLinked="0"/>
              <c:spPr>
                <a:noFill/>
                <a:ln>
                  <a:noFill/>
                </a:ln>
              </c:spPr>
              <c:txPr>
                <a:bodyPr wrap="none"/>
                <a:lstStyle/>
                <a:p>
                  <a:pPr>
                    <a:defRPr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A88B-49EC-9AEF-3E33C688B01E}"/>
                </c:ext>
              </c:extLst>
            </c:dLbl>
            <c:dLbl>
              <c:idx val="1"/>
              <c:layout>
                <c:manualLayout>
                  <c:x val="0"/>
                  <c:y val="0"/>
                </c:manualLayout>
              </c:layout>
              <c:numFmt formatCode="#,##0;&quot;-&quot;#,##0;0" sourceLinked="0"/>
              <c:spPr>
                <a:noFill/>
                <a:ln>
                  <a:noFill/>
                </a:ln>
              </c:spPr>
              <c:txPr>
                <a:bodyPr wrap="none"/>
                <a:lstStyle/>
                <a:p>
                  <a:pPr>
                    <a:defRPr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A88B-49EC-9AEF-3E33C688B01E}"/>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B$3</c:f>
              <c:numCache>
                <c:formatCode>General</c:formatCode>
                <c:ptCount val="2"/>
                <c:pt idx="0">
                  <c:v>205.20000000000005</c:v>
                </c:pt>
                <c:pt idx="1">
                  <c:v>1174.9000000000001</c:v>
                </c:pt>
              </c:numCache>
            </c:numRef>
          </c:val>
          <c:extLst>
            <c:ext xmlns:c16="http://schemas.microsoft.com/office/drawing/2014/chart" uri="{C3380CC4-5D6E-409C-BE32-E72D297353CC}">
              <c16:uniqueId val="{00000008-A88B-49EC-9AEF-3E33C688B01E}"/>
            </c:ext>
          </c:extLst>
        </c:ser>
        <c:dLbls>
          <c:showLegendKey val="0"/>
          <c:showVal val="0"/>
          <c:showCatName val="0"/>
          <c:showSerName val="0"/>
          <c:showPercent val="0"/>
          <c:showBubbleSize val="0"/>
        </c:dLbls>
        <c:gapWidth val="40"/>
        <c:overlap val="100"/>
        <c:axId val="2078925103"/>
        <c:axId val="1"/>
      </c:barChart>
      <c:catAx>
        <c:axId val="2078925103"/>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2669"/>
          <c:min val="0"/>
        </c:scaling>
        <c:delete val="1"/>
        <c:axPos val="l"/>
        <c:numFmt formatCode="General" sourceLinked="1"/>
        <c:majorTickMark val="out"/>
        <c:minorTickMark val="none"/>
        <c:tickLblPos val="nextTo"/>
        <c:crossAx val="2078925103"/>
        <c:crosses val="min"/>
        <c:crossBetween val="between"/>
      </c:valAx>
    </c:plotArea>
    <c:plotVisOnly val="0"/>
    <c:dispBlanksAs val="gap"/>
    <c:showDLblsOverMax val="1"/>
  </c:chart>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2857142857142857E-2"/>
          <c:y val="0.11764705882352941"/>
          <c:w val="0.95428571428571429"/>
          <c:h val="0.76470588235294112"/>
        </c:manualLayout>
      </c:layout>
      <c:barChart>
        <c:barDir val="bar"/>
        <c:grouping val="clustered"/>
        <c:varyColors val="0"/>
        <c:ser>
          <c:idx val="0"/>
          <c:order val="0"/>
          <c:spPr>
            <a:solidFill>
              <a:schemeClr val="accent1"/>
            </a:solidFill>
            <a:ln w="9525" algn="ctr">
              <a:solidFill>
                <a:schemeClr val="bg1"/>
              </a:solidFill>
              <a:prstDash val="solid"/>
            </a:ln>
          </c:spPr>
          <c:invertIfNegative val="0"/>
          <c:val>
            <c:numRef>
              <c:f>Sheet1!$A$1</c:f>
              <c:numCache>
                <c:formatCode>General</c:formatCode>
                <c:ptCount val="1"/>
                <c:pt idx="0">
                  <c:v>0</c:v>
                </c:pt>
              </c:numCache>
            </c:numRef>
          </c:val>
          <c:extLst>
            <c:ext xmlns:c16="http://schemas.microsoft.com/office/drawing/2014/chart" uri="{C3380CC4-5D6E-409C-BE32-E72D297353CC}">
              <c16:uniqueId val="{00000000-1CEE-4708-9EAB-C9D8B99C1F24}"/>
            </c:ext>
          </c:extLst>
        </c:ser>
        <c:ser>
          <c:idx val="1"/>
          <c:order val="1"/>
          <c:spPr>
            <a:solidFill>
              <a:schemeClr val="accent2"/>
            </a:solidFill>
            <a:ln w="9525" algn="ctr">
              <a:solidFill>
                <a:schemeClr val="bg1"/>
              </a:solidFill>
              <a:prstDash val="solid"/>
            </a:ln>
          </c:spPr>
          <c:invertIfNegative val="0"/>
          <c:dLbls>
            <c:dLbl>
              <c:idx val="0"/>
              <c:layout>
                <c:manualLayout>
                  <c:x val="0.29714285714285715"/>
                  <c:y val="0"/>
                </c:manualLayout>
              </c:layout>
              <c:numFmt formatCode="#,##0;&quot;-&quot;#,##0;0"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1CEE-4708-9EAB-C9D8B99C1F24}"/>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c:f>
              <c:numCache>
                <c:formatCode>General</c:formatCode>
                <c:ptCount val="1"/>
                <c:pt idx="0">
                  <c:v>245</c:v>
                </c:pt>
              </c:numCache>
            </c:numRef>
          </c:val>
          <c:extLst>
            <c:ext xmlns:c16="http://schemas.microsoft.com/office/drawing/2014/chart" uri="{C3380CC4-5D6E-409C-BE32-E72D297353CC}">
              <c16:uniqueId val="{00000002-1CEE-4708-9EAB-C9D8B99C1F24}"/>
            </c:ext>
          </c:extLst>
        </c:ser>
        <c:ser>
          <c:idx val="2"/>
          <c:order val="2"/>
          <c:spPr>
            <a:solidFill>
              <a:schemeClr val="accent3"/>
            </a:solidFill>
            <a:ln w="9525" algn="ctr">
              <a:solidFill>
                <a:schemeClr val="bg1"/>
              </a:solidFill>
              <a:prstDash val="solid"/>
            </a:ln>
          </c:spPr>
          <c:invertIfNegative val="0"/>
          <c:dLbls>
            <c:dLbl>
              <c:idx val="0"/>
              <c:layout>
                <c:manualLayout>
                  <c:x val="0.33758241758241758"/>
                  <c:y val="0"/>
                </c:manualLayout>
              </c:layout>
              <c:numFmt formatCode="#,##0;&quot;-&quot;#,##0;0"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1CEE-4708-9EAB-C9D8B99C1F24}"/>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c:f>
              <c:numCache>
                <c:formatCode>General</c:formatCode>
                <c:ptCount val="1"/>
                <c:pt idx="0">
                  <c:v>285</c:v>
                </c:pt>
              </c:numCache>
            </c:numRef>
          </c:val>
          <c:extLst>
            <c:ext xmlns:c16="http://schemas.microsoft.com/office/drawing/2014/chart" uri="{C3380CC4-5D6E-409C-BE32-E72D297353CC}">
              <c16:uniqueId val="{00000004-1CEE-4708-9EAB-C9D8B99C1F24}"/>
            </c:ext>
          </c:extLst>
        </c:ser>
        <c:dLbls>
          <c:showLegendKey val="0"/>
          <c:showVal val="0"/>
          <c:showCatName val="0"/>
          <c:showSerName val="0"/>
          <c:showPercent val="0"/>
          <c:showBubbleSize val="0"/>
        </c:dLbls>
        <c:gapWidth val="40"/>
        <c:axId val="2033814447"/>
        <c:axId val="1"/>
      </c:barChart>
      <c:catAx>
        <c:axId val="2033814447"/>
        <c:scaling>
          <c:orientation val="maxMin"/>
        </c:scaling>
        <c:delete val="0"/>
        <c:axPos val="l"/>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469"/>
          <c:min val="0"/>
        </c:scaling>
        <c:delete val="1"/>
        <c:axPos val="t"/>
        <c:numFmt formatCode="General" sourceLinked="1"/>
        <c:majorTickMark val="out"/>
        <c:minorTickMark val="none"/>
        <c:tickLblPos val="nextTo"/>
        <c:crossAx val="2033814447"/>
        <c:crosses val="min"/>
        <c:crossBetween val="between"/>
      </c:valAx>
    </c:plotArea>
    <c:plotVisOnly val="0"/>
    <c:dispBlanksAs val="gap"/>
    <c:showDLblsOverMax val="1"/>
  </c:chart>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2857142857142857E-2"/>
          <c:y val="0.12235294117647059"/>
          <c:w val="0.95428571428571429"/>
          <c:h val="0.75529411764705878"/>
        </c:manualLayout>
      </c:layout>
      <c:barChart>
        <c:barDir val="bar"/>
        <c:grouping val="clustered"/>
        <c:varyColors val="0"/>
        <c:ser>
          <c:idx val="0"/>
          <c:order val="0"/>
          <c:spPr>
            <a:solidFill>
              <a:schemeClr val="accent1"/>
            </a:solidFill>
            <a:ln w="9525" algn="ctr">
              <a:solidFill>
                <a:schemeClr val="bg1"/>
              </a:solidFill>
              <a:prstDash val="solid"/>
            </a:ln>
          </c:spPr>
          <c:invertIfNegative val="0"/>
          <c:dLbls>
            <c:dLbl>
              <c:idx val="0"/>
              <c:layout>
                <c:manualLayout>
                  <c:x val="9.7582417582417577E-2"/>
                  <c:y val="0"/>
                </c:manualLayout>
              </c:layout>
              <c:numFmt formatCode="#,##0;&quot;-&quot;#,##0;0"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5CAE-4A5E-A95C-E786D219C8D6}"/>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c:f>
              <c:numCache>
                <c:formatCode>General</c:formatCode>
                <c:ptCount val="1"/>
                <c:pt idx="0">
                  <c:v>60</c:v>
                </c:pt>
              </c:numCache>
            </c:numRef>
          </c:val>
          <c:extLst>
            <c:ext xmlns:c16="http://schemas.microsoft.com/office/drawing/2014/chart" uri="{C3380CC4-5D6E-409C-BE32-E72D297353CC}">
              <c16:uniqueId val="{00000001-5CAE-4A5E-A95C-E786D219C8D6}"/>
            </c:ext>
          </c:extLst>
        </c:ser>
        <c:ser>
          <c:idx val="1"/>
          <c:order val="1"/>
          <c:invertIfNegative val="0"/>
          <c:val>
            <c:numRef>
              <c:f>Sheet1!$A$2</c:f>
              <c:numCache>
                <c:formatCode>General</c:formatCode>
                <c:ptCount val="1"/>
                <c:pt idx="0">
                  <c:v>0</c:v>
                </c:pt>
              </c:numCache>
            </c:numRef>
          </c:val>
          <c:extLst>
            <c:ext xmlns:c16="http://schemas.microsoft.com/office/drawing/2014/chart" uri="{C3380CC4-5D6E-409C-BE32-E72D297353CC}">
              <c16:uniqueId val="{00000002-5CAE-4A5E-A95C-E786D219C8D6}"/>
            </c:ext>
          </c:extLst>
        </c:ser>
        <c:ser>
          <c:idx val="2"/>
          <c:order val="2"/>
          <c:spPr>
            <a:solidFill>
              <a:schemeClr val="accent3"/>
            </a:solidFill>
            <a:ln w="9525" algn="ctr">
              <a:solidFill>
                <a:schemeClr val="bg1"/>
              </a:solidFill>
              <a:prstDash val="solid"/>
            </a:ln>
          </c:spPr>
          <c:invertIfNegative val="0"/>
          <c:dLbls>
            <c:dLbl>
              <c:idx val="0"/>
              <c:layout>
                <c:manualLayout>
                  <c:x val="0.38945054945054947"/>
                  <c:y val="0"/>
                </c:manualLayout>
              </c:layout>
              <c:numFmt formatCode="#,##0;&quot;-&quot;#,##0;0"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5CAE-4A5E-A95C-E786D219C8D6}"/>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c:f>
              <c:numCache>
                <c:formatCode>General</c:formatCode>
                <c:ptCount val="1"/>
                <c:pt idx="0">
                  <c:v>336</c:v>
                </c:pt>
              </c:numCache>
            </c:numRef>
          </c:val>
          <c:extLst>
            <c:ext xmlns:c16="http://schemas.microsoft.com/office/drawing/2014/chart" uri="{C3380CC4-5D6E-409C-BE32-E72D297353CC}">
              <c16:uniqueId val="{00000004-5CAE-4A5E-A95C-E786D219C8D6}"/>
            </c:ext>
          </c:extLst>
        </c:ser>
        <c:dLbls>
          <c:showLegendKey val="0"/>
          <c:showVal val="0"/>
          <c:showCatName val="0"/>
          <c:showSerName val="0"/>
          <c:showPercent val="0"/>
          <c:showBubbleSize val="0"/>
        </c:dLbls>
        <c:gapWidth val="40"/>
        <c:axId val="2033818191"/>
        <c:axId val="1"/>
      </c:barChart>
      <c:catAx>
        <c:axId val="2033818191"/>
        <c:scaling>
          <c:orientation val="maxMin"/>
        </c:scaling>
        <c:delete val="0"/>
        <c:axPos val="l"/>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469"/>
          <c:min val="0"/>
        </c:scaling>
        <c:delete val="1"/>
        <c:axPos val="t"/>
        <c:numFmt formatCode="General" sourceLinked="1"/>
        <c:majorTickMark val="out"/>
        <c:minorTickMark val="none"/>
        <c:tickLblPos val="nextTo"/>
        <c:crossAx val="2033818191"/>
        <c:crosses val="min"/>
        <c:crossBetween val="between"/>
      </c:valAx>
    </c:plotArea>
    <c:plotVisOnly val="0"/>
    <c:dispBlanksAs val="gap"/>
    <c:showDLblsOverMax val="1"/>
  </c:chart>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2099447513812154E-2"/>
          <c:y val="0.11764705882352941"/>
          <c:w val="0.92265193370165743"/>
          <c:h val="0.76470588235294112"/>
        </c:manualLayout>
      </c:layout>
      <c:barChart>
        <c:barDir val="bar"/>
        <c:grouping val="clustered"/>
        <c:varyColors val="0"/>
        <c:ser>
          <c:idx val="0"/>
          <c:order val="0"/>
          <c:spPr>
            <a:solidFill>
              <a:schemeClr val="accent1"/>
            </a:solidFill>
            <a:ln w="9525" algn="ctr">
              <a:solidFill>
                <a:schemeClr val="bg1"/>
              </a:solidFill>
              <a:prstDash val="solid"/>
            </a:ln>
          </c:spPr>
          <c:invertIfNegative val="0"/>
          <c:dLbls>
            <c:dLbl>
              <c:idx val="0"/>
              <c:layout>
                <c:manualLayout>
                  <c:x val="0.12367190820229494"/>
                  <c:y val="0"/>
                </c:manualLayout>
              </c:layout>
              <c:numFmt formatCode="#,##0;&quot;-&quot;#,##0;0"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E5F5-4429-845D-BA0110F902E6}"/>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c:f>
              <c:numCache>
                <c:formatCode>General</c:formatCode>
                <c:ptCount val="1"/>
                <c:pt idx="0">
                  <c:v>90</c:v>
                </c:pt>
              </c:numCache>
            </c:numRef>
          </c:val>
          <c:extLst>
            <c:ext xmlns:c16="http://schemas.microsoft.com/office/drawing/2014/chart" uri="{C3380CC4-5D6E-409C-BE32-E72D297353CC}">
              <c16:uniqueId val="{00000001-E5F5-4429-845D-BA0110F902E6}"/>
            </c:ext>
          </c:extLst>
        </c:ser>
        <c:ser>
          <c:idx val="1"/>
          <c:order val="1"/>
          <c:spPr>
            <a:solidFill>
              <a:schemeClr val="accent2"/>
            </a:solidFill>
            <a:ln w="9525" algn="ctr">
              <a:solidFill>
                <a:schemeClr val="bg1"/>
              </a:solidFill>
              <a:prstDash val="solid"/>
            </a:ln>
          </c:spPr>
          <c:invertIfNegative val="0"/>
          <c:dLbls>
            <c:dLbl>
              <c:idx val="0"/>
              <c:layout>
                <c:manualLayout>
                  <c:x val="0.23289417764555886"/>
                  <c:y val="0"/>
                </c:manualLayout>
              </c:layout>
              <c:numFmt formatCode="#,##0;&quot;-&quot;#,##0;0"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E5F5-4429-845D-BA0110F902E6}"/>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c:f>
              <c:numCache>
                <c:formatCode>General</c:formatCode>
                <c:ptCount val="1"/>
                <c:pt idx="0">
                  <c:v>190</c:v>
                </c:pt>
              </c:numCache>
            </c:numRef>
          </c:val>
          <c:extLst>
            <c:ext xmlns:c16="http://schemas.microsoft.com/office/drawing/2014/chart" uri="{C3380CC4-5D6E-409C-BE32-E72D297353CC}">
              <c16:uniqueId val="{00000003-E5F5-4429-845D-BA0110F902E6}"/>
            </c:ext>
          </c:extLst>
        </c:ser>
        <c:ser>
          <c:idx val="2"/>
          <c:order val="2"/>
          <c:spPr>
            <a:solidFill>
              <a:schemeClr val="accent3"/>
            </a:solidFill>
            <a:ln w="9525" algn="ctr">
              <a:solidFill>
                <a:schemeClr val="bg1"/>
              </a:solidFill>
              <a:prstDash val="solid"/>
            </a:ln>
          </c:spPr>
          <c:invertIfNegative val="0"/>
          <c:dLbls>
            <c:dLbl>
              <c:idx val="0"/>
              <c:layout>
                <c:manualLayout>
                  <c:x val="0.48916277093072674"/>
                  <c:y val="0"/>
                </c:manualLayout>
              </c:layout>
              <c:numFmt formatCode="#,##0;&quot;-&quot;#,##0;0"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E5F5-4429-845D-BA0110F902E6}"/>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c:f>
              <c:numCache>
                <c:formatCode>General</c:formatCode>
                <c:ptCount val="1"/>
                <c:pt idx="0">
                  <c:v>450</c:v>
                </c:pt>
              </c:numCache>
            </c:numRef>
          </c:val>
          <c:extLst>
            <c:ext xmlns:c16="http://schemas.microsoft.com/office/drawing/2014/chart" uri="{C3380CC4-5D6E-409C-BE32-E72D297353CC}">
              <c16:uniqueId val="{00000005-E5F5-4429-845D-BA0110F902E6}"/>
            </c:ext>
          </c:extLst>
        </c:ser>
        <c:dLbls>
          <c:showLegendKey val="0"/>
          <c:showVal val="0"/>
          <c:showCatName val="0"/>
          <c:showSerName val="0"/>
          <c:showPercent val="0"/>
          <c:showBubbleSize val="0"/>
        </c:dLbls>
        <c:gapWidth val="40"/>
        <c:axId val="2033824015"/>
        <c:axId val="1"/>
      </c:barChart>
      <c:catAx>
        <c:axId val="2033824015"/>
        <c:scaling>
          <c:orientation val="maxMin"/>
        </c:scaling>
        <c:delete val="0"/>
        <c:axPos val="l"/>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469"/>
          <c:min val="0"/>
        </c:scaling>
        <c:delete val="1"/>
        <c:axPos val="t"/>
        <c:numFmt formatCode="General" sourceLinked="1"/>
        <c:majorTickMark val="out"/>
        <c:minorTickMark val="none"/>
        <c:tickLblPos val="nextTo"/>
        <c:crossAx val="2033824015"/>
        <c:crosses val="min"/>
        <c:crossBetween val="between"/>
      </c:valAx>
    </c:plotArea>
    <c:plotVisOnly val="0"/>
    <c:dispBlanksAs val="gap"/>
    <c:showDLblsOverMax val="1"/>
  </c:chart>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2138188608776844E-2"/>
          <c:y val="2.7469624933967249E-2"/>
          <c:w val="0.97572362278244629"/>
          <c:h val="0.94506075013206547"/>
        </c:manualLayout>
      </c:layout>
      <c:barChart>
        <c:barDir val="col"/>
        <c:grouping val="stacked"/>
        <c:varyColors val="0"/>
        <c:ser>
          <c:idx val="0"/>
          <c:order val="0"/>
          <c:spPr>
            <a:solidFill>
              <a:schemeClr val="accent4"/>
            </a:solidFill>
            <a:ln w="9525" algn="ctr">
              <a:solidFill>
                <a:schemeClr val="bg1"/>
              </a:solidFill>
              <a:prstDash val="solid"/>
            </a:ln>
          </c:spPr>
          <c:invertIfNegative val="0"/>
          <c:val>
            <c:numRef>
              <c:f>Sheet1!$A$1:$E$1</c:f>
              <c:numCache>
                <c:formatCode>General</c:formatCode>
                <c:ptCount val="5"/>
                <c:pt idx="0">
                  <c:v>2.5114420689346519</c:v>
                </c:pt>
                <c:pt idx="1">
                  <c:v>2.6910542865365854</c:v>
                </c:pt>
                <c:pt idx="2">
                  <c:v>2.7509250257372306</c:v>
                </c:pt>
                <c:pt idx="3">
                  <c:v>2.8496897873360876</c:v>
                </c:pt>
                <c:pt idx="4">
                  <c:v>2.9660866518040097</c:v>
                </c:pt>
              </c:numCache>
            </c:numRef>
          </c:val>
          <c:extLst>
            <c:ext xmlns:c16="http://schemas.microsoft.com/office/drawing/2014/chart" uri="{C3380CC4-5D6E-409C-BE32-E72D297353CC}">
              <c16:uniqueId val="{00000000-5537-4EAB-9C8A-C68A43530862}"/>
            </c:ext>
          </c:extLst>
        </c:ser>
        <c:ser>
          <c:idx val="1"/>
          <c:order val="1"/>
          <c:spPr>
            <a:solidFill>
              <a:schemeClr val="accent3"/>
            </a:solidFill>
            <a:ln w="9525" algn="ctr">
              <a:solidFill>
                <a:schemeClr val="bg1"/>
              </a:solidFill>
              <a:prstDash val="solid"/>
            </a:ln>
          </c:spPr>
          <c:invertIfNegative val="0"/>
          <c:dLbls>
            <c:dLbl>
              <c:idx val="0"/>
              <c:layout>
                <c:manualLayout>
                  <c:x val="0"/>
                  <c:y val="0"/>
                </c:manualLayout>
              </c:layout>
              <c:numFmt formatCode="#,##0;&quot;-&quot;#,##0;0" sourceLinked="0"/>
              <c:spPr>
                <a:noFill/>
                <a:ln>
                  <a:noFill/>
                </a:ln>
              </c:spPr>
              <c:txPr>
                <a:bodyPr wrap="none"/>
                <a:lstStyle/>
                <a:p>
                  <a:pPr>
                    <a:defRPr sz="1400" kern="1200">
                      <a:solidFill>
                        <a:schemeClr val="tx2"/>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5537-4EAB-9C8A-C68A43530862}"/>
                </c:ext>
              </c:extLst>
            </c:dLbl>
            <c:dLbl>
              <c:idx val="1"/>
              <c:layout>
                <c:manualLayout>
                  <c:x val="0"/>
                  <c:y val="0"/>
                </c:manualLayout>
              </c:layout>
              <c:numFmt formatCode="#,##0;&quot;-&quot;#,##0;0" sourceLinked="0"/>
              <c:spPr>
                <a:noFill/>
                <a:ln>
                  <a:noFill/>
                </a:ln>
              </c:spPr>
              <c:txPr>
                <a:bodyPr wrap="none"/>
                <a:lstStyle/>
                <a:p>
                  <a:pPr>
                    <a:defRPr sz="1400" kern="1200">
                      <a:solidFill>
                        <a:schemeClr val="tx2"/>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5537-4EAB-9C8A-C68A43530862}"/>
                </c:ext>
              </c:extLst>
            </c:dLbl>
            <c:dLbl>
              <c:idx val="2"/>
              <c:layout>
                <c:manualLayout>
                  <c:x val="0"/>
                  <c:y val="0"/>
                </c:manualLayout>
              </c:layout>
              <c:numFmt formatCode="#,##0;&quot;-&quot;#,##0;0" sourceLinked="0"/>
              <c:spPr>
                <a:noFill/>
                <a:ln>
                  <a:noFill/>
                </a:ln>
              </c:spPr>
              <c:txPr>
                <a:bodyPr wrap="none"/>
                <a:lstStyle/>
                <a:p>
                  <a:pPr>
                    <a:defRPr sz="1400" kern="1200">
                      <a:solidFill>
                        <a:schemeClr val="tx2"/>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5537-4EAB-9C8A-C68A43530862}"/>
                </c:ext>
              </c:extLst>
            </c:dLbl>
            <c:dLbl>
              <c:idx val="3"/>
              <c:layout>
                <c:manualLayout>
                  <c:x val="0"/>
                  <c:y val="0"/>
                </c:manualLayout>
              </c:layout>
              <c:numFmt formatCode="#,##0;&quot;-&quot;#,##0;0" sourceLinked="0"/>
              <c:spPr>
                <a:noFill/>
                <a:ln>
                  <a:noFill/>
                </a:ln>
              </c:spPr>
              <c:txPr>
                <a:bodyPr wrap="none"/>
                <a:lstStyle/>
                <a:p>
                  <a:pPr>
                    <a:defRPr sz="1400" kern="1200">
                      <a:solidFill>
                        <a:schemeClr val="tx2"/>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5537-4EAB-9C8A-C68A43530862}"/>
                </c:ext>
              </c:extLst>
            </c:dLbl>
            <c:dLbl>
              <c:idx val="4"/>
              <c:layout>
                <c:manualLayout>
                  <c:x val="0"/>
                  <c:y val="0"/>
                </c:manualLayout>
              </c:layout>
              <c:numFmt formatCode="#,##0;&quot;-&quot;#,##0;0" sourceLinked="0"/>
              <c:spPr>
                <a:noFill/>
                <a:ln>
                  <a:noFill/>
                </a:ln>
              </c:spPr>
              <c:txPr>
                <a:bodyPr wrap="none"/>
                <a:lstStyle/>
                <a:p>
                  <a:pPr>
                    <a:defRPr sz="1400" kern="1200">
                      <a:solidFill>
                        <a:schemeClr val="tx2"/>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5537-4EAB-9C8A-C68A43530862}"/>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E$2</c:f>
              <c:numCache>
                <c:formatCode>General</c:formatCode>
                <c:ptCount val="5"/>
                <c:pt idx="0">
                  <c:v>34.781885941213666</c:v>
                </c:pt>
                <c:pt idx="1">
                  <c:v>34.781885941213666</c:v>
                </c:pt>
                <c:pt idx="2">
                  <c:v>34.781885941213666</c:v>
                </c:pt>
                <c:pt idx="3">
                  <c:v>34.781885941213666</c:v>
                </c:pt>
                <c:pt idx="4">
                  <c:v>34.781885941213666</c:v>
                </c:pt>
              </c:numCache>
            </c:numRef>
          </c:val>
          <c:extLst>
            <c:ext xmlns:c16="http://schemas.microsoft.com/office/drawing/2014/chart" uri="{C3380CC4-5D6E-409C-BE32-E72D297353CC}">
              <c16:uniqueId val="{00000006-5537-4EAB-9C8A-C68A43530862}"/>
            </c:ext>
          </c:extLst>
        </c:ser>
        <c:ser>
          <c:idx val="2"/>
          <c:order val="2"/>
          <c:spPr>
            <a:solidFill>
              <a:schemeClr val="accent2"/>
            </a:solidFill>
            <a:ln w="9525" algn="ctr">
              <a:solidFill>
                <a:schemeClr val="bg1"/>
              </a:solidFill>
              <a:prstDash val="solid"/>
            </a:ln>
          </c:spPr>
          <c:invertIfNegative val="0"/>
          <c:dLbls>
            <c:dLbl>
              <c:idx val="0"/>
              <c:layout>
                <c:manualLayout>
                  <c:x val="0"/>
                  <c:y val="-5.2826201796090863E-4"/>
                </c:manualLayout>
              </c:layout>
              <c:numFmt formatCode="#,##0;&quot;-&quot;#,##0;0" sourceLinked="0"/>
              <c:spPr>
                <a:noFill/>
                <a:ln>
                  <a:noFill/>
                </a:ln>
              </c:spPr>
              <c:txPr>
                <a:bodyPr wrap="none"/>
                <a:lstStyle/>
                <a:p>
                  <a:pPr>
                    <a:defRPr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5537-4EAB-9C8A-C68A43530862}"/>
                </c:ext>
              </c:extLst>
            </c:dLbl>
            <c:dLbl>
              <c:idx val="1"/>
              <c:layout>
                <c:manualLayout>
                  <c:x val="0"/>
                  <c:y val="0"/>
                </c:manualLayout>
              </c:layout>
              <c:numFmt formatCode="#,##0;&quot;-&quot;#,##0;0" sourceLinked="0"/>
              <c:spPr>
                <a:noFill/>
                <a:ln>
                  <a:noFill/>
                </a:ln>
              </c:spPr>
              <c:txPr>
                <a:bodyPr wrap="none"/>
                <a:lstStyle/>
                <a:p>
                  <a:pPr>
                    <a:defRPr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5537-4EAB-9C8A-C68A43530862}"/>
                </c:ext>
              </c:extLst>
            </c:dLbl>
            <c:dLbl>
              <c:idx val="2"/>
              <c:layout>
                <c:manualLayout>
                  <c:x val="0"/>
                  <c:y val="0"/>
                </c:manualLayout>
              </c:layout>
              <c:numFmt formatCode="#,##0;&quot;-&quot;#,##0;0" sourceLinked="0"/>
              <c:spPr>
                <a:noFill/>
                <a:ln>
                  <a:noFill/>
                </a:ln>
              </c:spPr>
              <c:txPr>
                <a:bodyPr wrap="none"/>
                <a:lstStyle/>
                <a:p>
                  <a:pPr>
                    <a:defRPr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5537-4EAB-9C8A-C68A43530862}"/>
                </c:ext>
              </c:extLst>
            </c:dLbl>
            <c:dLbl>
              <c:idx val="3"/>
              <c:layout>
                <c:manualLayout>
                  <c:x val="0"/>
                  <c:y val="0"/>
                </c:manualLayout>
              </c:layout>
              <c:numFmt formatCode="#,##0;&quot;-&quot;#,##0;0" sourceLinked="0"/>
              <c:spPr>
                <a:noFill/>
                <a:ln>
                  <a:noFill/>
                </a:ln>
              </c:spPr>
              <c:txPr>
                <a:bodyPr wrap="none"/>
                <a:lstStyle/>
                <a:p>
                  <a:pPr>
                    <a:defRPr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5537-4EAB-9C8A-C68A43530862}"/>
                </c:ext>
              </c:extLst>
            </c:dLbl>
            <c:dLbl>
              <c:idx val="4"/>
              <c:layout>
                <c:manualLayout>
                  <c:x val="0"/>
                  <c:y val="-5.2826201796090863E-4"/>
                </c:manualLayout>
              </c:layout>
              <c:numFmt formatCode="#,##0;&quot;-&quot;#,##0;0" sourceLinked="0"/>
              <c:spPr>
                <a:noFill/>
                <a:ln>
                  <a:noFill/>
                </a:ln>
              </c:spPr>
              <c:txPr>
                <a:bodyPr wrap="none"/>
                <a:lstStyle/>
                <a:p>
                  <a:pPr>
                    <a:defRPr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5537-4EAB-9C8A-C68A43530862}"/>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E$3</c:f>
              <c:numCache>
                <c:formatCode>General</c:formatCode>
                <c:ptCount val="5"/>
                <c:pt idx="0">
                  <c:v>43.530417959155756</c:v>
                </c:pt>
                <c:pt idx="1">
                  <c:v>29.020278639437173</c:v>
                </c:pt>
                <c:pt idx="2">
                  <c:v>24.183565532864314</c:v>
                </c:pt>
                <c:pt idx="3">
                  <c:v>19.346852426291456</c:v>
                </c:pt>
                <c:pt idx="4">
                  <c:v>17.412167183662305</c:v>
                </c:pt>
              </c:numCache>
            </c:numRef>
          </c:val>
          <c:extLst>
            <c:ext xmlns:c16="http://schemas.microsoft.com/office/drawing/2014/chart" uri="{C3380CC4-5D6E-409C-BE32-E72D297353CC}">
              <c16:uniqueId val="{0000000C-5537-4EAB-9C8A-C68A43530862}"/>
            </c:ext>
          </c:extLst>
        </c:ser>
        <c:ser>
          <c:idx val="3"/>
          <c:order val="3"/>
          <c:spPr>
            <a:solidFill>
              <a:schemeClr val="accent1"/>
            </a:solidFill>
            <a:ln w="9525" algn="ctr">
              <a:solidFill>
                <a:schemeClr val="bg1"/>
              </a:solidFill>
              <a:prstDash val="solid"/>
            </a:ln>
          </c:spPr>
          <c:invertIfNegative val="0"/>
          <c:dLbls>
            <c:dLbl>
              <c:idx val="0"/>
              <c:layout>
                <c:manualLayout>
                  <c:x val="0"/>
                  <c:y val="-5.2826201796090863E-4"/>
                </c:manualLayout>
              </c:layout>
              <c:numFmt formatCode="#,##0;&quot;-&quot;#,##0;0" sourceLinked="0"/>
              <c:spPr>
                <a:noFill/>
                <a:ln>
                  <a:noFill/>
                </a:ln>
              </c:spPr>
              <c:txPr>
                <a:bodyPr wrap="none"/>
                <a:lstStyle/>
                <a:p>
                  <a:pPr>
                    <a:defRPr sz="1400" kern="1200">
                      <a:solidFill>
                        <a:schemeClr val="tx2"/>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5537-4EAB-9C8A-C68A43530862}"/>
                </c:ext>
              </c:extLst>
            </c:dLbl>
            <c:dLbl>
              <c:idx val="1"/>
              <c:layout>
                <c:manualLayout>
                  <c:x val="0"/>
                  <c:y val="0"/>
                </c:manualLayout>
              </c:layout>
              <c:numFmt formatCode="#,##0;&quot;-&quot;#,##0;0" sourceLinked="0"/>
              <c:spPr>
                <a:noFill/>
                <a:ln>
                  <a:noFill/>
                </a:ln>
              </c:spPr>
              <c:txPr>
                <a:bodyPr wrap="none"/>
                <a:lstStyle/>
                <a:p>
                  <a:pPr>
                    <a:defRPr sz="1400" kern="1200">
                      <a:solidFill>
                        <a:schemeClr val="tx2"/>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5537-4EAB-9C8A-C68A43530862}"/>
                </c:ext>
              </c:extLst>
            </c:dLbl>
            <c:dLbl>
              <c:idx val="2"/>
              <c:layout>
                <c:manualLayout>
                  <c:x val="0"/>
                  <c:y val="0"/>
                </c:manualLayout>
              </c:layout>
              <c:numFmt formatCode="#,##0;&quot;-&quot;#,##0;0" sourceLinked="0"/>
              <c:spPr>
                <a:noFill/>
                <a:ln>
                  <a:noFill/>
                </a:ln>
              </c:spPr>
              <c:txPr>
                <a:bodyPr wrap="none"/>
                <a:lstStyle/>
                <a:p>
                  <a:pPr>
                    <a:defRPr sz="1400" kern="1200">
                      <a:solidFill>
                        <a:schemeClr val="tx2"/>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5537-4EAB-9C8A-C68A43530862}"/>
                </c:ext>
              </c:extLst>
            </c:dLbl>
            <c:dLbl>
              <c:idx val="3"/>
              <c:layout>
                <c:manualLayout>
                  <c:x val="0"/>
                  <c:y val="0"/>
                </c:manualLayout>
              </c:layout>
              <c:numFmt formatCode="#,##0;&quot;-&quot;#,##0;0" sourceLinked="0"/>
              <c:spPr>
                <a:noFill/>
                <a:ln>
                  <a:noFill/>
                </a:ln>
              </c:spPr>
              <c:txPr>
                <a:bodyPr wrap="none"/>
                <a:lstStyle/>
                <a:p>
                  <a:pPr>
                    <a:defRPr sz="1400" kern="1200">
                      <a:solidFill>
                        <a:schemeClr val="tx2"/>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5537-4EAB-9C8A-C68A43530862}"/>
                </c:ext>
              </c:extLst>
            </c:dLbl>
            <c:dLbl>
              <c:idx val="4"/>
              <c:layout>
                <c:manualLayout>
                  <c:x val="0"/>
                  <c:y val="-5.2826201796090863E-4"/>
                </c:manualLayout>
              </c:layout>
              <c:numFmt formatCode="#,##0;&quot;-&quot;#,##0;0" sourceLinked="0"/>
              <c:spPr>
                <a:noFill/>
                <a:ln>
                  <a:noFill/>
                </a:ln>
              </c:spPr>
              <c:txPr>
                <a:bodyPr wrap="none"/>
                <a:lstStyle/>
                <a:p>
                  <a:pPr>
                    <a:defRPr sz="1400" kern="1200">
                      <a:solidFill>
                        <a:schemeClr val="tx2"/>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5537-4EAB-9C8A-C68A43530862}"/>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E$4</c:f>
              <c:numCache>
                <c:formatCode>General</c:formatCode>
                <c:ptCount val="5"/>
                <c:pt idx="0">
                  <c:v>52.637177710300648</c:v>
                </c:pt>
                <c:pt idx="1">
                  <c:v>35.091451806867099</c:v>
                </c:pt>
                <c:pt idx="2">
                  <c:v>29.242876505722592</c:v>
                </c:pt>
                <c:pt idx="3">
                  <c:v>23.39430120457807</c:v>
                </c:pt>
                <c:pt idx="4">
                  <c:v>21.054871084120265</c:v>
                </c:pt>
              </c:numCache>
            </c:numRef>
          </c:val>
          <c:extLst>
            <c:ext xmlns:c16="http://schemas.microsoft.com/office/drawing/2014/chart" uri="{C3380CC4-5D6E-409C-BE32-E72D297353CC}">
              <c16:uniqueId val="{00000012-5537-4EAB-9C8A-C68A43530862}"/>
            </c:ext>
          </c:extLst>
        </c:ser>
        <c:ser>
          <c:idx val="4"/>
          <c:order val="4"/>
          <c:spPr>
            <a:solidFill>
              <a:schemeClr val="bg1"/>
            </a:solidFill>
            <a:ln>
              <a:noFill/>
            </a:ln>
          </c:spPr>
          <c:invertIfNegative val="0"/>
          <c:dLbls>
            <c:dLbl>
              <c:idx val="0"/>
              <c:layout>
                <c:manualLayout>
                  <c:x val="0"/>
                  <c:y val="0"/>
                </c:manualLayout>
              </c:layout>
              <c:numFmt formatCode="#,##0;&quot;-&quot;#,##0;0" sourceLinked="0"/>
              <c:spPr>
                <a:noFill/>
                <a:ln>
                  <a:noFill/>
                </a:ln>
              </c:spPr>
              <c:txPr>
                <a:bodyPr wrap="none"/>
                <a:lstStyle/>
                <a:p>
                  <a:pPr>
                    <a:defRPr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5537-4EAB-9C8A-C68A43530862}"/>
                </c:ext>
              </c:extLst>
            </c:dLbl>
            <c:dLbl>
              <c:idx val="1"/>
              <c:layout>
                <c:manualLayout>
                  <c:x val="-3.4780578898225958E-2"/>
                  <c:y val="0"/>
                </c:manualLayout>
              </c:layout>
              <c:numFmt formatCode="#,##0;&quot;-&quot;#,##0;0" sourceLinked="0"/>
              <c:spPr>
                <a:noFill/>
                <a:ln>
                  <a:noFill/>
                </a:ln>
              </c:spPr>
              <c:txPr>
                <a:bodyPr wrap="none"/>
                <a:lstStyle/>
                <a:p>
                  <a:pPr>
                    <a:defRPr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5537-4EAB-9C8A-C68A43530862}"/>
                </c:ext>
              </c:extLst>
            </c:dLbl>
            <c:dLbl>
              <c:idx val="2"/>
              <c:layout>
                <c:manualLayout>
                  <c:x val="-3.4780578898225958E-2"/>
                  <c:y val="0"/>
                </c:manualLayout>
              </c:layout>
              <c:numFmt formatCode="#,##0;&quot;-&quot;#,##0;0" sourceLinked="0"/>
              <c:spPr>
                <a:noFill/>
                <a:ln>
                  <a:noFill/>
                </a:ln>
              </c:spPr>
              <c:txPr>
                <a:bodyPr wrap="none"/>
                <a:lstStyle/>
                <a:p>
                  <a:pPr>
                    <a:defRPr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5537-4EAB-9C8A-C68A43530862}"/>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5:$E$5</c:f>
              <c:numCache>
                <c:formatCode>General</c:formatCode>
                <c:ptCount val="5"/>
                <c:pt idx="0">
                  <c:v>-24.669729535966031</c:v>
                </c:pt>
                <c:pt idx="1">
                  <c:v>-16.446486357310683</c:v>
                </c:pt>
                <c:pt idx="2">
                  <c:v>-13.705405297758906</c:v>
                </c:pt>
                <c:pt idx="3">
                  <c:v>-10.964324238207123</c:v>
                </c:pt>
                <c:pt idx="4">
                  <c:v>-9.8678918143864127</c:v>
                </c:pt>
              </c:numCache>
            </c:numRef>
          </c:val>
          <c:extLst>
            <c:ext xmlns:c16="http://schemas.microsoft.com/office/drawing/2014/chart" uri="{C3380CC4-5D6E-409C-BE32-E72D297353CC}">
              <c16:uniqueId val="{00000016-5537-4EAB-9C8A-C68A43530862}"/>
            </c:ext>
          </c:extLst>
        </c:ser>
        <c:dLbls>
          <c:showLegendKey val="0"/>
          <c:showVal val="0"/>
          <c:showCatName val="0"/>
          <c:showSerName val="0"/>
          <c:showPercent val="0"/>
          <c:showBubbleSize val="0"/>
        </c:dLbls>
        <c:gapWidth val="40"/>
        <c:overlap val="100"/>
        <c:axId val="291161455"/>
        <c:axId val="1"/>
      </c:barChart>
      <c:catAx>
        <c:axId val="291161455"/>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At val="0"/>
        <c:auto val="0"/>
        <c:lblAlgn val="ctr"/>
        <c:lblOffset val="100"/>
        <c:noMultiLvlLbl val="0"/>
      </c:catAx>
      <c:valAx>
        <c:axId val="1"/>
        <c:scaling>
          <c:orientation val="minMax"/>
          <c:max val="140"/>
          <c:min val="-40"/>
        </c:scaling>
        <c:delete val="0"/>
        <c:axPos val="l"/>
        <c:majorGridlines>
          <c:spPr>
            <a:ln>
              <a:noFill/>
            </a:ln>
          </c:spPr>
        </c:majorGridlines>
        <c:numFmt formatCode="General" sourceLinked="1"/>
        <c:majorTickMark val="none"/>
        <c:minorTickMark val="none"/>
        <c:tickLblPos val="none"/>
        <c:spPr>
          <a:ln w="9525" algn="ctr">
            <a:solidFill>
              <a:schemeClr val="tx1"/>
            </a:solidFill>
            <a:prstDash val="solid"/>
          </a:ln>
        </c:spPr>
        <c:crossAx val="291161455"/>
        <c:crosses val="min"/>
        <c:crossBetween val="between"/>
        <c:majorUnit val="20"/>
      </c:valAx>
    </c:plotArea>
    <c:plotVisOnly val="0"/>
    <c:dispBlanksAs val="gap"/>
    <c:showDLblsOverMax val="1"/>
  </c:chart>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212068058235396E-3"/>
          <c:y val="4.6301524562394128E-2"/>
          <c:w val="0.98175758638835287"/>
          <c:h val="0.92433653303218521"/>
        </c:manualLayout>
      </c:layout>
      <c:barChart>
        <c:barDir val="col"/>
        <c:grouping val="stacked"/>
        <c:varyColors val="0"/>
        <c:ser>
          <c:idx val="0"/>
          <c:order val="0"/>
          <c:spPr>
            <a:noFill/>
            <a:ln>
              <a:noFill/>
            </a:ln>
          </c:spPr>
          <c:invertIfNegative val="0"/>
          <c:dPt>
            <c:idx val="0"/>
            <c:invertIfNegative val="0"/>
            <c:bubble3D val="0"/>
            <c:spPr>
              <a:solidFill>
                <a:srgbClr val="D9D9D9"/>
              </a:solidFill>
              <a:ln>
                <a:noFill/>
              </a:ln>
            </c:spPr>
            <c:extLst>
              <c:ext xmlns:c16="http://schemas.microsoft.com/office/drawing/2014/chart" uri="{C3380CC4-5D6E-409C-BE32-E72D297353CC}">
                <c16:uniqueId val="{00000001-925E-487F-A732-CA5B3CD9AF68}"/>
              </c:ext>
            </c:extLst>
          </c:dPt>
          <c:dPt>
            <c:idx val="1"/>
            <c:invertIfNegative val="0"/>
            <c:bubble3D val="0"/>
            <c:spPr>
              <a:solidFill>
                <a:schemeClr val="accent1"/>
              </a:solidFill>
              <a:ln w="19050" algn="ctr">
                <a:solidFill>
                  <a:schemeClr val="accent1"/>
                </a:solidFill>
                <a:prstDash val="solid"/>
              </a:ln>
            </c:spPr>
            <c:extLst>
              <c:ext xmlns:c16="http://schemas.microsoft.com/office/drawing/2014/chart" uri="{C3380CC4-5D6E-409C-BE32-E72D297353CC}">
                <c16:uniqueId val="{00000003-925E-487F-A732-CA5B3CD9AF68}"/>
              </c:ext>
            </c:extLst>
          </c:dPt>
          <c:dPt>
            <c:idx val="2"/>
            <c:invertIfNegative val="0"/>
            <c:bubble3D val="0"/>
            <c:spPr>
              <a:solidFill>
                <a:schemeClr val="accent2"/>
              </a:solidFill>
              <a:ln w="19050" algn="ctr">
                <a:solidFill>
                  <a:schemeClr val="accent2"/>
                </a:solidFill>
                <a:prstDash val="solid"/>
              </a:ln>
            </c:spPr>
            <c:extLst>
              <c:ext xmlns:c16="http://schemas.microsoft.com/office/drawing/2014/chart" uri="{C3380CC4-5D6E-409C-BE32-E72D297353CC}">
                <c16:uniqueId val="{00000005-925E-487F-A732-CA5B3CD9AF68}"/>
              </c:ext>
            </c:extLst>
          </c:dPt>
          <c:dPt>
            <c:idx val="4"/>
            <c:invertIfNegative val="0"/>
            <c:bubble3D val="0"/>
            <c:spPr>
              <a:solidFill>
                <a:srgbClr val="D9D9D9"/>
              </a:solidFill>
              <a:ln>
                <a:noFill/>
              </a:ln>
            </c:spPr>
            <c:extLst>
              <c:ext xmlns:c16="http://schemas.microsoft.com/office/drawing/2014/chart" uri="{C3380CC4-5D6E-409C-BE32-E72D297353CC}">
                <c16:uniqueId val="{00000007-925E-487F-A732-CA5B3CD9AF68}"/>
              </c:ext>
            </c:extLst>
          </c:dPt>
          <c:dPt>
            <c:idx val="5"/>
            <c:invertIfNegative val="0"/>
            <c:bubble3D val="0"/>
            <c:spPr>
              <a:solidFill>
                <a:schemeClr val="accent1"/>
              </a:solidFill>
              <a:ln w="9525" algn="ctr">
                <a:solidFill>
                  <a:schemeClr val="bg1"/>
                </a:solidFill>
                <a:prstDash val="solid"/>
              </a:ln>
            </c:spPr>
            <c:extLst>
              <c:ext xmlns:c16="http://schemas.microsoft.com/office/drawing/2014/chart" uri="{C3380CC4-5D6E-409C-BE32-E72D297353CC}">
                <c16:uniqueId val="{00000009-925E-487F-A732-CA5B3CD9AF68}"/>
              </c:ext>
            </c:extLst>
          </c:dPt>
          <c:dPt>
            <c:idx val="6"/>
            <c:invertIfNegative val="0"/>
            <c:bubble3D val="0"/>
            <c:spPr>
              <a:solidFill>
                <a:schemeClr val="accent2"/>
              </a:solidFill>
              <a:ln w="9525" algn="ctr">
                <a:solidFill>
                  <a:schemeClr val="bg1"/>
                </a:solidFill>
                <a:prstDash val="solid"/>
              </a:ln>
            </c:spPr>
            <c:extLst>
              <c:ext xmlns:c16="http://schemas.microsoft.com/office/drawing/2014/chart" uri="{C3380CC4-5D6E-409C-BE32-E72D297353CC}">
                <c16:uniqueId val="{0000000B-925E-487F-A732-CA5B3CD9AF68}"/>
              </c:ext>
            </c:extLst>
          </c:dPt>
          <c:dPt>
            <c:idx val="8"/>
            <c:invertIfNegative val="0"/>
            <c:bubble3D val="0"/>
            <c:spPr>
              <a:solidFill>
                <a:srgbClr val="D9D9D9"/>
              </a:solidFill>
              <a:ln>
                <a:noFill/>
              </a:ln>
            </c:spPr>
            <c:extLst>
              <c:ext xmlns:c16="http://schemas.microsoft.com/office/drawing/2014/chart" uri="{C3380CC4-5D6E-409C-BE32-E72D297353CC}">
                <c16:uniqueId val="{0000000D-925E-487F-A732-CA5B3CD9AF68}"/>
              </c:ext>
            </c:extLst>
          </c:dPt>
          <c:dPt>
            <c:idx val="9"/>
            <c:invertIfNegative val="0"/>
            <c:bubble3D val="0"/>
            <c:spPr>
              <a:solidFill>
                <a:schemeClr val="accent1"/>
              </a:solidFill>
              <a:ln w="9525" algn="ctr">
                <a:solidFill>
                  <a:schemeClr val="bg1"/>
                </a:solidFill>
                <a:prstDash val="solid"/>
              </a:ln>
            </c:spPr>
            <c:extLst>
              <c:ext xmlns:c16="http://schemas.microsoft.com/office/drawing/2014/chart" uri="{C3380CC4-5D6E-409C-BE32-E72D297353CC}">
                <c16:uniqueId val="{0000000F-925E-487F-A732-CA5B3CD9AF68}"/>
              </c:ext>
            </c:extLst>
          </c:dPt>
          <c:dPt>
            <c:idx val="10"/>
            <c:invertIfNegative val="0"/>
            <c:bubble3D val="0"/>
            <c:spPr>
              <a:solidFill>
                <a:schemeClr val="accent2"/>
              </a:solidFill>
              <a:ln w="9525" algn="ctr">
                <a:solidFill>
                  <a:schemeClr val="bg1"/>
                </a:solidFill>
                <a:prstDash val="solid"/>
              </a:ln>
            </c:spPr>
            <c:extLst>
              <c:ext xmlns:c16="http://schemas.microsoft.com/office/drawing/2014/chart" uri="{C3380CC4-5D6E-409C-BE32-E72D297353CC}">
                <c16:uniqueId val="{00000011-925E-487F-A732-CA5B3CD9AF68}"/>
              </c:ext>
            </c:extLst>
          </c:dPt>
          <c:dLbls>
            <c:dLbl>
              <c:idx val="0"/>
              <c:layout>
                <c:manualLayout>
                  <c:x val="0"/>
                  <c:y val="-0.48560135516657255"/>
                </c:manualLayout>
              </c:layout>
              <c:numFmt formatCode="#,##0;&quot;-&quot;#,##0;0" sourceLinked="0"/>
              <c:spPr>
                <a:noFill/>
                <a:ln>
                  <a:noFill/>
                </a:ln>
              </c:spPr>
              <c:txPr>
                <a:bodyPr wrap="none"/>
                <a:lstStyle/>
                <a:p>
                  <a:pPr>
                    <a:defRPr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925E-487F-A732-CA5B3CD9AF68}"/>
                </c:ext>
              </c:extLst>
            </c:dLbl>
            <c:dLbl>
              <c:idx val="1"/>
              <c:layout>
                <c:manualLayout>
                  <c:x val="0"/>
                  <c:y val="-5.6465273856578201E-4"/>
                </c:manualLayout>
              </c:layout>
              <c:numFmt formatCode="#,##0;&quot;-&quot;#,##0;0" sourceLinked="0"/>
              <c:spPr>
                <a:noFill/>
                <a:ln>
                  <a:noFill/>
                </a:ln>
              </c:spPr>
              <c:txPr>
                <a:bodyPr wrap="none"/>
                <a:lstStyle/>
                <a:p>
                  <a:pPr>
                    <a:defRPr sz="1400" kern="1200">
                      <a:solidFill>
                        <a:schemeClr val="tx2"/>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925E-487F-A732-CA5B3CD9AF68}"/>
                </c:ext>
              </c:extLst>
            </c:dLbl>
            <c:dLbl>
              <c:idx val="2"/>
              <c:layout>
                <c:manualLayout>
                  <c:x val="0"/>
                  <c:y val="0"/>
                </c:manualLayout>
              </c:layout>
              <c:numFmt formatCode="#,##0;&quot;-&quot;#,##0;0" sourceLinked="0"/>
              <c:spPr>
                <a:noFill/>
                <a:ln>
                  <a:noFill/>
                </a:ln>
              </c:spPr>
              <c:txPr>
                <a:bodyPr wrap="none"/>
                <a:lstStyle/>
                <a:p>
                  <a:pPr>
                    <a:defRPr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925E-487F-A732-CA5B3CD9AF68}"/>
                </c:ext>
              </c:extLst>
            </c:dLbl>
            <c:dLbl>
              <c:idx val="4"/>
              <c:layout>
                <c:manualLayout>
                  <c:x val="0"/>
                  <c:y val="-0.39017504234895539"/>
                </c:manualLayout>
              </c:layout>
              <c:numFmt formatCode="#,##0;&quot;-&quot;#,##0;0" sourceLinked="0"/>
              <c:spPr>
                <a:noFill/>
                <a:ln>
                  <a:noFill/>
                </a:ln>
              </c:spPr>
              <c:txPr>
                <a:bodyPr wrap="none"/>
                <a:lstStyle/>
                <a:p>
                  <a:pPr>
                    <a:defRPr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925E-487F-A732-CA5B3CD9AF68}"/>
                </c:ext>
              </c:extLst>
            </c:dLbl>
            <c:dLbl>
              <c:idx val="5"/>
              <c:layout>
                <c:manualLayout>
                  <c:x val="0"/>
                  <c:y val="0"/>
                </c:manualLayout>
              </c:layout>
              <c:numFmt formatCode="#,##0;&quot;-&quot;#,##0;0" sourceLinked="0"/>
              <c:spPr>
                <a:noFill/>
                <a:ln>
                  <a:noFill/>
                </a:ln>
              </c:spPr>
              <c:txPr>
                <a:bodyPr wrap="none"/>
                <a:lstStyle/>
                <a:p>
                  <a:pPr>
                    <a:defRPr sz="1400" kern="1200">
                      <a:solidFill>
                        <a:schemeClr val="tx2"/>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925E-487F-A732-CA5B3CD9AF68}"/>
                </c:ext>
              </c:extLst>
            </c:dLbl>
            <c:dLbl>
              <c:idx val="6"/>
              <c:layout>
                <c:manualLayout>
                  <c:x val="0"/>
                  <c:y val="-5.6465273856578201E-4"/>
                </c:manualLayout>
              </c:layout>
              <c:numFmt formatCode="#,##0;&quot;-&quot;#,##0;0" sourceLinked="0"/>
              <c:spPr>
                <a:noFill/>
                <a:ln>
                  <a:noFill/>
                </a:ln>
              </c:spPr>
              <c:txPr>
                <a:bodyPr wrap="none"/>
                <a:lstStyle/>
                <a:p>
                  <a:pPr>
                    <a:defRPr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925E-487F-A732-CA5B3CD9AF68}"/>
                </c:ext>
              </c:extLst>
            </c:dLbl>
            <c:dLbl>
              <c:idx val="8"/>
              <c:layout>
                <c:manualLayout>
                  <c:x val="0"/>
                  <c:y val="-0.29813664596273293"/>
                </c:manualLayout>
              </c:layout>
              <c:numFmt formatCode="#,##0;&quot;-&quot;#,##0;0" sourceLinked="0"/>
              <c:spPr>
                <a:noFill/>
                <a:ln>
                  <a:noFill/>
                </a:ln>
              </c:spPr>
              <c:txPr>
                <a:bodyPr wrap="none"/>
                <a:lstStyle/>
                <a:p>
                  <a:pPr>
                    <a:defRPr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925E-487F-A732-CA5B3CD9AF68}"/>
                </c:ext>
              </c:extLst>
            </c:dLbl>
            <c:dLbl>
              <c:idx val="9"/>
              <c:layout>
                <c:manualLayout>
                  <c:x val="0"/>
                  <c:y val="0"/>
                </c:manualLayout>
              </c:layout>
              <c:numFmt formatCode="#,##0;&quot;-&quot;#,##0;0" sourceLinked="0"/>
              <c:spPr>
                <a:noFill/>
                <a:ln>
                  <a:noFill/>
                </a:ln>
              </c:spPr>
              <c:txPr>
                <a:bodyPr wrap="none"/>
                <a:lstStyle/>
                <a:p>
                  <a:pPr>
                    <a:defRPr sz="1400" kern="1200">
                      <a:solidFill>
                        <a:schemeClr val="tx2"/>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925E-487F-A732-CA5B3CD9AF68}"/>
                </c:ext>
              </c:extLst>
            </c:dLbl>
            <c:dLbl>
              <c:idx val="10"/>
              <c:layout>
                <c:manualLayout>
                  <c:x val="0"/>
                  <c:y val="0"/>
                </c:manualLayout>
              </c:layout>
              <c:numFmt formatCode="#,##0;&quot;-&quot;#,##0;0" sourceLinked="0"/>
              <c:spPr>
                <a:noFill/>
                <a:ln>
                  <a:noFill/>
                </a:ln>
              </c:spPr>
              <c:txPr>
                <a:bodyPr wrap="none"/>
                <a:lstStyle/>
                <a:p>
                  <a:pPr>
                    <a:defRPr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925E-487F-A732-CA5B3CD9AF68}"/>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K$1</c:f>
              <c:numCache>
                <c:formatCode>General</c:formatCode>
                <c:ptCount val="11"/>
                <c:pt idx="0">
                  <c:v>133</c:v>
                </c:pt>
                <c:pt idx="1">
                  <c:v>114</c:v>
                </c:pt>
                <c:pt idx="2">
                  <c:v>92</c:v>
                </c:pt>
                <c:pt idx="4">
                  <c:v>104</c:v>
                </c:pt>
                <c:pt idx="5">
                  <c:v>85</c:v>
                </c:pt>
                <c:pt idx="6">
                  <c:v>75</c:v>
                </c:pt>
                <c:pt idx="8">
                  <c:v>76</c:v>
                </c:pt>
                <c:pt idx="9">
                  <c:v>57</c:v>
                </c:pt>
                <c:pt idx="10">
                  <c:v>60</c:v>
                </c:pt>
              </c:numCache>
            </c:numRef>
          </c:val>
          <c:extLst>
            <c:ext xmlns:c16="http://schemas.microsoft.com/office/drawing/2014/chart" uri="{C3380CC4-5D6E-409C-BE32-E72D297353CC}">
              <c16:uniqueId val="{00000012-925E-487F-A732-CA5B3CD9AF68}"/>
            </c:ext>
          </c:extLst>
        </c:ser>
        <c:ser>
          <c:idx val="1"/>
          <c:order val="1"/>
          <c:spPr>
            <a:noFill/>
            <a:ln>
              <a:noFill/>
            </a:ln>
          </c:spPr>
          <c:invertIfNegative val="0"/>
          <c:dPt>
            <c:idx val="1"/>
            <c:invertIfNegative val="0"/>
            <c:bubble3D val="0"/>
            <c:spPr>
              <a:solidFill>
                <a:schemeClr val="bg1"/>
              </a:solidFill>
              <a:ln>
                <a:noFill/>
              </a:ln>
            </c:spPr>
            <c:extLst>
              <c:ext xmlns:c16="http://schemas.microsoft.com/office/drawing/2014/chart" uri="{C3380CC4-5D6E-409C-BE32-E72D297353CC}">
                <c16:uniqueId val="{00000014-925E-487F-A732-CA5B3CD9AF68}"/>
              </c:ext>
            </c:extLst>
          </c:dPt>
          <c:dPt>
            <c:idx val="2"/>
            <c:invertIfNegative val="0"/>
            <c:bubble3D val="0"/>
            <c:spPr>
              <a:solidFill>
                <a:schemeClr val="bg1"/>
              </a:solidFill>
              <a:ln>
                <a:noFill/>
              </a:ln>
            </c:spPr>
            <c:extLst>
              <c:ext xmlns:c16="http://schemas.microsoft.com/office/drawing/2014/chart" uri="{C3380CC4-5D6E-409C-BE32-E72D297353CC}">
                <c16:uniqueId val="{00000016-925E-487F-A732-CA5B3CD9AF68}"/>
              </c:ext>
            </c:extLst>
          </c:dPt>
          <c:dPt>
            <c:idx val="9"/>
            <c:invertIfNegative val="0"/>
            <c:bubble3D val="0"/>
            <c:spPr>
              <a:solidFill>
                <a:schemeClr val="bg1"/>
              </a:solidFill>
              <a:ln>
                <a:noFill/>
              </a:ln>
            </c:spPr>
            <c:extLst>
              <c:ext xmlns:c16="http://schemas.microsoft.com/office/drawing/2014/chart" uri="{C3380CC4-5D6E-409C-BE32-E72D297353CC}">
                <c16:uniqueId val="{00000018-925E-487F-A732-CA5B3CD9AF68}"/>
              </c:ext>
            </c:extLst>
          </c:dPt>
          <c:val>
            <c:numRef>
              <c:f>Sheet1!$A$2:$K$2</c:f>
              <c:numCache>
                <c:formatCode>General</c:formatCode>
                <c:ptCount val="11"/>
                <c:pt idx="1">
                  <c:v>4</c:v>
                </c:pt>
                <c:pt idx="2">
                  <c:v>17</c:v>
                </c:pt>
                <c:pt idx="5">
                  <c:v>3</c:v>
                </c:pt>
                <c:pt idx="6">
                  <c:v>12</c:v>
                </c:pt>
                <c:pt idx="9">
                  <c:v>3</c:v>
                </c:pt>
                <c:pt idx="10">
                  <c:v>6</c:v>
                </c:pt>
              </c:numCache>
            </c:numRef>
          </c:val>
          <c:extLst>
            <c:ext xmlns:c16="http://schemas.microsoft.com/office/drawing/2014/chart" uri="{C3380CC4-5D6E-409C-BE32-E72D297353CC}">
              <c16:uniqueId val="{00000019-925E-487F-A732-CA5B3CD9AF68}"/>
            </c:ext>
          </c:extLst>
        </c:ser>
        <c:dLbls>
          <c:showLegendKey val="0"/>
          <c:showVal val="0"/>
          <c:showCatName val="0"/>
          <c:showSerName val="0"/>
          <c:showPercent val="0"/>
          <c:showBubbleSize val="0"/>
        </c:dLbls>
        <c:gapWidth val="10"/>
        <c:overlap val="100"/>
        <c:axId val="1083890864"/>
        <c:axId val="1"/>
      </c:barChart>
      <c:catAx>
        <c:axId val="1083890864"/>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140"/>
          <c:min val="0"/>
        </c:scaling>
        <c:delete val="0"/>
        <c:axPos val="l"/>
        <c:majorGridlines>
          <c:spPr>
            <a:ln>
              <a:noFill/>
            </a:ln>
          </c:spPr>
        </c:majorGridlines>
        <c:numFmt formatCode="General" sourceLinked="1"/>
        <c:majorTickMark val="none"/>
        <c:minorTickMark val="none"/>
        <c:tickLblPos val="none"/>
        <c:spPr>
          <a:ln w="9525" algn="ctr">
            <a:solidFill>
              <a:schemeClr val="tx1"/>
            </a:solidFill>
            <a:prstDash val="solid"/>
          </a:ln>
        </c:spPr>
        <c:crossAx val="1083890864"/>
        <c:crosses val="min"/>
        <c:crossBetween val="between"/>
        <c:majorUnit val="20"/>
      </c:valAx>
    </c:plotArea>
    <c:plotVisOnly val="0"/>
    <c:dispBlanksAs val="gap"/>
    <c:showDLblsOverMax val="1"/>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9468363908648447E-2"/>
          <c:y val="2.7310924369747899E-2"/>
          <c:w val="0.96106327218270315"/>
          <c:h val="0.94537815126050417"/>
        </c:manualLayout>
      </c:layout>
      <c:barChart>
        <c:barDir val="col"/>
        <c:grouping val="stacked"/>
        <c:varyColors val="0"/>
        <c:ser>
          <c:idx val="0"/>
          <c:order val="0"/>
          <c:spPr>
            <a:solidFill>
              <a:schemeClr val="accent1"/>
            </a:solidFill>
            <a:ln w="9525" algn="ctr">
              <a:solidFill>
                <a:schemeClr val="bg1"/>
              </a:solidFill>
              <a:prstDash val="solid"/>
            </a:ln>
          </c:spPr>
          <c:invertIfNegative val="0"/>
          <c:dLbls>
            <c:dLbl>
              <c:idx val="1"/>
              <c:layout>
                <c:manualLayout>
                  <c:x val="0"/>
                  <c:y val="0"/>
                </c:manualLayout>
              </c:layout>
              <c:numFmt formatCode="#,##0;&quot;-&quot;#,##0;0" sourceLinked="0"/>
              <c:spPr>
                <a:noFill/>
                <a:ln>
                  <a:noFill/>
                </a:ln>
              </c:spPr>
              <c:txPr>
                <a:bodyPr wrap="none"/>
                <a:lstStyle/>
                <a:p>
                  <a:pPr>
                    <a:defRPr sz="1400" kern="1200">
                      <a:solidFill>
                        <a:schemeClr val="tx2"/>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3D9C-46E1-9E6A-31772C10C52B}"/>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B$1</c:f>
              <c:numCache>
                <c:formatCode>General</c:formatCode>
                <c:ptCount val="2"/>
                <c:pt idx="0">
                  <c:v>206.3</c:v>
                </c:pt>
                <c:pt idx="1">
                  <c:v>744.99999999999989</c:v>
                </c:pt>
              </c:numCache>
            </c:numRef>
          </c:val>
          <c:extLst>
            <c:ext xmlns:c16="http://schemas.microsoft.com/office/drawing/2014/chart" uri="{C3380CC4-5D6E-409C-BE32-E72D297353CC}">
              <c16:uniqueId val="{00000001-3D9C-46E1-9E6A-31772C10C52B}"/>
            </c:ext>
          </c:extLst>
        </c:ser>
        <c:ser>
          <c:idx val="1"/>
          <c:order val="1"/>
          <c:spPr>
            <a:solidFill>
              <a:schemeClr val="accent2"/>
            </a:solidFill>
            <a:ln w="9525" algn="ctr">
              <a:solidFill>
                <a:schemeClr val="bg1"/>
              </a:solidFill>
              <a:prstDash val="solid"/>
            </a:ln>
          </c:spPr>
          <c:invertIfNegative val="0"/>
          <c:dLbls>
            <c:dLbl>
              <c:idx val="0"/>
              <c:layout>
                <c:manualLayout>
                  <c:x val="0"/>
                  <c:y val="0"/>
                </c:manualLayout>
              </c:layout>
              <c:numFmt formatCode="#,##0;&quot;-&quot;#,##0;0" sourceLinked="0"/>
              <c:spPr>
                <a:noFill/>
                <a:ln>
                  <a:noFill/>
                </a:ln>
              </c:spPr>
              <c:txPr>
                <a:bodyPr wrap="none"/>
                <a:lstStyle/>
                <a:p>
                  <a:pPr>
                    <a:defRPr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3D9C-46E1-9E6A-31772C10C52B}"/>
                </c:ext>
              </c:extLst>
            </c:dLbl>
            <c:dLbl>
              <c:idx val="1"/>
              <c:layout>
                <c:manualLayout>
                  <c:x val="0"/>
                  <c:y val="-5.2521008403361342E-4"/>
                </c:manualLayout>
              </c:layout>
              <c:numFmt formatCode="#,##0;&quot;-&quot;#,##0;0" sourceLinked="0"/>
              <c:spPr>
                <a:noFill/>
                <a:ln>
                  <a:noFill/>
                </a:ln>
              </c:spPr>
              <c:txPr>
                <a:bodyPr wrap="none"/>
                <a:lstStyle/>
                <a:p>
                  <a:pPr>
                    <a:defRPr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3D9C-46E1-9E6A-31772C10C52B}"/>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B$2</c:f>
              <c:numCache>
                <c:formatCode>General</c:formatCode>
                <c:ptCount val="2"/>
                <c:pt idx="0">
                  <c:v>866</c:v>
                </c:pt>
                <c:pt idx="1">
                  <c:v>536.50000000000011</c:v>
                </c:pt>
              </c:numCache>
            </c:numRef>
          </c:val>
          <c:extLst>
            <c:ext xmlns:c16="http://schemas.microsoft.com/office/drawing/2014/chart" uri="{C3380CC4-5D6E-409C-BE32-E72D297353CC}">
              <c16:uniqueId val="{00000004-3D9C-46E1-9E6A-31772C10C52B}"/>
            </c:ext>
          </c:extLst>
        </c:ser>
        <c:ser>
          <c:idx val="2"/>
          <c:order val="2"/>
          <c:spPr>
            <a:solidFill>
              <a:schemeClr val="accent4"/>
            </a:solidFill>
            <a:ln w="9525" algn="ctr">
              <a:solidFill>
                <a:schemeClr val="bg1"/>
              </a:solidFill>
              <a:prstDash val="solid"/>
            </a:ln>
          </c:spPr>
          <c:invertIfNegative val="0"/>
          <c:dLbls>
            <c:dLbl>
              <c:idx val="1"/>
              <c:layout>
                <c:manualLayout>
                  <c:x val="0"/>
                  <c:y val="-5.2521008403361342E-4"/>
                </c:manualLayout>
              </c:layout>
              <c:numFmt formatCode="#,##0;&quot;-&quot;#,##0;0" sourceLinked="0"/>
              <c:spPr>
                <a:noFill/>
                <a:ln>
                  <a:noFill/>
                </a:ln>
              </c:spPr>
              <c:txPr>
                <a:bodyPr wrap="none"/>
                <a:lstStyle/>
                <a:p>
                  <a:pPr>
                    <a:defRPr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3D9C-46E1-9E6A-31772C10C52B}"/>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B$3</c:f>
              <c:numCache>
                <c:formatCode>General</c:formatCode>
                <c:ptCount val="2"/>
                <c:pt idx="0">
                  <c:v>205.20000000000005</c:v>
                </c:pt>
                <c:pt idx="1">
                  <c:v>2596.4</c:v>
                </c:pt>
              </c:numCache>
            </c:numRef>
          </c:val>
          <c:extLst>
            <c:ext xmlns:c16="http://schemas.microsoft.com/office/drawing/2014/chart" uri="{C3380CC4-5D6E-409C-BE32-E72D297353CC}">
              <c16:uniqueId val="{00000006-3D9C-46E1-9E6A-31772C10C52B}"/>
            </c:ext>
          </c:extLst>
        </c:ser>
        <c:dLbls>
          <c:showLegendKey val="0"/>
          <c:showVal val="0"/>
          <c:showCatName val="0"/>
          <c:showSerName val="0"/>
          <c:showPercent val="0"/>
          <c:showBubbleSize val="0"/>
        </c:dLbls>
        <c:gapWidth val="40"/>
        <c:overlap val="100"/>
        <c:axId val="1150650751"/>
        <c:axId val="1"/>
      </c:barChart>
      <c:catAx>
        <c:axId val="1150650751"/>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3877.9"/>
          <c:min val="0"/>
        </c:scaling>
        <c:delete val="1"/>
        <c:axPos val="l"/>
        <c:numFmt formatCode="General" sourceLinked="1"/>
        <c:majorTickMark val="out"/>
        <c:minorTickMark val="none"/>
        <c:tickLblPos val="nextTo"/>
        <c:crossAx val="1150650751"/>
        <c:crosses val="min"/>
        <c:crossBetween val="between"/>
      </c:valAx>
    </c:plotArea>
    <c:plotVisOnly val="0"/>
    <c:dispBlanksAs val="gap"/>
    <c:showDLblsOverMax val="1"/>
  </c:chart>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3256814921090381E-3"/>
          <c:y val="4.2553191489361701E-2"/>
          <c:w val="0.9813486370157819"/>
          <c:h val="0.91489361702127658"/>
        </c:manualLayout>
      </c:layout>
      <c:barChart>
        <c:barDir val="bar"/>
        <c:grouping val="stacked"/>
        <c:varyColors val="0"/>
        <c:ser>
          <c:idx val="0"/>
          <c:order val="0"/>
          <c:spPr>
            <a:noFill/>
            <a:ln w="9525" algn="ctr">
              <a:solidFill>
                <a:schemeClr val="bg1"/>
              </a:solidFill>
              <a:prstDash val="solid"/>
            </a:ln>
          </c:spPr>
          <c:invertIfNegative val="0"/>
          <c:val>
            <c:numRef>
              <c:f>Sheet1!$A$1:$C$1</c:f>
              <c:numCache>
                <c:formatCode>General</c:formatCode>
                <c:ptCount val="3"/>
                <c:pt idx="0">
                  <c:v>5.4442538593481942</c:v>
                </c:pt>
                <c:pt idx="1">
                  <c:v>8.4442538593481942</c:v>
                </c:pt>
                <c:pt idx="2">
                  <c:v>2.4442538593481942</c:v>
                </c:pt>
              </c:numCache>
            </c:numRef>
          </c:val>
          <c:extLst>
            <c:ext xmlns:c16="http://schemas.microsoft.com/office/drawing/2014/chart" uri="{C3380CC4-5D6E-409C-BE32-E72D297353CC}">
              <c16:uniqueId val="{00000000-4154-4F20-93E5-B03C3F26A944}"/>
            </c:ext>
          </c:extLst>
        </c:ser>
        <c:ser>
          <c:idx val="1"/>
          <c:order val="1"/>
          <c:spPr>
            <a:solidFill>
              <a:srgbClr val="7F7F7F"/>
            </a:solidFill>
            <a:ln w="9525" algn="ctr">
              <a:solidFill>
                <a:schemeClr val="bg1"/>
              </a:solidFill>
              <a:prstDash val="solid"/>
            </a:ln>
          </c:spPr>
          <c:invertIfNegative val="0"/>
          <c:dPt>
            <c:idx val="0"/>
            <c:invertIfNegative val="0"/>
            <c:bubble3D val="0"/>
            <c:spPr>
              <a:solidFill>
                <a:schemeClr val="accent1"/>
              </a:solidFill>
              <a:ln w="9525" algn="ctr">
                <a:solidFill>
                  <a:schemeClr val="bg1"/>
                </a:solidFill>
                <a:prstDash val="solid"/>
              </a:ln>
            </c:spPr>
            <c:extLst>
              <c:ext xmlns:c16="http://schemas.microsoft.com/office/drawing/2014/chart" uri="{C3380CC4-5D6E-409C-BE32-E72D297353CC}">
                <c16:uniqueId val="{00000002-4154-4F20-93E5-B03C3F26A944}"/>
              </c:ext>
            </c:extLst>
          </c:dPt>
          <c:val>
            <c:numRef>
              <c:f>Sheet1!$A$2:$C$2</c:f>
              <c:numCache>
                <c:formatCode>General</c:formatCode>
                <c:ptCount val="3"/>
                <c:pt idx="0">
                  <c:v>43</c:v>
                </c:pt>
                <c:pt idx="1">
                  <c:v>50</c:v>
                </c:pt>
                <c:pt idx="2">
                  <c:v>36</c:v>
                </c:pt>
              </c:numCache>
            </c:numRef>
          </c:val>
          <c:extLst>
            <c:ext xmlns:c16="http://schemas.microsoft.com/office/drawing/2014/chart" uri="{C3380CC4-5D6E-409C-BE32-E72D297353CC}">
              <c16:uniqueId val="{00000003-4154-4F20-93E5-B03C3F26A944}"/>
            </c:ext>
          </c:extLst>
        </c:ser>
        <c:dLbls>
          <c:showLegendKey val="0"/>
          <c:showVal val="0"/>
          <c:showCatName val="0"/>
          <c:showSerName val="0"/>
          <c:showPercent val="0"/>
          <c:showBubbleSize val="0"/>
        </c:dLbls>
        <c:gapWidth val="100"/>
        <c:overlap val="100"/>
        <c:axId val="756139280"/>
        <c:axId val="1"/>
      </c:barChart>
      <c:catAx>
        <c:axId val="756139280"/>
        <c:scaling>
          <c:orientation val="maxMin"/>
        </c:scaling>
        <c:delete val="0"/>
        <c:axPos val="l"/>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59.444253859348194"/>
          <c:min val="0"/>
        </c:scaling>
        <c:delete val="0"/>
        <c:axPos val="t"/>
        <c:majorGridlines>
          <c:spPr>
            <a:ln>
              <a:noFill/>
            </a:ln>
          </c:spPr>
        </c:majorGridlines>
        <c:numFmt formatCode="General" sourceLinked="1"/>
        <c:majorTickMark val="none"/>
        <c:minorTickMark val="none"/>
        <c:tickLblPos val="none"/>
        <c:spPr>
          <a:ln>
            <a:noFill/>
          </a:ln>
        </c:spPr>
        <c:crossAx val="756139280"/>
        <c:crosses val="min"/>
        <c:crossBetween val="between"/>
        <c:majorUnit val="5"/>
      </c:valAx>
    </c:plotArea>
    <c:plotVisOnly val="0"/>
    <c:dispBlanksAs val="gap"/>
    <c:showDLblsOverMax val="1"/>
  </c:chart>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5781487101669194E-2"/>
          <c:y val="2.6571282575370465E-2"/>
          <c:w val="0.96843702579666158"/>
          <c:h val="0.94685743484925911"/>
        </c:manualLayout>
      </c:layout>
      <c:barChart>
        <c:barDir val="col"/>
        <c:grouping val="stacked"/>
        <c:varyColors val="0"/>
        <c:ser>
          <c:idx val="0"/>
          <c:order val="0"/>
          <c:spPr>
            <a:solidFill>
              <a:schemeClr val="accent1"/>
            </a:solidFill>
            <a:ln w="9525" algn="ctr">
              <a:solidFill>
                <a:schemeClr val="bg1"/>
              </a:solidFill>
              <a:prstDash val="solid"/>
            </a:ln>
          </c:spPr>
          <c:invertIfNegative val="0"/>
          <c:val>
            <c:numRef>
              <c:f>Sheet1!$A$1:$U$1</c:f>
              <c:numCache>
                <c:formatCode>General</c:formatCode>
                <c:ptCount val="21"/>
                <c:pt idx="0">
                  <c:v>4</c:v>
                </c:pt>
                <c:pt idx="1">
                  <c:v>6</c:v>
                </c:pt>
                <c:pt idx="2">
                  <c:v>8</c:v>
                </c:pt>
                <c:pt idx="3">
                  <c:v>10</c:v>
                </c:pt>
                <c:pt idx="4">
                  <c:v>14</c:v>
                </c:pt>
                <c:pt idx="5">
                  <c:v>20</c:v>
                </c:pt>
                <c:pt idx="6">
                  <c:v>28</c:v>
                </c:pt>
                <c:pt idx="7">
                  <c:v>38</c:v>
                </c:pt>
                <c:pt idx="8">
                  <c:v>50</c:v>
                </c:pt>
                <c:pt idx="9">
                  <c:v>63</c:v>
                </c:pt>
                <c:pt idx="10">
                  <c:v>76</c:v>
                </c:pt>
                <c:pt idx="11">
                  <c:v>89</c:v>
                </c:pt>
                <c:pt idx="12">
                  <c:v>102</c:v>
                </c:pt>
                <c:pt idx="13">
                  <c:v>115</c:v>
                </c:pt>
                <c:pt idx="14">
                  <c:v>128</c:v>
                </c:pt>
                <c:pt idx="15">
                  <c:v>141</c:v>
                </c:pt>
                <c:pt idx="16">
                  <c:v>154</c:v>
                </c:pt>
                <c:pt idx="17">
                  <c:v>167</c:v>
                </c:pt>
                <c:pt idx="18">
                  <c:v>180</c:v>
                </c:pt>
                <c:pt idx="19">
                  <c:v>193</c:v>
                </c:pt>
                <c:pt idx="20">
                  <c:v>200</c:v>
                </c:pt>
              </c:numCache>
            </c:numRef>
          </c:val>
          <c:extLst>
            <c:ext xmlns:c16="http://schemas.microsoft.com/office/drawing/2014/chart" uri="{C3380CC4-5D6E-409C-BE32-E72D297353CC}">
              <c16:uniqueId val="{00000000-3DC5-4CEB-8D86-D54CDBC44B8B}"/>
            </c:ext>
          </c:extLst>
        </c:ser>
        <c:dLbls>
          <c:showLegendKey val="0"/>
          <c:showVal val="0"/>
          <c:showCatName val="0"/>
          <c:showSerName val="0"/>
          <c:showPercent val="0"/>
          <c:showBubbleSize val="0"/>
        </c:dLbls>
        <c:gapWidth val="40"/>
        <c:overlap val="100"/>
        <c:axId val="313053567"/>
        <c:axId val="1"/>
      </c:barChart>
      <c:lineChart>
        <c:grouping val="standard"/>
        <c:varyColors val="0"/>
        <c:ser>
          <c:idx val="1"/>
          <c:order val="1"/>
          <c:spPr>
            <a:ln w="25400" algn="ctr">
              <a:solidFill>
                <a:schemeClr val="accent1"/>
              </a:solidFill>
              <a:prstDash val="solid"/>
            </a:ln>
          </c:spPr>
          <c:marker>
            <c:symbol val="none"/>
          </c:marker>
          <c:val>
            <c:numRef>
              <c:f>Sheet1!$A$2:$U$2</c:f>
              <c:numCache>
                <c:formatCode>General</c:formatCode>
                <c:ptCount val="21"/>
                <c:pt idx="0">
                  <c:v>2</c:v>
                </c:pt>
                <c:pt idx="1">
                  <c:v>2</c:v>
                </c:pt>
                <c:pt idx="2">
                  <c:v>2</c:v>
                </c:pt>
                <c:pt idx="3">
                  <c:v>2</c:v>
                </c:pt>
                <c:pt idx="4">
                  <c:v>4</c:v>
                </c:pt>
                <c:pt idx="5">
                  <c:v>6</c:v>
                </c:pt>
                <c:pt idx="6">
                  <c:v>8</c:v>
                </c:pt>
                <c:pt idx="7">
                  <c:v>10</c:v>
                </c:pt>
                <c:pt idx="8">
                  <c:v>12</c:v>
                </c:pt>
                <c:pt idx="9">
                  <c:v>13</c:v>
                </c:pt>
                <c:pt idx="10">
                  <c:v>13</c:v>
                </c:pt>
                <c:pt idx="11">
                  <c:v>13</c:v>
                </c:pt>
                <c:pt idx="12">
                  <c:v>13</c:v>
                </c:pt>
                <c:pt idx="13">
                  <c:v>13</c:v>
                </c:pt>
                <c:pt idx="14">
                  <c:v>13</c:v>
                </c:pt>
                <c:pt idx="15">
                  <c:v>13</c:v>
                </c:pt>
                <c:pt idx="16">
                  <c:v>13</c:v>
                </c:pt>
                <c:pt idx="17">
                  <c:v>13</c:v>
                </c:pt>
                <c:pt idx="18">
                  <c:v>13</c:v>
                </c:pt>
                <c:pt idx="19">
                  <c:v>13</c:v>
                </c:pt>
                <c:pt idx="20">
                  <c:v>13</c:v>
                </c:pt>
              </c:numCache>
            </c:numRef>
          </c:val>
          <c:smooth val="0"/>
          <c:extLst>
            <c:ext xmlns:c16="http://schemas.microsoft.com/office/drawing/2014/chart" uri="{C3380CC4-5D6E-409C-BE32-E72D297353CC}">
              <c16:uniqueId val="{00000001-3DC5-4CEB-8D86-D54CDBC44B8B}"/>
            </c:ext>
          </c:extLst>
        </c:ser>
        <c:dLbls>
          <c:showLegendKey val="0"/>
          <c:showVal val="0"/>
          <c:showCatName val="0"/>
          <c:showSerName val="0"/>
          <c:showPercent val="0"/>
          <c:showBubbleSize val="0"/>
        </c:dLbls>
        <c:marker val="1"/>
        <c:smooth val="0"/>
        <c:axId val="3"/>
        <c:axId val="2"/>
      </c:lineChart>
      <c:catAx>
        <c:axId val="313053567"/>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200"/>
          <c:min val="0"/>
        </c:scaling>
        <c:delete val="0"/>
        <c:axPos val="l"/>
        <c:majorGridlines>
          <c:spPr>
            <a:ln>
              <a:noFill/>
            </a:ln>
          </c:spPr>
        </c:majorGridlines>
        <c:numFmt formatCode="General" sourceLinked="1"/>
        <c:majorTickMark val="none"/>
        <c:minorTickMark val="none"/>
        <c:tickLblPos val="none"/>
        <c:spPr>
          <a:ln w="9525" algn="ctr">
            <a:solidFill>
              <a:schemeClr val="tx1"/>
            </a:solidFill>
            <a:prstDash val="solid"/>
          </a:ln>
        </c:spPr>
        <c:crossAx val="313053567"/>
        <c:crosses val="min"/>
        <c:crossBetween val="between"/>
        <c:majorUnit val="50"/>
      </c:valAx>
      <c:valAx>
        <c:axId val="2"/>
        <c:scaling>
          <c:orientation val="minMax"/>
          <c:max val="20"/>
          <c:min val="0"/>
        </c:scaling>
        <c:delete val="0"/>
        <c:axPos val="r"/>
        <c:majorGridlines>
          <c:spPr>
            <a:ln>
              <a:noFill/>
            </a:ln>
          </c:spPr>
        </c:majorGridlines>
        <c:numFmt formatCode="General" sourceLinked="1"/>
        <c:majorTickMark val="none"/>
        <c:minorTickMark val="none"/>
        <c:tickLblPos val="none"/>
        <c:spPr>
          <a:ln w="9525" algn="ctr">
            <a:solidFill>
              <a:schemeClr val="tx1"/>
            </a:solidFill>
            <a:prstDash val="solid"/>
          </a:ln>
        </c:spPr>
        <c:crossAx val="3"/>
        <c:crosses val="max"/>
        <c:crossBetween val="between"/>
        <c:majorUnit val="5"/>
      </c:valAx>
      <c:catAx>
        <c:axId val="3"/>
        <c:scaling>
          <c:orientation val="minMax"/>
        </c:scaling>
        <c:delete val="1"/>
        <c:axPos val="b"/>
        <c:majorTickMark val="out"/>
        <c:minorTickMark val="none"/>
        <c:tickLblPos val="nextTo"/>
        <c:crossAx val="2"/>
        <c:crosses val="min"/>
        <c:auto val="0"/>
        <c:lblAlgn val="ctr"/>
        <c:lblOffset val="100"/>
        <c:noMultiLvlLbl val="0"/>
      </c:catAx>
    </c:plotArea>
    <c:plotVisOnly val="0"/>
    <c:dispBlanksAs val="gap"/>
    <c:showDLblsOverMax val="1"/>
  </c:chart>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6184251478369126E-2"/>
          <c:y val="2.6571282575370465E-2"/>
          <c:w val="0.96763149704326179"/>
          <c:h val="0.94685743484925911"/>
        </c:manualLayout>
      </c:layout>
      <c:barChart>
        <c:barDir val="col"/>
        <c:grouping val="stacked"/>
        <c:varyColors val="0"/>
        <c:ser>
          <c:idx val="0"/>
          <c:order val="0"/>
          <c:spPr>
            <a:solidFill>
              <a:schemeClr val="accent1"/>
            </a:solidFill>
            <a:ln w="9525" algn="ctr">
              <a:solidFill>
                <a:schemeClr val="bg1"/>
              </a:solidFill>
              <a:prstDash val="solid"/>
            </a:ln>
          </c:spPr>
          <c:invertIfNegative val="0"/>
          <c:val>
            <c:numRef>
              <c:f>Sheet1!$A$1:$U$1</c:f>
              <c:numCache>
                <c:formatCode>General</c:formatCode>
                <c:ptCount val="21"/>
                <c:pt idx="0">
                  <c:v>4</c:v>
                </c:pt>
                <c:pt idx="1">
                  <c:v>6</c:v>
                </c:pt>
                <c:pt idx="2">
                  <c:v>8</c:v>
                </c:pt>
                <c:pt idx="3">
                  <c:v>10</c:v>
                </c:pt>
                <c:pt idx="4">
                  <c:v>12</c:v>
                </c:pt>
                <c:pt idx="5">
                  <c:v>14</c:v>
                </c:pt>
                <c:pt idx="6">
                  <c:v>16</c:v>
                </c:pt>
                <c:pt idx="7">
                  <c:v>18</c:v>
                </c:pt>
                <c:pt idx="8">
                  <c:v>22</c:v>
                </c:pt>
                <c:pt idx="9">
                  <c:v>28</c:v>
                </c:pt>
                <c:pt idx="10">
                  <c:v>36</c:v>
                </c:pt>
                <c:pt idx="11">
                  <c:v>46</c:v>
                </c:pt>
                <c:pt idx="12">
                  <c:v>58</c:v>
                </c:pt>
                <c:pt idx="13">
                  <c:v>72</c:v>
                </c:pt>
                <c:pt idx="14">
                  <c:v>88</c:v>
                </c:pt>
                <c:pt idx="15">
                  <c:v>106</c:v>
                </c:pt>
                <c:pt idx="16">
                  <c:v>126</c:v>
                </c:pt>
                <c:pt idx="17">
                  <c:v>146</c:v>
                </c:pt>
                <c:pt idx="18">
                  <c:v>166</c:v>
                </c:pt>
                <c:pt idx="19">
                  <c:v>186</c:v>
                </c:pt>
                <c:pt idx="20">
                  <c:v>200</c:v>
                </c:pt>
              </c:numCache>
            </c:numRef>
          </c:val>
          <c:extLst>
            <c:ext xmlns:c16="http://schemas.microsoft.com/office/drawing/2014/chart" uri="{C3380CC4-5D6E-409C-BE32-E72D297353CC}">
              <c16:uniqueId val="{00000000-7726-4562-97B0-7B5F612634EA}"/>
            </c:ext>
          </c:extLst>
        </c:ser>
        <c:dLbls>
          <c:showLegendKey val="0"/>
          <c:showVal val="0"/>
          <c:showCatName val="0"/>
          <c:showSerName val="0"/>
          <c:showPercent val="0"/>
          <c:showBubbleSize val="0"/>
        </c:dLbls>
        <c:gapWidth val="40"/>
        <c:overlap val="100"/>
        <c:axId val="853202143"/>
        <c:axId val="1"/>
      </c:barChart>
      <c:lineChart>
        <c:grouping val="standard"/>
        <c:varyColors val="0"/>
        <c:ser>
          <c:idx val="1"/>
          <c:order val="1"/>
          <c:spPr>
            <a:ln w="25400" algn="ctr">
              <a:solidFill>
                <a:srgbClr val="C00000"/>
              </a:solidFill>
              <a:prstDash val="solid"/>
            </a:ln>
          </c:spPr>
          <c:marker>
            <c:symbol val="none"/>
          </c:marker>
          <c:val>
            <c:numRef>
              <c:f>Sheet1!$A$2:$U$2</c:f>
              <c:numCache>
                <c:formatCode>General</c:formatCode>
                <c:ptCount val="21"/>
                <c:pt idx="0">
                  <c:v>2</c:v>
                </c:pt>
                <c:pt idx="1">
                  <c:v>2</c:v>
                </c:pt>
                <c:pt idx="2">
                  <c:v>2</c:v>
                </c:pt>
                <c:pt idx="3">
                  <c:v>2</c:v>
                </c:pt>
                <c:pt idx="4">
                  <c:v>2</c:v>
                </c:pt>
                <c:pt idx="5">
                  <c:v>2</c:v>
                </c:pt>
                <c:pt idx="6">
                  <c:v>2</c:v>
                </c:pt>
                <c:pt idx="7">
                  <c:v>2</c:v>
                </c:pt>
                <c:pt idx="8">
                  <c:v>4</c:v>
                </c:pt>
                <c:pt idx="9">
                  <c:v>6</c:v>
                </c:pt>
                <c:pt idx="10">
                  <c:v>8</c:v>
                </c:pt>
                <c:pt idx="11">
                  <c:v>10</c:v>
                </c:pt>
                <c:pt idx="12">
                  <c:v>12</c:v>
                </c:pt>
                <c:pt idx="13">
                  <c:v>14</c:v>
                </c:pt>
                <c:pt idx="14">
                  <c:v>16</c:v>
                </c:pt>
                <c:pt idx="15">
                  <c:v>18</c:v>
                </c:pt>
                <c:pt idx="16">
                  <c:v>20</c:v>
                </c:pt>
                <c:pt idx="17">
                  <c:v>20</c:v>
                </c:pt>
                <c:pt idx="18">
                  <c:v>20</c:v>
                </c:pt>
                <c:pt idx="19">
                  <c:v>20</c:v>
                </c:pt>
                <c:pt idx="20">
                  <c:v>20</c:v>
                </c:pt>
              </c:numCache>
            </c:numRef>
          </c:val>
          <c:smooth val="0"/>
          <c:extLst>
            <c:ext xmlns:c16="http://schemas.microsoft.com/office/drawing/2014/chart" uri="{C3380CC4-5D6E-409C-BE32-E72D297353CC}">
              <c16:uniqueId val="{00000001-7726-4562-97B0-7B5F612634EA}"/>
            </c:ext>
          </c:extLst>
        </c:ser>
        <c:dLbls>
          <c:showLegendKey val="0"/>
          <c:showVal val="0"/>
          <c:showCatName val="0"/>
          <c:showSerName val="0"/>
          <c:showPercent val="0"/>
          <c:showBubbleSize val="0"/>
        </c:dLbls>
        <c:marker val="1"/>
        <c:smooth val="0"/>
        <c:axId val="3"/>
        <c:axId val="2"/>
      </c:lineChart>
      <c:catAx>
        <c:axId val="853202143"/>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200"/>
          <c:min val="0"/>
        </c:scaling>
        <c:delete val="0"/>
        <c:axPos val="l"/>
        <c:majorGridlines>
          <c:spPr>
            <a:ln>
              <a:noFill/>
            </a:ln>
          </c:spPr>
        </c:majorGridlines>
        <c:numFmt formatCode="General" sourceLinked="1"/>
        <c:majorTickMark val="none"/>
        <c:minorTickMark val="none"/>
        <c:tickLblPos val="none"/>
        <c:spPr>
          <a:ln w="9525" algn="ctr">
            <a:solidFill>
              <a:schemeClr val="tx1"/>
            </a:solidFill>
            <a:prstDash val="solid"/>
          </a:ln>
        </c:spPr>
        <c:crossAx val="853202143"/>
        <c:crosses val="min"/>
        <c:crossBetween val="between"/>
        <c:majorUnit val="50"/>
      </c:valAx>
      <c:valAx>
        <c:axId val="2"/>
        <c:scaling>
          <c:orientation val="minMax"/>
          <c:max val="20"/>
          <c:min val="0"/>
        </c:scaling>
        <c:delete val="0"/>
        <c:axPos val="r"/>
        <c:majorGridlines>
          <c:spPr>
            <a:ln>
              <a:noFill/>
            </a:ln>
          </c:spPr>
        </c:majorGridlines>
        <c:numFmt formatCode="General" sourceLinked="1"/>
        <c:majorTickMark val="none"/>
        <c:minorTickMark val="none"/>
        <c:tickLblPos val="none"/>
        <c:spPr>
          <a:ln w="9525" algn="ctr">
            <a:solidFill>
              <a:schemeClr val="tx1"/>
            </a:solidFill>
            <a:prstDash val="solid"/>
          </a:ln>
        </c:spPr>
        <c:crossAx val="3"/>
        <c:crosses val="max"/>
        <c:crossBetween val="between"/>
        <c:majorUnit val="5"/>
      </c:valAx>
      <c:catAx>
        <c:axId val="3"/>
        <c:scaling>
          <c:orientation val="minMax"/>
        </c:scaling>
        <c:delete val="1"/>
        <c:axPos val="b"/>
        <c:majorTickMark val="out"/>
        <c:minorTickMark val="none"/>
        <c:tickLblPos val="nextTo"/>
        <c:crossAx val="2"/>
        <c:crosses val="min"/>
        <c:auto val="0"/>
        <c:lblAlgn val="ctr"/>
        <c:lblOffset val="100"/>
        <c:noMultiLvlLbl val="0"/>
      </c:catAx>
    </c:plotArea>
    <c:plotVisOnly val="0"/>
    <c:dispBlanksAs val="gap"/>
    <c:showDLblsOverMax val="1"/>
  </c:chart>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7.4712643678160919E-3"/>
          <c:y val="3.7545126353790613E-2"/>
          <c:w val="0.98505747126436782"/>
          <c:h val="0.92490974729241882"/>
        </c:manualLayout>
      </c:layout>
      <c:barChart>
        <c:barDir val="col"/>
        <c:grouping val="stacked"/>
        <c:varyColors val="0"/>
        <c:ser>
          <c:idx val="0"/>
          <c:order val="0"/>
          <c:spPr>
            <a:noFill/>
            <a:ln>
              <a:noFill/>
            </a:ln>
          </c:spPr>
          <c:invertIfNegative val="0"/>
          <c:dPt>
            <c:idx val="0"/>
            <c:invertIfNegative val="0"/>
            <c:bubble3D val="0"/>
            <c:spPr>
              <a:solidFill>
                <a:srgbClr val="7F7F7F"/>
              </a:solidFill>
              <a:ln w="9525" algn="ctr">
                <a:solidFill>
                  <a:schemeClr val="bg1"/>
                </a:solidFill>
                <a:prstDash val="solid"/>
              </a:ln>
            </c:spPr>
            <c:extLst>
              <c:ext xmlns:c16="http://schemas.microsoft.com/office/drawing/2014/chart" uri="{C3380CC4-5D6E-409C-BE32-E72D297353CC}">
                <c16:uniqueId val="{00000001-CA9C-4362-BE15-A0667E3F2FA1}"/>
              </c:ext>
            </c:extLst>
          </c:dPt>
          <c:dPt>
            <c:idx val="2"/>
            <c:invertIfNegative val="0"/>
            <c:bubble3D val="0"/>
            <c:spPr>
              <a:solidFill>
                <a:srgbClr val="7F7F7F"/>
              </a:solidFill>
              <a:ln w="9525" algn="ctr">
                <a:solidFill>
                  <a:schemeClr val="bg1"/>
                </a:solidFill>
                <a:prstDash val="solid"/>
              </a:ln>
            </c:spPr>
            <c:extLst>
              <c:ext xmlns:c16="http://schemas.microsoft.com/office/drawing/2014/chart" uri="{C3380CC4-5D6E-409C-BE32-E72D297353CC}">
                <c16:uniqueId val="{00000003-CA9C-4362-BE15-A0667E3F2FA1}"/>
              </c:ext>
            </c:extLst>
          </c:dPt>
          <c:dPt>
            <c:idx val="8"/>
            <c:invertIfNegative val="0"/>
            <c:bubble3D val="0"/>
            <c:spPr>
              <a:solidFill>
                <a:srgbClr val="7F7F7F"/>
              </a:solidFill>
              <a:ln w="9525" algn="ctr">
                <a:solidFill>
                  <a:schemeClr val="bg1"/>
                </a:solidFill>
                <a:prstDash val="solid"/>
              </a:ln>
            </c:spPr>
            <c:extLst>
              <c:ext xmlns:c16="http://schemas.microsoft.com/office/drawing/2014/chart" uri="{C3380CC4-5D6E-409C-BE32-E72D297353CC}">
                <c16:uniqueId val="{00000005-CA9C-4362-BE15-A0667E3F2FA1}"/>
              </c:ext>
            </c:extLst>
          </c:dPt>
          <c:val>
            <c:numRef>
              <c:f>Sheet1!$A$1:$I$1</c:f>
              <c:numCache>
                <c:formatCode>General</c:formatCode>
                <c:ptCount val="9"/>
                <c:pt idx="0">
                  <c:v>10000</c:v>
                </c:pt>
                <c:pt idx="1">
                  <c:v>6200</c:v>
                </c:pt>
                <c:pt idx="2">
                  <c:v>6200</c:v>
                </c:pt>
                <c:pt idx="3">
                  <c:v>4700</c:v>
                </c:pt>
                <c:pt idx="4">
                  <c:v>4200</c:v>
                </c:pt>
                <c:pt idx="5">
                  <c:v>4000</c:v>
                </c:pt>
                <c:pt idx="6">
                  <c:v>3950</c:v>
                </c:pt>
                <c:pt idx="7">
                  <c:v>3550</c:v>
                </c:pt>
                <c:pt idx="8">
                  <c:v>3550</c:v>
                </c:pt>
              </c:numCache>
            </c:numRef>
          </c:val>
          <c:extLst>
            <c:ext xmlns:c16="http://schemas.microsoft.com/office/drawing/2014/chart" uri="{C3380CC4-5D6E-409C-BE32-E72D297353CC}">
              <c16:uniqueId val="{00000006-CA9C-4362-BE15-A0667E3F2FA1}"/>
            </c:ext>
          </c:extLst>
        </c:ser>
        <c:ser>
          <c:idx val="1"/>
          <c:order val="1"/>
          <c:spPr>
            <a:solidFill>
              <a:schemeClr val="accent1"/>
            </a:solidFill>
            <a:ln w="9525" algn="ctr">
              <a:solidFill>
                <a:schemeClr val="bg1"/>
              </a:solidFill>
              <a:prstDash val="solid"/>
            </a:ln>
          </c:spPr>
          <c:invertIfNegative val="0"/>
          <c:dLbls>
            <c:dLbl>
              <c:idx val="3"/>
              <c:layout>
                <c:manualLayout>
                  <c:x val="0"/>
                  <c:y val="0"/>
                </c:manualLayout>
              </c:layout>
              <c:numFmt formatCode="#,##0;#,##0;0" sourceLinked="0"/>
              <c:spPr>
                <a:noFill/>
                <a:ln>
                  <a:noFill/>
                </a:ln>
              </c:spPr>
              <c:txPr>
                <a:bodyPr wrap="none"/>
                <a:lstStyle/>
                <a:p>
                  <a:pPr>
                    <a:defRPr sz="1200" kern="1200">
                      <a:solidFill>
                        <a:schemeClr val="tx2"/>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CA9C-4362-BE15-A0667E3F2FA1}"/>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I$2</c:f>
              <c:numCache>
                <c:formatCode>General</c:formatCode>
                <c:ptCount val="9"/>
                <c:pt idx="1">
                  <c:v>3800</c:v>
                </c:pt>
                <c:pt idx="3">
                  <c:v>1500</c:v>
                </c:pt>
                <c:pt idx="4">
                  <c:v>500</c:v>
                </c:pt>
                <c:pt idx="5">
                  <c:v>200</c:v>
                </c:pt>
                <c:pt idx="6">
                  <c:v>50</c:v>
                </c:pt>
                <c:pt idx="7">
                  <c:v>400</c:v>
                </c:pt>
              </c:numCache>
            </c:numRef>
          </c:val>
          <c:extLst>
            <c:ext xmlns:c16="http://schemas.microsoft.com/office/drawing/2014/chart" uri="{C3380CC4-5D6E-409C-BE32-E72D297353CC}">
              <c16:uniqueId val="{00000008-CA9C-4362-BE15-A0667E3F2FA1}"/>
            </c:ext>
          </c:extLst>
        </c:ser>
        <c:dLbls>
          <c:showLegendKey val="0"/>
          <c:showVal val="0"/>
          <c:showCatName val="0"/>
          <c:showSerName val="0"/>
          <c:showPercent val="0"/>
          <c:showBubbleSize val="0"/>
        </c:dLbls>
        <c:gapWidth val="40"/>
        <c:overlap val="100"/>
        <c:axId val="1217223376"/>
        <c:axId val="1"/>
      </c:barChart>
      <c:catAx>
        <c:axId val="1217223376"/>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10000"/>
          <c:min val="0"/>
        </c:scaling>
        <c:delete val="1"/>
        <c:axPos val="l"/>
        <c:numFmt formatCode="General" sourceLinked="1"/>
        <c:majorTickMark val="out"/>
        <c:minorTickMark val="none"/>
        <c:tickLblPos val="nextTo"/>
        <c:crossAx val="1217223376"/>
        <c:crosses val="min"/>
        <c:crossBetween val="between"/>
      </c:valAx>
    </c:plotArea>
    <c:plotVisOnly val="0"/>
    <c:dispBlanksAs val="gap"/>
    <c:showDLblsOverMax val="1"/>
  </c:chart>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1885521885521887E-2"/>
          <c:y val="0.11764705882352941"/>
          <c:w val="0.91372053872053871"/>
          <c:h val="0.76470588235294112"/>
        </c:manualLayout>
      </c:layout>
      <c:barChart>
        <c:barDir val="bar"/>
        <c:grouping val="clustered"/>
        <c:varyColors val="0"/>
        <c:ser>
          <c:idx val="0"/>
          <c:order val="0"/>
          <c:spPr>
            <a:solidFill>
              <a:schemeClr val="accent1"/>
            </a:solidFill>
            <a:ln w="9525" algn="ctr">
              <a:solidFill>
                <a:schemeClr val="bg1"/>
              </a:solidFill>
              <a:prstDash val="solid"/>
            </a:ln>
          </c:spPr>
          <c:invertIfNegative val="0"/>
          <c:dLbls>
            <c:dLbl>
              <c:idx val="0"/>
              <c:layout>
                <c:manualLayout>
                  <c:x val="0.15109427609427609"/>
                  <c:y val="0"/>
                </c:manualLayout>
              </c:layout>
              <c:numFmt formatCode="#,##0;&quot;-&quot;#,##0;0"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079D-4DE8-B751-4FDB77760AAB}"/>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c:f>
              <c:numCache>
                <c:formatCode>General</c:formatCode>
                <c:ptCount val="1"/>
                <c:pt idx="0">
                  <c:v>108</c:v>
                </c:pt>
              </c:numCache>
            </c:numRef>
          </c:val>
          <c:extLst>
            <c:ext xmlns:c16="http://schemas.microsoft.com/office/drawing/2014/chart" uri="{C3380CC4-5D6E-409C-BE32-E72D297353CC}">
              <c16:uniqueId val="{00000001-079D-4DE8-B751-4FDB77760AAB}"/>
            </c:ext>
          </c:extLst>
        </c:ser>
        <c:ser>
          <c:idx val="1"/>
          <c:order val="1"/>
          <c:spPr>
            <a:solidFill>
              <a:schemeClr val="accent2"/>
            </a:solidFill>
            <a:ln w="9525" algn="ctr">
              <a:solidFill>
                <a:schemeClr val="bg1"/>
              </a:solidFill>
              <a:prstDash val="solid"/>
            </a:ln>
          </c:spPr>
          <c:invertIfNegative val="0"/>
          <c:dLbls>
            <c:dLbl>
              <c:idx val="0"/>
              <c:layout>
                <c:manualLayout>
                  <c:x val="0.27272727272727271"/>
                  <c:y val="0"/>
                </c:manualLayout>
              </c:layout>
              <c:numFmt formatCode="#,##0;&quot;-&quot;#,##0;0"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079D-4DE8-B751-4FDB77760AAB}"/>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c:f>
              <c:numCache>
                <c:formatCode>General</c:formatCode>
                <c:ptCount val="1"/>
                <c:pt idx="0">
                  <c:v>233</c:v>
                </c:pt>
              </c:numCache>
            </c:numRef>
          </c:val>
          <c:extLst>
            <c:ext xmlns:c16="http://schemas.microsoft.com/office/drawing/2014/chart" uri="{C3380CC4-5D6E-409C-BE32-E72D297353CC}">
              <c16:uniqueId val="{00000003-079D-4DE8-B751-4FDB77760AAB}"/>
            </c:ext>
          </c:extLst>
        </c:ser>
        <c:ser>
          <c:idx val="2"/>
          <c:order val="2"/>
          <c:spPr>
            <a:solidFill>
              <a:schemeClr val="accent3"/>
            </a:solidFill>
            <a:ln w="9525" algn="ctr">
              <a:solidFill>
                <a:schemeClr val="bg1"/>
              </a:solidFill>
              <a:prstDash val="solid"/>
            </a:ln>
          </c:spPr>
          <c:invertIfNegative val="0"/>
          <c:dLbls>
            <c:dLbl>
              <c:idx val="0"/>
              <c:layout>
                <c:manualLayout>
                  <c:x val="0.48905723905723908"/>
                  <c:y val="0"/>
                </c:manualLayout>
              </c:layout>
              <c:numFmt formatCode="#,##0;&quot;-&quot;#,##0;0"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079D-4DE8-B751-4FDB77760AAB}"/>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c:f>
              <c:numCache>
                <c:formatCode>General</c:formatCode>
                <c:ptCount val="1"/>
                <c:pt idx="0">
                  <c:v>455</c:v>
                </c:pt>
              </c:numCache>
            </c:numRef>
          </c:val>
          <c:extLst>
            <c:ext xmlns:c16="http://schemas.microsoft.com/office/drawing/2014/chart" uri="{C3380CC4-5D6E-409C-BE32-E72D297353CC}">
              <c16:uniqueId val="{00000005-079D-4DE8-B751-4FDB77760AAB}"/>
            </c:ext>
          </c:extLst>
        </c:ser>
        <c:dLbls>
          <c:showLegendKey val="0"/>
          <c:showVal val="0"/>
          <c:showCatName val="0"/>
          <c:showSerName val="0"/>
          <c:showPercent val="0"/>
          <c:showBubbleSize val="0"/>
        </c:dLbls>
        <c:gapWidth val="40"/>
        <c:axId val="2033833167"/>
        <c:axId val="1"/>
      </c:barChart>
      <c:catAx>
        <c:axId val="2033833167"/>
        <c:scaling>
          <c:orientation val="maxMin"/>
        </c:scaling>
        <c:delete val="0"/>
        <c:axPos val="l"/>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469"/>
          <c:min val="0"/>
        </c:scaling>
        <c:delete val="1"/>
        <c:axPos val="t"/>
        <c:numFmt formatCode="General" sourceLinked="1"/>
        <c:majorTickMark val="out"/>
        <c:minorTickMark val="none"/>
        <c:tickLblPos val="nextTo"/>
        <c:crossAx val="2033833167"/>
        <c:crosses val="min"/>
        <c:crossBetween val="between"/>
      </c:valAx>
    </c:plotArea>
    <c:plotVisOnly val="0"/>
    <c:dispBlanksAs val="gap"/>
    <c:showDLblsOverMax val="1"/>
  </c:chart>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2857142857142857E-2"/>
          <c:y val="0.11764705882352941"/>
          <c:w val="0.95428571428571429"/>
          <c:h val="0.76470588235294112"/>
        </c:manualLayout>
      </c:layout>
      <c:barChart>
        <c:barDir val="bar"/>
        <c:grouping val="clustered"/>
        <c:varyColors val="0"/>
        <c:ser>
          <c:idx val="0"/>
          <c:order val="0"/>
          <c:spPr>
            <a:solidFill>
              <a:schemeClr val="accent1"/>
            </a:solidFill>
            <a:ln w="9525" algn="ctr">
              <a:solidFill>
                <a:schemeClr val="bg1"/>
              </a:solidFill>
              <a:prstDash val="solid"/>
            </a:ln>
          </c:spPr>
          <c:invertIfNegative val="0"/>
          <c:dLbls>
            <c:dLbl>
              <c:idx val="0"/>
              <c:layout>
                <c:manualLayout>
                  <c:x val="-3.956043956043956E-3"/>
                  <c:y val="0"/>
                </c:manualLayout>
              </c:layout>
              <c:numFmt formatCode="#,##0;&quot;-&quot;#,##0;0"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ED89-4A9B-86F0-AB42989CDA04}"/>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c:f>
              <c:numCache>
                <c:formatCode>General</c:formatCode>
                <c:ptCount val="1"/>
                <c:pt idx="0">
                  <c:v>3</c:v>
                </c:pt>
              </c:numCache>
            </c:numRef>
          </c:val>
          <c:extLst>
            <c:ext xmlns:c16="http://schemas.microsoft.com/office/drawing/2014/chart" uri="{C3380CC4-5D6E-409C-BE32-E72D297353CC}">
              <c16:uniqueId val="{00000001-ED89-4A9B-86F0-AB42989CDA04}"/>
            </c:ext>
          </c:extLst>
        </c:ser>
        <c:ser>
          <c:idx val="1"/>
          <c:order val="1"/>
          <c:spPr>
            <a:solidFill>
              <a:schemeClr val="accent2"/>
            </a:solidFill>
            <a:ln w="9525" algn="ctr">
              <a:solidFill>
                <a:schemeClr val="bg1"/>
              </a:solidFill>
              <a:prstDash val="solid"/>
            </a:ln>
          </c:spPr>
          <c:invertIfNegative val="0"/>
          <c:dLbls>
            <c:dLbl>
              <c:idx val="0"/>
              <c:layout>
                <c:manualLayout>
                  <c:x val="0.25230769230769229"/>
                  <c:y val="0"/>
                </c:manualLayout>
              </c:layout>
              <c:numFmt formatCode="#,##0;&quot;-&quot;#,##0;0"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ED89-4A9B-86F0-AB42989CDA04}"/>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c:f>
              <c:numCache>
                <c:formatCode>General</c:formatCode>
                <c:ptCount val="1"/>
                <c:pt idx="0">
                  <c:v>201</c:v>
                </c:pt>
              </c:numCache>
            </c:numRef>
          </c:val>
          <c:extLst>
            <c:ext xmlns:c16="http://schemas.microsoft.com/office/drawing/2014/chart" uri="{C3380CC4-5D6E-409C-BE32-E72D297353CC}">
              <c16:uniqueId val="{00000003-ED89-4A9B-86F0-AB42989CDA04}"/>
            </c:ext>
          </c:extLst>
        </c:ser>
        <c:ser>
          <c:idx val="2"/>
          <c:order val="2"/>
          <c:spPr>
            <a:solidFill>
              <a:schemeClr val="accent3"/>
            </a:solidFill>
            <a:ln w="9525" algn="ctr">
              <a:solidFill>
                <a:schemeClr val="bg1"/>
              </a:solidFill>
              <a:prstDash val="solid"/>
            </a:ln>
          </c:spPr>
          <c:invertIfNegative val="0"/>
          <c:dLbls>
            <c:dLbl>
              <c:idx val="0"/>
              <c:layout>
                <c:manualLayout>
                  <c:x val="0.44747252747252747"/>
                  <c:y val="0"/>
                </c:manualLayout>
              </c:layout>
              <c:numFmt formatCode="#,##0;&quot;-&quot;#,##0;0"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ED89-4A9B-86F0-AB42989CDA04}"/>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c:f>
              <c:numCache>
                <c:formatCode>General</c:formatCode>
                <c:ptCount val="1"/>
                <c:pt idx="0">
                  <c:v>393</c:v>
                </c:pt>
              </c:numCache>
            </c:numRef>
          </c:val>
          <c:extLst>
            <c:ext xmlns:c16="http://schemas.microsoft.com/office/drawing/2014/chart" uri="{C3380CC4-5D6E-409C-BE32-E72D297353CC}">
              <c16:uniqueId val="{00000005-ED89-4A9B-86F0-AB42989CDA04}"/>
            </c:ext>
          </c:extLst>
        </c:ser>
        <c:dLbls>
          <c:showLegendKey val="0"/>
          <c:showVal val="0"/>
          <c:showCatName val="0"/>
          <c:showSerName val="0"/>
          <c:showPercent val="0"/>
          <c:showBubbleSize val="0"/>
        </c:dLbls>
        <c:gapWidth val="40"/>
        <c:axId val="2033826927"/>
        <c:axId val="1"/>
      </c:barChart>
      <c:catAx>
        <c:axId val="2033826927"/>
        <c:scaling>
          <c:orientation val="maxMin"/>
        </c:scaling>
        <c:delete val="0"/>
        <c:axPos val="l"/>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469"/>
          <c:min val="0"/>
        </c:scaling>
        <c:delete val="1"/>
        <c:axPos val="t"/>
        <c:numFmt formatCode="General" sourceLinked="1"/>
        <c:majorTickMark val="out"/>
        <c:minorTickMark val="none"/>
        <c:tickLblPos val="nextTo"/>
        <c:crossAx val="2033826927"/>
        <c:crosses val="min"/>
        <c:crossBetween val="between"/>
      </c:valAx>
    </c:plotArea>
    <c:plotVisOnly val="0"/>
    <c:dispBlanksAs val="gap"/>
    <c:showDLblsOverMax val="1"/>
  </c:chart>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1302744776730848E-2"/>
          <c:y val="0.11791383219954649"/>
          <c:w val="0.88938959442851295"/>
          <c:h val="0.76417233560090703"/>
        </c:manualLayout>
      </c:layout>
      <c:barChart>
        <c:barDir val="bar"/>
        <c:grouping val="clustered"/>
        <c:varyColors val="0"/>
        <c:ser>
          <c:idx val="0"/>
          <c:order val="0"/>
          <c:spPr>
            <a:solidFill>
              <a:schemeClr val="accent1"/>
            </a:solidFill>
            <a:ln w="9525" algn="ctr">
              <a:solidFill>
                <a:schemeClr val="bg1"/>
              </a:solidFill>
              <a:prstDash val="solid"/>
            </a:ln>
          </c:spPr>
          <c:invertIfNegative val="0"/>
          <c:dLbls>
            <c:dLbl>
              <c:idx val="0"/>
              <c:layout>
                <c:manualLayout>
                  <c:x val="0.21999180663662432"/>
                  <c:y val="0"/>
                </c:manualLayout>
              </c:layout>
              <c:numFmt formatCode="#,##0;&quot;-&quot;#,##0;0"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8BA4-41E1-ADFE-B3F1F008BF1A}"/>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c:f>
              <c:numCache>
                <c:formatCode>General</c:formatCode>
                <c:ptCount val="1"/>
                <c:pt idx="0">
                  <c:v>185</c:v>
                </c:pt>
              </c:numCache>
            </c:numRef>
          </c:val>
          <c:extLst>
            <c:ext xmlns:c16="http://schemas.microsoft.com/office/drawing/2014/chart" uri="{C3380CC4-5D6E-409C-BE32-E72D297353CC}">
              <c16:uniqueId val="{00000001-8BA4-41E1-ADFE-B3F1F008BF1A}"/>
            </c:ext>
          </c:extLst>
        </c:ser>
        <c:ser>
          <c:idx val="1"/>
          <c:order val="1"/>
          <c:invertIfNegative val="0"/>
          <c:val>
            <c:numRef>
              <c:f>Sheet1!$A$2</c:f>
              <c:numCache>
                <c:formatCode>General</c:formatCode>
                <c:ptCount val="1"/>
                <c:pt idx="0">
                  <c:v>0</c:v>
                </c:pt>
              </c:numCache>
            </c:numRef>
          </c:val>
          <c:extLst>
            <c:ext xmlns:c16="http://schemas.microsoft.com/office/drawing/2014/chart" uri="{C3380CC4-5D6E-409C-BE32-E72D297353CC}">
              <c16:uniqueId val="{00000002-8BA4-41E1-ADFE-B3F1F008BF1A}"/>
            </c:ext>
          </c:extLst>
        </c:ser>
        <c:ser>
          <c:idx val="2"/>
          <c:order val="2"/>
          <c:spPr>
            <a:solidFill>
              <a:schemeClr val="accent3"/>
            </a:solidFill>
            <a:ln w="9525" algn="ctr">
              <a:solidFill>
                <a:schemeClr val="bg1"/>
              </a:solidFill>
              <a:prstDash val="solid"/>
            </a:ln>
          </c:spPr>
          <c:invertIfNegative val="0"/>
          <c:dLbls>
            <c:dLbl>
              <c:idx val="0"/>
              <c:layout>
                <c:manualLayout>
                  <c:x val="0.4895534616960262"/>
                  <c:y val="0"/>
                </c:manualLayout>
              </c:layout>
              <c:numFmt formatCode="#,##0;&quot;-&quot;#,##0;0"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8BA4-41E1-ADFE-B3F1F008BF1A}"/>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c:f>
              <c:numCache>
                <c:formatCode>General</c:formatCode>
                <c:ptCount val="1"/>
                <c:pt idx="0">
                  <c:v>469</c:v>
                </c:pt>
              </c:numCache>
            </c:numRef>
          </c:val>
          <c:extLst>
            <c:ext xmlns:c16="http://schemas.microsoft.com/office/drawing/2014/chart" uri="{C3380CC4-5D6E-409C-BE32-E72D297353CC}">
              <c16:uniqueId val="{00000004-8BA4-41E1-ADFE-B3F1F008BF1A}"/>
            </c:ext>
          </c:extLst>
        </c:ser>
        <c:dLbls>
          <c:showLegendKey val="0"/>
          <c:showVal val="0"/>
          <c:showCatName val="0"/>
          <c:showSerName val="0"/>
          <c:showPercent val="0"/>
          <c:showBubbleSize val="0"/>
        </c:dLbls>
        <c:gapWidth val="40"/>
        <c:axId val="2033831087"/>
        <c:axId val="1"/>
      </c:barChart>
      <c:catAx>
        <c:axId val="2033831087"/>
        <c:scaling>
          <c:orientation val="maxMin"/>
        </c:scaling>
        <c:delete val="0"/>
        <c:axPos val="l"/>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469"/>
          <c:min val="0"/>
        </c:scaling>
        <c:delete val="1"/>
        <c:axPos val="t"/>
        <c:numFmt formatCode="General" sourceLinked="1"/>
        <c:majorTickMark val="out"/>
        <c:minorTickMark val="none"/>
        <c:tickLblPos val="nextTo"/>
        <c:crossAx val="2033831087"/>
        <c:crosses val="min"/>
        <c:crossBetween val="between"/>
      </c:valAx>
    </c:plotArea>
    <c:plotVisOnly val="0"/>
    <c:dispBlanksAs val="gap"/>
    <c:showDLblsOverMax val="1"/>
  </c:chart>
  <c:externalData r:id="rId1">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6.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A1C6712F-9EE6-0109-98FE-98712D28144C}"/>
              </a:ext>
            </a:extLst>
          </p:cNvPr>
          <p:cNvSpPr>
            <a:spLocks noGrp="1"/>
          </p:cNvSpPr>
          <p:nvPr>
            <p:ph type="hdr" sz="quarter"/>
          </p:nvPr>
        </p:nvSpPr>
        <p:spPr>
          <a:xfrm>
            <a:off x="0" y="0"/>
            <a:ext cx="2971800" cy="465138"/>
          </a:xfrm>
          <a:prstGeom prst="rect">
            <a:avLst/>
          </a:prstGeom>
        </p:spPr>
        <p:txBody>
          <a:bodyPr vert="horz" lIns="93177" tIns="46589" rIns="93177" bIns="46589" rtlCol="0"/>
          <a:lstStyle>
            <a:lvl1pPr algn="l" eaLnBrk="1" fontAlgn="auto" hangingPunct="1">
              <a:spcBef>
                <a:spcPts val="0"/>
              </a:spcBef>
              <a:spcAft>
                <a:spcPts val="0"/>
              </a:spcAft>
              <a:defRPr sz="1200" dirty="0">
                <a:latin typeface="+mn-lt"/>
              </a:defRPr>
            </a:lvl1pPr>
          </a:lstStyle>
          <a:p>
            <a:pPr>
              <a:defRPr/>
            </a:pPr>
            <a:endParaRPr lang="en-US"/>
          </a:p>
        </p:txBody>
      </p:sp>
      <p:sp>
        <p:nvSpPr>
          <p:cNvPr id="3" name="Date Placeholder 2">
            <a:extLst>
              <a:ext uri="{FF2B5EF4-FFF2-40B4-BE49-F238E27FC236}">
                <a16:creationId xmlns:a16="http://schemas.microsoft.com/office/drawing/2014/main" id="{0D9E364A-8EE2-0C4C-3D8C-97441FB6CC56}"/>
              </a:ext>
            </a:extLst>
          </p:cNvPr>
          <p:cNvSpPr>
            <a:spLocks noGrp="1"/>
          </p:cNvSpPr>
          <p:nvPr>
            <p:ph type="dt" idx="1"/>
          </p:nvPr>
        </p:nvSpPr>
        <p:spPr>
          <a:xfrm>
            <a:off x="3884613" y="0"/>
            <a:ext cx="2971800" cy="465138"/>
          </a:xfrm>
          <a:prstGeom prst="rect">
            <a:avLst/>
          </a:prstGeom>
        </p:spPr>
        <p:txBody>
          <a:bodyPr vert="horz" lIns="93177" tIns="46589" rIns="93177" bIns="46589" rtlCol="0"/>
          <a:lstStyle>
            <a:lvl1pPr algn="r" eaLnBrk="1" fontAlgn="auto" hangingPunct="1">
              <a:spcBef>
                <a:spcPts val="0"/>
              </a:spcBef>
              <a:spcAft>
                <a:spcPts val="0"/>
              </a:spcAft>
              <a:defRPr sz="1200" smtClean="0">
                <a:latin typeface="+mn-lt"/>
              </a:defRPr>
            </a:lvl1pPr>
          </a:lstStyle>
          <a:p>
            <a:pPr>
              <a:defRPr/>
            </a:pPr>
            <a:fld id="{E94BFA6E-87B7-4648-83C9-47D10DEBA25D}" type="datetimeFigureOut">
              <a:rPr lang="en-US"/>
              <a:pPr>
                <a:defRPr/>
              </a:pPr>
              <a:t>8/9/2023</a:t>
            </a:fld>
            <a:endParaRPr lang="en-US"/>
          </a:p>
        </p:txBody>
      </p:sp>
      <p:sp>
        <p:nvSpPr>
          <p:cNvPr id="4" name="Slide Image Placeholder 3">
            <a:extLst>
              <a:ext uri="{FF2B5EF4-FFF2-40B4-BE49-F238E27FC236}">
                <a16:creationId xmlns:a16="http://schemas.microsoft.com/office/drawing/2014/main" id="{2B2B0FB2-61B9-8D05-FCC3-78150B10FC3A}"/>
              </a:ext>
            </a:extLst>
          </p:cNvPr>
          <p:cNvSpPr>
            <a:spLocks noGrp="1" noRot="1" noChangeAspect="1"/>
          </p:cNvSpPr>
          <p:nvPr>
            <p:ph type="sldImg" idx="2"/>
          </p:nvPr>
        </p:nvSpPr>
        <p:spPr>
          <a:xfrm>
            <a:off x="325438" y="698500"/>
            <a:ext cx="6207125" cy="3492500"/>
          </a:xfrm>
          <a:prstGeom prst="rect">
            <a:avLst/>
          </a:prstGeom>
          <a:noFill/>
          <a:ln w="12700">
            <a:solidFill>
              <a:prstClr val="black"/>
            </a:solidFill>
          </a:ln>
        </p:spPr>
        <p:txBody>
          <a:bodyPr vert="horz" lIns="93177" tIns="46589" rIns="93177" bIns="46589" rtlCol="0" anchor="ctr"/>
          <a:lstStyle/>
          <a:p>
            <a:pPr lvl="0"/>
            <a:endParaRPr lang="en-US" noProof="0"/>
          </a:p>
        </p:txBody>
      </p:sp>
      <p:sp>
        <p:nvSpPr>
          <p:cNvPr id="5" name="Notes Placeholder 4">
            <a:extLst>
              <a:ext uri="{FF2B5EF4-FFF2-40B4-BE49-F238E27FC236}">
                <a16:creationId xmlns:a16="http://schemas.microsoft.com/office/drawing/2014/main" id="{8F9E68D8-9496-9897-1B97-705AB9BD2F2C}"/>
              </a:ext>
            </a:extLst>
          </p:cNvPr>
          <p:cNvSpPr>
            <a:spLocks noGrp="1"/>
          </p:cNvSpPr>
          <p:nvPr>
            <p:ph type="body" sz="quarter" idx="3"/>
          </p:nvPr>
        </p:nvSpPr>
        <p:spPr>
          <a:xfrm>
            <a:off x="685800" y="4424363"/>
            <a:ext cx="5486400" cy="4191000"/>
          </a:xfrm>
          <a:prstGeom prst="rect">
            <a:avLst/>
          </a:prstGeom>
        </p:spPr>
        <p:txBody>
          <a:bodyPr vert="horz" lIns="93177" tIns="46589" rIns="93177" bIns="46589"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Footer Placeholder 5">
            <a:extLst>
              <a:ext uri="{FF2B5EF4-FFF2-40B4-BE49-F238E27FC236}">
                <a16:creationId xmlns:a16="http://schemas.microsoft.com/office/drawing/2014/main" id="{E18C4374-8469-C529-B98A-74E2491A2A3F}"/>
              </a:ext>
            </a:extLst>
          </p:cNvPr>
          <p:cNvSpPr>
            <a:spLocks noGrp="1"/>
          </p:cNvSpPr>
          <p:nvPr>
            <p:ph type="ftr" sz="quarter" idx="4"/>
          </p:nvPr>
        </p:nvSpPr>
        <p:spPr>
          <a:xfrm>
            <a:off x="0" y="8847138"/>
            <a:ext cx="2971800" cy="465137"/>
          </a:xfrm>
          <a:prstGeom prst="rect">
            <a:avLst/>
          </a:prstGeom>
        </p:spPr>
        <p:txBody>
          <a:bodyPr vert="horz" lIns="93177" tIns="46589" rIns="93177" bIns="46589" rtlCol="0" anchor="b"/>
          <a:lstStyle>
            <a:lvl1pPr algn="l" eaLnBrk="1" fontAlgn="auto" hangingPunct="1">
              <a:spcBef>
                <a:spcPts val="0"/>
              </a:spcBef>
              <a:spcAft>
                <a:spcPts val="0"/>
              </a:spcAft>
              <a:defRPr sz="1200" dirty="0">
                <a:latin typeface="+mn-lt"/>
              </a:defRPr>
            </a:lvl1pPr>
          </a:lstStyle>
          <a:p>
            <a:pPr>
              <a:defRPr/>
            </a:pPr>
            <a:endParaRPr lang="en-US"/>
          </a:p>
        </p:txBody>
      </p:sp>
      <p:sp>
        <p:nvSpPr>
          <p:cNvPr id="7" name="Slide Number Placeholder 6">
            <a:extLst>
              <a:ext uri="{FF2B5EF4-FFF2-40B4-BE49-F238E27FC236}">
                <a16:creationId xmlns:a16="http://schemas.microsoft.com/office/drawing/2014/main" id="{57E36126-894E-36C0-3E23-FE0EA2A3767C}"/>
              </a:ext>
            </a:extLst>
          </p:cNvPr>
          <p:cNvSpPr>
            <a:spLocks noGrp="1"/>
          </p:cNvSpPr>
          <p:nvPr>
            <p:ph type="sldNum" sz="quarter" idx="5"/>
          </p:nvPr>
        </p:nvSpPr>
        <p:spPr>
          <a:xfrm>
            <a:off x="3884613" y="8847138"/>
            <a:ext cx="2971800" cy="465137"/>
          </a:xfrm>
          <a:prstGeom prst="rect">
            <a:avLst/>
          </a:prstGeom>
        </p:spPr>
        <p:txBody>
          <a:bodyPr vert="horz" lIns="93177" tIns="46589" rIns="93177" bIns="46589" rtlCol="0" anchor="b"/>
          <a:lstStyle>
            <a:lvl1pPr algn="r" eaLnBrk="1" fontAlgn="auto" hangingPunct="1">
              <a:spcBef>
                <a:spcPts val="0"/>
              </a:spcBef>
              <a:spcAft>
                <a:spcPts val="0"/>
              </a:spcAft>
              <a:defRPr sz="1200" smtClean="0">
                <a:latin typeface="+mn-lt"/>
              </a:defRPr>
            </a:lvl1pPr>
          </a:lstStyle>
          <a:p>
            <a:pPr>
              <a:defRPr/>
            </a:pPr>
            <a:fld id="{96E96F31-B028-431A-A0DC-E35BA16BB2F5}" type="slidenum">
              <a:rPr lang="en-US"/>
              <a:pPr>
                <a:defRPr/>
              </a:pPr>
              <a:t>‹#›</a:t>
            </a:fld>
            <a:endParaRPr lang="en-US"/>
          </a:p>
        </p:txBody>
      </p:sp>
    </p:spTree>
  </p:cSld>
  <p:clrMap bg1="lt1" tx1="dk1" bg2="lt2" tx2="dk2" accent1="accent1" accent2="accent2" accent3="accent3" accent4="accent4" accent5="accent5" accent6="accent6" hlink="hlink" folHlink="folHlink"/>
  <p:notesStyle>
    <a:lvl1pPr algn="l" rtl="0" fontAlgn="base">
      <a:spcBef>
        <a:spcPct val="30000"/>
      </a:spcBef>
      <a:spcAft>
        <a:spcPct val="0"/>
      </a:spcAft>
      <a:defRPr sz="1200" kern="1200">
        <a:solidFill>
          <a:schemeClr val="tx1"/>
        </a:solidFill>
        <a:latin typeface="+mn-lt"/>
        <a:ea typeface="+mn-ea"/>
        <a:cs typeface="+mn-cs"/>
      </a:defRPr>
    </a:lvl1pPr>
    <a:lvl2pPr marL="457200" algn="l" rtl="0" fontAlgn="base">
      <a:spcBef>
        <a:spcPct val="30000"/>
      </a:spcBef>
      <a:spcAft>
        <a:spcPct val="0"/>
      </a:spcAft>
      <a:defRPr sz="1200" kern="1200">
        <a:solidFill>
          <a:schemeClr val="tx1"/>
        </a:solidFill>
        <a:latin typeface="+mn-lt"/>
        <a:ea typeface="+mn-ea"/>
        <a:cs typeface="+mn-cs"/>
      </a:defRPr>
    </a:lvl2pPr>
    <a:lvl3pPr marL="914400" algn="l" rtl="0" fontAlgn="base">
      <a:spcBef>
        <a:spcPct val="30000"/>
      </a:spcBef>
      <a:spcAft>
        <a:spcPct val="0"/>
      </a:spcAft>
      <a:defRPr sz="1200" kern="1200">
        <a:solidFill>
          <a:schemeClr val="tx1"/>
        </a:solidFill>
        <a:latin typeface="+mn-lt"/>
        <a:ea typeface="+mn-ea"/>
        <a:cs typeface="+mn-cs"/>
      </a:defRPr>
    </a:lvl3pPr>
    <a:lvl4pPr marL="1371600" algn="l" rtl="0" fontAlgn="base">
      <a:spcBef>
        <a:spcPct val="30000"/>
      </a:spcBef>
      <a:spcAft>
        <a:spcPct val="0"/>
      </a:spcAft>
      <a:defRPr sz="1200" kern="1200">
        <a:solidFill>
          <a:schemeClr val="tx1"/>
        </a:solidFill>
        <a:latin typeface="+mn-lt"/>
        <a:ea typeface="+mn-ea"/>
        <a:cs typeface="+mn-cs"/>
      </a:defRPr>
    </a:lvl4pPr>
    <a:lvl5pPr marL="1828800" algn="l" rtl="0" fontAlgn="base">
      <a:spcBef>
        <a:spcPct val="30000"/>
      </a:spcBef>
      <a:spcAft>
        <a:spcPct val="0"/>
      </a:spcAft>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101.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102.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10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107.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108.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10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Slide Image Placeholder 1">
            <a:extLst>
              <a:ext uri="{FF2B5EF4-FFF2-40B4-BE49-F238E27FC236}">
                <a16:creationId xmlns:a16="http://schemas.microsoft.com/office/drawing/2014/main" id="{2B15C5F4-F660-01C3-CA2E-4DB9AC78A439}"/>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1507" name="Notes Placeholder 2">
            <a:extLst>
              <a:ext uri="{FF2B5EF4-FFF2-40B4-BE49-F238E27FC236}">
                <a16:creationId xmlns:a16="http://schemas.microsoft.com/office/drawing/2014/main" id="{D99CC0F6-0CBF-B6BC-1DFE-152AC8C0D742}"/>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endParaRPr lang="en-US" altLang="en-US"/>
          </a:p>
        </p:txBody>
      </p:sp>
      <p:sp>
        <p:nvSpPr>
          <p:cNvPr id="21508" name="Slide Number Placeholder 3">
            <a:extLst>
              <a:ext uri="{FF2B5EF4-FFF2-40B4-BE49-F238E27FC236}">
                <a16:creationId xmlns:a16="http://schemas.microsoft.com/office/drawing/2014/main" id="{10712597-608A-B130-BA09-DE61195349A1}"/>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Franklin Gothic Book" panose="020B0503020102020204" pitchFamily="34" charset="0"/>
              </a:defRPr>
            </a:lvl1pPr>
            <a:lvl2pPr marL="742950" indent="-285750">
              <a:defRPr>
                <a:solidFill>
                  <a:schemeClr val="tx1"/>
                </a:solidFill>
                <a:latin typeface="Franklin Gothic Book" panose="020B0503020102020204" pitchFamily="34" charset="0"/>
              </a:defRPr>
            </a:lvl2pPr>
            <a:lvl3pPr marL="1143000" indent="-228600">
              <a:defRPr>
                <a:solidFill>
                  <a:schemeClr val="tx1"/>
                </a:solidFill>
                <a:latin typeface="Franklin Gothic Book" panose="020B0503020102020204" pitchFamily="34" charset="0"/>
              </a:defRPr>
            </a:lvl3pPr>
            <a:lvl4pPr marL="1600200" indent="-228600">
              <a:defRPr>
                <a:solidFill>
                  <a:schemeClr val="tx1"/>
                </a:solidFill>
                <a:latin typeface="Franklin Gothic Book" panose="020B0503020102020204" pitchFamily="34" charset="0"/>
              </a:defRPr>
            </a:lvl4pPr>
            <a:lvl5pPr marL="2057400" indent="-228600">
              <a:defRPr>
                <a:solidFill>
                  <a:schemeClr val="tx1"/>
                </a:solidFill>
                <a:latin typeface="Franklin Gothic Book" panose="020B0503020102020204" pitchFamily="34" charset="0"/>
              </a:defRPr>
            </a:lvl5pPr>
            <a:lvl6pPr marL="2514600" indent="-228600" fontAlgn="base">
              <a:spcBef>
                <a:spcPct val="0"/>
              </a:spcBef>
              <a:spcAft>
                <a:spcPct val="0"/>
              </a:spcAft>
              <a:defRPr>
                <a:solidFill>
                  <a:schemeClr val="tx1"/>
                </a:solidFill>
                <a:latin typeface="Franklin Gothic Book" panose="020B0503020102020204" pitchFamily="34" charset="0"/>
              </a:defRPr>
            </a:lvl6pPr>
            <a:lvl7pPr marL="2971800" indent="-228600" fontAlgn="base">
              <a:spcBef>
                <a:spcPct val="0"/>
              </a:spcBef>
              <a:spcAft>
                <a:spcPct val="0"/>
              </a:spcAft>
              <a:defRPr>
                <a:solidFill>
                  <a:schemeClr val="tx1"/>
                </a:solidFill>
                <a:latin typeface="Franklin Gothic Book" panose="020B0503020102020204" pitchFamily="34" charset="0"/>
              </a:defRPr>
            </a:lvl7pPr>
            <a:lvl8pPr marL="3429000" indent="-228600" fontAlgn="base">
              <a:spcBef>
                <a:spcPct val="0"/>
              </a:spcBef>
              <a:spcAft>
                <a:spcPct val="0"/>
              </a:spcAft>
              <a:defRPr>
                <a:solidFill>
                  <a:schemeClr val="tx1"/>
                </a:solidFill>
                <a:latin typeface="Franklin Gothic Book" panose="020B0503020102020204" pitchFamily="34" charset="0"/>
              </a:defRPr>
            </a:lvl8pPr>
            <a:lvl9pPr marL="3886200" indent="-228600" fontAlgn="base">
              <a:spcBef>
                <a:spcPct val="0"/>
              </a:spcBef>
              <a:spcAft>
                <a:spcPct val="0"/>
              </a:spcAft>
              <a:defRPr>
                <a:solidFill>
                  <a:schemeClr val="tx1"/>
                </a:solidFill>
                <a:latin typeface="Franklin Gothic Book" panose="020B0503020102020204" pitchFamily="34" charset="0"/>
              </a:defRPr>
            </a:lvl9pPr>
          </a:lstStyle>
          <a:p>
            <a:pPr fontAlgn="base">
              <a:spcBef>
                <a:spcPct val="0"/>
              </a:spcBef>
              <a:spcAft>
                <a:spcPct val="0"/>
              </a:spcAft>
            </a:pPr>
            <a:fld id="{299810BE-C147-4654-AEC1-0F0FCEEDF613}" type="slidenum">
              <a:rPr lang="en-US" altLang="en-US">
                <a:latin typeface="Calibri" panose="020F0502020204030204" pitchFamily="34" charset="0"/>
              </a:rPr>
              <a:pPr fontAlgn="base">
                <a:spcBef>
                  <a:spcPct val="0"/>
                </a:spcBef>
                <a:spcAft>
                  <a:spcPct val="0"/>
                </a:spcAft>
              </a:pPr>
              <a:t>1</a:t>
            </a:fld>
            <a:endParaRPr lang="en-US" altLang="en-US">
              <a:latin typeface="Calibri" panose="020F0502020204030204" pitchFamily="34" charset="0"/>
            </a:endParaRP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A1AB5789-9E99-414F-82A5-F02C1226578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0197693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A1AB5789-9E99-414F-82A5-F02C1226578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5997153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A1AB5789-9E99-414F-82A5-F02C1226578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8881117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A1AB5789-9E99-414F-82A5-F02C1226578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9204369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A1AB5789-9E99-414F-82A5-F02C1226578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1791985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A1AB5789-9E99-414F-82A5-F02C1226578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3555016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5DBE1BC6-72F5-4A13-B5E6-798B1D4F4F1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8597981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A1AB5789-9E99-414F-82A5-F02C1226578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5330335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A1AB5789-9E99-414F-82A5-F02C1226578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3223050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A1AB5789-9E99-414F-82A5-F02C1226578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9263905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Slide Image Placeholder 1">
            <a:extLst>
              <a:ext uri="{FF2B5EF4-FFF2-40B4-BE49-F238E27FC236}">
                <a16:creationId xmlns:a16="http://schemas.microsoft.com/office/drawing/2014/main" id="{2B15C5F4-F660-01C3-CA2E-4DB9AC78A439}"/>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1507" name="Notes Placeholder 2">
            <a:extLst>
              <a:ext uri="{FF2B5EF4-FFF2-40B4-BE49-F238E27FC236}">
                <a16:creationId xmlns:a16="http://schemas.microsoft.com/office/drawing/2014/main" id="{D99CC0F6-0CBF-B6BC-1DFE-152AC8C0D742}"/>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endParaRPr lang="en-US" altLang="en-US"/>
          </a:p>
        </p:txBody>
      </p:sp>
      <p:sp>
        <p:nvSpPr>
          <p:cNvPr id="21508" name="Slide Number Placeholder 3">
            <a:extLst>
              <a:ext uri="{FF2B5EF4-FFF2-40B4-BE49-F238E27FC236}">
                <a16:creationId xmlns:a16="http://schemas.microsoft.com/office/drawing/2014/main" id="{10712597-608A-B130-BA09-DE61195349A1}"/>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Franklin Gothic Book" panose="020B0503020102020204" pitchFamily="34" charset="0"/>
              </a:defRPr>
            </a:lvl1pPr>
            <a:lvl2pPr marL="742950" indent="-285750">
              <a:defRPr>
                <a:solidFill>
                  <a:schemeClr val="tx1"/>
                </a:solidFill>
                <a:latin typeface="Franklin Gothic Book" panose="020B0503020102020204" pitchFamily="34" charset="0"/>
              </a:defRPr>
            </a:lvl2pPr>
            <a:lvl3pPr marL="1143000" indent="-228600">
              <a:defRPr>
                <a:solidFill>
                  <a:schemeClr val="tx1"/>
                </a:solidFill>
                <a:latin typeface="Franklin Gothic Book" panose="020B0503020102020204" pitchFamily="34" charset="0"/>
              </a:defRPr>
            </a:lvl3pPr>
            <a:lvl4pPr marL="1600200" indent="-228600">
              <a:defRPr>
                <a:solidFill>
                  <a:schemeClr val="tx1"/>
                </a:solidFill>
                <a:latin typeface="Franklin Gothic Book" panose="020B0503020102020204" pitchFamily="34" charset="0"/>
              </a:defRPr>
            </a:lvl4pPr>
            <a:lvl5pPr marL="2057400" indent="-228600">
              <a:defRPr>
                <a:solidFill>
                  <a:schemeClr val="tx1"/>
                </a:solidFill>
                <a:latin typeface="Franklin Gothic Book" panose="020B0503020102020204" pitchFamily="34" charset="0"/>
              </a:defRPr>
            </a:lvl5pPr>
            <a:lvl6pPr marL="2514600" indent="-228600" fontAlgn="base">
              <a:spcBef>
                <a:spcPct val="0"/>
              </a:spcBef>
              <a:spcAft>
                <a:spcPct val="0"/>
              </a:spcAft>
              <a:defRPr>
                <a:solidFill>
                  <a:schemeClr val="tx1"/>
                </a:solidFill>
                <a:latin typeface="Franklin Gothic Book" panose="020B0503020102020204" pitchFamily="34" charset="0"/>
              </a:defRPr>
            </a:lvl6pPr>
            <a:lvl7pPr marL="2971800" indent="-228600" fontAlgn="base">
              <a:spcBef>
                <a:spcPct val="0"/>
              </a:spcBef>
              <a:spcAft>
                <a:spcPct val="0"/>
              </a:spcAft>
              <a:defRPr>
                <a:solidFill>
                  <a:schemeClr val="tx1"/>
                </a:solidFill>
                <a:latin typeface="Franklin Gothic Book" panose="020B0503020102020204" pitchFamily="34" charset="0"/>
              </a:defRPr>
            </a:lvl7pPr>
            <a:lvl8pPr marL="3429000" indent="-228600" fontAlgn="base">
              <a:spcBef>
                <a:spcPct val="0"/>
              </a:spcBef>
              <a:spcAft>
                <a:spcPct val="0"/>
              </a:spcAft>
              <a:defRPr>
                <a:solidFill>
                  <a:schemeClr val="tx1"/>
                </a:solidFill>
                <a:latin typeface="Franklin Gothic Book" panose="020B0503020102020204" pitchFamily="34" charset="0"/>
              </a:defRPr>
            </a:lvl8pPr>
            <a:lvl9pPr marL="3886200" indent="-228600" fontAlgn="base">
              <a:spcBef>
                <a:spcPct val="0"/>
              </a:spcBef>
              <a:spcAft>
                <a:spcPct val="0"/>
              </a:spcAft>
              <a:defRPr>
                <a:solidFill>
                  <a:schemeClr val="tx1"/>
                </a:solidFill>
                <a:latin typeface="Franklin Gothic Book" panose="020B0503020102020204" pitchFamily="34" charset="0"/>
              </a:defRPr>
            </a:lvl9pPr>
          </a:lstStyle>
          <a:p>
            <a:pPr fontAlgn="base">
              <a:spcBef>
                <a:spcPct val="0"/>
              </a:spcBef>
              <a:spcAft>
                <a:spcPct val="0"/>
              </a:spcAft>
            </a:pPr>
            <a:fld id="{299810BE-C147-4654-AEC1-0F0FCEEDF613}" type="slidenum">
              <a:rPr lang="en-US" altLang="en-US">
                <a:latin typeface="Calibri" panose="020F0502020204030204" pitchFamily="34" charset="0"/>
              </a:rPr>
              <a:pPr fontAlgn="base">
                <a:spcBef>
                  <a:spcPct val="0"/>
                </a:spcBef>
                <a:spcAft>
                  <a:spcPct val="0"/>
                </a:spcAft>
              </a:pPr>
              <a:t>3</a:t>
            </a:fld>
            <a:endParaRPr lang="en-US" altLang="en-US">
              <a:latin typeface="Calibri" panose="020F0502020204030204" pitchFamily="34" charset="0"/>
            </a:endParaRPr>
          </a:p>
        </p:txBody>
      </p:sp>
    </p:spTree>
    <p:extLst>
      <p:ext uri="{BB962C8B-B14F-4D97-AF65-F5344CB8AC3E}">
        <p14:creationId xmlns:p14="http://schemas.microsoft.com/office/powerpoint/2010/main" val="124584126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A1AB5789-9E99-414F-82A5-F02C1226578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6272613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A1AB5789-9E99-414F-82A5-F02C1226578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4281382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A1AB5789-9E99-414F-82A5-F02C1226578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6201548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A1AB5789-9E99-414F-82A5-F02C1226578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9230131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A1AB5789-9E99-414F-82A5-F02C1226578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1669876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Slide Image Placeholder 1">
            <a:extLst>
              <a:ext uri="{FF2B5EF4-FFF2-40B4-BE49-F238E27FC236}">
                <a16:creationId xmlns:a16="http://schemas.microsoft.com/office/drawing/2014/main" id="{2B15C5F4-F660-01C3-CA2E-4DB9AC78A439}"/>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1507" name="Notes Placeholder 2">
            <a:extLst>
              <a:ext uri="{FF2B5EF4-FFF2-40B4-BE49-F238E27FC236}">
                <a16:creationId xmlns:a16="http://schemas.microsoft.com/office/drawing/2014/main" id="{D99CC0F6-0CBF-B6BC-1DFE-152AC8C0D742}"/>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endParaRPr lang="en-US" altLang="en-US"/>
          </a:p>
        </p:txBody>
      </p:sp>
      <p:sp>
        <p:nvSpPr>
          <p:cNvPr id="21508" name="Slide Number Placeholder 3">
            <a:extLst>
              <a:ext uri="{FF2B5EF4-FFF2-40B4-BE49-F238E27FC236}">
                <a16:creationId xmlns:a16="http://schemas.microsoft.com/office/drawing/2014/main" id="{10712597-608A-B130-BA09-DE61195349A1}"/>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Franklin Gothic Book" panose="020B0503020102020204" pitchFamily="34" charset="0"/>
              </a:defRPr>
            </a:lvl1pPr>
            <a:lvl2pPr marL="742950" indent="-285750">
              <a:defRPr>
                <a:solidFill>
                  <a:schemeClr val="tx1"/>
                </a:solidFill>
                <a:latin typeface="Franklin Gothic Book" panose="020B0503020102020204" pitchFamily="34" charset="0"/>
              </a:defRPr>
            </a:lvl2pPr>
            <a:lvl3pPr marL="1143000" indent="-228600">
              <a:defRPr>
                <a:solidFill>
                  <a:schemeClr val="tx1"/>
                </a:solidFill>
                <a:latin typeface="Franklin Gothic Book" panose="020B0503020102020204" pitchFamily="34" charset="0"/>
              </a:defRPr>
            </a:lvl3pPr>
            <a:lvl4pPr marL="1600200" indent="-228600">
              <a:defRPr>
                <a:solidFill>
                  <a:schemeClr val="tx1"/>
                </a:solidFill>
                <a:latin typeface="Franklin Gothic Book" panose="020B0503020102020204" pitchFamily="34" charset="0"/>
              </a:defRPr>
            </a:lvl4pPr>
            <a:lvl5pPr marL="2057400" indent="-228600">
              <a:defRPr>
                <a:solidFill>
                  <a:schemeClr val="tx1"/>
                </a:solidFill>
                <a:latin typeface="Franklin Gothic Book" panose="020B0503020102020204" pitchFamily="34" charset="0"/>
              </a:defRPr>
            </a:lvl5pPr>
            <a:lvl6pPr marL="2514600" indent="-228600" fontAlgn="base">
              <a:spcBef>
                <a:spcPct val="0"/>
              </a:spcBef>
              <a:spcAft>
                <a:spcPct val="0"/>
              </a:spcAft>
              <a:defRPr>
                <a:solidFill>
                  <a:schemeClr val="tx1"/>
                </a:solidFill>
                <a:latin typeface="Franklin Gothic Book" panose="020B0503020102020204" pitchFamily="34" charset="0"/>
              </a:defRPr>
            </a:lvl6pPr>
            <a:lvl7pPr marL="2971800" indent="-228600" fontAlgn="base">
              <a:spcBef>
                <a:spcPct val="0"/>
              </a:spcBef>
              <a:spcAft>
                <a:spcPct val="0"/>
              </a:spcAft>
              <a:defRPr>
                <a:solidFill>
                  <a:schemeClr val="tx1"/>
                </a:solidFill>
                <a:latin typeface="Franklin Gothic Book" panose="020B0503020102020204" pitchFamily="34" charset="0"/>
              </a:defRPr>
            </a:lvl7pPr>
            <a:lvl8pPr marL="3429000" indent="-228600" fontAlgn="base">
              <a:spcBef>
                <a:spcPct val="0"/>
              </a:spcBef>
              <a:spcAft>
                <a:spcPct val="0"/>
              </a:spcAft>
              <a:defRPr>
                <a:solidFill>
                  <a:schemeClr val="tx1"/>
                </a:solidFill>
                <a:latin typeface="Franklin Gothic Book" panose="020B0503020102020204" pitchFamily="34" charset="0"/>
              </a:defRPr>
            </a:lvl8pPr>
            <a:lvl9pPr marL="3886200" indent="-228600" fontAlgn="base">
              <a:spcBef>
                <a:spcPct val="0"/>
              </a:spcBef>
              <a:spcAft>
                <a:spcPct val="0"/>
              </a:spcAft>
              <a:defRPr>
                <a:solidFill>
                  <a:schemeClr val="tx1"/>
                </a:solidFill>
                <a:latin typeface="Franklin Gothic Book" panose="020B0503020102020204" pitchFamily="34" charset="0"/>
              </a:defRPr>
            </a:lvl9pPr>
          </a:lstStyle>
          <a:p>
            <a:pPr fontAlgn="base">
              <a:spcBef>
                <a:spcPct val="0"/>
              </a:spcBef>
              <a:spcAft>
                <a:spcPct val="0"/>
              </a:spcAft>
            </a:pPr>
            <a:fld id="{299810BE-C147-4654-AEC1-0F0FCEEDF613}" type="slidenum">
              <a:rPr lang="en-US" altLang="en-US">
                <a:latin typeface="Calibri" panose="020F0502020204030204" pitchFamily="34" charset="0"/>
              </a:rPr>
              <a:pPr fontAlgn="base">
                <a:spcBef>
                  <a:spcPct val="0"/>
                </a:spcBef>
                <a:spcAft>
                  <a:spcPct val="0"/>
                </a:spcAft>
              </a:pPr>
              <a:t>47</a:t>
            </a:fld>
            <a:endParaRPr lang="en-US" altLang="en-US">
              <a:latin typeface="Calibri" panose="020F0502020204030204" pitchFamily="34" charset="0"/>
            </a:endParaRPr>
          </a:p>
        </p:txBody>
      </p:sp>
    </p:spTree>
    <p:extLst>
      <p:ext uri="{BB962C8B-B14F-4D97-AF65-F5344CB8AC3E}">
        <p14:creationId xmlns:p14="http://schemas.microsoft.com/office/powerpoint/2010/main" val="236488550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E405301D-1DBD-48FD-87F0-F5B86737071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65760296"/>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a:effectLst/>
              <a:latin typeface="Times New Roman" panose="02020603050405020304" pitchFamily="18"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E405301D-1DBD-48FD-87F0-F5B86737071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5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31149581"/>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E405301D-1DBD-48FD-87F0-F5B86737071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5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5580177"/>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E405301D-1DBD-48FD-87F0-F5B86737071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6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257490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Slide Image Placeholder 1">
            <a:extLst>
              <a:ext uri="{FF2B5EF4-FFF2-40B4-BE49-F238E27FC236}">
                <a16:creationId xmlns:a16="http://schemas.microsoft.com/office/drawing/2014/main" id="{2B15C5F4-F660-01C3-CA2E-4DB9AC78A439}"/>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1507" name="Notes Placeholder 2">
            <a:extLst>
              <a:ext uri="{FF2B5EF4-FFF2-40B4-BE49-F238E27FC236}">
                <a16:creationId xmlns:a16="http://schemas.microsoft.com/office/drawing/2014/main" id="{D99CC0F6-0CBF-B6BC-1DFE-152AC8C0D742}"/>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endParaRPr lang="en-US" altLang="en-US"/>
          </a:p>
        </p:txBody>
      </p:sp>
      <p:sp>
        <p:nvSpPr>
          <p:cNvPr id="21508" name="Slide Number Placeholder 3">
            <a:extLst>
              <a:ext uri="{FF2B5EF4-FFF2-40B4-BE49-F238E27FC236}">
                <a16:creationId xmlns:a16="http://schemas.microsoft.com/office/drawing/2014/main" id="{10712597-608A-B130-BA09-DE61195349A1}"/>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Franklin Gothic Book" panose="020B0503020102020204" pitchFamily="34" charset="0"/>
              </a:defRPr>
            </a:lvl1pPr>
            <a:lvl2pPr marL="742950" indent="-285750">
              <a:defRPr>
                <a:solidFill>
                  <a:schemeClr val="tx1"/>
                </a:solidFill>
                <a:latin typeface="Franklin Gothic Book" panose="020B0503020102020204" pitchFamily="34" charset="0"/>
              </a:defRPr>
            </a:lvl2pPr>
            <a:lvl3pPr marL="1143000" indent="-228600">
              <a:defRPr>
                <a:solidFill>
                  <a:schemeClr val="tx1"/>
                </a:solidFill>
                <a:latin typeface="Franklin Gothic Book" panose="020B0503020102020204" pitchFamily="34" charset="0"/>
              </a:defRPr>
            </a:lvl3pPr>
            <a:lvl4pPr marL="1600200" indent="-228600">
              <a:defRPr>
                <a:solidFill>
                  <a:schemeClr val="tx1"/>
                </a:solidFill>
                <a:latin typeface="Franklin Gothic Book" panose="020B0503020102020204" pitchFamily="34" charset="0"/>
              </a:defRPr>
            </a:lvl4pPr>
            <a:lvl5pPr marL="2057400" indent="-228600">
              <a:defRPr>
                <a:solidFill>
                  <a:schemeClr val="tx1"/>
                </a:solidFill>
                <a:latin typeface="Franklin Gothic Book" panose="020B0503020102020204" pitchFamily="34" charset="0"/>
              </a:defRPr>
            </a:lvl5pPr>
            <a:lvl6pPr marL="2514600" indent="-228600" fontAlgn="base">
              <a:spcBef>
                <a:spcPct val="0"/>
              </a:spcBef>
              <a:spcAft>
                <a:spcPct val="0"/>
              </a:spcAft>
              <a:defRPr>
                <a:solidFill>
                  <a:schemeClr val="tx1"/>
                </a:solidFill>
                <a:latin typeface="Franklin Gothic Book" panose="020B0503020102020204" pitchFamily="34" charset="0"/>
              </a:defRPr>
            </a:lvl6pPr>
            <a:lvl7pPr marL="2971800" indent="-228600" fontAlgn="base">
              <a:spcBef>
                <a:spcPct val="0"/>
              </a:spcBef>
              <a:spcAft>
                <a:spcPct val="0"/>
              </a:spcAft>
              <a:defRPr>
                <a:solidFill>
                  <a:schemeClr val="tx1"/>
                </a:solidFill>
                <a:latin typeface="Franklin Gothic Book" panose="020B0503020102020204" pitchFamily="34" charset="0"/>
              </a:defRPr>
            </a:lvl7pPr>
            <a:lvl8pPr marL="3429000" indent="-228600" fontAlgn="base">
              <a:spcBef>
                <a:spcPct val="0"/>
              </a:spcBef>
              <a:spcAft>
                <a:spcPct val="0"/>
              </a:spcAft>
              <a:defRPr>
                <a:solidFill>
                  <a:schemeClr val="tx1"/>
                </a:solidFill>
                <a:latin typeface="Franklin Gothic Book" panose="020B0503020102020204" pitchFamily="34" charset="0"/>
              </a:defRPr>
            </a:lvl8pPr>
            <a:lvl9pPr marL="3886200" indent="-228600" fontAlgn="base">
              <a:spcBef>
                <a:spcPct val="0"/>
              </a:spcBef>
              <a:spcAft>
                <a:spcPct val="0"/>
              </a:spcAft>
              <a:defRPr>
                <a:solidFill>
                  <a:schemeClr val="tx1"/>
                </a:solidFill>
                <a:latin typeface="Franklin Gothic Book" panose="020B0503020102020204" pitchFamily="34" charset="0"/>
              </a:defRPr>
            </a:lvl9pPr>
          </a:lstStyle>
          <a:p>
            <a:pPr fontAlgn="base">
              <a:spcBef>
                <a:spcPct val="0"/>
              </a:spcBef>
              <a:spcAft>
                <a:spcPct val="0"/>
              </a:spcAft>
            </a:pPr>
            <a:fld id="{299810BE-C147-4654-AEC1-0F0FCEEDF613}" type="slidenum">
              <a:rPr lang="en-US" altLang="en-US">
                <a:latin typeface="Calibri" panose="020F0502020204030204" pitchFamily="34" charset="0"/>
              </a:rPr>
              <a:pPr fontAlgn="base">
                <a:spcBef>
                  <a:spcPct val="0"/>
                </a:spcBef>
                <a:spcAft>
                  <a:spcPct val="0"/>
                </a:spcAft>
              </a:pPr>
              <a:t>4</a:t>
            </a:fld>
            <a:endParaRPr lang="en-US" altLang="en-US">
              <a:latin typeface="Calibri" panose="020F0502020204030204" pitchFamily="34" charset="0"/>
            </a:endParaRPr>
          </a:p>
        </p:txBody>
      </p:sp>
    </p:spTree>
    <p:extLst>
      <p:ext uri="{BB962C8B-B14F-4D97-AF65-F5344CB8AC3E}">
        <p14:creationId xmlns:p14="http://schemas.microsoft.com/office/powerpoint/2010/main" val="851357188"/>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E405301D-1DBD-48FD-87F0-F5B86737071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6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63984738"/>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E405301D-1DBD-48FD-87F0-F5B86737071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6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82842588"/>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E405301D-1DBD-48FD-87F0-F5B86737071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6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95304791"/>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From Trish: </a:t>
            </a:r>
            <a:r>
              <a:rPr lang="en-US" sz="1200" kern="1200">
                <a:solidFill>
                  <a:schemeClr val="tx1"/>
                </a:solidFill>
                <a:effectLst/>
                <a:latin typeface="+mn-lt"/>
                <a:ea typeface="+mn-ea"/>
                <a:cs typeface="+mn-cs"/>
              </a:rPr>
              <a:t>remind Congress that unless they pass legislation amending the NWPA, DOE's hands are tied</a:t>
            </a:r>
          </a:p>
          <a:p>
            <a:r>
              <a:rPr lang="en-US" sz="1200" kern="1200">
                <a:solidFill>
                  <a:schemeClr val="tx1"/>
                </a:solidFill>
                <a:effectLst/>
                <a:latin typeface="+mn-lt"/>
                <a:ea typeface="+mn-ea"/>
                <a:cs typeface="+mn-cs"/>
              </a:rPr>
              <a:t>Context for Finding 12: right now the US is about 17-18% nuclear and going down as we retire some of the current fleet. If advanced reactors are added to just replace lost generating capacity, wastes will not necessarily increase. </a:t>
            </a:r>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E405301D-1DBD-48FD-87F0-F5B86737071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6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79952537"/>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he U.S. government and industry going forward will have to decide which features or attributes of advanced reactors best align with the U.S. energy needs without increasing proliferation risks, having an adverse impact on the environment, or imposing an unacceptable economic burden on current and future generations.</a:t>
            </a: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E405301D-1DBD-48FD-87F0-F5B86737071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8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41026762"/>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Slide Image Placeholder 1">
            <a:extLst>
              <a:ext uri="{FF2B5EF4-FFF2-40B4-BE49-F238E27FC236}">
                <a16:creationId xmlns:a16="http://schemas.microsoft.com/office/drawing/2014/main" id="{2B15C5F4-F660-01C3-CA2E-4DB9AC78A439}"/>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1507" name="Notes Placeholder 2">
            <a:extLst>
              <a:ext uri="{FF2B5EF4-FFF2-40B4-BE49-F238E27FC236}">
                <a16:creationId xmlns:a16="http://schemas.microsoft.com/office/drawing/2014/main" id="{D99CC0F6-0CBF-B6BC-1DFE-152AC8C0D742}"/>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endParaRPr lang="en-US" altLang="en-US"/>
          </a:p>
        </p:txBody>
      </p:sp>
      <p:sp>
        <p:nvSpPr>
          <p:cNvPr id="21508" name="Slide Number Placeholder 3">
            <a:extLst>
              <a:ext uri="{FF2B5EF4-FFF2-40B4-BE49-F238E27FC236}">
                <a16:creationId xmlns:a16="http://schemas.microsoft.com/office/drawing/2014/main" id="{10712597-608A-B130-BA09-DE61195349A1}"/>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Franklin Gothic Book" panose="020B0503020102020204" pitchFamily="34" charset="0"/>
              </a:defRPr>
            </a:lvl1pPr>
            <a:lvl2pPr marL="742950" indent="-285750">
              <a:defRPr>
                <a:solidFill>
                  <a:schemeClr val="tx1"/>
                </a:solidFill>
                <a:latin typeface="Franklin Gothic Book" panose="020B0503020102020204" pitchFamily="34" charset="0"/>
              </a:defRPr>
            </a:lvl2pPr>
            <a:lvl3pPr marL="1143000" indent="-228600">
              <a:defRPr>
                <a:solidFill>
                  <a:schemeClr val="tx1"/>
                </a:solidFill>
                <a:latin typeface="Franklin Gothic Book" panose="020B0503020102020204" pitchFamily="34" charset="0"/>
              </a:defRPr>
            </a:lvl3pPr>
            <a:lvl4pPr marL="1600200" indent="-228600">
              <a:defRPr>
                <a:solidFill>
                  <a:schemeClr val="tx1"/>
                </a:solidFill>
                <a:latin typeface="Franklin Gothic Book" panose="020B0503020102020204" pitchFamily="34" charset="0"/>
              </a:defRPr>
            </a:lvl4pPr>
            <a:lvl5pPr marL="2057400" indent="-228600">
              <a:defRPr>
                <a:solidFill>
                  <a:schemeClr val="tx1"/>
                </a:solidFill>
                <a:latin typeface="Franklin Gothic Book" panose="020B0503020102020204" pitchFamily="34" charset="0"/>
              </a:defRPr>
            </a:lvl5pPr>
            <a:lvl6pPr marL="2514600" indent="-228600" fontAlgn="base">
              <a:spcBef>
                <a:spcPct val="0"/>
              </a:spcBef>
              <a:spcAft>
                <a:spcPct val="0"/>
              </a:spcAft>
              <a:defRPr>
                <a:solidFill>
                  <a:schemeClr val="tx1"/>
                </a:solidFill>
                <a:latin typeface="Franklin Gothic Book" panose="020B0503020102020204" pitchFamily="34" charset="0"/>
              </a:defRPr>
            </a:lvl6pPr>
            <a:lvl7pPr marL="2971800" indent="-228600" fontAlgn="base">
              <a:spcBef>
                <a:spcPct val="0"/>
              </a:spcBef>
              <a:spcAft>
                <a:spcPct val="0"/>
              </a:spcAft>
              <a:defRPr>
                <a:solidFill>
                  <a:schemeClr val="tx1"/>
                </a:solidFill>
                <a:latin typeface="Franklin Gothic Book" panose="020B0503020102020204" pitchFamily="34" charset="0"/>
              </a:defRPr>
            </a:lvl7pPr>
            <a:lvl8pPr marL="3429000" indent="-228600" fontAlgn="base">
              <a:spcBef>
                <a:spcPct val="0"/>
              </a:spcBef>
              <a:spcAft>
                <a:spcPct val="0"/>
              </a:spcAft>
              <a:defRPr>
                <a:solidFill>
                  <a:schemeClr val="tx1"/>
                </a:solidFill>
                <a:latin typeface="Franklin Gothic Book" panose="020B0503020102020204" pitchFamily="34" charset="0"/>
              </a:defRPr>
            </a:lvl8pPr>
            <a:lvl9pPr marL="3886200" indent="-228600" fontAlgn="base">
              <a:spcBef>
                <a:spcPct val="0"/>
              </a:spcBef>
              <a:spcAft>
                <a:spcPct val="0"/>
              </a:spcAft>
              <a:defRPr>
                <a:solidFill>
                  <a:schemeClr val="tx1"/>
                </a:solidFill>
                <a:latin typeface="Franklin Gothic Book" panose="020B0503020102020204" pitchFamily="34" charset="0"/>
              </a:defRPr>
            </a:lvl9pPr>
          </a:lstStyle>
          <a:p>
            <a:pPr fontAlgn="base">
              <a:spcBef>
                <a:spcPct val="0"/>
              </a:spcBef>
              <a:spcAft>
                <a:spcPct val="0"/>
              </a:spcAft>
            </a:pPr>
            <a:fld id="{299810BE-C147-4654-AEC1-0F0FCEEDF613}" type="slidenum">
              <a:rPr lang="en-US" altLang="en-US">
                <a:latin typeface="Calibri" panose="020F0502020204030204" pitchFamily="34" charset="0"/>
              </a:rPr>
              <a:pPr fontAlgn="base">
                <a:spcBef>
                  <a:spcPct val="0"/>
                </a:spcBef>
                <a:spcAft>
                  <a:spcPct val="0"/>
                </a:spcAft>
              </a:pPr>
              <a:t>82</a:t>
            </a:fld>
            <a:endParaRPr lang="en-US" altLang="en-US">
              <a:latin typeface="Calibri" panose="020F0502020204030204" pitchFamily="34" charset="0"/>
            </a:endParaRPr>
          </a:p>
        </p:txBody>
      </p:sp>
    </p:spTree>
    <p:extLst>
      <p:ext uri="{BB962C8B-B14F-4D97-AF65-F5344CB8AC3E}">
        <p14:creationId xmlns:p14="http://schemas.microsoft.com/office/powerpoint/2010/main" val="3030855299"/>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Slide Image Placeholder 1">
            <a:extLst>
              <a:ext uri="{FF2B5EF4-FFF2-40B4-BE49-F238E27FC236}">
                <a16:creationId xmlns:a16="http://schemas.microsoft.com/office/drawing/2014/main" id="{2B15C5F4-F660-01C3-CA2E-4DB9AC78A439}"/>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1507" name="Notes Placeholder 2">
            <a:extLst>
              <a:ext uri="{FF2B5EF4-FFF2-40B4-BE49-F238E27FC236}">
                <a16:creationId xmlns:a16="http://schemas.microsoft.com/office/drawing/2014/main" id="{D99CC0F6-0CBF-B6BC-1DFE-152AC8C0D742}"/>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endParaRPr lang="en-US" altLang="en-US"/>
          </a:p>
        </p:txBody>
      </p:sp>
      <p:sp>
        <p:nvSpPr>
          <p:cNvPr id="21508" name="Slide Number Placeholder 3">
            <a:extLst>
              <a:ext uri="{FF2B5EF4-FFF2-40B4-BE49-F238E27FC236}">
                <a16:creationId xmlns:a16="http://schemas.microsoft.com/office/drawing/2014/main" id="{10712597-608A-B130-BA09-DE61195349A1}"/>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Franklin Gothic Book" panose="020B0503020102020204" pitchFamily="34" charset="0"/>
              </a:defRPr>
            </a:lvl1pPr>
            <a:lvl2pPr marL="742950" indent="-285750">
              <a:defRPr>
                <a:solidFill>
                  <a:schemeClr val="tx1"/>
                </a:solidFill>
                <a:latin typeface="Franklin Gothic Book" panose="020B0503020102020204" pitchFamily="34" charset="0"/>
              </a:defRPr>
            </a:lvl2pPr>
            <a:lvl3pPr marL="1143000" indent="-228600">
              <a:defRPr>
                <a:solidFill>
                  <a:schemeClr val="tx1"/>
                </a:solidFill>
                <a:latin typeface="Franklin Gothic Book" panose="020B0503020102020204" pitchFamily="34" charset="0"/>
              </a:defRPr>
            </a:lvl3pPr>
            <a:lvl4pPr marL="1600200" indent="-228600">
              <a:defRPr>
                <a:solidFill>
                  <a:schemeClr val="tx1"/>
                </a:solidFill>
                <a:latin typeface="Franklin Gothic Book" panose="020B0503020102020204" pitchFamily="34" charset="0"/>
              </a:defRPr>
            </a:lvl4pPr>
            <a:lvl5pPr marL="2057400" indent="-228600">
              <a:defRPr>
                <a:solidFill>
                  <a:schemeClr val="tx1"/>
                </a:solidFill>
                <a:latin typeface="Franklin Gothic Book" panose="020B0503020102020204" pitchFamily="34" charset="0"/>
              </a:defRPr>
            </a:lvl5pPr>
            <a:lvl6pPr marL="2514600" indent="-228600" fontAlgn="base">
              <a:spcBef>
                <a:spcPct val="0"/>
              </a:spcBef>
              <a:spcAft>
                <a:spcPct val="0"/>
              </a:spcAft>
              <a:defRPr>
                <a:solidFill>
                  <a:schemeClr val="tx1"/>
                </a:solidFill>
                <a:latin typeface="Franklin Gothic Book" panose="020B0503020102020204" pitchFamily="34" charset="0"/>
              </a:defRPr>
            </a:lvl6pPr>
            <a:lvl7pPr marL="2971800" indent="-228600" fontAlgn="base">
              <a:spcBef>
                <a:spcPct val="0"/>
              </a:spcBef>
              <a:spcAft>
                <a:spcPct val="0"/>
              </a:spcAft>
              <a:defRPr>
                <a:solidFill>
                  <a:schemeClr val="tx1"/>
                </a:solidFill>
                <a:latin typeface="Franklin Gothic Book" panose="020B0503020102020204" pitchFamily="34" charset="0"/>
              </a:defRPr>
            </a:lvl7pPr>
            <a:lvl8pPr marL="3429000" indent="-228600" fontAlgn="base">
              <a:spcBef>
                <a:spcPct val="0"/>
              </a:spcBef>
              <a:spcAft>
                <a:spcPct val="0"/>
              </a:spcAft>
              <a:defRPr>
                <a:solidFill>
                  <a:schemeClr val="tx1"/>
                </a:solidFill>
                <a:latin typeface="Franklin Gothic Book" panose="020B0503020102020204" pitchFamily="34" charset="0"/>
              </a:defRPr>
            </a:lvl8pPr>
            <a:lvl9pPr marL="3886200" indent="-228600" fontAlgn="base">
              <a:spcBef>
                <a:spcPct val="0"/>
              </a:spcBef>
              <a:spcAft>
                <a:spcPct val="0"/>
              </a:spcAft>
              <a:defRPr>
                <a:solidFill>
                  <a:schemeClr val="tx1"/>
                </a:solidFill>
                <a:latin typeface="Franklin Gothic Book" panose="020B0503020102020204" pitchFamily="34" charset="0"/>
              </a:defRPr>
            </a:lvl9pPr>
          </a:lstStyle>
          <a:p>
            <a:pPr fontAlgn="base">
              <a:spcBef>
                <a:spcPct val="0"/>
              </a:spcBef>
              <a:spcAft>
                <a:spcPct val="0"/>
              </a:spcAft>
            </a:pPr>
            <a:fld id="{299810BE-C147-4654-AEC1-0F0FCEEDF613}" type="slidenum">
              <a:rPr lang="en-US" altLang="en-US">
                <a:latin typeface="Calibri" panose="020F0502020204030204" pitchFamily="34" charset="0"/>
              </a:rPr>
              <a:pPr fontAlgn="base">
                <a:spcBef>
                  <a:spcPct val="0"/>
                </a:spcBef>
                <a:spcAft>
                  <a:spcPct val="0"/>
                </a:spcAft>
              </a:pPr>
              <a:t>83</a:t>
            </a:fld>
            <a:endParaRPr lang="en-US" altLang="en-US">
              <a:latin typeface="Calibri" panose="020F0502020204030204" pitchFamily="34" charset="0"/>
            </a:endParaRPr>
          </a:p>
        </p:txBody>
      </p:sp>
    </p:spTree>
    <p:extLst>
      <p:ext uri="{BB962C8B-B14F-4D97-AF65-F5344CB8AC3E}">
        <p14:creationId xmlns:p14="http://schemas.microsoft.com/office/powerpoint/2010/main" val="3225042042"/>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a:defRPr/>
            </a:pPr>
            <a:fld id="{96E96F31-B028-431A-A0DC-E35BA16BB2F5}" type="slidenum">
              <a:rPr lang="en-US" smtClean="0"/>
              <a:pPr>
                <a:defRPr/>
              </a:pPr>
              <a:t>88</a:t>
            </a:fld>
            <a:endParaRPr lang="en-US"/>
          </a:p>
        </p:txBody>
      </p:sp>
    </p:spTree>
    <p:extLst>
      <p:ext uri="{BB962C8B-B14F-4D97-AF65-F5344CB8AC3E}">
        <p14:creationId xmlns:p14="http://schemas.microsoft.com/office/powerpoint/2010/main" val="3552919326"/>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Slide Image Placeholder 1">
            <a:extLst>
              <a:ext uri="{FF2B5EF4-FFF2-40B4-BE49-F238E27FC236}">
                <a16:creationId xmlns:a16="http://schemas.microsoft.com/office/drawing/2014/main" id="{2B15C5F4-F660-01C3-CA2E-4DB9AC78A439}"/>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1507" name="Notes Placeholder 2">
            <a:extLst>
              <a:ext uri="{FF2B5EF4-FFF2-40B4-BE49-F238E27FC236}">
                <a16:creationId xmlns:a16="http://schemas.microsoft.com/office/drawing/2014/main" id="{D99CC0F6-0CBF-B6BC-1DFE-152AC8C0D742}"/>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endParaRPr lang="en-US" altLang="en-US"/>
          </a:p>
        </p:txBody>
      </p:sp>
      <p:sp>
        <p:nvSpPr>
          <p:cNvPr id="21508" name="Slide Number Placeholder 3">
            <a:extLst>
              <a:ext uri="{FF2B5EF4-FFF2-40B4-BE49-F238E27FC236}">
                <a16:creationId xmlns:a16="http://schemas.microsoft.com/office/drawing/2014/main" id="{10712597-608A-B130-BA09-DE61195349A1}"/>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Franklin Gothic Book" panose="020B0503020102020204" pitchFamily="34" charset="0"/>
              </a:defRPr>
            </a:lvl1pPr>
            <a:lvl2pPr marL="742950" indent="-285750">
              <a:defRPr>
                <a:solidFill>
                  <a:schemeClr val="tx1"/>
                </a:solidFill>
                <a:latin typeface="Franklin Gothic Book" panose="020B0503020102020204" pitchFamily="34" charset="0"/>
              </a:defRPr>
            </a:lvl2pPr>
            <a:lvl3pPr marL="1143000" indent="-228600">
              <a:defRPr>
                <a:solidFill>
                  <a:schemeClr val="tx1"/>
                </a:solidFill>
                <a:latin typeface="Franklin Gothic Book" panose="020B0503020102020204" pitchFamily="34" charset="0"/>
              </a:defRPr>
            </a:lvl3pPr>
            <a:lvl4pPr marL="1600200" indent="-228600">
              <a:defRPr>
                <a:solidFill>
                  <a:schemeClr val="tx1"/>
                </a:solidFill>
                <a:latin typeface="Franklin Gothic Book" panose="020B0503020102020204" pitchFamily="34" charset="0"/>
              </a:defRPr>
            </a:lvl4pPr>
            <a:lvl5pPr marL="2057400" indent="-228600">
              <a:defRPr>
                <a:solidFill>
                  <a:schemeClr val="tx1"/>
                </a:solidFill>
                <a:latin typeface="Franklin Gothic Book" panose="020B0503020102020204" pitchFamily="34" charset="0"/>
              </a:defRPr>
            </a:lvl5pPr>
            <a:lvl6pPr marL="2514600" indent="-228600" fontAlgn="base">
              <a:spcBef>
                <a:spcPct val="0"/>
              </a:spcBef>
              <a:spcAft>
                <a:spcPct val="0"/>
              </a:spcAft>
              <a:defRPr>
                <a:solidFill>
                  <a:schemeClr val="tx1"/>
                </a:solidFill>
                <a:latin typeface="Franklin Gothic Book" panose="020B0503020102020204" pitchFamily="34" charset="0"/>
              </a:defRPr>
            </a:lvl6pPr>
            <a:lvl7pPr marL="2971800" indent="-228600" fontAlgn="base">
              <a:spcBef>
                <a:spcPct val="0"/>
              </a:spcBef>
              <a:spcAft>
                <a:spcPct val="0"/>
              </a:spcAft>
              <a:defRPr>
                <a:solidFill>
                  <a:schemeClr val="tx1"/>
                </a:solidFill>
                <a:latin typeface="Franklin Gothic Book" panose="020B0503020102020204" pitchFamily="34" charset="0"/>
              </a:defRPr>
            </a:lvl7pPr>
            <a:lvl8pPr marL="3429000" indent="-228600" fontAlgn="base">
              <a:spcBef>
                <a:spcPct val="0"/>
              </a:spcBef>
              <a:spcAft>
                <a:spcPct val="0"/>
              </a:spcAft>
              <a:defRPr>
                <a:solidFill>
                  <a:schemeClr val="tx1"/>
                </a:solidFill>
                <a:latin typeface="Franklin Gothic Book" panose="020B0503020102020204" pitchFamily="34" charset="0"/>
              </a:defRPr>
            </a:lvl8pPr>
            <a:lvl9pPr marL="3886200" indent="-228600" fontAlgn="base">
              <a:spcBef>
                <a:spcPct val="0"/>
              </a:spcBef>
              <a:spcAft>
                <a:spcPct val="0"/>
              </a:spcAft>
              <a:defRPr>
                <a:solidFill>
                  <a:schemeClr val="tx1"/>
                </a:solidFill>
                <a:latin typeface="Franklin Gothic Book" panose="020B0503020102020204" pitchFamily="34" charset="0"/>
              </a:defRPr>
            </a:lvl9pPr>
          </a:lstStyle>
          <a:p>
            <a:pPr fontAlgn="base">
              <a:spcBef>
                <a:spcPct val="0"/>
              </a:spcBef>
              <a:spcAft>
                <a:spcPct val="0"/>
              </a:spcAft>
            </a:pPr>
            <a:fld id="{299810BE-C147-4654-AEC1-0F0FCEEDF613}" type="slidenum">
              <a:rPr lang="en-US" altLang="en-US">
                <a:latin typeface="Calibri" panose="020F0502020204030204" pitchFamily="34" charset="0"/>
              </a:rPr>
              <a:pPr fontAlgn="base">
                <a:spcBef>
                  <a:spcPct val="0"/>
                </a:spcBef>
                <a:spcAft>
                  <a:spcPct val="0"/>
                </a:spcAft>
              </a:pPr>
              <a:t>92</a:t>
            </a:fld>
            <a:endParaRPr lang="en-US" altLang="en-US">
              <a:latin typeface="Calibri" panose="020F0502020204030204" pitchFamily="34" charset="0"/>
            </a:endParaRPr>
          </a:p>
        </p:txBody>
      </p:sp>
    </p:spTree>
    <p:extLst>
      <p:ext uri="{BB962C8B-B14F-4D97-AF65-F5344CB8AC3E}">
        <p14:creationId xmlns:p14="http://schemas.microsoft.com/office/powerpoint/2010/main" val="645276435"/>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Slide Image Placeholder 1">
            <a:extLst>
              <a:ext uri="{FF2B5EF4-FFF2-40B4-BE49-F238E27FC236}">
                <a16:creationId xmlns:a16="http://schemas.microsoft.com/office/drawing/2014/main" id="{2B15C5F4-F660-01C3-CA2E-4DB9AC78A439}"/>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1507" name="Notes Placeholder 2">
            <a:extLst>
              <a:ext uri="{FF2B5EF4-FFF2-40B4-BE49-F238E27FC236}">
                <a16:creationId xmlns:a16="http://schemas.microsoft.com/office/drawing/2014/main" id="{D99CC0F6-0CBF-B6BC-1DFE-152AC8C0D742}"/>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endParaRPr lang="en-US" altLang="en-US"/>
          </a:p>
        </p:txBody>
      </p:sp>
      <p:sp>
        <p:nvSpPr>
          <p:cNvPr id="21508" name="Slide Number Placeholder 3">
            <a:extLst>
              <a:ext uri="{FF2B5EF4-FFF2-40B4-BE49-F238E27FC236}">
                <a16:creationId xmlns:a16="http://schemas.microsoft.com/office/drawing/2014/main" id="{10712597-608A-B130-BA09-DE61195349A1}"/>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Franklin Gothic Book" panose="020B0503020102020204" pitchFamily="34" charset="0"/>
              </a:defRPr>
            </a:lvl1pPr>
            <a:lvl2pPr marL="742950" indent="-285750">
              <a:defRPr>
                <a:solidFill>
                  <a:schemeClr val="tx1"/>
                </a:solidFill>
                <a:latin typeface="Franklin Gothic Book" panose="020B0503020102020204" pitchFamily="34" charset="0"/>
              </a:defRPr>
            </a:lvl2pPr>
            <a:lvl3pPr marL="1143000" indent="-228600">
              <a:defRPr>
                <a:solidFill>
                  <a:schemeClr val="tx1"/>
                </a:solidFill>
                <a:latin typeface="Franklin Gothic Book" panose="020B0503020102020204" pitchFamily="34" charset="0"/>
              </a:defRPr>
            </a:lvl3pPr>
            <a:lvl4pPr marL="1600200" indent="-228600">
              <a:defRPr>
                <a:solidFill>
                  <a:schemeClr val="tx1"/>
                </a:solidFill>
                <a:latin typeface="Franklin Gothic Book" panose="020B0503020102020204" pitchFamily="34" charset="0"/>
              </a:defRPr>
            </a:lvl4pPr>
            <a:lvl5pPr marL="2057400" indent="-228600">
              <a:defRPr>
                <a:solidFill>
                  <a:schemeClr val="tx1"/>
                </a:solidFill>
                <a:latin typeface="Franklin Gothic Book" panose="020B0503020102020204" pitchFamily="34" charset="0"/>
              </a:defRPr>
            </a:lvl5pPr>
            <a:lvl6pPr marL="2514600" indent="-228600" fontAlgn="base">
              <a:spcBef>
                <a:spcPct val="0"/>
              </a:spcBef>
              <a:spcAft>
                <a:spcPct val="0"/>
              </a:spcAft>
              <a:defRPr>
                <a:solidFill>
                  <a:schemeClr val="tx1"/>
                </a:solidFill>
                <a:latin typeface="Franklin Gothic Book" panose="020B0503020102020204" pitchFamily="34" charset="0"/>
              </a:defRPr>
            </a:lvl6pPr>
            <a:lvl7pPr marL="2971800" indent="-228600" fontAlgn="base">
              <a:spcBef>
                <a:spcPct val="0"/>
              </a:spcBef>
              <a:spcAft>
                <a:spcPct val="0"/>
              </a:spcAft>
              <a:defRPr>
                <a:solidFill>
                  <a:schemeClr val="tx1"/>
                </a:solidFill>
                <a:latin typeface="Franklin Gothic Book" panose="020B0503020102020204" pitchFamily="34" charset="0"/>
              </a:defRPr>
            </a:lvl7pPr>
            <a:lvl8pPr marL="3429000" indent="-228600" fontAlgn="base">
              <a:spcBef>
                <a:spcPct val="0"/>
              </a:spcBef>
              <a:spcAft>
                <a:spcPct val="0"/>
              </a:spcAft>
              <a:defRPr>
                <a:solidFill>
                  <a:schemeClr val="tx1"/>
                </a:solidFill>
                <a:latin typeface="Franklin Gothic Book" panose="020B0503020102020204" pitchFamily="34" charset="0"/>
              </a:defRPr>
            </a:lvl8pPr>
            <a:lvl9pPr marL="3886200" indent="-228600" fontAlgn="base">
              <a:spcBef>
                <a:spcPct val="0"/>
              </a:spcBef>
              <a:spcAft>
                <a:spcPct val="0"/>
              </a:spcAft>
              <a:defRPr>
                <a:solidFill>
                  <a:schemeClr val="tx1"/>
                </a:solidFill>
                <a:latin typeface="Franklin Gothic Book" panose="020B0503020102020204" pitchFamily="34" charset="0"/>
              </a:defRPr>
            </a:lvl9pPr>
          </a:lstStyle>
          <a:p>
            <a:pPr fontAlgn="base">
              <a:spcBef>
                <a:spcPct val="0"/>
              </a:spcBef>
              <a:spcAft>
                <a:spcPct val="0"/>
              </a:spcAft>
            </a:pPr>
            <a:fld id="{299810BE-C147-4654-AEC1-0F0FCEEDF613}" type="slidenum">
              <a:rPr lang="en-US" altLang="en-US">
                <a:latin typeface="Calibri" panose="020F0502020204030204" pitchFamily="34" charset="0"/>
              </a:rPr>
              <a:pPr fontAlgn="base">
                <a:spcBef>
                  <a:spcPct val="0"/>
                </a:spcBef>
                <a:spcAft>
                  <a:spcPct val="0"/>
                </a:spcAft>
              </a:pPr>
              <a:t>96</a:t>
            </a:fld>
            <a:endParaRPr lang="en-US" altLang="en-US">
              <a:latin typeface="Calibri" panose="020F0502020204030204" pitchFamily="34" charset="0"/>
            </a:endParaRPr>
          </a:p>
        </p:txBody>
      </p:sp>
    </p:spTree>
    <p:extLst>
      <p:ext uri="{BB962C8B-B14F-4D97-AF65-F5344CB8AC3E}">
        <p14:creationId xmlns:p14="http://schemas.microsoft.com/office/powerpoint/2010/main" val="280731618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Slide Image Placeholder 1">
            <a:extLst>
              <a:ext uri="{FF2B5EF4-FFF2-40B4-BE49-F238E27FC236}">
                <a16:creationId xmlns:a16="http://schemas.microsoft.com/office/drawing/2014/main" id="{2B15C5F4-F660-01C3-CA2E-4DB9AC78A439}"/>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1507" name="Notes Placeholder 2">
            <a:extLst>
              <a:ext uri="{FF2B5EF4-FFF2-40B4-BE49-F238E27FC236}">
                <a16:creationId xmlns:a16="http://schemas.microsoft.com/office/drawing/2014/main" id="{D99CC0F6-0CBF-B6BC-1DFE-152AC8C0D742}"/>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endParaRPr lang="en-US" altLang="en-US"/>
          </a:p>
        </p:txBody>
      </p:sp>
      <p:sp>
        <p:nvSpPr>
          <p:cNvPr id="21508" name="Slide Number Placeholder 3">
            <a:extLst>
              <a:ext uri="{FF2B5EF4-FFF2-40B4-BE49-F238E27FC236}">
                <a16:creationId xmlns:a16="http://schemas.microsoft.com/office/drawing/2014/main" id="{10712597-608A-B130-BA09-DE61195349A1}"/>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Franklin Gothic Book" panose="020B0503020102020204" pitchFamily="34" charset="0"/>
              </a:defRPr>
            </a:lvl1pPr>
            <a:lvl2pPr marL="742950" indent="-285750">
              <a:defRPr>
                <a:solidFill>
                  <a:schemeClr val="tx1"/>
                </a:solidFill>
                <a:latin typeface="Franklin Gothic Book" panose="020B0503020102020204" pitchFamily="34" charset="0"/>
              </a:defRPr>
            </a:lvl2pPr>
            <a:lvl3pPr marL="1143000" indent="-228600">
              <a:defRPr>
                <a:solidFill>
                  <a:schemeClr val="tx1"/>
                </a:solidFill>
                <a:latin typeface="Franklin Gothic Book" panose="020B0503020102020204" pitchFamily="34" charset="0"/>
              </a:defRPr>
            </a:lvl3pPr>
            <a:lvl4pPr marL="1600200" indent="-228600">
              <a:defRPr>
                <a:solidFill>
                  <a:schemeClr val="tx1"/>
                </a:solidFill>
                <a:latin typeface="Franklin Gothic Book" panose="020B0503020102020204" pitchFamily="34" charset="0"/>
              </a:defRPr>
            </a:lvl4pPr>
            <a:lvl5pPr marL="2057400" indent="-228600">
              <a:defRPr>
                <a:solidFill>
                  <a:schemeClr val="tx1"/>
                </a:solidFill>
                <a:latin typeface="Franklin Gothic Book" panose="020B0503020102020204" pitchFamily="34" charset="0"/>
              </a:defRPr>
            </a:lvl5pPr>
            <a:lvl6pPr marL="2514600" indent="-228600" fontAlgn="base">
              <a:spcBef>
                <a:spcPct val="0"/>
              </a:spcBef>
              <a:spcAft>
                <a:spcPct val="0"/>
              </a:spcAft>
              <a:defRPr>
                <a:solidFill>
                  <a:schemeClr val="tx1"/>
                </a:solidFill>
                <a:latin typeface="Franklin Gothic Book" panose="020B0503020102020204" pitchFamily="34" charset="0"/>
              </a:defRPr>
            </a:lvl6pPr>
            <a:lvl7pPr marL="2971800" indent="-228600" fontAlgn="base">
              <a:spcBef>
                <a:spcPct val="0"/>
              </a:spcBef>
              <a:spcAft>
                <a:spcPct val="0"/>
              </a:spcAft>
              <a:defRPr>
                <a:solidFill>
                  <a:schemeClr val="tx1"/>
                </a:solidFill>
                <a:latin typeface="Franklin Gothic Book" panose="020B0503020102020204" pitchFamily="34" charset="0"/>
              </a:defRPr>
            </a:lvl7pPr>
            <a:lvl8pPr marL="3429000" indent="-228600" fontAlgn="base">
              <a:spcBef>
                <a:spcPct val="0"/>
              </a:spcBef>
              <a:spcAft>
                <a:spcPct val="0"/>
              </a:spcAft>
              <a:defRPr>
                <a:solidFill>
                  <a:schemeClr val="tx1"/>
                </a:solidFill>
                <a:latin typeface="Franklin Gothic Book" panose="020B0503020102020204" pitchFamily="34" charset="0"/>
              </a:defRPr>
            </a:lvl8pPr>
            <a:lvl9pPr marL="3886200" indent="-228600" fontAlgn="base">
              <a:spcBef>
                <a:spcPct val="0"/>
              </a:spcBef>
              <a:spcAft>
                <a:spcPct val="0"/>
              </a:spcAft>
              <a:defRPr>
                <a:solidFill>
                  <a:schemeClr val="tx1"/>
                </a:solidFill>
                <a:latin typeface="Franklin Gothic Book" panose="020B0503020102020204" pitchFamily="34" charset="0"/>
              </a:defRPr>
            </a:lvl9pPr>
          </a:lstStyle>
          <a:p>
            <a:pPr fontAlgn="base">
              <a:spcBef>
                <a:spcPct val="0"/>
              </a:spcBef>
              <a:spcAft>
                <a:spcPct val="0"/>
              </a:spcAft>
            </a:pPr>
            <a:fld id="{299810BE-C147-4654-AEC1-0F0FCEEDF613}" type="slidenum">
              <a:rPr lang="en-US" altLang="en-US">
                <a:latin typeface="Calibri" panose="020F0502020204030204" pitchFamily="34" charset="0"/>
              </a:rPr>
              <a:pPr fontAlgn="base">
                <a:spcBef>
                  <a:spcPct val="0"/>
                </a:spcBef>
                <a:spcAft>
                  <a:spcPct val="0"/>
                </a:spcAft>
              </a:pPr>
              <a:t>5</a:t>
            </a:fld>
            <a:endParaRPr lang="en-US" altLang="en-US">
              <a:latin typeface="Calibri" panose="020F0502020204030204" pitchFamily="34" charset="0"/>
            </a:endParaRPr>
          </a:p>
        </p:txBody>
      </p:sp>
    </p:spTree>
    <p:extLst>
      <p:ext uri="{BB962C8B-B14F-4D97-AF65-F5344CB8AC3E}">
        <p14:creationId xmlns:p14="http://schemas.microsoft.com/office/powerpoint/2010/main" val="815454657"/>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Slide Image Placeholder 1">
            <a:extLst>
              <a:ext uri="{FF2B5EF4-FFF2-40B4-BE49-F238E27FC236}">
                <a16:creationId xmlns:a16="http://schemas.microsoft.com/office/drawing/2014/main" id="{2B15C5F4-F660-01C3-CA2E-4DB9AC78A439}"/>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1507" name="Notes Placeholder 2">
            <a:extLst>
              <a:ext uri="{FF2B5EF4-FFF2-40B4-BE49-F238E27FC236}">
                <a16:creationId xmlns:a16="http://schemas.microsoft.com/office/drawing/2014/main" id="{D99CC0F6-0CBF-B6BC-1DFE-152AC8C0D742}"/>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endParaRPr lang="en-US" altLang="en-US"/>
          </a:p>
        </p:txBody>
      </p:sp>
      <p:sp>
        <p:nvSpPr>
          <p:cNvPr id="21508" name="Slide Number Placeholder 3">
            <a:extLst>
              <a:ext uri="{FF2B5EF4-FFF2-40B4-BE49-F238E27FC236}">
                <a16:creationId xmlns:a16="http://schemas.microsoft.com/office/drawing/2014/main" id="{10712597-608A-B130-BA09-DE61195349A1}"/>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Franklin Gothic Book" panose="020B0503020102020204" pitchFamily="34" charset="0"/>
              </a:defRPr>
            </a:lvl1pPr>
            <a:lvl2pPr marL="742950" indent="-285750">
              <a:defRPr>
                <a:solidFill>
                  <a:schemeClr val="tx1"/>
                </a:solidFill>
                <a:latin typeface="Franklin Gothic Book" panose="020B0503020102020204" pitchFamily="34" charset="0"/>
              </a:defRPr>
            </a:lvl2pPr>
            <a:lvl3pPr marL="1143000" indent="-228600">
              <a:defRPr>
                <a:solidFill>
                  <a:schemeClr val="tx1"/>
                </a:solidFill>
                <a:latin typeface="Franklin Gothic Book" panose="020B0503020102020204" pitchFamily="34" charset="0"/>
              </a:defRPr>
            </a:lvl3pPr>
            <a:lvl4pPr marL="1600200" indent="-228600">
              <a:defRPr>
                <a:solidFill>
                  <a:schemeClr val="tx1"/>
                </a:solidFill>
                <a:latin typeface="Franklin Gothic Book" panose="020B0503020102020204" pitchFamily="34" charset="0"/>
              </a:defRPr>
            </a:lvl4pPr>
            <a:lvl5pPr marL="2057400" indent="-228600">
              <a:defRPr>
                <a:solidFill>
                  <a:schemeClr val="tx1"/>
                </a:solidFill>
                <a:latin typeface="Franklin Gothic Book" panose="020B0503020102020204" pitchFamily="34" charset="0"/>
              </a:defRPr>
            </a:lvl5pPr>
            <a:lvl6pPr marL="2514600" indent="-228600" fontAlgn="base">
              <a:spcBef>
                <a:spcPct val="0"/>
              </a:spcBef>
              <a:spcAft>
                <a:spcPct val="0"/>
              </a:spcAft>
              <a:defRPr>
                <a:solidFill>
                  <a:schemeClr val="tx1"/>
                </a:solidFill>
                <a:latin typeface="Franklin Gothic Book" panose="020B0503020102020204" pitchFamily="34" charset="0"/>
              </a:defRPr>
            </a:lvl6pPr>
            <a:lvl7pPr marL="2971800" indent="-228600" fontAlgn="base">
              <a:spcBef>
                <a:spcPct val="0"/>
              </a:spcBef>
              <a:spcAft>
                <a:spcPct val="0"/>
              </a:spcAft>
              <a:defRPr>
                <a:solidFill>
                  <a:schemeClr val="tx1"/>
                </a:solidFill>
                <a:latin typeface="Franklin Gothic Book" panose="020B0503020102020204" pitchFamily="34" charset="0"/>
              </a:defRPr>
            </a:lvl7pPr>
            <a:lvl8pPr marL="3429000" indent="-228600" fontAlgn="base">
              <a:spcBef>
                <a:spcPct val="0"/>
              </a:spcBef>
              <a:spcAft>
                <a:spcPct val="0"/>
              </a:spcAft>
              <a:defRPr>
                <a:solidFill>
                  <a:schemeClr val="tx1"/>
                </a:solidFill>
                <a:latin typeface="Franklin Gothic Book" panose="020B0503020102020204" pitchFamily="34" charset="0"/>
              </a:defRPr>
            </a:lvl8pPr>
            <a:lvl9pPr marL="3886200" indent="-228600" fontAlgn="base">
              <a:spcBef>
                <a:spcPct val="0"/>
              </a:spcBef>
              <a:spcAft>
                <a:spcPct val="0"/>
              </a:spcAft>
              <a:defRPr>
                <a:solidFill>
                  <a:schemeClr val="tx1"/>
                </a:solidFill>
                <a:latin typeface="Franklin Gothic Book" panose="020B0503020102020204" pitchFamily="34" charset="0"/>
              </a:defRPr>
            </a:lvl9pPr>
          </a:lstStyle>
          <a:p>
            <a:pPr fontAlgn="base">
              <a:spcBef>
                <a:spcPct val="0"/>
              </a:spcBef>
              <a:spcAft>
                <a:spcPct val="0"/>
              </a:spcAft>
            </a:pPr>
            <a:fld id="{299810BE-C147-4654-AEC1-0F0FCEEDF613}" type="slidenum">
              <a:rPr lang="en-US" altLang="en-US">
                <a:latin typeface="Calibri" panose="020F0502020204030204" pitchFamily="34" charset="0"/>
              </a:rPr>
              <a:pPr fontAlgn="base">
                <a:spcBef>
                  <a:spcPct val="0"/>
                </a:spcBef>
                <a:spcAft>
                  <a:spcPct val="0"/>
                </a:spcAft>
              </a:pPr>
              <a:t>97</a:t>
            </a:fld>
            <a:endParaRPr lang="en-US" altLang="en-US">
              <a:latin typeface="Calibri" panose="020F0502020204030204" pitchFamily="34" charset="0"/>
            </a:endParaRPr>
          </a:p>
        </p:txBody>
      </p:sp>
    </p:spTree>
    <p:extLst>
      <p:ext uri="{BB962C8B-B14F-4D97-AF65-F5344CB8AC3E}">
        <p14:creationId xmlns:p14="http://schemas.microsoft.com/office/powerpoint/2010/main" val="200559348"/>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E96F31-B028-431A-A0DC-E35BA16BB2F5}"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9</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841218551"/>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Slide Image Placeholder 1">
            <a:extLst>
              <a:ext uri="{FF2B5EF4-FFF2-40B4-BE49-F238E27FC236}">
                <a16:creationId xmlns:a16="http://schemas.microsoft.com/office/drawing/2014/main" id="{2B15C5F4-F660-01C3-CA2E-4DB9AC78A439}"/>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1507" name="Notes Placeholder 2">
            <a:extLst>
              <a:ext uri="{FF2B5EF4-FFF2-40B4-BE49-F238E27FC236}">
                <a16:creationId xmlns:a16="http://schemas.microsoft.com/office/drawing/2014/main" id="{D99CC0F6-0CBF-B6BC-1DFE-152AC8C0D742}"/>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endParaRPr lang="en-US" altLang="en-US"/>
          </a:p>
        </p:txBody>
      </p:sp>
      <p:sp>
        <p:nvSpPr>
          <p:cNvPr id="21508" name="Slide Number Placeholder 3">
            <a:extLst>
              <a:ext uri="{FF2B5EF4-FFF2-40B4-BE49-F238E27FC236}">
                <a16:creationId xmlns:a16="http://schemas.microsoft.com/office/drawing/2014/main" id="{10712597-608A-B130-BA09-DE61195349A1}"/>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Franklin Gothic Book" panose="020B0503020102020204" pitchFamily="34" charset="0"/>
              </a:defRPr>
            </a:lvl1pPr>
            <a:lvl2pPr marL="742950" indent="-285750">
              <a:defRPr>
                <a:solidFill>
                  <a:schemeClr val="tx1"/>
                </a:solidFill>
                <a:latin typeface="Franklin Gothic Book" panose="020B0503020102020204" pitchFamily="34" charset="0"/>
              </a:defRPr>
            </a:lvl2pPr>
            <a:lvl3pPr marL="1143000" indent="-228600">
              <a:defRPr>
                <a:solidFill>
                  <a:schemeClr val="tx1"/>
                </a:solidFill>
                <a:latin typeface="Franklin Gothic Book" panose="020B0503020102020204" pitchFamily="34" charset="0"/>
              </a:defRPr>
            </a:lvl3pPr>
            <a:lvl4pPr marL="1600200" indent="-228600">
              <a:defRPr>
                <a:solidFill>
                  <a:schemeClr val="tx1"/>
                </a:solidFill>
                <a:latin typeface="Franklin Gothic Book" panose="020B0503020102020204" pitchFamily="34" charset="0"/>
              </a:defRPr>
            </a:lvl4pPr>
            <a:lvl5pPr marL="2057400" indent="-228600">
              <a:defRPr>
                <a:solidFill>
                  <a:schemeClr val="tx1"/>
                </a:solidFill>
                <a:latin typeface="Franklin Gothic Book" panose="020B0503020102020204" pitchFamily="34" charset="0"/>
              </a:defRPr>
            </a:lvl5pPr>
            <a:lvl6pPr marL="2514600" indent="-228600" fontAlgn="base">
              <a:spcBef>
                <a:spcPct val="0"/>
              </a:spcBef>
              <a:spcAft>
                <a:spcPct val="0"/>
              </a:spcAft>
              <a:defRPr>
                <a:solidFill>
                  <a:schemeClr val="tx1"/>
                </a:solidFill>
                <a:latin typeface="Franklin Gothic Book" panose="020B0503020102020204" pitchFamily="34" charset="0"/>
              </a:defRPr>
            </a:lvl6pPr>
            <a:lvl7pPr marL="2971800" indent="-228600" fontAlgn="base">
              <a:spcBef>
                <a:spcPct val="0"/>
              </a:spcBef>
              <a:spcAft>
                <a:spcPct val="0"/>
              </a:spcAft>
              <a:defRPr>
                <a:solidFill>
                  <a:schemeClr val="tx1"/>
                </a:solidFill>
                <a:latin typeface="Franklin Gothic Book" panose="020B0503020102020204" pitchFamily="34" charset="0"/>
              </a:defRPr>
            </a:lvl7pPr>
            <a:lvl8pPr marL="3429000" indent="-228600" fontAlgn="base">
              <a:spcBef>
                <a:spcPct val="0"/>
              </a:spcBef>
              <a:spcAft>
                <a:spcPct val="0"/>
              </a:spcAft>
              <a:defRPr>
                <a:solidFill>
                  <a:schemeClr val="tx1"/>
                </a:solidFill>
                <a:latin typeface="Franklin Gothic Book" panose="020B0503020102020204" pitchFamily="34" charset="0"/>
              </a:defRPr>
            </a:lvl8pPr>
            <a:lvl9pPr marL="3886200" indent="-228600" fontAlgn="base">
              <a:spcBef>
                <a:spcPct val="0"/>
              </a:spcBef>
              <a:spcAft>
                <a:spcPct val="0"/>
              </a:spcAft>
              <a:defRPr>
                <a:solidFill>
                  <a:schemeClr val="tx1"/>
                </a:solidFill>
                <a:latin typeface="Franklin Gothic Book" panose="020B0503020102020204" pitchFamily="34" charset="0"/>
              </a:defRPr>
            </a:lvl9pPr>
          </a:lstStyle>
          <a:p>
            <a:pPr fontAlgn="base">
              <a:spcBef>
                <a:spcPct val="0"/>
              </a:spcBef>
              <a:spcAft>
                <a:spcPct val="0"/>
              </a:spcAft>
            </a:pPr>
            <a:fld id="{299810BE-C147-4654-AEC1-0F0FCEEDF613}" type="slidenum">
              <a:rPr lang="en-US" altLang="en-US">
                <a:latin typeface="Calibri" panose="020F0502020204030204" pitchFamily="34" charset="0"/>
              </a:rPr>
              <a:pPr fontAlgn="base">
                <a:spcBef>
                  <a:spcPct val="0"/>
                </a:spcBef>
                <a:spcAft>
                  <a:spcPct val="0"/>
                </a:spcAft>
              </a:pPr>
              <a:t>101</a:t>
            </a:fld>
            <a:endParaRPr lang="en-US" altLang="en-US">
              <a:latin typeface="Calibri" panose="020F0502020204030204" pitchFamily="34" charset="0"/>
            </a:endParaRPr>
          </a:p>
        </p:txBody>
      </p:sp>
    </p:spTree>
    <p:extLst>
      <p:ext uri="{BB962C8B-B14F-4D97-AF65-F5344CB8AC3E}">
        <p14:creationId xmlns:p14="http://schemas.microsoft.com/office/powerpoint/2010/main" val="2018819401"/>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Slide Image Placeholder 1">
            <a:extLst>
              <a:ext uri="{FF2B5EF4-FFF2-40B4-BE49-F238E27FC236}">
                <a16:creationId xmlns:a16="http://schemas.microsoft.com/office/drawing/2014/main" id="{2B15C5F4-F660-01C3-CA2E-4DB9AC78A439}"/>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1507" name="Notes Placeholder 2">
            <a:extLst>
              <a:ext uri="{FF2B5EF4-FFF2-40B4-BE49-F238E27FC236}">
                <a16:creationId xmlns:a16="http://schemas.microsoft.com/office/drawing/2014/main" id="{D99CC0F6-0CBF-B6BC-1DFE-152AC8C0D742}"/>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endParaRPr lang="en-US" altLang="en-US"/>
          </a:p>
        </p:txBody>
      </p:sp>
      <p:sp>
        <p:nvSpPr>
          <p:cNvPr id="21508" name="Slide Number Placeholder 3">
            <a:extLst>
              <a:ext uri="{FF2B5EF4-FFF2-40B4-BE49-F238E27FC236}">
                <a16:creationId xmlns:a16="http://schemas.microsoft.com/office/drawing/2014/main" id="{10712597-608A-B130-BA09-DE61195349A1}"/>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Franklin Gothic Book" panose="020B0503020102020204" pitchFamily="34" charset="0"/>
              </a:defRPr>
            </a:lvl1pPr>
            <a:lvl2pPr marL="742950" indent="-285750">
              <a:defRPr>
                <a:solidFill>
                  <a:schemeClr val="tx1"/>
                </a:solidFill>
                <a:latin typeface="Franklin Gothic Book" panose="020B0503020102020204" pitchFamily="34" charset="0"/>
              </a:defRPr>
            </a:lvl2pPr>
            <a:lvl3pPr marL="1143000" indent="-228600">
              <a:defRPr>
                <a:solidFill>
                  <a:schemeClr val="tx1"/>
                </a:solidFill>
                <a:latin typeface="Franklin Gothic Book" panose="020B0503020102020204" pitchFamily="34" charset="0"/>
              </a:defRPr>
            </a:lvl3pPr>
            <a:lvl4pPr marL="1600200" indent="-228600">
              <a:defRPr>
                <a:solidFill>
                  <a:schemeClr val="tx1"/>
                </a:solidFill>
                <a:latin typeface="Franklin Gothic Book" panose="020B0503020102020204" pitchFamily="34" charset="0"/>
              </a:defRPr>
            </a:lvl4pPr>
            <a:lvl5pPr marL="2057400" indent="-228600">
              <a:defRPr>
                <a:solidFill>
                  <a:schemeClr val="tx1"/>
                </a:solidFill>
                <a:latin typeface="Franklin Gothic Book" panose="020B0503020102020204" pitchFamily="34" charset="0"/>
              </a:defRPr>
            </a:lvl5pPr>
            <a:lvl6pPr marL="2514600" indent="-228600" fontAlgn="base">
              <a:spcBef>
                <a:spcPct val="0"/>
              </a:spcBef>
              <a:spcAft>
                <a:spcPct val="0"/>
              </a:spcAft>
              <a:defRPr>
                <a:solidFill>
                  <a:schemeClr val="tx1"/>
                </a:solidFill>
                <a:latin typeface="Franklin Gothic Book" panose="020B0503020102020204" pitchFamily="34" charset="0"/>
              </a:defRPr>
            </a:lvl6pPr>
            <a:lvl7pPr marL="2971800" indent="-228600" fontAlgn="base">
              <a:spcBef>
                <a:spcPct val="0"/>
              </a:spcBef>
              <a:spcAft>
                <a:spcPct val="0"/>
              </a:spcAft>
              <a:defRPr>
                <a:solidFill>
                  <a:schemeClr val="tx1"/>
                </a:solidFill>
                <a:latin typeface="Franklin Gothic Book" panose="020B0503020102020204" pitchFamily="34" charset="0"/>
              </a:defRPr>
            </a:lvl7pPr>
            <a:lvl8pPr marL="3429000" indent="-228600" fontAlgn="base">
              <a:spcBef>
                <a:spcPct val="0"/>
              </a:spcBef>
              <a:spcAft>
                <a:spcPct val="0"/>
              </a:spcAft>
              <a:defRPr>
                <a:solidFill>
                  <a:schemeClr val="tx1"/>
                </a:solidFill>
                <a:latin typeface="Franklin Gothic Book" panose="020B0503020102020204" pitchFamily="34" charset="0"/>
              </a:defRPr>
            </a:lvl8pPr>
            <a:lvl9pPr marL="3886200" indent="-228600" fontAlgn="base">
              <a:spcBef>
                <a:spcPct val="0"/>
              </a:spcBef>
              <a:spcAft>
                <a:spcPct val="0"/>
              </a:spcAft>
              <a:defRPr>
                <a:solidFill>
                  <a:schemeClr val="tx1"/>
                </a:solidFill>
                <a:latin typeface="Franklin Gothic Book" panose="020B0503020102020204" pitchFamily="34" charset="0"/>
              </a:defRPr>
            </a:lvl9pPr>
          </a:lstStyle>
          <a:p>
            <a:pPr fontAlgn="base">
              <a:spcBef>
                <a:spcPct val="0"/>
              </a:spcBef>
              <a:spcAft>
                <a:spcPct val="0"/>
              </a:spcAft>
            </a:pPr>
            <a:fld id="{299810BE-C147-4654-AEC1-0F0FCEEDF613}" type="slidenum">
              <a:rPr lang="en-US" altLang="en-US">
                <a:latin typeface="Calibri" panose="020F0502020204030204" pitchFamily="34" charset="0"/>
              </a:rPr>
              <a:pPr fontAlgn="base">
                <a:spcBef>
                  <a:spcPct val="0"/>
                </a:spcBef>
                <a:spcAft>
                  <a:spcPct val="0"/>
                </a:spcAft>
              </a:pPr>
              <a:t>102</a:t>
            </a:fld>
            <a:endParaRPr lang="en-US" altLang="en-US">
              <a:latin typeface="Calibri" panose="020F0502020204030204" pitchFamily="34" charset="0"/>
            </a:endParaRPr>
          </a:p>
        </p:txBody>
      </p:sp>
    </p:spTree>
    <p:extLst>
      <p:ext uri="{BB962C8B-B14F-4D97-AF65-F5344CB8AC3E}">
        <p14:creationId xmlns:p14="http://schemas.microsoft.com/office/powerpoint/2010/main" val="3722818213"/>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a:defRPr/>
            </a:pPr>
            <a:fld id="{96E96F31-B028-431A-A0DC-E35BA16BB2F5}" type="slidenum">
              <a:rPr lang="en-US" smtClean="0"/>
              <a:pPr>
                <a:defRPr/>
              </a:pPr>
              <a:t>104</a:t>
            </a:fld>
            <a:endParaRPr lang="en-US"/>
          </a:p>
        </p:txBody>
      </p:sp>
    </p:spTree>
    <p:extLst>
      <p:ext uri="{BB962C8B-B14F-4D97-AF65-F5344CB8AC3E}">
        <p14:creationId xmlns:p14="http://schemas.microsoft.com/office/powerpoint/2010/main" val="2184872333"/>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Slide Image Placeholder 1">
            <a:extLst>
              <a:ext uri="{FF2B5EF4-FFF2-40B4-BE49-F238E27FC236}">
                <a16:creationId xmlns:a16="http://schemas.microsoft.com/office/drawing/2014/main" id="{2B15C5F4-F660-01C3-CA2E-4DB9AC78A439}"/>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1507" name="Notes Placeholder 2">
            <a:extLst>
              <a:ext uri="{FF2B5EF4-FFF2-40B4-BE49-F238E27FC236}">
                <a16:creationId xmlns:a16="http://schemas.microsoft.com/office/drawing/2014/main" id="{D99CC0F6-0CBF-B6BC-1DFE-152AC8C0D742}"/>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endParaRPr lang="en-US" altLang="en-US"/>
          </a:p>
        </p:txBody>
      </p:sp>
      <p:sp>
        <p:nvSpPr>
          <p:cNvPr id="21508" name="Slide Number Placeholder 3">
            <a:extLst>
              <a:ext uri="{FF2B5EF4-FFF2-40B4-BE49-F238E27FC236}">
                <a16:creationId xmlns:a16="http://schemas.microsoft.com/office/drawing/2014/main" id="{10712597-608A-B130-BA09-DE61195349A1}"/>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Franklin Gothic Book" panose="020B0503020102020204" pitchFamily="34" charset="0"/>
              </a:defRPr>
            </a:lvl1pPr>
            <a:lvl2pPr marL="742950" indent="-285750">
              <a:defRPr>
                <a:solidFill>
                  <a:schemeClr val="tx1"/>
                </a:solidFill>
                <a:latin typeface="Franklin Gothic Book" panose="020B0503020102020204" pitchFamily="34" charset="0"/>
              </a:defRPr>
            </a:lvl2pPr>
            <a:lvl3pPr marL="1143000" indent="-228600">
              <a:defRPr>
                <a:solidFill>
                  <a:schemeClr val="tx1"/>
                </a:solidFill>
                <a:latin typeface="Franklin Gothic Book" panose="020B0503020102020204" pitchFamily="34" charset="0"/>
              </a:defRPr>
            </a:lvl3pPr>
            <a:lvl4pPr marL="1600200" indent="-228600">
              <a:defRPr>
                <a:solidFill>
                  <a:schemeClr val="tx1"/>
                </a:solidFill>
                <a:latin typeface="Franklin Gothic Book" panose="020B0503020102020204" pitchFamily="34" charset="0"/>
              </a:defRPr>
            </a:lvl4pPr>
            <a:lvl5pPr marL="2057400" indent="-228600">
              <a:defRPr>
                <a:solidFill>
                  <a:schemeClr val="tx1"/>
                </a:solidFill>
                <a:latin typeface="Franklin Gothic Book" panose="020B0503020102020204" pitchFamily="34" charset="0"/>
              </a:defRPr>
            </a:lvl5pPr>
            <a:lvl6pPr marL="2514600" indent="-228600" fontAlgn="base">
              <a:spcBef>
                <a:spcPct val="0"/>
              </a:spcBef>
              <a:spcAft>
                <a:spcPct val="0"/>
              </a:spcAft>
              <a:defRPr>
                <a:solidFill>
                  <a:schemeClr val="tx1"/>
                </a:solidFill>
                <a:latin typeface="Franklin Gothic Book" panose="020B0503020102020204" pitchFamily="34" charset="0"/>
              </a:defRPr>
            </a:lvl6pPr>
            <a:lvl7pPr marL="2971800" indent="-228600" fontAlgn="base">
              <a:spcBef>
                <a:spcPct val="0"/>
              </a:spcBef>
              <a:spcAft>
                <a:spcPct val="0"/>
              </a:spcAft>
              <a:defRPr>
                <a:solidFill>
                  <a:schemeClr val="tx1"/>
                </a:solidFill>
                <a:latin typeface="Franklin Gothic Book" panose="020B0503020102020204" pitchFamily="34" charset="0"/>
              </a:defRPr>
            </a:lvl7pPr>
            <a:lvl8pPr marL="3429000" indent="-228600" fontAlgn="base">
              <a:spcBef>
                <a:spcPct val="0"/>
              </a:spcBef>
              <a:spcAft>
                <a:spcPct val="0"/>
              </a:spcAft>
              <a:defRPr>
                <a:solidFill>
                  <a:schemeClr val="tx1"/>
                </a:solidFill>
                <a:latin typeface="Franklin Gothic Book" panose="020B0503020102020204" pitchFamily="34" charset="0"/>
              </a:defRPr>
            </a:lvl8pPr>
            <a:lvl9pPr marL="3886200" indent="-228600" fontAlgn="base">
              <a:spcBef>
                <a:spcPct val="0"/>
              </a:spcBef>
              <a:spcAft>
                <a:spcPct val="0"/>
              </a:spcAft>
              <a:defRPr>
                <a:solidFill>
                  <a:schemeClr val="tx1"/>
                </a:solidFill>
                <a:latin typeface="Franklin Gothic Book" panose="020B0503020102020204" pitchFamily="34" charset="0"/>
              </a:defRPr>
            </a:lvl9pPr>
          </a:lstStyle>
          <a:p>
            <a:pPr fontAlgn="base">
              <a:spcBef>
                <a:spcPct val="0"/>
              </a:spcBef>
              <a:spcAft>
                <a:spcPct val="0"/>
              </a:spcAft>
            </a:pPr>
            <a:fld id="{299810BE-C147-4654-AEC1-0F0FCEEDF613}" type="slidenum">
              <a:rPr lang="en-US" altLang="en-US">
                <a:latin typeface="Calibri" panose="020F0502020204030204" pitchFamily="34" charset="0"/>
              </a:rPr>
              <a:pPr fontAlgn="base">
                <a:spcBef>
                  <a:spcPct val="0"/>
                </a:spcBef>
                <a:spcAft>
                  <a:spcPct val="0"/>
                </a:spcAft>
              </a:pPr>
              <a:t>107</a:t>
            </a:fld>
            <a:endParaRPr lang="en-US" altLang="en-US">
              <a:latin typeface="Calibri" panose="020F0502020204030204" pitchFamily="34" charset="0"/>
            </a:endParaRPr>
          </a:p>
        </p:txBody>
      </p:sp>
    </p:spTree>
    <p:extLst>
      <p:ext uri="{BB962C8B-B14F-4D97-AF65-F5344CB8AC3E}">
        <p14:creationId xmlns:p14="http://schemas.microsoft.com/office/powerpoint/2010/main" val="404069770"/>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Slide Image Placeholder 1">
            <a:extLst>
              <a:ext uri="{FF2B5EF4-FFF2-40B4-BE49-F238E27FC236}">
                <a16:creationId xmlns:a16="http://schemas.microsoft.com/office/drawing/2014/main" id="{2B15C5F4-F660-01C3-CA2E-4DB9AC78A439}"/>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1507" name="Notes Placeholder 2">
            <a:extLst>
              <a:ext uri="{FF2B5EF4-FFF2-40B4-BE49-F238E27FC236}">
                <a16:creationId xmlns:a16="http://schemas.microsoft.com/office/drawing/2014/main" id="{D99CC0F6-0CBF-B6BC-1DFE-152AC8C0D742}"/>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endParaRPr lang="en-US" altLang="en-US"/>
          </a:p>
        </p:txBody>
      </p:sp>
      <p:sp>
        <p:nvSpPr>
          <p:cNvPr id="21508" name="Slide Number Placeholder 3">
            <a:extLst>
              <a:ext uri="{FF2B5EF4-FFF2-40B4-BE49-F238E27FC236}">
                <a16:creationId xmlns:a16="http://schemas.microsoft.com/office/drawing/2014/main" id="{10712597-608A-B130-BA09-DE61195349A1}"/>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Franklin Gothic Book" panose="020B0503020102020204" pitchFamily="34" charset="0"/>
              </a:defRPr>
            </a:lvl1pPr>
            <a:lvl2pPr marL="742950" indent="-285750">
              <a:defRPr>
                <a:solidFill>
                  <a:schemeClr val="tx1"/>
                </a:solidFill>
                <a:latin typeface="Franklin Gothic Book" panose="020B0503020102020204" pitchFamily="34" charset="0"/>
              </a:defRPr>
            </a:lvl2pPr>
            <a:lvl3pPr marL="1143000" indent="-228600">
              <a:defRPr>
                <a:solidFill>
                  <a:schemeClr val="tx1"/>
                </a:solidFill>
                <a:latin typeface="Franklin Gothic Book" panose="020B0503020102020204" pitchFamily="34" charset="0"/>
              </a:defRPr>
            </a:lvl3pPr>
            <a:lvl4pPr marL="1600200" indent="-228600">
              <a:defRPr>
                <a:solidFill>
                  <a:schemeClr val="tx1"/>
                </a:solidFill>
                <a:latin typeface="Franklin Gothic Book" panose="020B0503020102020204" pitchFamily="34" charset="0"/>
              </a:defRPr>
            </a:lvl4pPr>
            <a:lvl5pPr marL="2057400" indent="-228600">
              <a:defRPr>
                <a:solidFill>
                  <a:schemeClr val="tx1"/>
                </a:solidFill>
                <a:latin typeface="Franklin Gothic Book" panose="020B0503020102020204" pitchFamily="34" charset="0"/>
              </a:defRPr>
            </a:lvl5pPr>
            <a:lvl6pPr marL="2514600" indent="-228600" fontAlgn="base">
              <a:spcBef>
                <a:spcPct val="0"/>
              </a:spcBef>
              <a:spcAft>
                <a:spcPct val="0"/>
              </a:spcAft>
              <a:defRPr>
                <a:solidFill>
                  <a:schemeClr val="tx1"/>
                </a:solidFill>
                <a:latin typeface="Franklin Gothic Book" panose="020B0503020102020204" pitchFamily="34" charset="0"/>
              </a:defRPr>
            </a:lvl6pPr>
            <a:lvl7pPr marL="2971800" indent="-228600" fontAlgn="base">
              <a:spcBef>
                <a:spcPct val="0"/>
              </a:spcBef>
              <a:spcAft>
                <a:spcPct val="0"/>
              </a:spcAft>
              <a:defRPr>
                <a:solidFill>
                  <a:schemeClr val="tx1"/>
                </a:solidFill>
                <a:latin typeface="Franklin Gothic Book" panose="020B0503020102020204" pitchFamily="34" charset="0"/>
              </a:defRPr>
            </a:lvl7pPr>
            <a:lvl8pPr marL="3429000" indent="-228600" fontAlgn="base">
              <a:spcBef>
                <a:spcPct val="0"/>
              </a:spcBef>
              <a:spcAft>
                <a:spcPct val="0"/>
              </a:spcAft>
              <a:defRPr>
                <a:solidFill>
                  <a:schemeClr val="tx1"/>
                </a:solidFill>
                <a:latin typeface="Franklin Gothic Book" panose="020B0503020102020204" pitchFamily="34" charset="0"/>
              </a:defRPr>
            </a:lvl8pPr>
            <a:lvl9pPr marL="3886200" indent="-228600" fontAlgn="base">
              <a:spcBef>
                <a:spcPct val="0"/>
              </a:spcBef>
              <a:spcAft>
                <a:spcPct val="0"/>
              </a:spcAft>
              <a:defRPr>
                <a:solidFill>
                  <a:schemeClr val="tx1"/>
                </a:solidFill>
                <a:latin typeface="Franklin Gothic Book" panose="020B0503020102020204" pitchFamily="34" charset="0"/>
              </a:defRPr>
            </a:lvl9pPr>
          </a:lstStyle>
          <a:p>
            <a:pPr fontAlgn="base">
              <a:spcBef>
                <a:spcPct val="0"/>
              </a:spcBef>
              <a:spcAft>
                <a:spcPct val="0"/>
              </a:spcAft>
            </a:pPr>
            <a:fld id="{299810BE-C147-4654-AEC1-0F0FCEEDF613}" type="slidenum">
              <a:rPr lang="en-US" altLang="en-US">
                <a:latin typeface="Calibri" panose="020F0502020204030204" pitchFamily="34" charset="0"/>
              </a:rPr>
              <a:pPr fontAlgn="base">
                <a:spcBef>
                  <a:spcPct val="0"/>
                </a:spcBef>
                <a:spcAft>
                  <a:spcPct val="0"/>
                </a:spcAft>
              </a:pPr>
              <a:t>108</a:t>
            </a:fld>
            <a:endParaRPr lang="en-US" altLang="en-US">
              <a:latin typeface="Calibri" panose="020F0502020204030204" pitchFamily="34" charset="0"/>
            </a:endParaRPr>
          </a:p>
        </p:txBody>
      </p:sp>
    </p:spTree>
    <p:extLst>
      <p:ext uri="{BB962C8B-B14F-4D97-AF65-F5344CB8AC3E}">
        <p14:creationId xmlns:p14="http://schemas.microsoft.com/office/powerpoint/2010/main" val="170720602"/>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Slide Image Placeholder 1">
            <a:extLst>
              <a:ext uri="{FF2B5EF4-FFF2-40B4-BE49-F238E27FC236}">
                <a16:creationId xmlns:a16="http://schemas.microsoft.com/office/drawing/2014/main" id="{2B15C5F4-F660-01C3-CA2E-4DB9AC78A439}"/>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1507" name="Notes Placeholder 2">
            <a:extLst>
              <a:ext uri="{FF2B5EF4-FFF2-40B4-BE49-F238E27FC236}">
                <a16:creationId xmlns:a16="http://schemas.microsoft.com/office/drawing/2014/main" id="{D99CC0F6-0CBF-B6BC-1DFE-152AC8C0D742}"/>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endParaRPr lang="en-US" altLang="en-US"/>
          </a:p>
        </p:txBody>
      </p:sp>
      <p:sp>
        <p:nvSpPr>
          <p:cNvPr id="21508" name="Slide Number Placeholder 3">
            <a:extLst>
              <a:ext uri="{FF2B5EF4-FFF2-40B4-BE49-F238E27FC236}">
                <a16:creationId xmlns:a16="http://schemas.microsoft.com/office/drawing/2014/main" id="{10712597-608A-B130-BA09-DE61195349A1}"/>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Franklin Gothic Book" panose="020B0503020102020204" pitchFamily="34" charset="0"/>
              </a:defRPr>
            </a:lvl1pPr>
            <a:lvl2pPr marL="742950" indent="-285750">
              <a:defRPr>
                <a:solidFill>
                  <a:schemeClr val="tx1"/>
                </a:solidFill>
                <a:latin typeface="Franklin Gothic Book" panose="020B0503020102020204" pitchFamily="34" charset="0"/>
              </a:defRPr>
            </a:lvl2pPr>
            <a:lvl3pPr marL="1143000" indent="-228600">
              <a:defRPr>
                <a:solidFill>
                  <a:schemeClr val="tx1"/>
                </a:solidFill>
                <a:latin typeface="Franklin Gothic Book" panose="020B0503020102020204" pitchFamily="34" charset="0"/>
              </a:defRPr>
            </a:lvl3pPr>
            <a:lvl4pPr marL="1600200" indent="-228600">
              <a:defRPr>
                <a:solidFill>
                  <a:schemeClr val="tx1"/>
                </a:solidFill>
                <a:latin typeface="Franklin Gothic Book" panose="020B0503020102020204" pitchFamily="34" charset="0"/>
              </a:defRPr>
            </a:lvl4pPr>
            <a:lvl5pPr marL="2057400" indent="-228600">
              <a:defRPr>
                <a:solidFill>
                  <a:schemeClr val="tx1"/>
                </a:solidFill>
                <a:latin typeface="Franklin Gothic Book" panose="020B0503020102020204" pitchFamily="34" charset="0"/>
              </a:defRPr>
            </a:lvl5pPr>
            <a:lvl6pPr marL="2514600" indent="-228600" fontAlgn="base">
              <a:spcBef>
                <a:spcPct val="0"/>
              </a:spcBef>
              <a:spcAft>
                <a:spcPct val="0"/>
              </a:spcAft>
              <a:defRPr>
                <a:solidFill>
                  <a:schemeClr val="tx1"/>
                </a:solidFill>
                <a:latin typeface="Franklin Gothic Book" panose="020B0503020102020204" pitchFamily="34" charset="0"/>
              </a:defRPr>
            </a:lvl6pPr>
            <a:lvl7pPr marL="2971800" indent="-228600" fontAlgn="base">
              <a:spcBef>
                <a:spcPct val="0"/>
              </a:spcBef>
              <a:spcAft>
                <a:spcPct val="0"/>
              </a:spcAft>
              <a:defRPr>
                <a:solidFill>
                  <a:schemeClr val="tx1"/>
                </a:solidFill>
                <a:latin typeface="Franklin Gothic Book" panose="020B0503020102020204" pitchFamily="34" charset="0"/>
              </a:defRPr>
            </a:lvl7pPr>
            <a:lvl8pPr marL="3429000" indent="-228600" fontAlgn="base">
              <a:spcBef>
                <a:spcPct val="0"/>
              </a:spcBef>
              <a:spcAft>
                <a:spcPct val="0"/>
              </a:spcAft>
              <a:defRPr>
                <a:solidFill>
                  <a:schemeClr val="tx1"/>
                </a:solidFill>
                <a:latin typeface="Franklin Gothic Book" panose="020B0503020102020204" pitchFamily="34" charset="0"/>
              </a:defRPr>
            </a:lvl8pPr>
            <a:lvl9pPr marL="3886200" indent="-228600" fontAlgn="base">
              <a:spcBef>
                <a:spcPct val="0"/>
              </a:spcBef>
              <a:spcAft>
                <a:spcPct val="0"/>
              </a:spcAft>
              <a:defRPr>
                <a:solidFill>
                  <a:schemeClr val="tx1"/>
                </a:solidFill>
                <a:latin typeface="Franklin Gothic Book" panose="020B0503020102020204" pitchFamily="34" charset="0"/>
              </a:defRPr>
            </a:lvl9pPr>
          </a:lstStyle>
          <a:p>
            <a:pPr fontAlgn="base">
              <a:spcBef>
                <a:spcPct val="0"/>
              </a:spcBef>
              <a:spcAft>
                <a:spcPct val="0"/>
              </a:spcAft>
            </a:pPr>
            <a:fld id="{299810BE-C147-4654-AEC1-0F0FCEEDF613}" type="slidenum">
              <a:rPr lang="en-US" altLang="en-US">
                <a:latin typeface="Calibri" panose="020F0502020204030204" pitchFamily="34" charset="0"/>
              </a:rPr>
              <a:pPr fontAlgn="base">
                <a:spcBef>
                  <a:spcPct val="0"/>
                </a:spcBef>
                <a:spcAft>
                  <a:spcPct val="0"/>
                </a:spcAft>
              </a:pPr>
              <a:t>109</a:t>
            </a:fld>
            <a:endParaRPr lang="en-US" altLang="en-US">
              <a:latin typeface="Calibri" panose="020F0502020204030204" pitchFamily="34" charset="0"/>
            </a:endParaRPr>
          </a:p>
        </p:txBody>
      </p:sp>
    </p:spTree>
    <p:extLst>
      <p:ext uri="{BB962C8B-B14F-4D97-AF65-F5344CB8AC3E}">
        <p14:creationId xmlns:p14="http://schemas.microsoft.com/office/powerpoint/2010/main" val="20850782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6645C58-8844-4901-BDC8-78708952CA3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5394551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Slide Image Placeholder 1">
            <a:extLst>
              <a:ext uri="{FF2B5EF4-FFF2-40B4-BE49-F238E27FC236}">
                <a16:creationId xmlns:a16="http://schemas.microsoft.com/office/drawing/2014/main" id="{2B15C5F4-F660-01C3-CA2E-4DB9AC78A439}"/>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1507" name="Notes Placeholder 2">
            <a:extLst>
              <a:ext uri="{FF2B5EF4-FFF2-40B4-BE49-F238E27FC236}">
                <a16:creationId xmlns:a16="http://schemas.microsoft.com/office/drawing/2014/main" id="{D99CC0F6-0CBF-B6BC-1DFE-152AC8C0D742}"/>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endParaRPr lang="en-US" altLang="en-US"/>
          </a:p>
        </p:txBody>
      </p:sp>
      <p:sp>
        <p:nvSpPr>
          <p:cNvPr id="21508" name="Slide Number Placeholder 3">
            <a:extLst>
              <a:ext uri="{FF2B5EF4-FFF2-40B4-BE49-F238E27FC236}">
                <a16:creationId xmlns:a16="http://schemas.microsoft.com/office/drawing/2014/main" id="{10712597-608A-B130-BA09-DE61195349A1}"/>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Franklin Gothic Book" panose="020B0503020102020204" pitchFamily="34" charset="0"/>
              </a:defRPr>
            </a:lvl1pPr>
            <a:lvl2pPr marL="742950" indent="-285750">
              <a:defRPr>
                <a:solidFill>
                  <a:schemeClr val="tx1"/>
                </a:solidFill>
                <a:latin typeface="Franklin Gothic Book" panose="020B0503020102020204" pitchFamily="34" charset="0"/>
              </a:defRPr>
            </a:lvl2pPr>
            <a:lvl3pPr marL="1143000" indent="-228600">
              <a:defRPr>
                <a:solidFill>
                  <a:schemeClr val="tx1"/>
                </a:solidFill>
                <a:latin typeface="Franklin Gothic Book" panose="020B0503020102020204" pitchFamily="34" charset="0"/>
              </a:defRPr>
            </a:lvl3pPr>
            <a:lvl4pPr marL="1600200" indent="-228600">
              <a:defRPr>
                <a:solidFill>
                  <a:schemeClr val="tx1"/>
                </a:solidFill>
                <a:latin typeface="Franklin Gothic Book" panose="020B0503020102020204" pitchFamily="34" charset="0"/>
              </a:defRPr>
            </a:lvl4pPr>
            <a:lvl5pPr marL="2057400" indent="-228600">
              <a:defRPr>
                <a:solidFill>
                  <a:schemeClr val="tx1"/>
                </a:solidFill>
                <a:latin typeface="Franklin Gothic Book" panose="020B0503020102020204" pitchFamily="34" charset="0"/>
              </a:defRPr>
            </a:lvl5pPr>
            <a:lvl6pPr marL="2514600" indent="-228600" fontAlgn="base">
              <a:spcBef>
                <a:spcPct val="0"/>
              </a:spcBef>
              <a:spcAft>
                <a:spcPct val="0"/>
              </a:spcAft>
              <a:defRPr>
                <a:solidFill>
                  <a:schemeClr val="tx1"/>
                </a:solidFill>
                <a:latin typeface="Franklin Gothic Book" panose="020B0503020102020204" pitchFamily="34" charset="0"/>
              </a:defRPr>
            </a:lvl6pPr>
            <a:lvl7pPr marL="2971800" indent="-228600" fontAlgn="base">
              <a:spcBef>
                <a:spcPct val="0"/>
              </a:spcBef>
              <a:spcAft>
                <a:spcPct val="0"/>
              </a:spcAft>
              <a:defRPr>
                <a:solidFill>
                  <a:schemeClr val="tx1"/>
                </a:solidFill>
                <a:latin typeface="Franklin Gothic Book" panose="020B0503020102020204" pitchFamily="34" charset="0"/>
              </a:defRPr>
            </a:lvl7pPr>
            <a:lvl8pPr marL="3429000" indent="-228600" fontAlgn="base">
              <a:spcBef>
                <a:spcPct val="0"/>
              </a:spcBef>
              <a:spcAft>
                <a:spcPct val="0"/>
              </a:spcAft>
              <a:defRPr>
                <a:solidFill>
                  <a:schemeClr val="tx1"/>
                </a:solidFill>
                <a:latin typeface="Franklin Gothic Book" panose="020B0503020102020204" pitchFamily="34" charset="0"/>
              </a:defRPr>
            </a:lvl8pPr>
            <a:lvl9pPr marL="3886200" indent="-228600" fontAlgn="base">
              <a:spcBef>
                <a:spcPct val="0"/>
              </a:spcBef>
              <a:spcAft>
                <a:spcPct val="0"/>
              </a:spcAft>
              <a:defRPr>
                <a:solidFill>
                  <a:schemeClr val="tx1"/>
                </a:solidFill>
                <a:latin typeface="Franklin Gothic Book" panose="020B0503020102020204" pitchFamily="34" charset="0"/>
              </a:defRPr>
            </a:lvl9pPr>
          </a:lstStyle>
          <a:p>
            <a:pPr fontAlgn="base">
              <a:spcBef>
                <a:spcPct val="0"/>
              </a:spcBef>
              <a:spcAft>
                <a:spcPct val="0"/>
              </a:spcAft>
            </a:pPr>
            <a:fld id="{299810BE-C147-4654-AEC1-0F0FCEEDF613}" type="slidenum">
              <a:rPr lang="en-US" altLang="en-US">
                <a:latin typeface="Calibri" panose="020F0502020204030204" pitchFamily="34" charset="0"/>
              </a:rPr>
              <a:pPr fontAlgn="base">
                <a:spcBef>
                  <a:spcPct val="0"/>
                </a:spcBef>
                <a:spcAft>
                  <a:spcPct val="0"/>
                </a:spcAft>
              </a:pPr>
              <a:t>23</a:t>
            </a:fld>
            <a:endParaRPr lang="en-US" altLang="en-US">
              <a:latin typeface="Calibri" panose="020F0502020204030204" pitchFamily="34" charset="0"/>
            </a:endParaRPr>
          </a:p>
        </p:txBody>
      </p:sp>
    </p:spTree>
    <p:extLst>
      <p:ext uri="{BB962C8B-B14F-4D97-AF65-F5344CB8AC3E}">
        <p14:creationId xmlns:p14="http://schemas.microsoft.com/office/powerpoint/2010/main" val="229451737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Slide Image Placeholder 1">
            <a:extLst>
              <a:ext uri="{FF2B5EF4-FFF2-40B4-BE49-F238E27FC236}">
                <a16:creationId xmlns:a16="http://schemas.microsoft.com/office/drawing/2014/main" id="{2B15C5F4-F660-01C3-CA2E-4DB9AC78A439}"/>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1507" name="Notes Placeholder 2">
            <a:extLst>
              <a:ext uri="{FF2B5EF4-FFF2-40B4-BE49-F238E27FC236}">
                <a16:creationId xmlns:a16="http://schemas.microsoft.com/office/drawing/2014/main" id="{D99CC0F6-0CBF-B6BC-1DFE-152AC8C0D742}"/>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endParaRPr lang="en-US" altLang="en-US"/>
          </a:p>
        </p:txBody>
      </p:sp>
      <p:sp>
        <p:nvSpPr>
          <p:cNvPr id="21508" name="Slide Number Placeholder 3">
            <a:extLst>
              <a:ext uri="{FF2B5EF4-FFF2-40B4-BE49-F238E27FC236}">
                <a16:creationId xmlns:a16="http://schemas.microsoft.com/office/drawing/2014/main" id="{10712597-608A-B130-BA09-DE61195349A1}"/>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Franklin Gothic Book" panose="020B0503020102020204" pitchFamily="34" charset="0"/>
              </a:defRPr>
            </a:lvl1pPr>
            <a:lvl2pPr marL="742950" indent="-285750">
              <a:defRPr>
                <a:solidFill>
                  <a:schemeClr val="tx1"/>
                </a:solidFill>
                <a:latin typeface="Franklin Gothic Book" panose="020B0503020102020204" pitchFamily="34" charset="0"/>
              </a:defRPr>
            </a:lvl2pPr>
            <a:lvl3pPr marL="1143000" indent="-228600">
              <a:defRPr>
                <a:solidFill>
                  <a:schemeClr val="tx1"/>
                </a:solidFill>
                <a:latin typeface="Franklin Gothic Book" panose="020B0503020102020204" pitchFamily="34" charset="0"/>
              </a:defRPr>
            </a:lvl3pPr>
            <a:lvl4pPr marL="1600200" indent="-228600">
              <a:defRPr>
                <a:solidFill>
                  <a:schemeClr val="tx1"/>
                </a:solidFill>
                <a:latin typeface="Franklin Gothic Book" panose="020B0503020102020204" pitchFamily="34" charset="0"/>
              </a:defRPr>
            </a:lvl4pPr>
            <a:lvl5pPr marL="2057400" indent="-228600">
              <a:defRPr>
                <a:solidFill>
                  <a:schemeClr val="tx1"/>
                </a:solidFill>
                <a:latin typeface="Franklin Gothic Book" panose="020B0503020102020204" pitchFamily="34" charset="0"/>
              </a:defRPr>
            </a:lvl5pPr>
            <a:lvl6pPr marL="2514600" indent="-228600" fontAlgn="base">
              <a:spcBef>
                <a:spcPct val="0"/>
              </a:spcBef>
              <a:spcAft>
                <a:spcPct val="0"/>
              </a:spcAft>
              <a:defRPr>
                <a:solidFill>
                  <a:schemeClr val="tx1"/>
                </a:solidFill>
                <a:latin typeface="Franklin Gothic Book" panose="020B0503020102020204" pitchFamily="34" charset="0"/>
              </a:defRPr>
            </a:lvl6pPr>
            <a:lvl7pPr marL="2971800" indent="-228600" fontAlgn="base">
              <a:spcBef>
                <a:spcPct val="0"/>
              </a:spcBef>
              <a:spcAft>
                <a:spcPct val="0"/>
              </a:spcAft>
              <a:defRPr>
                <a:solidFill>
                  <a:schemeClr val="tx1"/>
                </a:solidFill>
                <a:latin typeface="Franklin Gothic Book" panose="020B0503020102020204" pitchFamily="34" charset="0"/>
              </a:defRPr>
            </a:lvl7pPr>
            <a:lvl8pPr marL="3429000" indent="-228600" fontAlgn="base">
              <a:spcBef>
                <a:spcPct val="0"/>
              </a:spcBef>
              <a:spcAft>
                <a:spcPct val="0"/>
              </a:spcAft>
              <a:defRPr>
                <a:solidFill>
                  <a:schemeClr val="tx1"/>
                </a:solidFill>
                <a:latin typeface="Franklin Gothic Book" panose="020B0503020102020204" pitchFamily="34" charset="0"/>
              </a:defRPr>
            </a:lvl8pPr>
            <a:lvl9pPr marL="3886200" indent="-228600" fontAlgn="base">
              <a:spcBef>
                <a:spcPct val="0"/>
              </a:spcBef>
              <a:spcAft>
                <a:spcPct val="0"/>
              </a:spcAft>
              <a:defRPr>
                <a:solidFill>
                  <a:schemeClr val="tx1"/>
                </a:solidFill>
                <a:latin typeface="Franklin Gothic Book" panose="020B0503020102020204" pitchFamily="34" charset="0"/>
              </a:defRPr>
            </a:lvl9pPr>
          </a:lstStyle>
          <a:p>
            <a:pPr fontAlgn="base">
              <a:spcBef>
                <a:spcPct val="0"/>
              </a:spcBef>
              <a:spcAft>
                <a:spcPct val="0"/>
              </a:spcAft>
            </a:pPr>
            <a:fld id="{299810BE-C147-4654-AEC1-0F0FCEEDF613}" type="slidenum">
              <a:rPr lang="en-US" altLang="en-US">
                <a:latin typeface="Calibri" panose="020F0502020204030204" pitchFamily="34" charset="0"/>
              </a:rPr>
              <a:pPr fontAlgn="base">
                <a:spcBef>
                  <a:spcPct val="0"/>
                </a:spcBef>
                <a:spcAft>
                  <a:spcPct val="0"/>
                </a:spcAft>
              </a:pPr>
              <a:t>24</a:t>
            </a:fld>
            <a:endParaRPr lang="en-US" altLang="en-US">
              <a:latin typeface="Calibri" panose="020F0502020204030204" pitchFamily="34" charset="0"/>
            </a:endParaRPr>
          </a:p>
        </p:txBody>
      </p:sp>
    </p:spTree>
    <p:extLst>
      <p:ext uri="{BB962C8B-B14F-4D97-AF65-F5344CB8AC3E}">
        <p14:creationId xmlns:p14="http://schemas.microsoft.com/office/powerpoint/2010/main" val="390011737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A1AB5789-9E99-414F-82A5-F02C1226578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4869188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A1AB5789-9E99-414F-82A5-F02C1226578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6785822"/>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8" Type="http://schemas.openxmlformats.org/officeDocument/2006/relationships/oleObject" Target="../embeddings/oleObject2.bin"/><Relationship Id="rId3" Type="http://schemas.openxmlformats.org/officeDocument/2006/relationships/tags" Target="../tags/tag22.xml"/><Relationship Id="rId7" Type="http://schemas.openxmlformats.org/officeDocument/2006/relationships/slideMaster" Target="../slideMasters/slideMaster6.xml"/><Relationship Id="rId2" Type="http://schemas.openxmlformats.org/officeDocument/2006/relationships/tags" Target="../tags/tag21.xml"/><Relationship Id="rId1" Type="http://schemas.openxmlformats.org/officeDocument/2006/relationships/vmlDrawing" Target="../drawings/vmlDrawing2.vml"/><Relationship Id="rId6" Type="http://schemas.openxmlformats.org/officeDocument/2006/relationships/tags" Target="../tags/tag25.xml"/><Relationship Id="rId11" Type="http://schemas.openxmlformats.org/officeDocument/2006/relationships/image" Target="../media/image5.png"/><Relationship Id="rId5" Type="http://schemas.openxmlformats.org/officeDocument/2006/relationships/tags" Target="../tags/tag24.xml"/><Relationship Id="rId10" Type="http://schemas.openxmlformats.org/officeDocument/2006/relationships/image" Target="../media/image7.jpeg"/><Relationship Id="rId4" Type="http://schemas.openxmlformats.org/officeDocument/2006/relationships/tags" Target="../tags/tag23.xml"/><Relationship Id="rId9" Type="http://schemas.openxmlformats.org/officeDocument/2006/relationships/image" Target="../media/image6.emf"/></Relationships>
</file>

<file path=ppt/slideLayouts/_rels/slideLayout101.xml.rels><?xml version="1.0" encoding="UTF-8" standalone="yes"?>
<Relationships xmlns="http://schemas.openxmlformats.org/package/2006/relationships"><Relationship Id="rId8" Type="http://schemas.openxmlformats.org/officeDocument/2006/relationships/oleObject" Target="../embeddings/oleObject3.bin"/><Relationship Id="rId3" Type="http://schemas.openxmlformats.org/officeDocument/2006/relationships/tags" Target="../tags/tag27.xml"/><Relationship Id="rId7" Type="http://schemas.openxmlformats.org/officeDocument/2006/relationships/slideMaster" Target="../slideMasters/slideMaster6.xml"/><Relationship Id="rId2" Type="http://schemas.openxmlformats.org/officeDocument/2006/relationships/tags" Target="../tags/tag26.xml"/><Relationship Id="rId1" Type="http://schemas.openxmlformats.org/officeDocument/2006/relationships/vmlDrawing" Target="../drawings/vmlDrawing3.vml"/><Relationship Id="rId6" Type="http://schemas.openxmlformats.org/officeDocument/2006/relationships/tags" Target="../tags/tag30.xml"/><Relationship Id="rId11" Type="http://schemas.openxmlformats.org/officeDocument/2006/relationships/image" Target="../media/image5.png"/><Relationship Id="rId5" Type="http://schemas.openxmlformats.org/officeDocument/2006/relationships/tags" Target="../tags/tag29.xml"/><Relationship Id="rId10" Type="http://schemas.openxmlformats.org/officeDocument/2006/relationships/image" Target="../media/image8.jpeg"/><Relationship Id="rId4" Type="http://schemas.openxmlformats.org/officeDocument/2006/relationships/tags" Target="../tags/tag28.xml"/><Relationship Id="rId9" Type="http://schemas.openxmlformats.org/officeDocument/2006/relationships/image" Target="../media/image6.emf"/></Relationships>
</file>

<file path=ppt/slideLayouts/_rels/slideLayout102.xml.rels><?xml version="1.0" encoding="UTF-8" standalone="yes"?>
<Relationships xmlns="http://schemas.openxmlformats.org/package/2006/relationships"><Relationship Id="rId8" Type="http://schemas.openxmlformats.org/officeDocument/2006/relationships/oleObject" Target="../embeddings/oleObject4.bin"/><Relationship Id="rId3" Type="http://schemas.openxmlformats.org/officeDocument/2006/relationships/tags" Target="../tags/tag32.xml"/><Relationship Id="rId7" Type="http://schemas.openxmlformats.org/officeDocument/2006/relationships/image" Target="../media/image9.png"/><Relationship Id="rId2" Type="http://schemas.openxmlformats.org/officeDocument/2006/relationships/tags" Target="../tags/tag31.xml"/><Relationship Id="rId1" Type="http://schemas.openxmlformats.org/officeDocument/2006/relationships/vmlDrawing" Target="../drawings/vmlDrawing4.vml"/><Relationship Id="rId6" Type="http://schemas.openxmlformats.org/officeDocument/2006/relationships/slideMaster" Target="../slideMasters/slideMaster6.xml"/><Relationship Id="rId5" Type="http://schemas.openxmlformats.org/officeDocument/2006/relationships/tags" Target="../tags/tag34.xml"/><Relationship Id="rId10" Type="http://schemas.openxmlformats.org/officeDocument/2006/relationships/image" Target="../media/image5.png"/><Relationship Id="rId4" Type="http://schemas.openxmlformats.org/officeDocument/2006/relationships/tags" Target="../tags/tag33.xml"/><Relationship Id="rId9" Type="http://schemas.openxmlformats.org/officeDocument/2006/relationships/image" Target="../media/image6.emf"/></Relationships>
</file>

<file path=ppt/slideLayouts/_rels/slideLayout103.xml.rels><?xml version="1.0" encoding="UTF-8" standalone="yes"?>
<Relationships xmlns="http://schemas.openxmlformats.org/package/2006/relationships"><Relationship Id="rId8" Type="http://schemas.openxmlformats.org/officeDocument/2006/relationships/oleObject" Target="../embeddings/oleObject5.bin"/><Relationship Id="rId3" Type="http://schemas.openxmlformats.org/officeDocument/2006/relationships/tags" Target="../tags/tag36.xml"/><Relationship Id="rId7" Type="http://schemas.openxmlformats.org/officeDocument/2006/relationships/slideMaster" Target="../slideMasters/slideMaster6.xml"/><Relationship Id="rId2" Type="http://schemas.openxmlformats.org/officeDocument/2006/relationships/tags" Target="../tags/tag35.xml"/><Relationship Id="rId1" Type="http://schemas.openxmlformats.org/officeDocument/2006/relationships/vmlDrawing" Target="../drawings/vmlDrawing5.vml"/><Relationship Id="rId6" Type="http://schemas.openxmlformats.org/officeDocument/2006/relationships/tags" Target="../tags/tag39.xml"/><Relationship Id="rId11" Type="http://schemas.openxmlformats.org/officeDocument/2006/relationships/image" Target="../media/image5.png"/><Relationship Id="rId5" Type="http://schemas.openxmlformats.org/officeDocument/2006/relationships/tags" Target="../tags/tag38.xml"/><Relationship Id="rId10" Type="http://schemas.openxmlformats.org/officeDocument/2006/relationships/image" Target="../media/image10.jpeg"/><Relationship Id="rId4" Type="http://schemas.openxmlformats.org/officeDocument/2006/relationships/tags" Target="../tags/tag37.xml"/><Relationship Id="rId9" Type="http://schemas.openxmlformats.org/officeDocument/2006/relationships/image" Target="../media/image6.emf"/></Relationships>
</file>

<file path=ppt/slideLayouts/_rels/slideLayout104.xml.rels><?xml version="1.0" encoding="UTF-8" standalone="yes"?>
<Relationships xmlns="http://schemas.openxmlformats.org/package/2006/relationships"><Relationship Id="rId8" Type="http://schemas.openxmlformats.org/officeDocument/2006/relationships/oleObject" Target="../embeddings/oleObject6.bin"/><Relationship Id="rId3" Type="http://schemas.openxmlformats.org/officeDocument/2006/relationships/tags" Target="../tags/tag41.xml"/><Relationship Id="rId7" Type="http://schemas.openxmlformats.org/officeDocument/2006/relationships/slideMaster" Target="../slideMasters/slideMaster6.xml"/><Relationship Id="rId2" Type="http://schemas.openxmlformats.org/officeDocument/2006/relationships/tags" Target="../tags/tag40.xml"/><Relationship Id="rId1" Type="http://schemas.openxmlformats.org/officeDocument/2006/relationships/vmlDrawing" Target="../drawings/vmlDrawing6.vml"/><Relationship Id="rId6" Type="http://schemas.openxmlformats.org/officeDocument/2006/relationships/tags" Target="../tags/tag44.xml"/><Relationship Id="rId5" Type="http://schemas.openxmlformats.org/officeDocument/2006/relationships/tags" Target="../tags/tag43.xml"/><Relationship Id="rId4" Type="http://schemas.openxmlformats.org/officeDocument/2006/relationships/tags" Target="../tags/tag42.xml"/><Relationship Id="rId9" Type="http://schemas.openxmlformats.org/officeDocument/2006/relationships/image" Target="../media/image4.emf"/></Relationships>
</file>

<file path=ppt/slideLayouts/_rels/slideLayout105.xml.rels><?xml version="1.0" encoding="UTF-8" standalone="yes"?>
<Relationships xmlns="http://schemas.openxmlformats.org/package/2006/relationships"><Relationship Id="rId8" Type="http://schemas.openxmlformats.org/officeDocument/2006/relationships/oleObject" Target="../embeddings/oleObject7.bin"/><Relationship Id="rId3" Type="http://schemas.openxmlformats.org/officeDocument/2006/relationships/tags" Target="../tags/tag46.xml"/><Relationship Id="rId7" Type="http://schemas.openxmlformats.org/officeDocument/2006/relationships/slideMaster" Target="../slideMasters/slideMaster6.xml"/><Relationship Id="rId2" Type="http://schemas.openxmlformats.org/officeDocument/2006/relationships/tags" Target="../tags/tag45.xml"/><Relationship Id="rId1" Type="http://schemas.openxmlformats.org/officeDocument/2006/relationships/vmlDrawing" Target="../drawings/vmlDrawing7.vml"/><Relationship Id="rId6" Type="http://schemas.openxmlformats.org/officeDocument/2006/relationships/tags" Target="../tags/tag49.xml"/><Relationship Id="rId5" Type="http://schemas.openxmlformats.org/officeDocument/2006/relationships/tags" Target="../tags/tag48.xml"/><Relationship Id="rId4" Type="http://schemas.openxmlformats.org/officeDocument/2006/relationships/tags" Target="../tags/tag47.xml"/><Relationship Id="rId9" Type="http://schemas.openxmlformats.org/officeDocument/2006/relationships/image" Target="../media/image6.emf"/></Relationships>
</file>

<file path=ppt/slideLayouts/_rels/slideLayout106.xml.rels><?xml version="1.0" encoding="UTF-8" standalone="yes"?>
<Relationships xmlns="http://schemas.openxmlformats.org/package/2006/relationships"><Relationship Id="rId8" Type="http://schemas.openxmlformats.org/officeDocument/2006/relationships/oleObject" Target="../embeddings/oleObject8.bin"/><Relationship Id="rId3" Type="http://schemas.openxmlformats.org/officeDocument/2006/relationships/tags" Target="../tags/tag51.xml"/><Relationship Id="rId7" Type="http://schemas.openxmlformats.org/officeDocument/2006/relationships/slideMaster" Target="../slideMasters/slideMaster6.xml"/><Relationship Id="rId2" Type="http://schemas.openxmlformats.org/officeDocument/2006/relationships/tags" Target="../tags/tag50.xml"/><Relationship Id="rId1" Type="http://schemas.openxmlformats.org/officeDocument/2006/relationships/vmlDrawing" Target="../drawings/vmlDrawing8.vml"/><Relationship Id="rId6" Type="http://schemas.openxmlformats.org/officeDocument/2006/relationships/tags" Target="../tags/tag54.xml"/><Relationship Id="rId5" Type="http://schemas.openxmlformats.org/officeDocument/2006/relationships/tags" Target="../tags/tag53.xml"/><Relationship Id="rId4" Type="http://schemas.openxmlformats.org/officeDocument/2006/relationships/tags" Target="../tags/tag52.xml"/><Relationship Id="rId9" Type="http://schemas.openxmlformats.org/officeDocument/2006/relationships/image" Target="../media/image6.emf"/></Relationships>
</file>

<file path=ppt/slideLayouts/_rels/slideLayout107.xml.rels><?xml version="1.0" encoding="UTF-8" standalone="yes"?>
<Relationships xmlns="http://schemas.openxmlformats.org/package/2006/relationships"><Relationship Id="rId8" Type="http://schemas.openxmlformats.org/officeDocument/2006/relationships/oleObject" Target="../embeddings/oleObject9.bin"/><Relationship Id="rId3" Type="http://schemas.openxmlformats.org/officeDocument/2006/relationships/tags" Target="../tags/tag56.xml"/><Relationship Id="rId7" Type="http://schemas.openxmlformats.org/officeDocument/2006/relationships/slideMaster" Target="../slideMasters/slideMaster6.xml"/><Relationship Id="rId2" Type="http://schemas.openxmlformats.org/officeDocument/2006/relationships/tags" Target="../tags/tag55.xml"/><Relationship Id="rId1" Type="http://schemas.openxmlformats.org/officeDocument/2006/relationships/vmlDrawing" Target="../drawings/vmlDrawing9.vml"/><Relationship Id="rId6" Type="http://schemas.openxmlformats.org/officeDocument/2006/relationships/tags" Target="../tags/tag59.xml"/><Relationship Id="rId5" Type="http://schemas.openxmlformats.org/officeDocument/2006/relationships/tags" Target="../tags/tag58.xml"/><Relationship Id="rId4" Type="http://schemas.openxmlformats.org/officeDocument/2006/relationships/tags" Target="../tags/tag57.xml"/><Relationship Id="rId9" Type="http://schemas.openxmlformats.org/officeDocument/2006/relationships/image" Target="../media/image6.emf"/></Relationships>
</file>

<file path=ppt/slideLayouts/_rels/slideLayout108.xml.rels><?xml version="1.0" encoding="UTF-8" standalone="yes"?>
<Relationships xmlns="http://schemas.openxmlformats.org/package/2006/relationships"><Relationship Id="rId8" Type="http://schemas.openxmlformats.org/officeDocument/2006/relationships/slideMaster" Target="../slideMasters/slideMaster6.xml"/><Relationship Id="rId3" Type="http://schemas.openxmlformats.org/officeDocument/2006/relationships/tags" Target="../tags/tag61.xml"/><Relationship Id="rId7" Type="http://schemas.openxmlformats.org/officeDocument/2006/relationships/tags" Target="../tags/tag65.xml"/><Relationship Id="rId2" Type="http://schemas.openxmlformats.org/officeDocument/2006/relationships/tags" Target="../tags/tag60.xml"/><Relationship Id="rId1" Type="http://schemas.openxmlformats.org/officeDocument/2006/relationships/vmlDrawing" Target="../drawings/vmlDrawing10.vml"/><Relationship Id="rId6" Type="http://schemas.openxmlformats.org/officeDocument/2006/relationships/tags" Target="../tags/tag64.xml"/><Relationship Id="rId5" Type="http://schemas.openxmlformats.org/officeDocument/2006/relationships/tags" Target="../tags/tag63.xml"/><Relationship Id="rId10" Type="http://schemas.openxmlformats.org/officeDocument/2006/relationships/image" Target="../media/image6.emf"/><Relationship Id="rId4" Type="http://schemas.openxmlformats.org/officeDocument/2006/relationships/tags" Target="../tags/tag62.xml"/><Relationship Id="rId9" Type="http://schemas.openxmlformats.org/officeDocument/2006/relationships/oleObject" Target="../embeddings/oleObject10.bin"/></Relationships>
</file>

<file path=ppt/slideLayouts/_rels/slideLayout109.xml.rels><?xml version="1.0" encoding="UTF-8" standalone="yes"?>
<Relationships xmlns="http://schemas.openxmlformats.org/package/2006/relationships"><Relationship Id="rId8" Type="http://schemas.openxmlformats.org/officeDocument/2006/relationships/tags" Target="../tags/tag72.xml"/><Relationship Id="rId3" Type="http://schemas.openxmlformats.org/officeDocument/2006/relationships/tags" Target="../tags/tag67.xml"/><Relationship Id="rId7" Type="http://schemas.openxmlformats.org/officeDocument/2006/relationships/tags" Target="../tags/tag71.xml"/><Relationship Id="rId12" Type="http://schemas.openxmlformats.org/officeDocument/2006/relationships/image" Target="../media/image5.png"/><Relationship Id="rId2" Type="http://schemas.openxmlformats.org/officeDocument/2006/relationships/tags" Target="../tags/tag66.xml"/><Relationship Id="rId1" Type="http://schemas.openxmlformats.org/officeDocument/2006/relationships/vmlDrawing" Target="../drawings/vmlDrawing11.vml"/><Relationship Id="rId6" Type="http://schemas.openxmlformats.org/officeDocument/2006/relationships/tags" Target="../tags/tag70.xml"/><Relationship Id="rId11" Type="http://schemas.openxmlformats.org/officeDocument/2006/relationships/image" Target="../media/image4.emf"/><Relationship Id="rId5" Type="http://schemas.openxmlformats.org/officeDocument/2006/relationships/tags" Target="../tags/tag69.xml"/><Relationship Id="rId10" Type="http://schemas.openxmlformats.org/officeDocument/2006/relationships/oleObject" Target="../embeddings/oleObject11.bin"/><Relationship Id="rId4" Type="http://schemas.openxmlformats.org/officeDocument/2006/relationships/tags" Target="../tags/tag68.xml"/><Relationship Id="rId9" Type="http://schemas.openxmlformats.org/officeDocument/2006/relationships/slideMaster" Target="../slideMasters/slideMaster6.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8" Type="http://schemas.openxmlformats.org/officeDocument/2006/relationships/tags" Target="../tags/tag79.xml"/><Relationship Id="rId3" Type="http://schemas.openxmlformats.org/officeDocument/2006/relationships/tags" Target="../tags/tag74.xml"/><Relationship Id="rId7" Type="http://schemas.openxmlformats.org/officeDocument/2006/relationships/tags" Target="../tags/tag78.xml"/><Relationship Id="rId12" Type="http://schemas.openxmlformats.org/officeDocument/2006/relationships/image" Target="../media/image5.png"/><Relationship Id="rId2" Type="http://schemas.openxmlformats.org/officeDocument/2006/relationships/tags" Target="../tags/tag73.xml"/><Relationship Id="rId1" Type="http://schemas.openxmlformats.org/officeDocument/2006/relationships/vmlDrawing" Target="../drawings/vmlDrawing12.vml"/><Relationship Id="rId6" Type="http://schemas.openxmlformats.org/officeDocument/2006/relationships/tags" Target="../tags/tag77.xml"/><Relationship Id="rId11" Type="http://schemas.openxmlformats.org/officeDocument/2006/relationships/image" Target="../media/image4.emf"/><Relationship Id="rId5" Type="http://schemas.openxmlformats.org/officeDocument/2006/relationships/tags" Target="../tags/tag76.xml"/><Relationship Id="rId10" Type="http://schemas.openxmlformats.org/officeDocument/2006/relationships/oleObject" Target="../embeddings/oleObject12.bin"/><Relationship Id="rId4" Type="http://schemas.openxmlformats.org/officeDocument/2006/relationships/tags" Target="../tags/tag75.xml"/><Relationship Id="rId9" Type="http://schemas.openxmlformats.org/officeDocument/2006/relationships/slideMaster" Target="../slideMasters/slideMaster6.xml"/></Relationships>
</file>

<file path=ppt/slideLayouts/_rels/slideLayout111.xml.rels><?xml version="1.0" encoding="UTF-8" standalone="yes"?>
<Relationships xmlns="http://schemas.openxmlformats.org/package/2006/relationships"><Relationship Id="rId8" Type="http://schemas.openxmlformats.org/officeDocument/2006/relationships/tags" Target="../tags/tag86.xml"/><Relationship Id="rId3" Type="http://schemas.openxmlformats.org/officeDocument/2006/relationships/tags" Target="../tags/tag81.xml"/><Relationship Id="rId7" Type="http://schemas.openxmlformats.org/officeDocument/2006/relationships/tags" Target="../tags/tag85.xml"/><Relationship Id="rId12" Type="http://schemas.openxmlformats.org/officeDocument/2006/relationships/image" Target="../media/image5.png"/><Relationship Id="rId2" Type="http://schemas.openxmlformats.org/officeDocument/2006/relationships/tags" Target="../tags/tag80.xml"/><Relationship Id="rId1" Type="http://schemas.openxmlformats.org/officeDocument/2006/relationships/vmlDrawing" Target="../drawings/vmlDrawing13.vml"/><Relationship Id="rId6" Type="http://schemas.openxmlformats.org/officeDocument/2006/relationships/tags" Target="../tags/tag84.xml"/><Relationship Id="rId11" Type="http://schemas.openxmlformats.org/officeDocument/2006/relationships/image" Target="../media/image4.emf"/><Relationship Id="rId5" Type="http://schemas.openxmlformats.org/officeDocument/2006/relationships/tags" Target="../tags/tag83.xml"/><Relationship Id="rId10" Type="http://schemas.openxmlformats.org/officeDocument/2006/relationships/oleObject" Target="../embeddings/oleObject13.bin"/><Relationship Id="rId4" Type="http://schemas.openxmlformats.org/officeDocument/2006/relationships/tags" Target="../tags/tag82.xml"/><Relationship Id="rId9" Type="http://schemas.openxmlformats.org/officeDocument/2006/relationships/slideMaster" Target="../slideMasters/slideMaster6.xml"/></Relationships>
</file>

<file path=ppt/slideLayouts/_rels/slideLayout112.xml.rels><?xml version="1.0" encoding="UTF-8" standalone="yes"?>
<Relationships xmlns="http://schemas.openxmlformats.org/package/2006/relationships"><Relationship Id="rId8" Type="http://schemas.openxmlformats.org/officeDocument/2006/relationships/tags" Target="../tags/tag93.xml"/><Relationship Id="rId3" Type="http://schemas.openxmlformats.org/officeDocument/2006/relationships/tags" Target="../tags/tag88.xml"/><Relationship Id="rId7" Type="http://schemas.openxmlformats.org/officeDocument/2006/relationships/tags" Target="../tags/tag92.xml"/><Relationship Id="rId12" Type="http://schemas.openxmlformats.org/officeDocument/2006/relationships/image" Target="../media/image5.png"/><Relationship Id="rId2" Type="http://schemas.openxmlformats.org/officeDocument/2006/relationships/tags" Target="../tags/tag87.xml"/><Relationship Id="rId1" Type="http://schemas.openxmlformats.org/officeDocument/2006/relationships/vmlDrawing" Target="../drawings/vmlDrawing14.vml"/><Relationship Id="rId6" Type="http://schemas.openxmlformats.org/officeDocument/2006/relationships/tags" Target="../tags/tag91.xml"/><Relationship Id="rId11" Type="http://schemas.openxmlformats.org/officeDocument/2006/relationships/image" Target="../media/image11.emf"/><Relationship Id="rId5" Type="http://schemas.openxmlformats.org/officeDocument/2006/relationships/tags" Target="../tags/tag90.xml"/><Relationship Id="rId10" Type="http://schemas.openxmlformats.org/officeDocument/2006/relationships/oleObject" Target="../embeddings/oleObject14.bin"/><Relationship Id="rId4" Type="http://schemas.openxmlformats.org/officeDocument/2006/relationships/tags" Target="../tags/tag89.xml"/><Relationship Id="rId9" Type="http://schemas.openxmlformats.org/officeDocument/2006/relationships/slideMaster" Target="../slideMasters/slideMaster6.xml"/></Relationships>
</file>

<file path=ppt/slideLayouts/_rels/slideLayout113.xml.rels><?xml version="1.0" encoding="UTF-8" standalone="yes"?>
<Relationships xmlns="http://schemas.openxmlformats.org/package/2006/relationships"><Relationship Id="rId8" Type="http://schemas.openxmlformats.org/officeDocument/2006/relationships/tags" Target="../tags/tag100.xml"/><Relationship Id="rId3" Type="http://schemas.openxmlformats.org/officeDocument/2006/relationships/tags" Target="../tags/tag95.xml"/><Relationship Id="rId7" Type="http://schemas.openxmlformats.org/officeDocument/2006/relationships/tags" Target="../tags/tag99.xml"/><Relationship Id="rId12" Type="http://schemas.openxmlformats.org/officeDocument/2006/relationships/image" Target="../media/image5.png"/><Relationship Id="rId2" Type="http://schemas.openxmlformats.org/officeDocument/2006/relationships/tags" Target="../tags/tag94.xml"/><Relationship Id="rId1" Type="http://schemas.openxmlformats.org/officeDocument/2006/relationships/vmlDrawing" Target="../drawings/vmlDrawing15.vml"/><Relationship Id="rId6" Type="http://schemas.openxmlformats.org/officeDocument/2006/relationships/tags" Target="../tags/tag98.xml"/><Relationship Id="rId11" Type="http://schemas.openxmlformats.org/officeDocument/2006/relationships/image" Target="../media/image4.emf"/><Relationship Id="rId5" Type="http://schemas.openxmlformats.org/officeDocument/2006/relationships/tags" Target="../tags/tag97.xml"/><Relationship Id="rId10" Type="http://schemas.openxmlformats.org/officeDocument/2006/relationships/oleObject" Target="../embeddings/oleObject15.bin"/><Relationship Id="rId4" Type="http://schemas.openxmlformats.org/officeDocument/2006/relationships/tags" Target="../tags/tag96.xml"/><Relationship Id="rId9" Type="http://schemas.openxmlformats.org/officeDocument/2006/relationships/slideMaster" Target="../slideMasters/slideMaster6.xml"/></Relationships>
</file>

<file path=ppt/slideLayouts/_rels/slideLayout114.xml.rels><?xml version="1.0" encoding="UTF-8" standalone="yes"?>
<Relationships xmlns="http://schemas.openxmlformats.org/package/2006/relationships"><Relationship Id="rId8" Type="http://schemas.openxmlformats.org/officeDocument/2006/relationships/oleObject" Target="../embeddings/oleObject16.bin"/><Relationship Id="rId3" Type="http://schemas.openxmlformats.org/officeDocument/2006/relationships/tags" Target="../tags/tag102.xml"/><Relationship Id="rId7" Type="http://schemas.openxmlformats.org/officeDocument/2006/relationships/slideMaster" Target="../slideMasters/slideMaster6.xml"/><Relationship Id="rId2" Type="http://schemas.openxmlformats.org/officeDocument/2006/relationships/tags" Target="../tags/tag101.xml"/><Relationship Id="rId1" Type="http://schemas.openxmlformats.org/officeDocument/2006/relationships/vmlDrawing" Target="../drawings/vmlDrawing16.vml"/><Relationship Id="rId6" Type="http://schemas.openxmlformats.org/officeDocument/2006/relationships/tags" Target="../tags/tag105.xml"/><Relationship Id="rId5" Type="http://schemas.openxmlformats.org/officeDocument/2006/relationships/tags" Target="../tags/tag104.xml"/><Relationship Id="rId10" Type="http://schemas.openxmlformats.org/officeDocument/2006/relationships/image" Target="../media/image5.png"/><Relationship Id="rId4" Type="http://schemas.openxmlformats.org/officeDocument/2006/relationships/tags" Target="../tags/tag103.xml"/><Relationship Id="rId9" Type="http://schemas.openxmlformats.org/officeDocument/2006/relationships/image" Target="../media/image6.emf"/></Relationships>
</file>

<file path=ppt/slideLayouts/_rels/slideLayout115.xml.rels><?xml version="1.0" encoding="UTF-8" standalone="yes"?>
<Relationships xmlns="http://schemas.openxmlformats.org/package/2006/relationships"><Relationship Id="rId3" Type="http://schemas.openxmlformats.org/officeDocument/2006/relationships/tags" Target="../tags/tag107.xml"/><Relationship Id="rId7" Type="http://schemas.openxmlformats.org/officeDocument/2006/relationships/image" Target="../media/image6.emf"/><Relationship Id="rId2" Type="http://schemas.openxmlformats.org/officeDocument/2006/relationships/tags" Target="../tags/tag106.xml"/><Relationship Id="rId1" Type="http://schemas.openxmlformats.org/officeDocument/2006/relationships/vmlDrawing" Target="../drawings/vmlDrawing17.vml"/><Relationship Id="rId6" Type="http://schemas.openxmlformats.org/officeDocument/2006/relationships/oleObject" Target="../embeddings/oleObject17.bin"/><Relationship Id="rId5" Type="http://schemas.openxmlformats.org/officeDocument/2006/relationships/slideMaster" Target="../slideMasters/slideMaster6.xml"/><Relationship Id="rId4" Type="http://schemas.openxmlformats.org/officeDocument/2006/relationships/tags" Target="../tags/tag108.xml"/></Relationships>
</file>

<file path=ppt/slideLayouts/_rels/slideLayout116.xml.rels><?xml version="1.0" encoding="UTF-8" standalone="yes"?>
<Relationships xmlns="http://schemas.openxmlformats.org/package/2006/relationships"><Relationship Id="rId3" Type="http://schemas.openxmlformats.org/officeDocument/2006/relationships/tags" Target="../tags/tag110.xml"/><Relationship Id="rId7" Type="http://schemas.openxmlformats.org/officeDocument/2006/relationships/image" Target="../media/image5.png"/><Relationship Id="rId2" Type="http://schemas.openxmlformats.org/officeDocument/2006/relationships/tags" Target="../tags/tag109.xml"/><Relationship Id="rId1" Type="http://schemas.openxmlformats.org/officeDocument/2006/relationships/vmlDrawing" Target="../drawings/vmlDrawing18.vml"/><Relationship Id="rId6" Type="http://schemas.openxmlformats.org/officeDocument/2006/relationships/image" Target="../media/image6.emf"/><Relationship Id="rId5" Type="http://schemas.openxmlformats.org/officeDocument/2006/relationships/oleObject" Target="../embeddings/oleObject18.bin"/><Relationship Id="rId4" Type="http://schemas.openxmlformats.org/officeDocument/2006/relationships/slideMaster" Target="../slideMasters/slideMaster6.xml"/></Relationships>
</file>

<file path=ppt/slideLayouts/_rels/slideLayout117.xml.rels><?xml version="1.0" encoding="UTF-8" standalone="yes"?>
<Relationships xmlns="http://schemas.openxmlformats.org/package/2006/relationships"><Relationship Id="rId8" Type="http://schemas.openxmlformats.org/officeDocument/2006/relationships/slideMaster" Target="../slideMasters/slideMaster6.xml"/><Relationship Id="rId3" Type="http://schemas.openxmlformats.org/officeDocument/2006/relationships/tags" Target="../tags/tag112.xml"/><Relationship Id="rId7" Type="http://schemas.openxmlformats.org/officeDocument/2006/relationships/tags" Target="../tags/tag116.xml"/><Relationship Id="rId2" Type="http://schemas.openxmlformats.org/officeDocument/2006/relationships/tags" Target="../tags/tag111.xml"/><Relationship Id="rId1" Type="http://schemas.openxmlformats.org/officeDocument/2006/relationships/vmlDrawing" Target="../drawings/vmlDrawing19.vml"/><Relationship Id="rId6" Type="http://schemas.openxmlformats.org/officeDocument/2006/relationships/tags" Target="../tags/tag115.xml"/><Relationship Id="rId5" Type="http://schemas.openxmlformats.org/officeDocument/2006/relationships/tags" Target="../tags/tag114.xml"/><Relationship Id="rId10" Type="http://schemas.openxmlformats.org/officeDocument/2006/relationships/image" Target="../media/image4.emf"/><Relationship Id="rId4" Type="http://schemas.openxmlformats.org/officeDocument/2006/relationships/tags" Target="../tags/tag113.xml"/><Relationship Id="rId9" Type="http://schemas.openxmlformats.org/officeDocument/2006/relationships/oleObject" Target="../embeddings/oleObject19.bin"/></Relationships>
</file>

<file path=ppt/slideLayouts/_rels/slideLayout118.xml.rels><?xml version="1.0" encoding="UTF-8" standalone="yes"?>
<Relationships xmlns="http://schemas.openxmlformats.org/package/2006/relationships"><Relationship Id="rId8" Type="http://schemas.openxmlformats.org/officeDocument/2006/relationships/oleObject" Target="../embeddings/oleObject20.bin"/><Relationship Id="rId3" Type="http://schemas.openxmlformats.org/officeDocument/2006/relationships/tags" Target="../tags/tag118.xml"/><Relationship Id="rId7" Type="http://schemas.openxmlformats.org/officeDocument/2006/relationships/slideMaster" Target="../slideMasters/slideMaster6.xml"/><Relationship Id="rId2" Type="http://schemas.openxmlformats.org/officeDocument/2006/relationships/tags" Target="../tags/tag117.xml"/><Relationship Id="rId1" Type="http://schemas.openxmlformats.org/officeDocument/2006/relationships/vmlDrawing" Target="../drawings/vmlDrawing20.vml"/><Relationship Id="rId6" Type="http://schemas.openxmlformats.org/officeDocument/2006/relationships/tags" Target="../tags/tag121.xml"/><Relationship Id="rId5" Type="http://schemas.openxmlformats.org/officeDocument/2006/relationships/tags" Target="../tags/tag120.xml"/><Relationship Id="rId4" Type="http://schemas.openxmlformats.org/officeDocument/2006/relationships/tags" Target="../tags/tag119.xml"/><Relationship Id="rId9" Type="http://schemas.openxmlformats.org/officeDocument/2006/relationships/image" Target="../media/image4.emf"/></Relationships>
</file>

<file path=ppt/slideLayouts/_rels/slideLayout119.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hyperlink" Target="http://www.energy.gov/ott" TargetMode="External"/><Relationship Id="rId1" Type="http://schemas.openxmlformats.org/officeDocument/2006/relationships/slideMaster" Target="../slideMasters/slideMaster6.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8" Type="http://schemas.openxmlformats.org/officeDocument/2006/relationships/oleObject" Target="../embeddings/oleObject22.bin"/><Relationship Id="rId3" Type="http://schemas.openxmlformats.org/officeDocument/2006/relationships/tags" Target="../tags/tag143.xml"/><Relationship Id="rId7" Type="http://schemas.openxmlformats.org/officeDocument/2006/relationships/slideMaster" Target="../slideMasters/slideMaster7.xml"/><Relationship Id="rId2" Type="http://schemas.openxmlformats.org/officeDocument/2006/relationships/tags" Target="../tags/tag142.xml"/><Relationship Id="rId1" Type="http://schemas.openxmlformats.org/officeDocument/2006/relationships/vmlDrawing" Target="../drawings/vmlDrawing22.vml"/><Relationship Id="rId6" Type="http://schemas.openxmlformats.org/officeDocument/2006/relationships/tags" Target="../tags/tag146.xml"/><Relationship Id="rId11" Type="http://schemas.openxmlformats.org/officeDocument/2006/relationships/image" Target="../media/image5.png"/><Relationship Id="rId5" Type="http://schemas.openxmlformats.org/officeDocument/2006/relationships/tags" Target="../tags/tag145.xml"/><Relationship Id="rId10" Type="http://schemas.openxmlformats.org/officeDocument/2006/relationships/image" Target="../media/image7.jpeg"/><Relationship Id="rId4" Type="http://schemas.openxmlformats.org/officeDocument/2006/relationships/tags" Target="../tags/tag144.xml"/><Relationship Id="rId9" Type="http://schemas.openxmlformats.org/officeDocument/2006/relationships/image" Target="../media/image6.emf"/></Relationships>
</file>

<file path=ppt/slideLayouts/_rels/slideLayout121.xml.rels><?xml version="1.0" encoding="UTF-8" standalone="yes"?>
<Relationships xmlns="http://schemas.openxmlformats.org/package/2006/relationships"><Relationship Id="rId8" Type="http://schemas.openxmlformats.org/officeDocument/2006/relationships/oleObject" Target="../embeddings/oleObject23.bin"/><Relationship Id="rId3" Type="http://schemas.openxmlformats.org/officeDocument/2006/relationships/tags" Target="../tags/tag148.xml"/><Relationship Id="rId7" Type="http://schemas.openxmlformats.org/officeDocument/2006/relationships/slideMaster" Target="../slideMasters/slideMaster7.xml"/><Relationship Id="rId2" Type="http://schemas.openxmlformats.org/officeDocument/2006/relationships/tags" Target="../tags/tag147.xml"/><Relationship Id="rId1" Type="http://schemas.openxmlformats.org/officeDocument/2006/relationships/vmlDrawing" Target="../drawings/vmlDrawing23.vml"/><Relationship Id="rId6" Type="http://schemas.openxmlformats.org/officeDocument/2006/relationships/tags" Target="../tags/tag151.xml"/><Relationship Id="rId11" Type="http://schemas.openxmlformats.org/officeDocument/2006/relationships/image" Target="../media/image5.png"/><Relationship Id="rId5" Type="http://schemas.openxmlformats.org/officeDocument/2006/relationships/tags" Target="../tags/tag150.xml"/><Relationship Id="rId10" Type="http://schemas.openxmlformats.org/officeDocument/2006/relationships/image" Target="../media/image8.jpeg"/><Relationship Id="rId4" Type="http://schemas.openxmlformats.org/officeDocument/2006/relationships/tags" Target="../tags/tag149.xml"/><Relationship Id="rId9" Type="http://schemas.openxmlformats.org/officeDocument/2006/relationships/image" Target="../media/image6.emf"/></Relationships>
</file>

<file path=ppt/slideLayouts/_rels/slideLayout122.xml.rels><?xml version="1.0" encoding="UTF-8" standalone="yes"?>
<Relationships xmlns="http://schemas.openxmlformats.org/package/2006/relationships"><Relationship Id="rId8" Type="http://schemas.openxmlformats.org/officeDocument/2006/relationships/oleObject" Target="../embeddings/oleObject24.bin"/><Relationship Id="rId3" Type="http://schemas.openxmlformats.org/officeDocument/2006/relationships/tags" Target="../tags/tag153.xml"/><Relationship Id="rId7" Type="http://schemas.openxmlformats.org/officeDocument/2006/relationships/slideMaster" Target="../slideMasters/slideMaster7.xml"/><Relationship Id="rId2" Type="http://schemas.openxmlformats.org/officeDocument/2006/relationships/tags" Target="../tags/tag152.xml"/><Relationship Id="rId1" Type="http://schemas.openxmlformats.org/officeDocument/2006/relationships/vmlDrawing" Target="../drawings/vmlDrawing24.vml"/><Relationship Id="rId6" Type="http://schemas.openxmlformats.org/officeDocument/2006/relationships/tags" Target="../tags/tag156.xml"/><Relationship Id="rId11" Type="http://schemas.openxmlformats.org/officeDocument/2006/relationships/image" Target="../media/image5.png"/><Relationship Id="rId5" Type="http://schemas.openxmlformats.org/officeDocument/2006/relationships/tags" Target="../tags/tag155.xml"/><Relationship Id="rId10" Type="http://schemas.openxmlformats.org/officeDocument/2006/relationships/image" Target="../media/image13.jpeg"/><Relationship Id="rId4" Type="http://schemas.openxmlformats.org/officeDocument/2006/relationships/tags" Target="../tags/tag154.xml"/><Relationship Id="rId9" Type="http://schemas.openxmlformats.org/officeDocument/2006/relationships/image" Target="../media/image6.emf"/></Relationships>
</file>

<file path=ppt/slideLayouts/_rels/slideLayout123.xml.rels><?xml version="1.0" encoding="UTF-8" standalone="yes"?>
<Relationships xmlns="http://schemas.openxmlformats.org/package/2006/relationships"><Relationship Id="rId8" Type="http://schemas.openxmlformats.org/officeDocument/2006/relationships/oleObject" Target="../embeddings/oleObject25.bin"/><Relationship Id="rId3" Type="http://schemas.openxmlformats.org/officeDocument/2006/relationships/tags" Target="../tags/tag158.xml"/><Relationship Id="rId7" Type="http://schemas.openxmlformats.org/officeDocument/2006/relationships/slideMaster" Target="../slideMasters/slideMaster7.xml"/><Relationship Id="rId2" Type="http://schemas.openxmlformats.org/officeDocument/2006/relationships/tags" Target="../tags/tag157.xml"/><Relationship Id="rId1" Type="http://schemas.openxmlformats.org/officeDocument/2006/relationships/vmlDrawing" Target="../drawings/vmlDrawing25.vml"/><Relationship Id="rId6" Type="http://schemas.openxmlformats.org/officeDocument/2006/relationships/tags" Target="../tags/tag161.xml"/><Relationship Id="rId11" Type="http://schemas.openxmlformats.org/officeDocument/2006/relationships/image" Target="../media/image5.png"/><Relationship Id="rId5" Type="http://schemas.openxmlformats.org/officeDocument/2006/relationships/tags" Target="../tags/tag160.xml"/><Relationship Id="rId10" Type="http://schemas.openxmlformats.org/officeDocument/2006/relationships/image" Target="../media/image10.jpeg"/><Relationship Id="rId4" Type="http://schemas.openxmlformats.org/officeDocument/2006/relationships/tags" Target="../tags/tag159.xml"/><Relationship Id="rId9" Type="http://schemas.openxmlformats.org/officeDocument/2006/relationships/image" Target="../media/image6.emf"/></Relationships>
</file>

<file path=ppt/slideLayouts/_rels/slideLayout124.xml.rels><?xml version="1.0" encoding="UTF-8" standalone="yes"?>
<Relationships xmlns="http://schemas.openxmlformats.org/package/2006/relationships"><Relationship Id="rId8" Type="http://schemas.openxmlformats.org/officeDocument/2006/relationships/slideMaster" Target="../slideMasters/slideMaster7.xml"/><Relationship Id="rId3" Type="http://schemas.openxmlformats.org/officeDocument/2006/relationships/tags" Target="../tags/tag163.xml"/><Relationship Id="rId7" Type="http://schemas.openxmlformats.org/officeDocument/2006/relationships/tags" Target="../tags/tag167.xml"/><Relationship Id="rId2" Type="http://schemas.openxmlformats.org/officeDocument/2006/relationships/tags" Target="../tags/tag162.xml"/><Relationship Id="rId1" Type="http://schemas.openxmlformats.org/officeDocument/2006/relationships/vmlDrawing" Target="../drawings/vmlDrawing26.vml"/><Relationship Id="rId6" Type="http://schemas.openxmlformats.org/officeDocument/2006/relationships/tags" Target="../tags/tag166.xml"/><Relationship Id="rId5" Type="http://schemas.openxmlformats.org/officeDocument/2006/relationships/tags" Target="../tags/tag165.xml"/><Relationship Id="rId10" Type="http://schemas.openxmlformats.org/officeDocument/2006/relationships/image" Target="../media/image4.emf"/><Relationship Id="rId4" Type="http://schemas.openxmlformats.org/officeDocument/2006/relationships/tags" Target="../tags/tag164.xml"/><Relationship Id="rId9" Type="http://schemas.openxmlformats.org/officeDocument/2006/relationships/oleObject" Target="../embeddings/oleObject26.bin"/></Relationships>
</file>

<file path=ppt/slideLayouts/_rels/slideLayout125.xml.rels><?xml version="1.0" encoding="UTF-8" standalone="yes"?>
<Relationships xmlns="http://schemas.openxmlformats.org/package/2006/relationships"><Relationship Id="rId8" Type="http://schemas.openxmlformats.org/officeDocument/2006/relationships/oleObject" Target="../embeddings/oleObject27.bin"/><Relationship Id="rId3" Type="http://schemas.openxmlformats.org/officeDocument/2006/relationships/tags" Target="../tags/tag169.xml"/><Relationship Id="rId7" Type="http://schemas.openxmlformats.org/officeDocument/2006/relationships/slideMaster" Target="../slideMasters/slideMaster7.xml"/><Relationship Id="rId2" Type="http://schemas.openxmlformats.org/officeDocument/2006/relationships/tags" Target="../tags/tag168.xml"/><Relationship Id="rId1" Type="http://schemas.openxmlformats.org/officeDocument/2006/relationships/vmlDrawing" Target="../drawings/vmlDrawing27.vml"/><Relationship Id="rId6" Type="http://schemas.openxmlformats.org/officeDocument/2006/relationships/tags" Target="../tags/tag172.xml"/><Relationship Id="rId5" Type="http://schemas.openxmlformats.org/officeDocument/2006/relationships/tags" Target="../tags/tag171.xml"/><Relationship Id="rId4" Type="http://schemas.openxmlformats.org/officeDocument/2006/relationships/tags" Target="../tags/tag170.xml"/><Relationship Id="rId9" Type="http://schemas.openxmlformats.org/officeDocument/2006/relationships/image" Target="../media/image6.emf"/></Relationships>
</file>

<file path=ppt/slideLayouts/_rels/slideLayout126.xml.rels><?xml version="1.0" encoding="UTF-8" standalone="yes"?>
<Relationships xmlns="http://schemas.openxmlformats.org/package/2006/relationships"><Relationship Id="rId8" Type="http://schemas.openxmlformats.org/officeDocument/2006/relationships/oleObject" Target="../embeddings/oleObject28.bin"/><Relationship Id="rId3" Type="http://schemas.openxmlformats.org/officeDocument/2006/relationships/tags" Target="../tags/tag174.xml"/><Relationship Id="rId7" Type="http://schemas.openxmlformats.org/officeDocument/2006/relationships/slideMaster" Target="../slideMasters/slideMaster7.xml"/><Relationship Id="rId2" Type="http://schemas.openxmlformats.org/officeDocument/2006/relationships/tags" Target="../tags/tag173.xml"/><Relationship Id="rId1" Type="http://schemas.openxmlformats.org/officeDocument/2006/relationships/vmlDrawing" Target="../drawings/vmlDrawing28.vml"/><Relationship Id="rId6" Type="http://schemas.openxmlformats.org/officeDocument/2006/relationships/tags" Target="../tags/tag177.xml"/><Relationship Id="rId5" Type="http://schemas.openxmlformats.org/officeDocument/2006/relationships/tags" Target="../tags/tag176.xml"/><Relationship Id="rId4" Type="http://schemas.openxmlformats.org/officeDocument/2006/relationships/tags" Target="../tags/tag175.xml"/><Relationship Id="rId9" Type="http://schemas.openxmlformats.org/officeDocument/2006/relationships/image" Target="../media/image6.emf"/></Relationships>
</file>

<file path=ppt/slideLayouts/_rels/slideLayout127.xml.rels><?xml version="1.0" encoding="UTF-8" standalone="yes"?>
<Relationships xmlns="http://schemas.openxmlformats.org/package/2006/relationships"><Relationship Id="rId8" Type="http://schemas.openxmlformats.org/officeDocument/2006/relationships/oleObject" Target="../embeddings/oleObject29.bin"/><Relationship Id="rId3" Type="http://schemas.openxmlformats.org/officeDocument/2006/relationships/tags" Target="../tags/tag179.xml"/><Relationship Id="rId7" Type="http://schemas.openxmlformats.org/officeDocument/2006/relationships/slideMaster" Target="../slideMasters/slideMaster7.xml"/><Relationship Id="rId2" Type="http://schemas.openxmlformats.org/officeDocument/2006/relationships/tags" Target="../tags/tag178.xml"/><Relationship Id="rId1" Type="http://schemas.openxmlformats.org/officeDocument/2006/relationships/vmlDrawing" Target="../drawings/vmlDrawing29.vml"/><Relationship Id="rId6" Type="http://schemas.openxmlformats.org/officeDocument/2006/relationships/tags" Target="../tags/tag182.xml"/><Relationship Id="rId5" Type="http://schemas.openxmlformats.org/officeDocument/2006/relationships/tags" Target="../tags/tag181.xml"/><Relationship Id="rId4" Type="http://schemas.openxmlformats.org/officeDocument/2006/relationships/tags" Target="../tags/tag180.xml"/><Relationship Id="rId9" Type="http://schemas.openxmlformats.org/officeDocument/2006/relationships/image" Target="../media/image6.emf"/></Relationships>
</file>

<file path=ppt/slideLayouts/_rels/slideLayout128.xml.rels><?xml version="1.0" encoding="UTF-8" standalone="yes"?>
<Relationships xmlns="http://schemas.openxmlformats.org/package/2006/relationships"><Relationship Id="rId8" Type="http://schemas.openxmlformats.org/officeDocument/2006/relationships/slideMaster" Target="../slideMasters/slideMaster7.xml"/><Relationship Id="rId3" Type="http://schemas.openxmlformats.org/officeDocument/2006/relationships/tags" Target="../tags/tag184.xml"/><Relationship Id="rId7" Type="http://schemas.openxmlformats.org/officeDocument/2006/relationships/tags" Target="../tags/tag188.xml"/><Relationship Id="rId2" Type="http://schemas.openxmlformats.org/officeDocument/2006/relationships/tags" Target="../tags/tag183.xml"/><Relationship Id="rId1" Type="http://schemas.openxmlformats.org/officeDocument/2006/relationships/vmlDrawing" Target="../drawings/vmlDrawing30.vml"/><Relationship Id="rId6" Type="http://schemas.openxmlformats.org/officeDocument/2006/relationships/tags" Target="../tags/tag187.xml"/><Relationship Id="rId5" Type="http://schemas.openxmlformats.org/officeDocument/2006/relationships/tags" Target="../tags/tag186.xml"/><Relationship Id="rId10" Type="http://schemas.openxmlformats.org/officeDocument/2006/relationships/image" Target="../media/image6.emf"/><Relationship Id="rId4" Type="http://schemas.openxmlformats.org/officeDocument/2006/relationships/tags" Target="../tags/tag185.xml"/><Relationship Id="rId9" Type="http://schemas.openxmlformats.org/officeDocument/2006/relationships/oleObject" Target="../embeddings/oleObject30.bin"/></Relationships>
</file>

<file path=ppt/slideLayouts/_rels/slideLayout129.xml.rels><?xml version="1.0" encoding="UTF-8" standalone="yes"?>
<Relationships xmlns="http://schemas.openxmlformats.org/package/2006/relationships"><Relationship Id="rId8" Type="http://schemas.openxmlformats.org/officeDocument/2006/relationships/tags" Target="../tags/tag195.xml"/><Relationship Id="rId3" Type="http://schemas.openxmlformats.org/officeDocument/2006/relationships/tags" Target="../tags/tag190.xml"/><Relationship Id="rId7" Type="http://schemas.openxmlformats.org/officeDocument/2006/relationships/tags" Target="../tags/tag194.xml"/><Relationship Id="rId12" Type="http://schemas.openxmlformats.org/officeDocument/2006/relationships/image" Target="../media/image5.png"/><Relationship Id="rId2" Type="http://schemas.openxmlformats.org/officeDocument/2006/relationships/tags" Target="../tags/tag189.xml"/><Relationship Id="rId1" Type="http://schemas.openxmlformats.org/officeDocument/2006/relationships/vmlDrawing" Target="../drawings/vmlDrawing31.vml"/><Relationship Id="rId6" Type="http://schemas.openxmlformats.org/officeDocument/2006/relationships/tags" Target="../tags/tag193.xml"/><Relationship Id="rId11" Type="http://schemas.openxmlformats.org/officeDocument/2006/relationships/image" Target="../media/image4.emf"/><Relationship Id="rId5" Type="http://schemas.openxmlformats.org/officeDocument/2006/relationships/tags" Target="../tags/tag192.xml"/><Relationship Id="rId10" Type="http://schemas.openxmlformats.org/officeDocument/2006/relationships/oleObject" Target="../embeddings/oleObject31.bin"/><Relationship Id="rId4" Type="http://schemas.openxmlformats.org/officeDocument/2006/relationships/tags" Target="../tags/tag191.xml"/><Relationship Id="rId9" Type="http://schemas.openxmlformats.org/officeDocument/2006/relationships/slideMaster" Target="../slideMasters/slideMaster7.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8" Type="http://schemas.openxmlformats.org/officeDocument/2006/relationships/tags" Target="../tags/tag202.xml"/><Relationship Id="rId3" Type="http://schemas.openxmlformats.org/officeDocument/2006/relationships/tags" Target="../tags/tag197.xml"/><Relationship Id="rId7" Type="http://schemas.openxmlformats.org/officeDocument/2006/relationships/tags" Target="../tags/tag201.xml"/><Relationship Id="rId12" Type="http://schemas.openxmlformats.org/officeDocument/2006/relationships/image" Target="../media/image5.png"/><Relationship Id="rId2" Type="http://schemas.openxmlformats.org/officeDocument/2006/relationships/tags" Target="../tags/tag196.xml"/><Relationship Id="rId1" Type="http://schemas.openxmlformats.org/officeDocument/2006/relationships/vmlDrawing" Target="../drawings/vmlDrawing32.vml"/><Relationship Id="rId6" Type="http://schemas.openxmlformats.org/officeDocument/2006/relationships/tags" Target="../tags/tag200.xml"/><Relationship Id="rId11" Type="http://schemas.openxmlformats.org/officeDocument/2006/relationships/image" Target="../media/image4.emf"/><Relationship Id="rId5" Type="http://schemas.openxmlformats.org/officeDocument/2006/relationships/tags" Target="../tags/tag199.xml"/><Relationship Id="rId10" Type="http://schemas.openxmlformats.org/officeDocument/2006/relationships/oleObject" Target="../embeddings/oleObject32.bin"/><Relationship Id="rId4" Type="http://schemas.openxmlformats.org/officeDocument/2006/relationships/tags" Target="../tags/tag198.xml"/><Relationship Id="rId9" Type="http://schemas.openxmlformats.org/officeDocument/2006/relationships/slideMaster" Target="../slideMasters/slideMaster7.xml"/></Relationships>
</file>

<file path=ppt/slideLayouts/_rels/slideLayout131.xml.rels><?xml version="1.0" encoding="UTF-8" standalone="yes"?>
<Relationships xmlns="http://schemas.openxmlformats.org/package/2006/relationships"><Relationship Id="rId8" Type="http://schemas.openxmlformats.org/officeDocument/2006/relationships/tags" Target="../tags/tag209.xml"/><Relationship Id="rId3" Type="http://schemas.openxmlformats.org/officeDocument/2006/relationships/tags" Target="../tags/tag204.xml"/><Relationship Id="rId7" Type="http://schemas.openxmlformats.org/officeDocument/2006/relationships/tags" Target="../tags/tag208.xml"/><Relationship Id="rId12" Type="http://schemas.openxmlformats.org/officeDocument/2006/relationships/image" Target="../media/image5.png"/><Relationship Id="rId2" Type="http://schemas.openxmlformats.org/officeDocument/2006/relationships/tags" Target="../tags/tag203.xml"/><Relationship Id="rId1" Type="http://schemas.openxmlformats.org/officeDocument/2006/relationships/vmlDrawing" Target="../drawings/vmlDrawing33.vml"/><Relationship Id="rId6" Type="http://schemas.openxmlformats.org/officeDocument/2006/relationships/tags" Target="../tags/tag207.xml"/><Relationship Id="rId11" Type="http://schemas.openxmlformats.org/officeDocument/2006/relationships/image" Target="../media/image4.emf"/><Relationship Id="rId5" Type="http://schemas.openxmlformats.org/officeDocument/2006/relationships/tags" Target="../tags/tag206.xml"/><Relationship Id="rId10" Type="http://schemas.openxmlformats.org/officeDocument/2006/relationships/oleObject" Target="../embeddings/oleObject33.bin"/><Relationship Id="rId4" Type="http://schemas.openxmlformats.org/officeDocument/2006/relationships/tags" Target="../tags/tag205.xml"/><Relationship Id="rId9" Type="http://schemas.openxmlformats.org/officeDocument/2006/relationships/slideMaster" Target="../slideMasters/slideMaster7.xml"/></Relationships>
</file>

<file path=ppt/slideLayouts/_rels/slideLayout132.xml.rels><?xml version="1.0" encoding="UTF-8" standalone="yes"?>
<Relationships xmlns="http://schemas.openxmlformats.org/package/2006/relationships"><Relationship Id="rId8" Type="http://schemas.openxmlformats.org/officeDocument/2006/relationships/tags" Target="../tags/tag216.xml"/><Relationship Id="rId3" Type="http://schemas.openxmlformats.org/officeDocument/2006/relationships/tags" Target="../tags/tag211.xml"/><Relationship Id="rId7" Type="http://schemas.openxmlformats.org/officeDocument/2006/relationships/tags" Target="../tags/tag215.xml"/><Relationship Id="rId12" Type="http://schemas.openxmlformats.org/officeDocument/2006/relationships/image" Target="../media/image5.png"/><Relationship Id="rId2" Type="http://schemas.openxmlformats.org/officeDocument/2006/relationships/tags" Target="../tags/tag210.xml"/><Relationship Id="rId1" Type="http://schemas.openxmlformats.org/officeDocument/2006/relationships/vmlDrawing" Target="../drawings/vmlDrawing34.vml"/><Relationship Id="rId6" Type="http://schemas.openxmlformats.org/officeDocument/2006/relationships/tags" Target="../tags/tag214.xml"/><Relationship Id="rId11" Type="http://schemas.openxmlformats.org/officeDocument/2006/relationships/image" Target="../media/image11.emf"/><Relationship Id="rId5" Type="http://schemas.openxmlformats.org/officeDocument/2006/relationships/tags" Target="../tags/tag213.xml"/><Relationship Id="rId10" Type="http://schemas.openxmlformats.org/officeDocument/2006/relationships/oleObject" Target="../embeddings/oleObject34.bin"/><Relationship Id="rId4" Type="http://schemas.openxmlformats.org/officeDocument/2006/relationships/tags" Target="../tags/tag212.xml"/><Relationship Id="rId9" Type="http://schemas.openxmlformats.org/officeDocument/2006/relationships/slideMaster" Target="../slideMasters/slideMaster7.xml"/></Relationships>
</file>

<file path=ppt/slideLayouts/_rels/slideLayout133.xml.rels><?xml version="1.0" encoding="UTF-8" standalone="yes"?>
<Relationships xmlns="http://schemas.openxmlformats.org/package/2006/relationships"><Relationship Id="rId8" Type="http://schemas.openxmlformats.org/officeDocument/2006/relationships/tags" Target="../tags/tag223.xml"/><Relationship Id="rId3" Type="http://schemas.openxmlformats.org/officeDocument/2006/relationships/tags" Target="../tags/tag218.xml"/><Relationship Id="rId7" Type="http://schemas.openxmlformats.org/officeDocument/2006/relationships/tags" Target="../tags/tag222.xml"/><Relationship Id="rId12" Type="http://schemas.openxmlformats.org/officeDocument/2006/relationships/image" Target="../media/image5.png"/><Relationship Id="rId2" Type="http://schemas.openxmlformats.org/officeDocument/2006/relationships/tags" Target="../tags/tag217.xml"/><Relationship Id="rId1" Type="http://schemas.openxmlformats.org/officeDocument/2006/relationships/vmlDrawing" Target="../drawings/vmlDrawing35.vml"/><Relationship Id="rId6" Type="http://schemas.openxmlformats.org/officeDocument/2006/relationships/tags" Target="../tags/tag221.xml"/><Relationship Id="rId11" Type="http://schemas.openxmlformats.org/officeDocument/2006/relationships/image" Target="../media/image4.emf"/><Relationship Id="rId5" Type="http://schemas.openxmlformats.org/officeDocument/2006/relationships/tags" Target="../tags/tag220.xml"/><Relationship Id="rId10" Type="http://schemas.openxmlformats.org/officeDocument/2006/relationships/oleObject" Target="../embeddings/oleObject35.bin"/><Relationship Id="rId4" Type="http://schemas.openxmlformats.org/officeDocument/2006/relationships/tags" Target="../tags/tag219.xml"/><Relationship Id="rId9" Type="http://schemas.openxmlformats.org/officeDocument/2006/relationships/slideMaster" Target="../slideMasters/slideMaster7.xml"/></Relationships>
</file>

<file path=ppt/slideLayouts/_rels/slideLayout134.xml.rels><?xml version="1.0" encoding="UTF-8" standalone="yes"?>
<Relationships xmlns="http://schemas.openxmlformats.org/package/2006/relationships"><Relationship Id="rId8" Type="http://schemas.openxmlformats.org/officeDocument/2006/relationships/oleObject" Target="../embeddings/oleObject36.bin"/><Relationship Id="rId3" Type="http://schemas.openxmlformats.org/officeDocument/2006/relationships/tags" Target="../tags/tag225.xml"/><Relationship Id="rId7" Type="http://schemas.openxmlformats.org/officeDocument/2006/relationships/slideMaster" Target="../slideMasters/slideMaster7.xml"/><Relationship Id="rId2" Type="http://schemas.openxmlformats.org/officeDocument/2006/relationships/tags" Target="../tags/tag224.xml"/><Relationship Id="rId1" Type="http://schemas.openxmlformats.org/officeDocument/2006/relationships/vmlDrawing" Target="../drawings/vmlDrawing36.vml"/><Relationship Id="rId6" Type="http://schemas.openxmlformats.org/officeDocument/2006/relationships/tags" Target="../tags/tag228.xml"/><Relationship Id="rId5" Type="http://schemas.openxmlformats.org/officeDocument/2006/relationships/tags" Target="../tags/tag227.xml"/><Relationship Id="rId10" Type="http://schemas.openxmlformats.org/officeDocument/2006/relationships/image" Target="../media/image5.png"/><Relationship Id="rId4" Type="http://schemas.openxmlformats.org/officeDocument/2006/relationships/tags" Target="../tags/tag226.xml"/><Relationship Id="rId9" Type="http://schemas.openxmlformats.org/officeDocument/2006/relationships/image" Target="../media/image6.emf"/></Relationships>
</file>

<file path=ppt/slideLayouts/_rels/slideLayout135.xml.rels><?xml version="1.0" encoding="UTF-8" standalone="yes"?>
<Relationships xmlns="http://schemas.openxmlformats.org/package/2006/relationships"><Relationship Id="rId3" Type="http://schemas.openxmlformats.org/officeDocument/2006/relationships/tags" Target="../tags/tag230.xml"/><Relationship Id="rId7" Type="http://schemas.openxmlformats.org/officeDocument/2006/relationships/image" Target="../media/image6.emf"/><Relationship Id="rId2" Type="http://schemas.openxmlformats.org/officeDocument/2006/relationships/tags" Target="../tags/tag229.xml"/><Relationship Id="rId1" Type="http://schemas.openxmlformats.org/officeDocument/2006/relationships/vmlDrawing" Target="../drawings/vmlDrawing37.vml"/><Relationship Id="rId6" Type="http://schemas.openxmlformats.org/officeDocument/2006/relationships/oleObject" Target="../embeddings/oleObject37.bin"/><Relationship Id="rId5" Type="http://schemas.openxmlformats.org/officeDocument/2006/relationships/slideMaster" Target="../slideMasters/slideMaster7.xml"/><Relationship Id="rId4" Type="http://schemas.openxmlformats.org/officeDocument/2006/relationships/tags" Target="../tags/tag231.xml"/></Relationships>
</file>

<file path=ppt/slideLayouts/_rels/slideLayout136.xml.rels><?xml version="1.0" encoding="UTF-8" standalone="yes"?>
<Relationships xmlns="http://schemas.openxmlformats.org/package/2006/relationships"><Relationship Id="rId3" Type="http://schemas.openxmlformats.org/officeDocument/2006/relationships/tags" Target="../tags/tag233.xml"/><Relationship Id="rId7" Type="http://schemas.openxmlformats.org/officeDocument/2006/relationships/image" Target="../media/image5.png"/><Relationship Id="rId2" Type="http://schemas.openxmlformats.org/officeDocument/2006/relationships/tags" Target="../tags/tag232.xml"/><Relationship Id="rId1" Type="http://schemas.openxmlformats.org/officeDocument/2006/relationships/vmlDrawing" Target="../drawings/vmlDrawing38.vml"/><Relationship Id="rId6" Type="http://schemas.openxmlformats.org/officeDocument/2006/relationships/image" Target="../media/image6.emf"/><Relationship Id="rId5" Type="http://schemas.openxmlformats.org/officeDocument/2006/relationships/oleObject" Target="../embeddings/oleObject38.bin"/><Relationship Id="rId4" Type="http://schemas.openxmlformats.org/officeDocument/2006/relationships/slideMaster" Target="../slideMasters/slideMaster7.xml"/></Relationships>
</file>

<file path=ppt/slideLayouts/_rels/slideLayout137.xml.rels><?xml version="1.0" encoding="UTF-8" standalone="yes"?>
<Relationships xmlns="http://schemas.openxmlformats.org/package/2006/relationships"><Relationship Id="rId8" Type="http://schemas.openxmlformats.org/officeDocument/2006/relationships/slideMaster" Target="../slideMasters/slideMaster7.xml"/><Relationship Id="rId3" Type="http://schemas.openxmlformats.org/officeDocument/2006/relationships/tags" Target="../tags/tag235.xml"/><Relationship Id="rId7" Type="http://schemas.openxmlformats.org/officeDocument/2006/relationships/tags" Target="../tags/tag239.xml"/><Relationship Id="rId2" Type="http://schemas.openxmlformats.org/officeDocument/2006/relationships/tags" Target="../tags/tag234.xml"/><Relationship Id="rId1" Type="http://schemas.openxmlformats.org/officeDocument/2006/relationships/vmlDrawing" Target="../drawings/vmlDrawing39.vml"/><Relationship Id="rId6" Type="http://schemas.openxmlformats.org/officeDocument/2006/relationships/tags" Target="../tags/tag238.xml"/><Relationship Id="rId5" Type="http://schemas.openxmlformats.org/officeDocument/2006/relationships/tags" Target="../tags/tag237.xml"/><Relationship Id="rId10" Type="http://schemas.openxmlformats.org/officeDocument/2006/relationships/image" Target="../media/image4.emf"/><Relationship Id="rId4" Type="http://schemas.openxmlformats.org/officeDocument/2006/relationships/tags" Target="../tags/tag236.xml"/><Relationship Id="rId9" Type="http://schemas.openxmlformats.org/officeDocument/2006/relationships/oleObject" Target="../embeddings/oleObject39.bin"/></Relationships>
</file>

<file path=ppt/slideLayouts/_rels/slideLayout138.xml.rels><?xml version="1.0" encoding="UTF-8" standalone="yes"?>
<Relationships xmlns="http://schemas.openxmlformats.org/package/2006/relationships"><Relationship Id="rId8" Type="http://schemas.openxmlformats.org/officeDocument/2006/relationships/oleObject" Target="../embeddings/oleObject40.bin"/><Relationship Id="rId3" Type="http://schemas.openxmlformats.org/officeDocument/2006/relationships/tags" Target="../tags/tag241.xml"/><Relationship Id="rId7" Type="http://schemas.openxmlformats.org/officeDocument/2006/relationships/slideMaster" Target="../slideMasters/slideMaster7.xml"/><Relationship Id="rId2" Type="http://schemas.openxmlformats.org/officeDocument/2006/relationships/tags" Target="../tags/tag240.xml"/><Relationship Id="rId1" Type="http://schemas.openxmlformats.org/officeDocument/2006/relationships/vmlDrawing" Target="../drawings/vmlDrawing40.vml"/><Relationship Id="rId6" Type="http://schemas.openxmlformats.org/officeDocument/2006/relationships/tags" Target="../tags/tag244.xml"/><Relationship Id="rId5" Type="http://schemas.openxmlformats.org/officeDocument/2006/relationships/tags" Target="../tags/tag243.xml"/><Relationship Id="rId4" Type="http://schemas.openxmlformats.org/officeDocument/2006/relationships/tags" Target="../tags/tag242.xml"/><Relationship Id="rId9" Type="http://schemas.openxmlformats.org/officeDocument/2006/relationships/image" Target="../media/image4.emf"/></Relationships>
</file>

<file path=ppt/slideLayouts/_rels/slideLayout139.xml.rels><?xml version="1.0" encoding="UTF-8" standalone="yes"?>
<Relationships xmlns="http://schemas.openxmlformats.org/package/2006/relationships"><Relationship Id="rId8" Type="http://schemas.openxmlformats.org/officeDocument/2006/relationships/tags" Target="../tags/tag251.xml"/><Relationship Id="rId3" Type="http://schemas.openxmlformats.org/officeDocument/2006/relationships/tags" Target="../tags/tag246.xml"/><Relationship Id="rId7" Type="http://schemas.openxmlformats.org/officeDocument/2006/relationships/tags" Target="../tags/tag250.xml"/><Relationship Id="rId2" Type="http://schemas.openxmlformats.org/officeDocument/2006/relationships/tags" Target="../tags/tag245.xml"/><Relationship Id="rId1" Type="http://schemas.openxmlformats.org/officeDocument/2006/relationships/vmlDrawing" Target="../drawings/vmlDrawing41.vml"/><Relationship Id="rId6" Type="http://schemas.openxmlformats.org/officeDocument/2006/relationships/tags" Target="../tags/tag249.xml"/><Relationship Id="rId11" Type="http://schemas.openxmlformats.org/officeDocument/2006/relationships/image" Target="../media/image4.emf"/><Relationship Id="rId5" Type="http://schemas.openxmlformats.org/officeDocument/2006/relationships/tags" Target="../tags/tag248.xml"/><Relationship Id="rId10" Type="http://schemas.openxmlformats.org/officeDocument/2006/relationships/oleObject" Target="../embeddings/oleObject41.bin"/><Relationship Id="rId4" Type="http://schemas.openxmlformats.org/officeDocument/2006/relationships/tags" Target="../tags/tag247.xml"/><Relationship Id="rId9" Type="http://schemas.openxmlformats.org/officeDocument/2006/relationships/slideMaster" Target="../slideMasters/slideMaster7.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8" Type="http://schemas.openxmlformats.org/officeDocument/2006/relationships/tags" Target="../tags/tag258.xml"/><Relationship Id="rId3" Type="http://schemas.openxmlformats.org/officeDocument/2006/relationships/tags" Target="../tags/tag253.xml"/><Relationship Id="rId7" Type="http://schemas.openxmlformats.org/officeDocument/2006/relationships/tags" Target="../tags/tag257.xml"/><Relationship Id="rId12" Type="http://schemas.openxmlformats.org/officeDocument/2006/relationships/image" Target="../media/image5.png"/><Relationship Id="rId2" Type="http://schemas.openxmlformats.org/officeDocument/2006/relationships/tags" Target="../tags/tag252.xml"/><Relationship Id="rId1" Type="http://schemas.openxmlformats.org/officeDocument/2006/relationships/vmlDrawing" Target="../drawings/vmlDrawing42.vml"/><Relationship Id="rId6" Type="http://schemas.openxmlformats.org/officeDocument/2006/relationships/tags" Target="../tags/tag256.xml"/><Relationship Id="rId11" Type="http://schemas.openxmlformats.org/officeDocument/2006/relationships/image" Target="../media/image11.emf"/><Relationship Id="rId5" Type="http://schemas.openxmlformats.org/officeDocument/2006/relationships/tags" Target="../tags/tag255.xml"/><Relationship Id="rId10" Type="http://schemas.openxmlformats.org/officeDocument/2006/relationships/oleObject" Target="../embeddings/oleObject42.bin"/><Relationship Id="rId4" Type="http://schemas.openxmlformats.org/officeDocument/2006/relationships/tags" Target="../tags/tag254.xml"/><Relationship Id="rId9" Type="http://schemas.openxmlformats.org/officeDocument/2006/relationships/slideMaster" Target="../slideMasters/slideMaster7.xml"/></Relationships>
</file>

<file path=ppt/slideLayouts/_rels/slideLayout141.xml.rels><?xml version="1.0" encoding="UTF-8" standalone="yes"?>
<Relationships xmlns="http://schemas.openxmlformats.org/package/2006/relationships"><Relationship Id="rId8" Type="http://schemas.openxmlformats.org/officeDocument/2006/relationships/tags" Target="../tags/tag265.xml"/><Relationship Id="rId3" Type="http://schemas.openxmlformats.org/officeDocument/2006/relationships/tags" Target="../tags/tag260.xml"/><Relationship Id="rId7" Type="http://schemas.openxmlformats.org/officeDocument/2006/relationships/tags" Target="../tags/tag264.xml"/><Relationship Id="rId2" Type="http://schemas.openxmlformats.org/officeDocument/2006/relationships/tags" Target="../tags/tag259.xml"/><Relationship Id="rId1" Type="http://schemas.openxmlformats.org/officeDocument/2006/relationships/vmlDrawing" Target="../drawings/vmlDrawing43.vml"/><Relationship Id="rId6" Type="http://schemas.openxmlformats.org/officeDocument/2006/relationships/tags" Target="../tags/tag263.xml"/><Relationship Id="rId11" Type="http://schemas.openxmlformats.org/officeDocument/2006/relationships/image" Target="../media/image4.emf"/><Relationship Id="rId5" Type="http://schemas.openxmlformats.org/officeDocument/2006/relationships/tags" Target="../tags/tag262.xml"/><Relationship Id="rId10" Type="http://schemas.openxmlformats.org/officeDocument/2006/relationships/oleObject" Target="../embeddings/oleObject43.bin"/><Relationship Id="rId4" Type="http://schemas.openxmlformats.org/officeDocument/2006/relationships/tags" Target="../tags/tag261.xml"/><Relationship Id="rId9" Type="http://schemas.openxmlformats.org/officeDocument/2006/relationships/slideMaster" Target="../slideMasters/slideMaster7.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pic>
        <p:nvPicPr>
          <p:cNvPr id="4" name="Picture 6">
            <a:extLst>
              <a:ext uri="{FF2B5EF4-FFF2-40B4-BE49-F238E27FC236}">
                <a16:creationId xmlns:a16="http://schemas.microsoft.com/office/drawing/2014/main" id="{791CA23A-FAB1-B115-F412-EF9F2286AA3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621985" y="1687319"/>
            <a:ext cx="4400939" cy="1195971"/>
          </a:xfrm>
        </p:spPr>
        <p:txBody>
          <a:bodyPr anchor="b">
            <a:noAutofit/>
          </a:bodyPr>
          <a:lstStyle>
            <a:lvl1pPr algn="l">
              <a:defRPr sz="4050">
                <a:solidFill>
                  <a:schemeClr val="bg1"/>
                </a:solidFill>
                <a:latin typeface="Franklin Gothic Demi Cond" panose="020B0706030402020204" pitchFamily="34" charset="0"/>
              </a:defRPr>
            </a:lvl1pPr>
          </a:lstStyle>
          <a:p>
            <a:r>
              <a:rPr lang="en-US"/>
              <a:t>Click to edit Master title style</a:t>
            </a:r>
          </a:p>
        </p:txBody>
      </p:sp>
      <p:sp>
        <p:nvSpPr>
          <p:cNvPr id="3" name="Subtitle 2"/>
          <p:cNvSpPr>
            <a:spLocks noGrp="1"/>
          </p:cNvSpPr>
          <p:nvPr>
            <p:ph type="subTitle" idx="1"/>
          </p:nvPr>
        </p:nvSpPr>
        <p:spPr>
          <a:xfrm>
            <a:off x="621985" y="2892621"/>
            <a:ext cx="4400939" cy="1024715"/>
          </a:xfrm>
        </p:spPr>
        <p:txBody>
          <a:bodyPr>
            <a:normAutofit/>
          </a:bodyPr>
          <a:lstStyle>
            <a:lvl1pPr marL="0" indent="0" algn="l">
              <a:buNone/>
              <a:defRPr sz="2100">
                <a:solidFill>
                  <a:schemeClr val="bg1"/>
                </a:solidFill>
                <a:latin typeface="Franklin Gothic Book" panose="020B0503020102020204" pitchFamily="34" charset="0"/>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spTree>
    <p:extLst>
      <p:ext uri="{BB962C8B-B14F-4D97-AF65-F5344CB8AC3E}">
        <p14:creationId xmlns:p14="http://schemas.microsoft.com/office/powerpoint/2010/main" val="397250137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2FC3E2F-25B5-A97C-E50E-A329F6C01679}"/>
              </a:ext>
            </a:extLst>
          </p:cNvPr>
          <p:cNvSpPr>
            <a:spLocks noGrp="1"/>
          </p:cNvSpPr>
          <p:nvPr>
            <p:ph type="dt" sz="half" idx="10"/>
          </p:nvPr>
        </p:nvSpPr>
        <p:spPr/>
        <p:txBody>
          <a:bodyPr/>
          <a:lstStyle>
            <a:lvl1pPr>
              <a:defRPr/>
            </a:lvl1pPr>
          </a:lstStyle>
          <a:p>
            <a:pPr>
              <a:defRPr/>
            </a:pPr>
            <a:r>
              <a:rPr lang="en-US"/>
              <a:t>May 5 and 6, 2020</a:t>
            </a:r>
          </a:p>
        </p:txBody>
      </p:sp>
      <p:sp>
        <p:nvSpPr>
          <p:cNvPr id="5" name="Footer Placeholder 4">
            <a:extLst>
              <a:ext uri="{FF2B5EF4-FFF2-40B4-BE49-F238E27FC236}">
                <a16:creationId xmlns:a16="http://schemas.microsoft.com/office/drawing/2014/main" id="{99D99A77-B7E0-1CE4-57C1-45AFC19EE812}"/>
              </a:ext>
            </a:extLst>
          </p:cNvPr>
          <p:cNvSpPr>
            <a:spLocks noGrp="1"/>
          </p:cNvSpPr>
          <p:nvPr>
            <p:ph type="ftr" sz="quarter" idx="11"/>
          </p:nvPr>
        </p:nvSpPr>
        <p:spPr/>
        <p:txBody>
          <a:bodyPr/>
          <a:lstStyle>
            <a:lvl1pPr>
              <a:defRPr/>
            </a:lvl1pPr>
          </a:lstStyle>
          <a:p>
            <a:pPr>
              <a:defRPr/>
            </a:pPr>
            <a:r>
              <a:rPr lang="en-US"/>
              <a:t>FY 2022 Strategy Session  [Name of Campaign] Campaign</a:t>
            </a:r>
          </a:p>
        </p:txBody>
      </p:sp>
      <p:sp>
        <p:nvSpPr>
          <p:cNvPr id="6" name="Slide Number Placeholder 5">
            <a:extLst>
              <a:ext uri="{FF2B5EF4-FFF2-40B4-BE49-F238E27FC236}">
                <a16:creationId xmlns:a16="http://schemas.microsoft.com/office/drawing/2014/main" id="{D2F9E88D-5098-0461-8D1C-9DBB9F19044D}"/>
              </a:ext>
            </a:extLst>
          </p:cNvPr>
          <p:cNvSpPr>
            <a:spLocks noGrp="1"/>
          </p:cNvSpPr>
          <p:nvPr>
            <p:ph type="sldNum" sz="quarter" idx="12"/>
          </p:nvPr>
        </p:nvSpPr>
        <p:spPr/>
        <p:txBody>
          <a:bodyPr/>
          <a:lstStyle>
            <a:lvl1pPr>
              <a:defRPr/>
            </a:lvl1pPr>
          </a:lstStyle>
          <a:p>
            <a:pPr>
              <a:defRPr/>
            </a:pPr>
            <a:fld id="{70395431-29E1-4474-AB32-D1E9A09C6B5A}" type="slidenum">
              <a:rPr lang="en-US"/>
              <a:pPr>
                <a:defRPr/>
              </a:pPr>
              <a:t>‹#›</a:t>
            </a:fld>
            <a:endParaRPr lang="en-US"/>
          </a:p>
        </p:txBody>
      </p:sp>
    </p:spTree>
    <p:extLst>
      <p:ext uri="{BB962C8B-B14F-4D97-AF65-F5344CB8AC3E}">
        <p14:creationId xmlns:p14="http://schemas.microsoft.com/office/powerpoint/2010/main" val="3418228647"/>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2"/>
            </p:custDataLst>
            <p:extLst>
              <p:ext uri="{D42A27DB-BD31-4B8C-83A1-F6EECF244321}">
                <p14:modId xmlns:p14="http://schemas.microsoft.com/office/powerpoint/2010/main" val="2304626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8545" name="think-cell Slide" r:id="rId8" imgW="592" imgH="591" progId="TCLayout.ActiveDocument.1">
                  <p:embed/>
                </p:oleObj>
              </mc:Choice>
              <mc:Fallback>
                <p:oleObj name="think-cell Slide" r:id="rId8"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pic>
        <p:nvPicPr>
          <p:cNvPr id="6" name="Picture 5">
            <a:extLst>
              <a:ext uri="{FF2B5EF4-FFF2-40B4-BE49-F238E27FC236}">
                <a16:creationId xmlns:a16="http://schemas.microsoft.com/office/drawing/2014/main" id="{55E1DA73-0288-420C-963E-77565D03A29B}"/>
              </a:ext>
            </a:extLst>
          </p:cNvPr>
          <p:cNvPicPr>
            <a:picLocks noChangeAspect="1"/>
          </p:cNvPicPr>
          <p:nvPr userDrawn="1"/>
        </p:nvPicPr>
        <p:blipFill>
          <a:blip r:embed="rId10"/>
          <a:stretch>
            <a:fillRect/>
          </a:stretch>
        </p:blipFill>
        <p:spPr>
          <a:xfrm>
            <a:off x="0" y="0"/>
            <a:ext cx="12192000" cy="6858000"/>
          </a:xfrm>
          <a:prstGeom prst="rect">
            <a:avLst/>
          </a:prstGeom>
        </p:spPr>
      </p:pic>
      <p:sp>
        <p:nvSpPr>
          <p:cNvPr id="2" name="Rectangle 1" hidden="1">
            <a:extLst>
              <a:ext uri="{FF2B5EF4-FFF2-40B4-BE49-F238E27FC236}">
                <a16:creationId xmlns:a16="http://schemas.microsoft.com/office/drawing/2014/main" id="{CC42428D-965F-410A-AAB0-2F4E028AF07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4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9" name="Freeform: Shape 8">
            <a:extLst>
              <a:ext uri="{FF2B5EF4-FFF2-40B4-BE49-F238E27FC236}">
                <a16:creationId xmlns:a16="http://schemas.microsoft.com/office/drawing/2014/main" id="{ECAA7C47-1951-40C3-A10D-F7AB1FD94C79}"/>
              </a:ext>
            </a:extLst>
          </p:cNvPr>
          <p:cNvSpPr>
            <a:spLocks/>
          </p:cNvSpPr>
          <p:nvPr userDrawn="1"/>
        </p:nvSpPr>
        <p:spPr bwMode="ltGray">
          <a:xfrm>
            <a:off x="121447" y="825902"/>
            <a:ext cx="852614" cy="105559"/>
          </a:xfrm>
          <a:custGeom>
            <a:avLst/>
            <a:gdLst>
              <a:gd name="connsiteX0" fmla="*/ 0 w 11949113"/>
              <a:gd name="connsiteY0" fmla="*/ 0 h 88902"/>
              <a:gd name="connsiteX1" fmla="*/ 11949113 w 11949113"/>
              <a:gd name="connsiteY1" fmla="*/ 0 h 88902"/>
              <a:gd name="connsiteX2" fmla="*/ 11949113 w 11949113"/>
              <a:gd name="connsiteY2" fmla="*/ 88902 h 88902"/>
              <a:gd name="connsiteX3" fmla="*/ 0 w 11949113"/>
              <a:gd name="connsiteY3" fmla="*/ 88902 h 88902"/>
              <a:gd name="connsiteX4" fmla="*/ 0 w 11949113"/>
              <a:gd name="connsiteY4" fmla="*/ 0 h 889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49113" h="88902">
                <a:moveTo>
                  <a:pt x="0" y="0"/>
                </a:moveTo>
                <a:lnTo>
                  <a:pt x="11949113" y="0"/>
                </a:lnTo>
                <a:lnTo>
                  <a:pt x="11949113" y="88902"/>
                </a:lnTo>
                <a:lnTo>
                  <a:pt x="0" y="88902"/>
                </a:lnTo>
                <a:lnTo>
                  <a:pt x="0" y="0"/>
                </a:ln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err="1">
              <a:solidFill>
                <a:schemeClr val="tx1"/>
              </a:solidFill>
            </a:endParaRPr>
          </a:p>
        </p:txBody>
      </p:sp>
      <p:sp>
        <p:nvSpPr>
          <p:cNvPr id="10" name="Freeform: Shape 9">
            <a:extLst>
              <a:ext uri="{FF2B5EF4-FFF2-40B4-BE49-F238E27FC236}">
                <a16:creationId xmlns:a16="http://schemas.microsoft.com/office/drawing/2014/main" id="{5BAF4C89-23CA-4408-8100-78F60AF6DB7E}"/>
              </a:ext>
            </a:extLst>
          </p:cNvPr>
          <p:cNvSpPr>
            <a:spLocks/>
          </p:cNvSpPr>
          <p:nvPr userDrawn="1"/>
        </p:nvSpPr>
        <p:spPr bwMode="ltGray">
          <a:xfrm>
            <a:off x="4378345" y="2936248"/>
            <a:ext cx="7813649" cy="2421393"/>
          </a:xfrm>
          <a:custGeom>
            <a:avLst/>
            <a:gdLst>
              <a:gd name="connsiteX0" fmla="*/ 7692210 w 7692210"/>
              <a:gd name="connsiteY0" fmla="*/ 0 h 2421393"/>
              <a:gd name="connsiteX1" fmla="*/ 7692210 w 7692210"/>
              <a:gd name="connsiteY1" fmla="*/ 48255 h 2421393"/>
              <a:gd name="connsiteX2" fmla="*/ 7692210 w 7692210"/>
              <a:gd name="connsiteY2" fmla="*/ 88902 h 2421393"/>
              <a:gd name="connsiteX3" fmla="*/ 0 w 7692210"/>
              <a:gd name="connsiteY3" fmla="*/ 2421393 h 2421393"/>
              <a:gd name="connsiteX4" fmla="*/ 0 w 7692210"/>
              <a:gd name="connsiteY4" fmla="*/ 2332491 h 2421393"/>
              <a:gd name="connsiteX5" fmla="*/ 7692210 w 7692210"/>
              <a:gd name="connsiteY5" fmla="*/ 0 h 24213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210" h="2421393">
                <a:moveTo>
                  <a:pt x="7692210" y="0"/>
                </a:moveTo>
                <a:lnTo>
                  <a:pt x="7692210" y="48255"/>
                </a:lnTo>
                <a:lnTo>
                  <a:pt x="7692210" y="88902"/>
                </a:lnTo>
                <a:lnTo>
                  <a:pt x="0" y="2421393"/>
                </a:lnTo>
                <a:lnTo>
                  <a:pt x="0" y="2332491"/>
                </a:lnTo>
                <a:lnTo>
                  <a:pt x="7692210" y="0"/>
                </a:ln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err="1">
              <a:solidFill>
                <a:schemeClr val="tx1"/>
              </a:solidFill>
            </a:endParaRPr>
          </a:p>
        </p:txBody>
      </p:sp>
      <p:sp>
        <p:nvSpPr>
          <p:cNvPr id="11" name="Freeform: Shape 10">
            <a:extLst>
              <a:ext uri="{FF2B5EF4-FFF2-40B4-BE49-F238E27FC236}">
                <a16:creationId xmlns:a16="http://schemas.microsoft.com/office/drawing/2014/main" id="{403E8A91-EEB6-455D-8263-2FB1C13AAD3A}"/>
              </a:ext>
            </a:extLst>
          </p:cNvPr>
          <p:cNvSpPr>
            <a:spLocks/>
          </p:cNvSpPr>
          <p:nvPr userDrawn="1"/>
        </p:nvSpPr>
        <p:spPr bwMode="ltGray">
          <a:xfrm>
            <a:off x="1" y="6301013"/>
            <a:ext cx="974060" cy="396927"/>
          </a:xfrm>
          <a:custGeom>
            <a:avLst/>
            <a:gdLst>
              <a:gd name="connsiteX0" fmla="*/ 852616 w 852616"/>
              <a:gd name="connsiteY0" fmla="*/ 0 h 347439"/>
              <a:gd name="connsiteX1" fmla="*/ 852616 w 852616"/>
              <a:gd name="connsiteY1" fmla="*/ 88902 h 347439"/>
              <a:gd name="connsiteX2" fmla="*/ 0 w 852616"/>
              <a:gd name="connsiteY2" fmla="*/ 347439 h 347439"/>
              <a:gd name="connsiteX3" fmla="*/ 0 w 852616"/>
              <a:gd name="connsiteY3" fmla="*/ 258537 h 347439"/>
              <a:gd name="connsiteX4" fmla="*/ 852616 w 852616"/>
              <a:gd name="connsiteY4" fmla="*/ 0 h 3474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2616" h="347439">
                <a:moveTo>
                  <a:pt x="852616" y="0"/>
                </a:moveTo>
                <a:lnTo>
                  <a:pt x="852616" y="88902"/>
                </a:lnTo>
                <a:lnTo>
                  <a:pt x="0" y="347439"/>
                </a:lnTo>
                <a:lnTo>
                  <a:pt x="0" y="258537"/>
                </a:lnTo>
                <a:lnTo>
                  <a:pt x="852616" y="0"/>
                </a:ln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err="1">
              <a:solidFill>
                <a:schemeClr val="bg1"/>
              </a:solidFill>
            </a:endParaRPr>
          </a:p>
        </p:txBody>
      </p:sp>
      <p:sp>
        <p:nvSpPr>
          <p:cNvPr id="12" name="Freeform: Shape 11">
            <a:extLst>
              <a:ext uri="{FF2B5EF4-FFF2-40B4-BE49-F238E27FC236}">
                <a16:creationId xmlns:a16="http://schemas.microsoft.com/office/drawing/2014/main" id="{A85C89D5-CB77-4649-82F6-C256C0C58B84}"/>
              </a:ext>
            </a:extLst>
          </p:cNvPr>
          <p:cNvSpPr>
            <a:spLocks/>
          </p:cNvSpPr>
          <p:nvPr userDrawn="1"/>
        </p:nvSpPr>
        <p:spPr bwMode="ltGray">
          <a:xfrm>
            <a:off x="974062" y="993775"/>
            <a:ext cx="3404286" cy="5864225"/>
          </a:xfrm>
          <a:custGeom>
            <a:avLst/>
            <a:gdLst>
              <a:gd name="connsiteX0" fmla="*/ 0 w 11949113"/>
              <a:gd name="connsiteY0" fmla="*/ 0 h 88902"/>
              <a:gd name="connsiteX1" fmla="*/ 11949113 w 11949113"/>
              <a:gd name="connsiteY1" fmla="*/ 0 h 88902"/>
              <a:gd name="connsiteX2" fmla="*/ 11949113 w 11949113"/>
              <a:gd name="connsiteY2" fmla="*/ 88902 h 88902"/>
              <a:gd name="connsiteX3" fmla="*/ 0 w 11949113"/>
              <a:gd name="connsiteY3" fmla="*/ 88902 h 88902"/>
              <a:gd name="connsiteX4" fmla="*/ 0 w 11949113"/>
              <a:gd name="connsiteY4" fmla="*/ 0 h 889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49113" h="88902">
                <a:moveTo>
                  <a:pt x="0" y="0"/>
                </a:moveTo>
                <a:lnTo>
                  <a:pt x="11949113" y="0"/>
                </a:lnTo>
                <a:lnTo>
                  <a:pt x="11949113" y="88902"/>
                </a:lnTo>
                <a:lnTo>
                  <a:pt x="0" y="88902"/>
                </a:lnTo>
                <a:lnTo>
                  <a:pt x="0" y="0"/>
                </a:lnTo>
                <a:close/>
              </a:path>
            </a:pathLst>
          </a:custGeom>
          <a:solidFill>
            <a:schemeClr val="accent1">
              <a:alpha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err="1">
              <a:solidFill>
                <a:schemeClr val="tx1"/>
              </a:solidFill>
            </a:endParaRPr>
          </a:p>
        </p:txBody>
      </p:sp>
      <p:sp>
        <p:nvSpPr>
          <p:cNvPr id="16" name="Documenttype">
            <a:extLst>
              <a:ext uri="{FF2B5EF4-FFF2-40B4-BE49-F238E27FC236}">
                <a16:creationId xmlns:a16="http://schemas.microsoft.com/office/drawing/2014/main" id="{0CADA7EB-5C2E-4AD4-A32E-534A28817C8A}"/>
              </a:ext>
            </a:extLst>
          </p:cNvPr>
          <p:cNvSpPr>
            <a:spLocks noGrp="1"/>
          </p:cNvSpPr>
          <p:nvPr>
            <p:ph type="body" sz="quarter" idx="13" hasCustomPrompt="1"/>
            <p:custDataLst>
              <p:tags r:id="rId4"/>
            </p:custDataLst>
          </p:nvPr>
        </p:nvSpPr>
        <p:spPr>
          <a:xfrm>
            <a:off x="1167383" y="6210300"/>
            <a:ext cx="3014219" cy="215444"/>
          </a:xfrm>
          <a:prstGeom prst="rect">
            <a:avLst/>
          </a:prstGeom>
        </p:spPr>
        <p:txBody>
          <a:bodyPr wrap="square">
            <a:spAutoFit/>
          </a:bodyPr>
          <a:lstStyle>
            <a:lvl1pPr rtl="0">
              <a:buNone/>
              <a:defRPr sz="1400">
                <a:solidFill>
                  <a:schemeClr val="bg1"/>
                </a:solidFill>
              </a:defRPr>
            </a:lvl1pPr>
            <a:lvl2pPr marL="115888" indent="0">
              <a:buNone/>
              <a:defRPr>
                <a:solidFill>
                  <a:schemeClr val="bg1"/>
                </a:solidFill>
              </a:defRPr>
            </a:lvl2pPr>
            <a:lvl3pPr marL="466344" indent="0">
              <a:buNone/>
              <a:defRPr>
                <a:solidFill>
                  <a:schemeClr val="bg1"/>
                </a:solidFill>
              </a:defRPr>
            </a:lvl3pPr>
            <a:lvl4pPr marL="813816" indent="0">
              <a:buNone/>
              <a:defRPr>
                <a:solidFill>
                  <a:schemeClr val="bg1"/>
                </a:solidFill>
              </a:defRPr>
            </a:lvl4pPr>
            <a:lvl5pPr marL="1161288" indent="0">
              <a:buNone/>
              <a:defRPr>
                <a:solidFill>
                  <a:schemeClr val="bg1"/>
                </a:solidFill>
              </a:defRPr>
            </a:lvl5pPr>
          </a:lstStyle>
          <a:p>
            <a:pPr lvl="0"/>
            <a:r>
              <a:rPr lang="en-US"/>
              <a:t>Edit date or title/role</a:t>
            </a: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5"/>
            </p:custDataLst>
          </p:nvPr>
        </p:nvSpPr>
        <p:spPr>
          <a:xfrm>
            <a:off x="1168524" y="4576466"/>
            <a:ext cx="3014219" cy="615553"/>
          </a:xfrm>
          <a:prstGeom prst="rect">
            <a:avLst/>
          </a:prstGeom>
        </p:spPr>
        <p:txBody>
          <a:bodyPr wrap="square">
            <a:spAutoFit/>
          </a:bodyPr>
          <a:lstStyle>
            <a:lvl1pPr marL="0" indent="0" algn="l" rtl="0">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0" name="Title">
            <a:extLst>
              <a:ext uri="{FF2B5EF4-FFF2-40B4-BE49-F238E27FC236}">
                <a16:creationId xmlns:a16="http://schemas.microsoft.com/office/drawing/2014/main" id="{AA4E4E19-7239-46DA-AE24-CE9556C9BE7D}"/>
              </a:ext>
            </a:extLst>
          </p:cNvPr>
          <p:cNvSpPr>
            <a:spLocks noGrp="1"/>
          </p:cNvSpPr>
          <p:nvPr>
            <p:ph type="title"/>
            <p:custDataLst>
              <p:tags r:id="rId6"/>
            </p:custDataLst>
          </p:nvPr>
        </p:nvSpPr>
        <p:spPr>
          <a:xfrm>
            <a:off x="1168524" y="3745571"/>
            <a:ext cx="3014219" cy="677108"/>
          </a:xfrm>
          <a:prstGeom prst="rect">
            <a:avLst/>
          </a:prstGeom>
        </p:spPr>
        <p:txBody>
          <a:bodyPr vert="horz" anchor="b">
            <a:normAutofit/>
          </a:bodyPr>
          <a:lstStyle>
            <a:lvl1pPr rtl="0">
              <a:defRPr sz="4400" baseline="0">
                <a:ln w="6350" cap="flat">
                  <a:noFill/>
                  <a:miter lim="800000"/>
                </a:ln>
                <a:solidFill>
                  <a:schemeClr val="bg1"/>
                </a:solidFill>
              </a:defRPr>
            </a:lvl1pPr>
          </a:lstStyle>
          <a:p>
            <a:r>
              <a:rPr lang="en-US"/>
              <a:t>Click to edit Master title style</a:t>
            </a:r>
          </a:p>
        </p:txBody>
      </p:sp>
      <p:pic>
        <p:nvPicPr>
          <p:cNvPr id="19" name="Picture 18">
            <a:extLst>
              <a:ext uri="{FF2B5EF4-FFF2-40B4-BE49-F238E27FC236}">
                <a16:creationId xmlns:a16="http://schemas.microsoft.com/office/drawing/2014/main" id="{27D68A90-ABD6-4EFA-8E8A-79F6739E8198}"/>
              </a:ext>
            </a:extLst>
          </p:cNvPr>
          <p:cNvPicPr>
            <a:picLocks noChangeAspect="1"/>
          </p:cNvPicPr>
          <p:nvPr userDrawn="1"/>
        </p:nvPicPr>
        <p:blipFill>
          <a:blip r:embed="rId11"/>
          <a:stretch>
            <a:fillRect/>
          </a:stretch>
        </p:blipFill>
        <p:spPr>
          <a:xfrm>
            <a:off x="9086386" y="5932447"/>
            <a:ext cx="2548402" cy="555706"/>
          </a:xfrm>
          <a:prstGeom prst="rect">
            <a:avLst/>
          </a:prstGeom>
        </p:spPr>
      </p:pic>
      <p:sp>
        <p:nvSpPr>
          <p:cNvPr id="3" name="TextBox 2">
            <a:extLst>
              <a:ext uri="{FF2B5EF4-FFF2-40B4-BE49-F238E27FC236}">
                <a16:creationId xmlns:a16="http://schemas.microsoft.com/office/drawing/2014/main" id="{908466DB-256F-B70E-4D00-392A8CEBACA7}"/>
              </a:ext>
            </a:extLst>
          </p:cNvPr>
          <p:cNvSpPr txBox="1"/>
          <p:nvPr userDrawn="1"/>
        </p:nvSpPr>
        <p:spPr>
          <a:xfrm>
            <a:off x="4236259" y="0"/>
            <a:ext cx="7955741" cy="230832"/>
          </a:xfrm>
          <a:prstGeom prst="rect">
            <a:avLst/>
          </a:prstGeom>
          <a:noFill/>
        </p:spPr>
        <p:txBody>
          <a:bodyPr wrap="square" rtlCol="0">
            <a:spAutoFit/>
          </a:bodyPr>
          <a:lstStyle/>
          <a:p>
            <a:pPr algn="r"/>
            <a:r>
              <a:rPr lang="en-US" sz="900">
                <a:solidFill>
                  <a:srgbClr val="FF0000"/>
                </a:solidFill>
              </a:rPr>
              <a:t>DRAFT – FOR EVALUATION PURPOSES ONLY – NOT A FINAL DEPARTMENT OF ENERGY DETERMINATION – DO NOT DISTRIBUTE </a:t>
            </a:r>
          </a:p>
        </p:txBody>
      </p:sp>
    </p:spTree>
    <p:extLst>
      <p:ext uri="{BB962C8B-B14F-4D97-AF65-F5344CB8AC3E}">
        <p14:creationId xmlns:p14="http://schemas.microsoft.com/office/powerpoint/2010/main" val="4074751277"/>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preserve="1" userDrawn="1">
  <p:cSld name="1_Tit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2"/>
            </p:custDataLst>
            <p:extLst>
              <p:ext uri="{D42A27DB-BD31-4B8C-83A1-F6EECF244321}">
                <p14:modId xmlns:p14="http://schemas.microsoft.com/office/powerpoint/2010/main" val="725475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9569" name="think-cell Slide" r:id="rId8" imgW="592" imgH="591" progId="TCLayout.ActiveDocument.1">
                  <p:embed/>
                </p:oleObj>
              </mc:Choice>
              <mc:Fallback>
                <p:oleObj name="think-cell Slide" r:id="rId8"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4400" b="1" i="0" baseline="0">
              <a:solidFill>
                <a:schemeClr val="bg1"/>
              </a:solidFill>
              <a:latin typeface="Arial" panose="020B0604020202020204" pitchFamily="34" charset="0"/>
              <a:ea typeface="+mj-ea"/>
              <a:cs typeface="+mj-cs"/>
              <a:sym typeface="Arial" panose="020B0604020202020204" pitchFamily="34" charset="0"/>
            </a:endParaRPr>
          </a:p>
        </p:txBody>
      </p:sp>
      <p:pic>
        <p:nvPicPr>
          <p:cNvPr id="13" name="Picture 12">
            <a:extLst>
              <a:ext uri="{FF2B5EF4-FFF2-40B4-BE49-F238E27FC236}">
                <a16:creationId xmlns:a16="http://schemas.microsoft.com/office/drawing/2014/main" id="{0A4ECE80-78F9-4776-8D97-A318A82772DD}"/>
              </a:ext>
            </a:extLst>
          </p:cNvPr>
          <p:cNvPicPr>
            <a:picLocks noChangeAspect="1" noChangeArrowheads="1"/>
          </p:cNvPicPr>
          <p:nvPr userDrawn="1"/>
        </p:nvPicPr>
        <p:blipFill rotWithShape="1">
          <a:blip r:embed="rId10">
            <a:extLst>
              <a:ext uri="{28A0092B-C50C-407E-A947-70E740481C1C}">
                <a14:useLocalDpi xmlns:a14="http://schemas.microsoft.com/office/drawing/2010/main" val="0"/>
              </a:ext>
            </a:extLst>
          </a:blip>
          <a:srcRect l="61903" r="1088"/>
          <a:stretch/>
        </p:blipFill>
        <p:spPr bwMode="auto">
          <a:xfrm>
            <a:off x="7579553" y="3176"/>
            <a:ext cx="4612448" cy="6854824"/>
          </a:xfrm>
          <a:custGeom>
            <a:avLst/>
            <a:gdLst>
              <a:gd name="connsiteX0" fmla="*/ 3392082 w 4612448"/>
              <a:gd name="connsiteY0" fmla="*/ 0 h 6854824"/>
              <a:gd name="connsiteX1" fmla="*/ 4612448 w 4612448"/>
              <a:gd name="connsiteY1" fmla="*/ 0 h 6854824"/>
              <a:gd name="connsiteX2" fmla="*/ 4612448 w 4612448"/>
              <a:gd name="connsiteY2" fmla="*/ 1229449 h 6854824"/>
              <a:gd name="connsiteX3" fmla="*/ 929739 w 4612448"/>
              <a:gd name="connsiteY3" fmla="*/ 6854824 h 6854824"/>
              <a:gd name="connsiteX4" fmla="*/ 904006 w 4612448"/>
              <a:gd name="connsiteY4" fmla="*/ 6854824 h 6854824"/>
              <a:gd name="connsiteX5" fmla="*/ 0 w 4612448"/>
              <a:gd name="connsiteY5" fmla="*/ 5140681 h 6854824"/>
              <a:gd name="connsiteX6" fmla="*/ 5896 w 4612448"/>
              <a:gd name="connsiteY6" fmla="*/ 5142274 h 68548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612448" h="6854824">
                <a:moveTo>
                  <a:pt x="3392082" y="0"/>
                </a:moveTo>
                <a:lnTo>
                  <a:pt x="4612448" y="0"/>
                </a:lnTo>
                <a:lnTo>
                  <a:pt x="4612448" y="1229449"/>
                </a:lnTo>
                <a:lnTo>
                  <a:pt x="929739" y="6854824"/>
                </a:lnTo>
                <a:lnTo>
                  <a:pt x="904006" y="6854824"/>
                </a:lnTo>
                <a:lnTo>
                  <a:pt x="0" y="5140681"/>
                </a:lnTo>
                <a:lnTo>
                  <a:pt x="5896" y="5142274"/>
                </a:lnTo>
                <a:close/>
              </a:path>
            </a:pathLst>
          </a:custGeom>
          <a:noFill/>
          <a:extLst>
            <a:ext uri="{909E8E84-426E-40DD-AFC4-6F175D3DCCD1}">
              <a14:hiddenFill xmlns:a14="http://schemas.microsoft.com/office/drawing/2010/main">
                <a:solidFill>
                  <a:srgbClr val="FFFFFF"/>
                </a:solidFill>
              </a14:hiddenFill>
            </a:ext>
          </a:extLst>
        </p:spPr>
      </p:pic>
      <p:pic>
        <p:nvPicPr>
          <p:cNvPr id="14" name="Picture 13">
            <a:extLst>
              <a:ext uri="{FF2B5EF4-FFF2-40B4-BE49-F238E27FC236}">
                <a16:creationId xmlns:a16="http://schemas.microsoft.com/office/drawing/2014/main" id="{59CFA717-8272-4817-BE37-0C59132EE680}"/>
              </a:ext>
            </a:extLst>
          </p:cNvPr>
          <p:cNvPicPr>
            <a:picLocks noChangeAspect="1" noChangeArrowheads="1"/>
          </p:cNvPicPr>
          <p:nvPr userDrawn="1"/>
        </p:nvPicPr>
        <p:blipFill rotWithShape="1">
          <a:blip r:embed="rId10">
            <a:extLst>
              <a:ext uri="{28A0092B-C50C-407E-A947-70E740481C1C}">
                <a14:useLocalDpi xmlns:a14="http://schemas.microsoft.com/office/drawing/2010/main" val="0"/>
              </a:ext>
            </a:extLst>
          </a:blip>
          <a:srcRect l="1113" t="18088" r="1088" b="25093"/>
          <a:stretch/>
        </p:blipFill>
        <p:spPr bwMode="auto">
          <a:xfrm>
            <a:off x="3176" y="1243074"/>
            <a:ext cx="12188825" cy="3894839"/>
          </a:xfrm>
          <a:custGeom>
            <a:avLst/>
            <a:gdLst>
              <a:gd name="connsiteX0" fmla="*/ 0 w 12188825"/>
              <a:gd name="connsiteY0" fmla="*/ 0 h 3894839"/>
              <a:gd name="connsiteX1" fmla="*/ 12188825 w 12188825"/>
              <a:gd name="connsiteY1" fmla="*/ 0 h 3894839"/>
              <a:gd name="connsiteX2" fmla="*/ 12188825 w 12188825"/>
              <a:gd name="connsiteY2" fmla="*/ 3871400 h 3894839"/>
              <a:gd name="connsiteX3" fmla="*/ 12111525 w 12188825"/>
              <a:gd name="connsiteY3" fmla="*/ 3894839 h 3894839"/>
              <a:gd name="connsiteX4" fmla="*/ 0 w 12188825"/>
              <a:gd name="connsiteY4" fmla="*/ 3894839 h 38948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88825" h="3894839">
                <a:moveTo>
                  <a:pt x="0" y="0"/>
                </a:moveTo>
                <a:lnTo>
                  <a:pt x="12188825" y="0"/>
                </a:lnTo>
                <a:lnTo>
                  <a:pt x="12188825" y="3871400"/>
                </a:lnTo>
                <a:lnTo>
                  <a:pt x="12111525" y="3894839"/>
                </a:lnTo>
                <a:lnTo>
                  <a:pt x="0" y="3894839"/>
                </a:lnTo>
                <a:close/>
              </a:path>
            </a:pathLst>
          </a:custGeom>
          <a:noFill/>
          <a:extLst>
            <a:ext uri="{909E8E84-426E-40DD-AFC4-6F175D3DCCD1}">
              <a14:hiddenFill xmlns:a14="http://schemas.microsoft.com/office/drawing/2010/main">
                <a:solidFill>
                  <a:srgbClr val="FFFFFF"/>
                </a:solidFill>
              </a14:hiddenFill>
            </a:ext>
          </a:extLst>
        </p:spPr>
      </p:pic>
      <p:sp>
        <p:nvSpPr>
          <p:cNvPr id="15" name="Right Triangle 14">
            <a:extLst>
              <a:ext uri="{FF2B5EF4-FFF2-40B4-BE49-F238E27FC236}">
                <a16:creationId xmlns:a16="http://schemas.microsoft.com/office/drawing/2014/main" id="{1B3A1FEA-EA30-4EB0-8D69-64C37450EFAB}"/>
              </a:ext>
            </a:extLst>
          </p:cNvPr>
          <p:cNvSpPr/>
          <p:nvPr userDrawn="1"/>
        </p:nvSpPr>
        <p:spPr>
          <a:xfrm flipV="1">
            <a:off x="0" y="1243073"/>
            <a:ext cx="1427792" cy="2780480"/>
          </a:xfrm>
          <a:prstGeom prst="rtTriangle">
            <a:avLst/>
          </a:prstGeom>
          <a:solidFill>
            <a:schemeClr val="accent3">
              <a:alpha val="91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solidFill>
                <a:schemeClr val="tx1"/>
              </a:solidFill>
            </a:endParaRPr>
          </a:p>
        </p:txBody>
      </p:sp>
      <p:sp>
        <p:nvSpPr>
          <p:cNvPr id="17" name="Freeform: Shape 16">
            <a:extLst>
              <a:ext uri="{FF2B5EF4-FFF2-40B4-BE49-F238E27FC236}">
                <a16:creationId xmlns:a16="http://schemas.microsoft.com/office/drawing/2014/main" id="{C61DA7B5-8BFB-462E-A388-8EAD222AAA04}"/>
              </a:ext>
            </a:extLst>
          </p:cNvPr>
          <p:cNvSpPr/>
          <p:nvPr userDrawn="1"/>
        </p:nvSpPr>
        <p:spPr>
          <a:xfrm>
            <a:off x="8501885" y="5137912"/>
            <a:ext cx="3690115" cy="1741856"/>
          </a:xfrm>
          <a:custGeom>
            <a:avLst/>
            <a:gdLst>
              <a:gd name="connsiteX0" fmla="*/ 1110893 w 3616582"/>
              <a:gd name="connsiteY0" fmla="*/ 0 h 1702684"/>
              <a:gd name="connsiteX1" fmla="*/ 3616582 w 3616582"/>
              <a:gd name="connsiteY1" fmla="*/ 0 h 1702684"/>
              <a:gd name="connsiteX2" fmla="*/ 3616582 w 3616582"/>
              <a:gd name="connsiteY2" fmla="*/ 1702684 h 1702684"/>
              <a:gd name="connsiteX3" fmla="*/ 0 w 3616582"/>
              <a:gd name="connsiteY3" fmla="*/ 1702684 h 1702684"/>
              <a:gd name="connsiteX4" fmla="*/ 0 w 3616582"/>
              <a:gd name="connsiteY4" fmla="*/ 1692465 h 17026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16582" h="1702684">
                <a:moveTo>
                  <a:pt x="1110893" y="0"/>
                </a:moveTo>
                <a:lnTo>
                  <a:pt x="3616582" y="0"/>
                </a:lnTo>
                <a:lnTo>
                  <a:pt x="3616582" y="1702684"/>
                </a:lnTo>
                <a:lnTo>
                  <a:pt x="0" y="1702684"/>
                </a:lnTo>
                <a:lnTo>
                  <a:pt x="0" y="1692465"/>
                </a:ln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err="1">
              <a:solidFill>
                <a:schemeClr val="tx1"/>
              </a:solidFill>
            </a:endParaRPr>
          </a:p>
        </p:txBody>
      </p:sp>
      <p:sp>
        <p:nvSpPr>
          <p:cNvPr id="19" name="Freeform 17">
            <a:extLst>
              <a:ext uri="{FF2B5EF4-FFF2-40B4-BE49-F238E27FC236}">
                <a16:creationId xmlns:a16="http://schemas.microsoft.com/office/drawing/2014/main" id="{5B25DF85-BB03-4821-A7DF-A526E9AA28E0}"/>
              </a:ext>
            </a:extLst>
          </p:cNvPr>
          <p:cNvSpPr/>
          <p:nvPr userDrawn="1"/>
        </p:nvSpPr>
        <p:spPr>
          <a:xfrm>
            <a:off x="7579552" y="1"/>
            <a:ext cx="4612448" cy="6879770"/>
          </a:xfrm>
          <a:custGeom>
            <a:avLst/>
            <a:gdLst>
              <a:gd name="connsiteX0" fmla="*/ 2493918 w 3391152"/>
              <a:gd name="connsiteY0" fmla="*/ 0 h 5283603"/>
              <a:gd name="connsiteX1" fmla="*/ 3391152 w 3391152"/>
              <a:gd name="connsiteY1" fmla="*/ 0 h 5283603"/>
              <a:gd name="connsiteX2" fmla="*/ 3391152 w 3391152"/>
              <a:gd name="connsiteY2" fmla="*/ 944643 h 5283603"/>
              <a:gd name="connsiteX3" fmla="*/ 713001 w 3391152"/>
              <a:gd name="connsiteY3" fmla="*/ 5194951 h 5283603"/>
              <a:gd name="connsiteX4" fmla="*/ 673082 w 3391152"/>
              <a:gd name="connsiteY4" fmla="*/ 5283603 h 5283603"/>
              <a:gd name="connsiteX5" fmla="*/ 0 w 3391152"/>
              <a:gd name="connsiteY5" fmla="*/ 3949821 h 5283603"/>
              <a:gd name="connsiteX6" fmla="*/ 4335 w 3391152"/>
              <a:gd name="connsiteY6" fmla="*/ 3951045 h 5283603"/>
              <a:gd name="connsiteX0" fmla="*/ 2493918 w 3391152"/>
              <a:gd name="connsiteY0" fmla="*/ 0 h 5283603"/>
              <a:gd name="connsiteX1" fmla="*/ 3391152 w 3391152"/>
              <a:gd name="connsiteY1" fmla="*/ 0 h 5283603"/>
              <a:gd name="connsiteX2" fmla="*/ 3391152 w 3391152"/>
              <a:gd name="connsiteY2" fmla="*/ 944643 h 5283603"/>
              <a:gd name="connsiteX3" fmla="*/ 673082 w 3391152"/>
              <a:gd name="connsiteY3" fmla="*/ 5283603 h 5283603"/>
              <a:gd name="connsiteX4" fmla="*/ 0 w 3391152"/>
              <a:gd name="connsiteY4" fmla="*/ 3949821 h 5283603"/>
              <a:gd name="connsiteX5" fmla="*/ 4335 w 3391152"/>
              <a:gd name="connsiteY5" fmla="*/ 3951045 h 5283603"/>
              <a:gd name="connsiteX6" fmla="*/ 2493918 w 3391152"/>
              <a:gd name="connsiteY6" fmla="*/ 0 h 52836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91152" h="5283603">
                <a:moveTo>
                  <a:pt x="2493918" y="0"/>
                </a:moveTo>
                <a:lnTo>
                  <a:pt x="3391152" y="0"/>
                </a:lnTo>
                <a:lnTo>
                  <a:pt x="3391152" y="944643"/>
                </a:lnTo>
                <a:lnTo>
                  <a:pt x="673082" y="5283603"/>
                </a:lnTo>
                <a:lnTo>
                  <a:pt x="0" y="3949821"/>
                </a:lnTo>
                <a:lnTo>
                  <a:pt x="4335" y="3951045"/>
                </a:lnTo>
                <a:lnTo>
                  <a:pt x="2493918" y="0"/>
                </a:lnTo>
                <a:close/>
              </a:path>
            </a:pathLst>
          </a:custGeom>
          <a:solidFill>
            <a:schemeClr val="accent2">
              <a:alpha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solidFill>
                <a:schemeClr val="tx1"/>
              </a:solidFill>
            </a:endParaRPr>
          </a:p>
        </p:txBody>
      </p:sp>
      <p:sp>
        <p:nvSpPr>
          <p:cNvPr id="21" name="Documenttype">
            <a:extLst>
              <a:ext uri="{FF2B5EF4-FFF2-40B4-BE49-F238E27FC236}">
                <a16:creationId xmlns:a16="http://schemas.microsoft.com/office/drawing/2014/main" id="{7C745320-37FF-42B3-9534-86A718277A29}"/>
              </a:ext>
            </a:extLst>
          </p:cNvPr>
          <p:cNvSpPr>
            <a:spLocks noGrp="1"/>
          </p:cNvSpPr>
          <p:nvPr>
            <p:ph type="body" sz="quarter" idx="13" hasCustomPrompt="1"/>
            <p:custDataLst>
              <p:tags r:id="rId4"/>
            </p:custDataLst>
          </p:nvPr>
        </p:nvSpPr>
        <p:spPr>
          <a:xfrm>
            <a:off x="546547" y="6543567"/>
            <a:ext cx="6908676" cy="215444"/>
          </a:xfrm>
          <a:prstGeom prst="rect">
            <a:avLst/>
          </a:prstGeom>
        </p:spPr>
        <p:txBody>
          <a:bodyPr wrap="square">
            <a:spAutoFit/>
          </a:bodyPr>
          <a:lstStyle>
            <a:lvl1pPr rtl="0">
              <a:buNone/>
              <a:defRPr sz="1400">
                <a:solidFill>
                  <a:schemeClr val="tx1"/>
                </a:solidFill>
              </a:defRPr>
            </a:lvl1pPr>
            <a:lvl2pPr marL="115888" indent="0">
              <a:buNone/>
              <a:defRPr>
                <a:solidFill>
                  <a:schemeClr val="bg1"/>
                </a:solidFill>
              </a:defRPr>
            </a:lvl2pPr>
            <a:lvl3pPr marL="466344" indent="0">
              <a:buNone/>
              <a:defRPr>
                <a:solidFill>
                  <a:schemeClr val="bg1"/>
                </a:solidFill>
              </a:defRPr>
            </a:lvl3pPr>
            <a:lvl4pPr marL="813816" indent="0">
              <a:buNone/>
              <a:defRPr>
                <a:solidFill>
                  <a:schemeClr val="bg1"/>
                </a:solidFill>
              </a:defRPr>
            </a:lvl4pPr>
            <a:lvl5pPr marL="1161288" indent="0">
              <a:buNone/>
              <a:defRPr>
                <a:solidFill>
                  <a:schemeClr val="bg1"/>
                </a:solidFill>
              </a:defRPr>
            </a:lvl5pPr>
          </a:lstStyle>
          <a:p>
            <a:pPr lvl="0"/>
            <a:r>
              <a:rPr lang="en-US"/>
              <a:t>Edit date or title/role</a:t>
            </a:r>
          </a:p>
        </p:txBody>
      </p:sp>
      <p:sp>
        <p:nvSpPr>
          <p:cNvPr id="22" name="Subtitle">
            <a:extLst>
              <a:ext uri="{FF2B5EF4-FFF2-40B4-BE49-F238E27FC236}">
                <a16:creationId xmlns:a16="http://schemas.microsoft.com/office/drawing/2014/main" id="{936DA3EB-D045-4FAD-9B66-6B75FD0170A9}"/>
              </a:ext>
            </a:extLst>
          </p:cNvPr>
          <p:cNvSpPr>
            <a:spLocks noGrp="1"/>
          </p:cNvSpPr>
          <p:nvPr>
            <p:ph type="subTitle" idx="1"/>
            <p:custDataLst>
              <p:tags r:id="rId5"/>
            </p:custDataLst>
          </p:nvPr>
        </p:nvSpPr>
        <p:spPr>
          <a:xfrm>
            <a:off x="547688" y="6148640"/>
            <a:ext cx="6908676" cy="307777"/>
          </a:xfrm>
          <a:prstGeom prst="rect">
            <a:avLst/>
          </a:prstGeom>
        </p:spPr>
        <p:txBody>
          <a:bodyPr wrap="square">
            <a:spAutoFit/>
          </a:bodyPr>
          <a:lstStyle>
            <a:lvl1pPr marL="0" indent="0" algn="l" rtl="0">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3" name="Title">
            <a:extLst>
              <a:ext uri="{FF2B5EF4-FFF2-40B4-BE49-F238E27FC236}">
                <a16:creationId xmlns:a16="http://schemas.microsoft.com/office/drawing/2014/main" id="{EF0F7737-DAAF-416F-BF2B-0F77A15BE27B}"/>
              </a:ext>
            </a:extLst>
          </p:cNvPr>
          <p:cNvSpPr>
            <a:spLocks noGrp="1"/>
          </p:cNvSpPr>
          <p:nvPr>
            <p:ph type="title"/>
            <p:custDataLst>
              <p:tags r:id="rId6"/>
            </p:custDataLst>
          </p:nvPr>
        </p:nvSpPr>
        <p:spPr>
          <a:xfrm>
            <a:off x="547688" y="5384382"/>
            <a:ext cx="6908676" cy="677108"/>
          </a:xfrm>
          <a:prstGeom prst="rect">
            <a:avLst/>
          </a:prstGeom>
        </p:spPr>
        <p:txBody>
          <a:bodyPr vert="horz" anchor="b">
            <a:normAutofit/>
          </a:bodyPr>
          <a:lstStyle>
            <a:lvl1pPr rtl="0">
              <a:defRPr sz="2800" baseline="0">
                <a:ln w="6350" cap="flat">
                  <a:noFill/>
                  <a:miter lim="800000"/>
                </a:ln>
                <a:solidFill>
                  <a:schemeClr val="accent1"/>
                </a:solidFill>
              </a:defRPr>
            </a:lvl1pPr>
          </a:lstStyle>
          <a:p>
            <a:r>
              <a:rPr lang="en-US"/>
              <a:t>Click to edit Master title style</a:t>
            </a:r>
          </a:p>
        </p:txBody>
      </p:sp>
      <p:pic>
        <p:nvPicPr>
          <p:cNvPr id="26" name="Picture 25">
            <a:extLst>
              <a:ext uri="{FF2B5EF4-FFF2-40B4-BE49-F238E27FC236}">
                <a16:creationId xmlns:a16="http://schemas.microsoft.com/office/drawing/2014/main" id="{A029A6E1-8D51-4BF3-ADC1-8F909C4956AF}"/>
              </a:ext>
            </a:extLst>
          </p:cNvPr>
          <p:cNvPicPr>
            <a:picLocks noChangeAspect="1"/>
          </p:cNvPicPr>
          <p:nvPr userDrawn="1"/>
        </p:nvPicPr>
        <p:blipFill>
          <a:blip r:embed="rId11"/>
          <a:stretch>
            <a:fillRect/>
          </a:stretch>
        </p:blipFill>
        <p:spPr>
          <a:xfrm>
            <a:off x="546547" y="377701"/>
            <a:ext cx="2548402" cy="555706"/>
          </a:xfrm>
          <a:prstGeom prst="rect">
            <a:avLst/>
          </a:prstGeom>
        </p:spPr>
      </p:pic>
      <p:sp>
        <p:nvSpPr>
          <p:cNvPr id="3" name="TextBox 2">
            <a:extLst>
              <a:ext uri="{FF2B5EF4-FFF2-40B4-BE49-F238E27FC236}">
                <a16:creationId xmlns:a16="http://schemas.microsoft.com/office/drawing/2014/main" id="{A44963BE-D5F8-DC58-BAF6-8A530C69364F}"/>
              </a:ext>
            </a:extLst>
          </p:cNvPr>
          <p:cNvSpPr txBox="1"/>
          <p:nvPr userDrawn="1"/>
        </p:nvSpPr>
        <p:spPr>
          <a:xfrm>
            <a:off x="4236259" y="0"/>
            <a:ext cx="7955741" cy="230832"/>
          </a:xfrm>
          <a:prstGeom prst="rect">
            <a:avLst/>
          </a:prstGeom>
          <a:noFill/>
        </p:spPr>
        <p:txBody>
          <a:bodyPr wrap="square" rtlCol="0">
            <a:spAutoFit/>
          </a:bodyPr>
          <a:lstStyle/>
          <a:p>
            <a:pPr algn="r"/>
            <a:r>
              <a:rPr lang="en-US" sz="900">
                <a:solidFill>
                  <a:srgbClr val="FF0000"/>
                </a:solidFill>
              </a:rPr>
              <a:t>DRAFT – FOR EVALUATION PURPOSES ONLY – NOT A FINAL DEPARTMENT OF ENERGY DETERMINATION – DO NOT DISTRIBUTE </a:t>
            </a:r>
          </a:p>
        </p:txBody>
      </p:sp>
    </p:spTree>
    <p:extLst>
      <p:ext uri="{BB962C8B-B14F-4D97-AF65-F5344CB8AC3E}">
        <p14:creationId xmlns:p14="http://schemas.microsoft.com/office/powerpoint/2010/main" val="1943615054"/>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preserve="1" userDrawn="1">
  <p:cSld name="2_Title">
    <p:bg>
      <p:bgPr>
        <a:solidFill>
          <a:schemeClr val="bg1"/>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FD9DCA25-22D7-6D33-2CE9-CD94671FEB65}"/>
              </a:ext>
            </a:extLst>
          </p:cNvPr>
          <p:cNvPicPr>
            <a:picLocks noChangeAspect="1"/>
          </p:cNvPicPr>
          <p:nvPr userDrawn="1"/>
        </p:nvPicPr>
        <p:blipFill rotWithShape="1">
          <a:blip r:embed="rId7">
            <a:alphaModFix amt="69000"/>
          </a:blip>
          <a:srcRect t="17417" b="13588"/>
          <a:stretch/>
        </p:blipFill>
        <p:spPr>
          <a:xfrm>
            <a:off x="0" y="1241168"/>
            <a:ext cx="12192000" cy="5616832"/>
          </a:xfrm>
          <a:prstGeom prst="rect">
            <a:avLst/>
          </a:prstGeom>
        </p:spPr>
      </p:pic>
      <p:sp>
        <p:nvSpPr>
          <p:cNvPr id="9" name="Rectangle 8">
            <a:extLst>
              <a:ext uri="{FF2B5EF4-FFF2-40B4-BE49-F238E27FC236}">
                <a16:creationId xmlns:a16="http://schemas.microsoft.com/office/drawing/2014/main" id="{B9940A3D-579E-0A58-9D99-6E2E9D96AE2B}"/>
              </a:ext>
            </a:extLst>
          </p:cNvPr>
          <p:cNvSpPr/>
          <p:nvPr userDrawn="1"/>
        </p:nvSpPr>
        <p:spPr>
          <a:xfrm>
            <a:off x="0" y="3899733"/>
            <a:ext cx="11064240" cy="171709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2"/>
            </p:custDataLst>
            <p:extLst>
              <p:ext uri="{D42A27DB-BD31-4B8C-83A1-F6EECF244321}">
                <p14:modId xmlns:p14="http://schemas.microsoft.com/office/powerpoint/2010/main" val="24032001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0593" name="think-cell Slide" r:id="rId8" imgW="592" imgH="591" progId="TCLayout.ActiveDocument.1">
                  <p:embed/>
                </p:oleObj>
              </mc:Choice>
              <mc:Fallback>
                <p:oleObj name="think-cell Slide" r:id="rId8"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4400" b="1" i="0" baseline="0">
              <a:solidFill>
                <a:schemeClr val="bg1"/>
              </a:solidFill>
              <a:latin typeface="Arial" panose="020B0604020202020204" pitchFamily="34" charset="0"/>
              <a:ea typeface="+mj-ea"/>
              <a:cs typeface="+mj-cs"/>
              <a:sym typeface="Arial" panose="020B0604020202020204" pitchFamily="34" charset="0"/>
            </a:endParaRPr>
          </a:p>
        </p:txBody>
      </p:sp>
      <p:pic>
        <p:nvPicPr>
          <p:cNvPr id="16" name="Picture 15">
            <a:extLst>
              <a:ext uri="{FF2B5EF4-FFF2-40B4-BE49-F238E27FC236}">
                <a16:creationId xmlns:a16="http://schemas.microsoft.com/office/drawing/2014/main" id="{F7B8AA9B-F81D-490F-BF84-5A931FD2CAD1}"/>
              </a:ext>
            </a:extLst>
          </p:cNvPr>
          <p:cNvPicPr>
            <a:picLocks noChangeAspect="1"/>
          </p:cNvPicPr>
          <p:nvPr userDrawn="1"/>
        </p:nvPicPr>
        <p:blipFill>
          <a:blip r:embed="rId10"/>
          <a:stretch>
            <a:fillRect/>
          </a:stretch>
        </p:blipFill>
        <p:spPr>
          <a:xfrm>
            <a:off x="546547" y="494863"/>
            <a:ext cx="2548402" cy="555706"/>
          </a:xfrm>
          <a:prstGeom prst="rect">
            <a:avLst/>
          </a:prstGeom>
        </p:spPr>
      </p:pic>
      <p:sp>
        <p:nvSpPr>
          <p:cNvPr id="24" name="Subtitle">
            <a:extLst>
              <a:ext uri="{FF2B5EF4-FFF2-40B4-BE49-F238E27FC236}">
                <a16:creationId xmlns:a16="http://schemas.microsoft.com/office/drawing/2014/main" id="{5CBBAD6E-CD05-4A16-A56D-BC2A7F092955}"/>
              </a:ext>
            </a:extLst>
          </p:cNvPr>
          <p:cNvSpPr>
            <a:spLocks noGrp="1"/>
          </p:cNvSpPr>
          <p:nvPr>
            <p:ph type="subTitle" idx="1"/>
            <p:custDataLst>
              <p:tags r:id="rId4"/>
            </p:custDataLst>
          </p:nvPr>
        </p:nvSpPr>
        <p:spPr>
          <a:xfrm>
            <a:off x="546547" y="4993320"/>
            <a:ext cx="10141773" cy="307777"/>
          </a:xfrm>
          <a:prstGeom prst="rect">
            <a:avLst/>
          </a:prstGeom>
        </p:spPr>
        <p:txBody>
          <a:bodyPr wrap="square">
            <a:spAutoFit/>
          </a:bodyPr>
          <a:lstStyle>
            <a:lvl1pPr marL="0" indent="0" algn="l" rtl="0">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5" name="Title">
            <a:extLst>
              <a:ext uri="{FF2B5EF4-FFF2-40B4-BE49-F238E27FC236}">
                <a16:creationId xmlns:a16="http://schemas.microsoft.com/office/drawing/2014/main" id="{8D7F567B-A8F5-4C4E-87B5-46ACD7803C1F}"/>
              </a:ext>
            </a:extLst>
          </p:cNvPr>
          <p:cNvSpPr>
            <a:spLocks noGrp="1"/>
          </p:cNvSpPr>
          <p:nvPr>
            <p:ph type="title"/>
            <p:custDataLst>
              <p:tags r:id="rId5"/>
            </p:custDataLst>
          </p:nvPr>
        </p:nvSpPr>
        <p:spPr>
          <a:xfrm>
            <a:off x="546547" y="4162425"/>
            <a:ext cx="10141773" cy="677108"/>
          </a:xfrm>
          <a:prstGeom prst="rect">
            <a:avLst/>
          </a:prstGeom>
        </p:spPr>
        <p:txBody>
          <a:bodyPr vert="horz" anchor="b">
            <a:normAutofit/>
          </a:bodyPr>
          <a:lstStyle>
            <a:lvl1pPr rtl="0">
              <a:defRPr sz="4400" baseline="0">
                <a:ln w="6350" cap="flat">
                  <a:noFill/>
                  <a:miter lim="800000"/>
                </a:ln>
                <a:solidFill>
                  <a:schemeClr val="bg1"/>
                </a:solidFill>
              </a:defRPr>
            </a:lvl1pPr>
          </a:lstStyle>
          <a:p>
            <a:r>
              <a:rPr lang="en-US"/>
              <a:t>Click to edit Master title style</a:t>
            </a:r>
          </a:p>
        </p:txBody>
      </p:sp>
    </p:spTree>
    <p:extLst>
      <p:ext uri="{BB962C8B-B14F-4D97-AF65-F5344CB8AC3E}">
        <p14:creationId xmlns:p14="http://schemas.microsoft.com/office/powerpoint/2010/main" val="1444931792"/>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preserve="1" userDrawn="1">
  <p:cSld name="3_Tit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2"/>
            </p:custDataLst>
            <p:extLst>
              <p:ext uri="{D42A27DB-BD31-4B8C-83A1-F6EECF244321}">
                <p14:modId xmlns:p14="http://schemas.microsoft.com/office/powerpoint/2010/main" val="28894784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1617" name="think-cell Slide" r:id="rId8" imgW="592" imgH="591" progId="TCLayout.ActiveDocument.1">
                  <p:embed/>
                </p:oleObj>
              </mc:Choice>
              <mc:Fallback>
                <p:oleObj name="think-cell Slide" r:id="rId8"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pic>
        <p:nvPicPr>
          <p:cNvPr id="4" name="Picture 3">
            <a:extLst>
              <a:ext uri="{FF2B5EF4-FFF2-40B4-BE49-F238E27FC236}">
                <a16:creationId xmlns:a16="http://schemas.microsoft.com/office/drawing/2014/main" id="{6037D79A-496A-4325-82A6-C649542E69CF}"/>
              </a:ext>
            </a:extLst>
          </p:cNvPr>
          <p:cNvPicPr>
            <a:picLocks noChangeAspect="1"/>
          </p:cNvPicPr>
          <p:nvPr userDrawn="1"/>
        </p:nvPicPr>
        <p:blipFill>
          <a:blip r:embed="rId10"/>
          <a:stretch>
            <a:fillRect/>
          </a:stretch>
        </p:blipFill>
        <p:spPr>
          <a:xfrm>
            <a:off x="0" y="0"/>
            <a:ext cx="12192000" cy="6858000"/>
          </a:xfrm>
          <a:prstGeom prst="rect">
            <a:avLst/>
          </a:prstGeom>
        </p:spPr>
      </p:pic>
      <p:sp>
        <p:nvSpPr>
          <p:cNvPr id="28" name="Flowchart: Manual Input 27">
            <a:extLst>
              <a:ext uri="{FF2B5EF4-FFF2-40B4-BE49-F238E27FC236}">
                <a16:creationId xmlns:a16="http://schemas.microsoft.com/office/drawing/2014/main" id="{96C0299D-2DC0-46BB-B2DC-1B1867899B78}"/>
              </a:ext>
            </a:extLst>
          </p:cNvPr>
          <p:cNvSpPr/>
          <p:nvPr userDrawn="1"/>
        </p:nvSpPr>
        <p:spPr>
          <a:xfrm>
            <a:off x="3176" y="2428239"/>
            <a:ext cx="12185647" cy="4429761"/>
          </a:xfrm>
          <a:prstGeom prst="flowChartManualInput">
            <a:avLst/>
          </a:prstGeom>
          <a:solidFill>
            <a:srgbClr val="0D4C8F"/>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9" name="Flowchart: Manual Input 8">
            <a:extLst>
              <a:ext uri="{FF2B5EF4-FFF2-40B4-BE49-F238E27FC236}">
                <a16:creationId xmlns:a16="http://schemas.microsoft.com/office/drawing/2014/main" id="{64BB68BF-86DC-4A75-BE4B-F7F8FC73E874}"/>
              </a:ext>
            </a:extLst>
          </p:cNvPr>
          <p:cNvSpPr/>
          <p:nvPr userDrawn="1"/>
        </p:nvSpPr>
        <p:spPr>
          <a:xfrm>
            <a:off x="3176" y="2590800"/>
            <a:ext cx="12185647" cy="4267200"/>
          </a:xfrm>
          <a:prstGeom prst="flowChartManualInput">
            <a:avLst/>
          </a:prstGeom>
          <a:solidFill>
            <a:srgbClr val="00652E"/>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2" name="Rectangle 1" hidden="1">
            <a:extLst>
              <a:ext uri="{FF2B5EF4-FFF2-40B4-BE49-F238E27FC236}">
                <a16:creationId xmlns:a16="http://schemas.microsoft.com/office/drawing/2014/main" id="{CC42428D-965F-410A-AAB0-2F4E028AF07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4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20" name="Documenttype">
            <a:extLst>
              <a:ext uri="{FF2B5EF4-FFF2-40B4-BE49-F238E27FC236}">
                <a16:creationId xmlns:a16="http://schemas.microsoft.com/office/drawing/2014/main" id="{8E9DA300-EDFF-4276-9677-41E8CCD899A7}"/>
              </a:ext>
            </a:extLst>
          </p:cNvPr>
          <p:cNvSpPr>
            <a:spLocks noGrp="1"/>
          </p:cNvSpPr>
          <p:nvPr>
            <p:ph type="body" sz="quarter" idx="13" hasCustomPrompt="1"/>
            <p:custDataLst>
              <p:tags r:id="rId4"/>
            </p:custDataLst>
          </p:nvPr>
        </p:nvSpPr>
        <p:spPr>
          <a:xfrm>
            <a:off x="545406" y="6201506"/>
            <a:ext cx="11088241" cy="215444"/>
          </a:xfrm>
          <a:prstGeom prst="rect">
            <a:avLst/>
          </a:prstGeom>
        </p:spPr>
        <p:txBody>
          <a:bodyPr wrap="square">
            <a:spAutoFit/>
          </a:bodyPr>
          <a:lstStyle>
            <a:lvl1pPr rtl="0">
              <a:buNone/>
              <a:defRPr sz="1400">
                <a:solidFill>
                  <a:schemeClr val="bg1"/>
                </a:solidFill>
              </a:defRPr>
            </a:lvl1pPr>
            <a:lvl2pPr marL="115888" indent="0">
              <a:buNone/>
              <a:defRPr>
                <a:solidFill>
                  <a:schemeClr val="bg1"/>
                </a:solidFill>
              </a:defRPr>
            </a:lvl2pPr>
            <a:lvl3pPr marL="466344" indent="0">
              <a:buNone/>
              <a:defRPr>
                <a:solidFill>
                  <a:schemeClr val="bg1"/>
                </a:solidFill>
              </a:defRPr>
            </a:lvl3pPr>
            <a:lvl4pPr marL="813816" indent="0">
              <a:buNone/>
              <a:defRPr>
                <a:solidFill>
                  <a:schemeClr val="bg1"/>
                </a:solidFill>
              </a:defRPr>
            </a:lvl4pPr>
            <a:lvl5pPr marL="1161288" indent="0">
              <a:buNone/>
              <a:defRPr>
                <a:solidFill>
                  <a:schemeClr val="bg1"/>
                </a:solidFill>
              </a:defRPr>
            </a:lvl5pPr>
          </a:lstStyle>
          <a:p>
            <a:pPr lvl="0"/>
            <a:r>
              <a:rPr lang="en-US"/>
              <a:t>Edit date or title/role</a:t>
            </a:r>
          </a:p>
        </p:txBody>
      </p:sp>
      <p:sp>
        <p:nvSpPr>
          <p:cNvPr id="24" name="Subtitle">
            <a:extLst>
              <a:ext uri="{FF2B5EF4-FFF2-40B4-BE49-F238E27FC236}">
                <a16:creationId xmlns:a16="http://schemas.microsoft.com/office/drawing/2014/main" id="{5CBBAD6E-CD05-4A16-A56D-BC2A7F092955}"/>
              </a:ext>
            </a:extLst>
          </p:cNvPr>
          <p:cNvSpPr>
            <a:spLocks noGrp="1"/>
          </p:cNvSpPr>
          <p:nvPr>
            <p:ph type="subTitle" idx="1"/>
            <p:custDataLst>
              <p:tags r:id="rId5"/>
            </p:custDataLst>
          </p:nvPr>
        </p:nvSpPr>
        <p:spPr>
          <a:xfrm>
            <a:off x="546547" y="5060013"/>
            <a:ext cx="11088241" cy="307777"/>
          </a:xfrm>
          <a:prstGeom prst="rect">
            <a:avLst/>
          </a:prstGeom>
        </p:spPr>
        <p:txBody>
          <a:bodyPr wrap="square">
            <a:spAutoFit/>
          </a:bodyPr>
          <a:lstStyle>
            <a:lvl1pPr marL="0" indent="0" algn="l" rtl="0">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5" name="Title">
            <a:extLst>
              <a:ext uri="{FF2B5EF4-FFF2-40B4-BE49-F238E27FC236}">
                <a16:creationId xmlns:a16="http://schemas.microsoft.com/office/drawing/2014/main" id="{8D7F567B-A8F5-4C4E-87B5-46ACD7803C1F}"/>
              </a:ext>
            </a:extLst>
          </p:cNvPr>
          <p:cNvSpPr>
            <a:spLocks noGrp="1"/>
          </p:cNvSpPr>
          <p:nvPr>
            <p:ph type="title"/>
            <p:custDataLst>
              <p:tags r:id="rId6"/>
            </p:custDataLst>
          </p:nvPr>
        </p:nvSpPr>
        <p:spPr>
          <a:xfrm>
            <a:off x="546547" y="4229118"/>
            <a:ext cx="11088241" cy="677108"/>
          </a:xfrm>
          <a:prstGeom prst="rect">
            <a:avLst/>
          </a:prstGeom>
        </p:spPr>
        <p:txBody>
          <a:bodyPr vert="horz" anchor="b">
            <a:normAutofit/>
          </a:bodyPr>
          <a:lstStyle>
            <a:lvl1pPr rtl="0">
              <a:defRPr sz="4400" baseline="0">
                <a:ln w="6350" cap="flat">
                  <a:noFill/>
                  <a:miter lim="800000"/>
                </a:ln>
                <a:solidFill>
                  <a:schemeClr val="bg1"/>
                </a:solidFill>
              </a:defRPr>
            </a:lvl1pPr>
          </a:lstStyle>
          <a:p>
            <a:r>
              <a:rPr lang="en-US"/>
              <a:t>Click to edit Master title style</a:t>
            </a:r>
          </a:p>
        </p:txBody>
      </p:sp>
      <p:sp>
        <p:nvSpPr>
          <p:cNvPr id="15" name="Flowchart: Manual Input 14">
            <a:extLst>
              <a:ext uri="{FF2B5EF4-FFF2-40B4-BE49-F238E27FC236}">
                <a16:creationId xmlns:a16="http://schemas.microsoft.com/office/drawing/2014/main" id="{E8132EFD-BEAB-471D-ADD7-1E4E63560BBE}"/>
              </a:ext>
            </a:extLst>
          </p:cNvPr>
          <p:cNvSpPr/>
          <p:nvPr userDrawn="1"/>
        </p:nvSpPr>
        <p:spPr>
          <a:xfrm>
            <a:off x="9316719" y="197724"/>
            <a:ext cx="2872103" cy="1432823"/>
          </a:xfrm>
          <a:prstGeom prst="flowChartManualInput">
            <a:avLst/>
          </a:prstGeom>
          <a:solidFill>
            <a:schemeClr val="tx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pic>
        <p:nvPicPr>
          <p:cNvPr id="16" name="Picture 15">
            <a:extLst>
              <a:ext uri="{FF2B5EF4-FFF2-40B4-BE49-F238E27FC236}">
                <a16:creationId xmlns:a16="http://schemas.microsoft.com/office/drawing/2014/main" id="{F7B8AA9B-F81D-490F-BF84-5A931FD2CAD1}"/>
              </a:ext>
            </a:extLst>
          </p:cNvPr>
          <p:cNvPicPr>
            <a:picLocks noChangeAspect="1"/>
          </p:cNvPicPr>
          <p:nvPr userDrawn="1"/>
        </p:nvPicPr>
        <p:blipFill>
          <a:blip r:embed="rId11"/>
          <a:stretch>
            <a:fillRect/>
          </a:stretch>
        </p:blipFill>
        <p:spPr>
          <a:xfrm>
            <a:off x="9478569" y="775294"/>
            <a:ext cx="2548402" cy="555706"/>
          </a:xfrm>
          <a:prstGeom prst="rect">
            <a:avLst/>
          </a:prstGeom>
        </p:spPr>
      </p:pic>
      <p:sp>
        <p:nvSpPr>
          <p:cNvPr id="3" name="TextBox 2">
            <a:extLst>
              <a:ext uri="{FF2B5EF4-FFF2-40B4-BE49-F238E27FC236}">
                <a16:creationId xmlns:a16="http://schemas.microsoft.com/office/drawing/2014/main" id="{13139F8C-9FF1-0525-5D11-BED76BE569B4}"/>
              </a:ext>
            </a:extLst>
          </p:cNvPr>
          <p:cNvSpPr txBox="1"/>
          <p:nvPr userDrawn="1"/>
        </p:nvSpPr>
        <p:spPr>
          <a:xfrm>
            <a:off x="4236259" y="6627168"/>
            <a:ext cx="7955741" cy="230832"/>
          </a:xfrm>
          <a:prstGeom prst="rect">
            <a:avLst/>
          </a:prstGeom>
          <a:noFill/>
        </p:spPr>
        <p:txBody>
          <a:bodyPr wrap="square" rtlCol="0">
            <a:spAutoFit/>
          </a:bodyPr>
          <a:lstStyle/>
          <a:p>
            <a:pPr algn="r"/>
            <a:r>
              <a:rPr lang="en-US" sz="900">
                <a:solidFill>
                  <a:srgbClr val="FF0000"/>
                </a:solidFill>
              </a:rPr>
              <a:t>DRAFT – FOR EVALUATION PURPOSES ONLY – NOT A FINAL DEPARTMENT OF ENERGY DETERMINATION – DO NOT DISTRIBUTE </a:t>
            </a:r>
          </a:p>
        </p:txBody>
      </p:sp>
    </p:spTree>
    <p:extLst>
      <p:ext uri="{BB962C8B-B14F-4D97-AF65-F5344CB8AC3E}">
        <p14:creationId xmlns:p14="http://schemas.microsoft.com/office/powerpoint/2010/main" val="755048881"/>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7746323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641" name="think-cell Slide" r:id="rId8" imgW="413" imgH="416" progId="TCLayout.ActiveDocument.1">
                  <p:embed/>
                </p:oleObj>
              </mc:Choice>
              <mc:Fallback>
                <p:oleObj name="think-cell Slide" r:id="rId8"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4"/>
            </p:custDataLst>
          </p:nvPr>
        </p:nvSpPr>
        <p:spPr>
          <a:xfrm>
            <a:off x="554736" y="919250"/>
            <a:ext cx="11082528" cy="246221"/>
          </a:xfrm>
          <a:prstGeom prst="rect">
            <a:avLst/>
          </a:prstGeom>
        </p:spPr>
        <p:txBody>
          <a:bodyPr wrap="square">
            <a:spAutoFit/>
          </a:bodyPr>
          <a:lstStyle>
            <a:lvl1pPr marL="0" indent="0" algn="l" rtl="0">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sp>
        <p:nvSpPr>
          <p:cNvPr id="4" name="Title 3">
            <a:extLst>
              <a:ext uri="{FF2B5EF4-FFF2-40B4-BE49-F238E27FC236}">
                <a16:creationId xmlns:a16="http://schemas.microsoft.com/office/drawing/2014/main" id="{17D17405-514E-B85A-4FF0-15D9D9601632}"/>
              </a:ext>
            </a:extLst>
          </p:cNvPr>
          <p:cNvSpPr>
            <a:spLocks noGrp="1"/>
          </p:cNvSpPr>
          <p:nvPr>
            <p:ph type="title"/>
          </p:nvPr>
        </p:nvSpPr>
        <p:spPr/>
        <p:txBody>
          <a:bodyPr/>
          <a:lstStyle/>
          <a:p>
            <a:r>
              <a:rPr lang="en-US"/>
              <a:t>Click to edit Master title style</a:t>
            </a:r>
          </a:p>
        </p:txBody>
      </p:sp>
      <p:sp>
        <p:nvSpPr>
          <p:cNvPr id="6" name="Rectangle 5">
            <a:extLst>
              <a:ext uri="{FF2B5EF4-FFF2-40B4-BE49-F238E27FC236}">
                <a16:creationId xmlns:a16="http://schemas.microsoft.com/office/drawing/2014/main" id="{D0A30FA8-6F75-9084-47AD-6CBB3F6C7931}"/>
              </a:ext>
            </a:extLst>
          </p:cNvPr>
          <p:cNvSpPr/>
          <p:nvPr userDrawn="1"/>
        </p:nvSpPr>
        <p:spPr>
          <a:xfrm>
            <a:off x="4953000" y="0"/>
            <a:ext cx="7239000" cy="182880"/>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Tree>
    <p:extLst>
      <p:ext uri="{BB962C8B-B14F-4D97-AF65-F5344CB8AC3E}">
        <p14:creationId xmlns:p14="http://schemas.microsoft.com/office/powerpoint/2010/main" val="1105559205"/>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9BA84E71-6FE7-4585-B82E-BE5603311945}"/>
              </a:ext>
            </a:extLst>
          </p:cNvPr>
          <p:cNvGraphicFramePr>
            <a:graphicFrameLocks noChangeAspect="1"/>
          </p:cNvGraphicFramePr>
          <p:nvPr userDrawn="1">
            <p:custDataLst>
              <p:tags r:id="rId2"/>
            </p:custDataLst>
            <p:extLst>
              <p:ext uri="{D42A27DB-BD31-4B8C-83A1-F6EECF244321}">
                <p14:modId xmlns:p14="http://schemas.microsoft.com/office/powerpoint/2010/main" val="12606119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3665" name="think-cell Slide" r:id="rId8" imgW="592" imgH="591" progId="TCLayout.ActiveDocument.1">
                  <p:embed/>
                </p:oleObj>
              </mc:Choice>
              <mc:Fallback>
                <p:oleObj name="think-cell Slide" r:id="rId8" imgW="592" imgH="591" progId="TCLayout.ActiveDocument.1">
                  <p:embed/>
                  <p:pic>
                    <p:nvPicPr>
                      <p:cNvPr id="10" name="Object 9" hidden="1">
                        <a:extLst>
                          <a:ext uri="{FF2B5EF4-FFF2-40B4-BE49-F238E27FC236}">
                            <a16:creationId xmlns:a16="http://schemas.microsoft.com/office/drawing/2014/main" id="{9BA84E71-6FE7-4585-B82E-BE5603311945}"/>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D62A08AB-557D-4245-84FA-9DB6B6C6845A}"/>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4"/>
            </p:custDataLst>
          </p:nvPr>
        </p:nvSpPr>
        <p:spPr>
          <a:xfrm>
            <a:off x="554736" y="1706563"/>
            <a:ext cx="3813048" cy="769441"/>
          </a:xfrm>
          <a:prstGeom prst="rect">
            <a:avLst/>
          </a:prstGeom>
        </p:spPr>
        <p:txBody>
          <a:bodyPr vert="horz" anchor="t">
            <a:noAutofit/>
          </a:bodyPr>
          <a:lstStyle>
            <a:lvl1pPr rtl="0">
              <a:lnSpc>
                <a:spcPct val="100000"/>
              </a:lnSpc>
              <a:defRPr>
                <a:ln w="6350" cap="flat">
                  <a:noFill/>
                  <a:miter lim="800000"/>
                </a:ln>
              </a:defRPr>
            </a:lvl1pPr>
          </a:lstStyle>
          <a:p>
            <a:r>
              <a:rPr lang="en-US"/>
              <a:t>Click to edit Master title style</a:t>
            </a:r>
          </a:p>
        </p:txBody>
      </p:sp>
      <p:sp>
        <p:nvSpPr>
          <p:cNvPr id="4" name="Slide Number">
            <a:extLst>
              <a:ext uri="{FF2B5EF4-FFF2-40B4-BE49-F238E27FC236}">
                <a16:creationId xmlns:a16="http://schemas.microsoft.com/office/drawing/2014/main" id="{EFB4BF85-6002-4998-80DC-DC1B92544D1D}"/>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0E2D5DBB-C1B8-4A27-836D-C2E6D553234D}"/>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spTree>
    <p:extLst>
      <p:ext uri="{BB962C8B-B14F-4D97-AF65-F5344CB8AC3E}">
        <p14:creationId xmlns:p14="http://schemas.microsoft.com/office/powerpoint/2010/main" val="1498240269"/>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Mid Lef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C4F5195-E8F7-4A2F-B02E-643BB3D88381}"/>
              </a:ext>
            </a:extLst>
          </p:cNvPr>
          <p:cNvGraphicFramePr>
            <a:graphicFrameLocks noChangeAspect="1"/>
          </p:cNvGraphicFramePr>
          <p:nvPr userDrawn="1">
            <p:custDataLst>
              <p:tags r:id="rId2"/>
            </p:custDataLst>
            <p:extLst>
              <p:ext uri="{D42A27DB-BD31-4B8C-83A1-F6EECF244321}">
                <p14:modId xmlns:p14="http://schemas.microsoft.com/office/powerpoint/2010/main" val="39476618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4689" name="think-cell Slide" r:id="rId8" imgW="592" imgH="591" progId="TCLayout.ActiveDocument.1">
                  <p:embed/>
                </p:oleObj>
              </mc:Choice>
              <mc:Fallback>
                <p:oleObj name="think-cell Slide" r:id="rId8" imgW="592" imgH="591" progId="TCLayout.ActiveDocument.1">
                  <p:embed/>
                  <p:pic>
                    <p:nvPicPr>
                      <p:cNvPr id="4" name="Object 3" hidden="1">
                        <a:extLst>
                          <a:ext uri="{FF2B5EF4-FFF2-40B4-BE49-F238E27FC236}">
                            <a16:creationId xmlns:a16="http://schemas.microsoft.com/office/drawing/2014/main" id="{3C4F5195-E8F7-4A2F-B02E-643BB3D88381}"/>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15EFC92-5E3D-4BDC-A378-85D30212A9E2}"/>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4"/>
            </p:custDataLst>
          </p:nvPr>
        </p:nvSpPr>
        <p:spPr>
          <a:xfrm>
            <a:off x="554736" y="3044280"/>
            <a:ext cx="5065776" cy="769441"/>
          </a:xfrm>
          <a:prstGeom prst="rect">
            <a:avLst/>
          </a:prstGeom>
        </p:spPr>
        <p:txBody>
          <a:bodyPr vert="horz" rIns="365760" anchor="ctr">
            <a:noAutofit/>
          </a:bodyPr>
          <a:lstStyle>
            <a:lvl1pPr rtl="0">
              <a:defRPr>
                <a:ln w="6350" cap="flat">
                  <a:noFill/>
                  <a:miter lim="800000"/>
                </a:ln>
              </a:defRPr>
            </a:lvl1pPr>
          </a:lstStyle>
          <a:p>
            <a:r>
              <a:rPr lang="en-US"/>
              <a:t>Click to edit Master title style</a:t>
            </a:r>
          </a:p>
        </p:txBody>
      </p:sp>
      <p:sp>
        <p:nvSpPr>
          <p:cNvPr id="9" name="Slide Number">
            <a:extLst>
              <a:ext uri="{FF2B5EF4-FFF2-40B4-BE49-F238E27FC236}">
                <a16:creationId xmlns:a16="http://schemas.microsoft.com/office/drawing/2014/main" id="{2BF771FC-DD10-42B6-A51E-7F1E26F8184D}"/>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C0D33C43-5B9F-44B4-82FA-BAAD11A7FB8E}"/>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spTree>
    <p:extLst>
      <p:ext uri="{BB962C8B-B14F-4D97-AF65-F5344CB8AC3E}">
        <p14:creationId xmlns:p14="http://schemas.microsoft.com/office/powerpoint/2010/main" val="1574467703"/>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05B6D76-6B4B-4ED5-B8F1-5D1D09831257}"/>
              </a:ext>
            </a:extLst>
          </p:cNvPr>
          <p:cNvGraphicFramePr>
            <a:graphicFrameLocks noChangeAspect="1"/>
          </p:cNvGraphicFramePr>
          <p:nvPr userDrawn="1">
            <p:custDataLst>
              <p:tags r:id="rId2"/>
            </p:custDataLst>
            <p:extLst>
              <p:ext uri="{D42A27DB-BD31-4B8C-83A1-F6EECF244321}">
                <p14:modId xmlns:p14="http://schemas.microsoft.com/office/powerpoint/2010/main" val="38332444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5713"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305B6D76-6B4B-4ED5-B8F1-5D1D09831257}"/>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DCF374B-2477-45CD-A00B-B8676A45ACDF}"/>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4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7" name="2. Slide Title">
            <a:extLst>
              <a:ext uri="{FF2B5EF4-FFF2-40B4-BE49-F238E27FC236}">
                <a16:creationId xmlns:a16="http://schemas.microsoft.com/office/drawing/2014/main" id="{99495DFD-8D6A-4DD8-AE3A-47FA42AA0A4F}"/>
              </a:ext>
            </a:extLst>
          </p:cNvPr>
          <p:cNvSpPr>
            <a:spLocks noGrp="1"/>
          </p:cNvSpPr>
          <p:nvPr>
            <p:ph type="title"/>
            <p:custDataLst>
              <p:tags r:id="rId4"/>
            </p:custDataLst>
          </p:nvPr>
        </p:nvSpPr>
        <p:spPr>
          <a:xfrm>
            <a:off x="554736" y="4580468"/>
            <a:ext cx="11082528" cy="677108"/>
          </a:xfrm>
        </p:spPr>
        <p:txBody>
          <a:bodyPr vert="horz" anchor="b">
            <a:noAutofit/>
          </a:bodyPr>
          <a:lstStyle>
            <a:lvl1pPr rtl="0">
              <a:lnSpc>
                <a:spcPct val="100000"/>
              </a:lnSpc>
              <a:defRPr sz="4400"/>
            </a:lvl1pPr>
          </a:lstStyle>
          <a:p>
            <a:r>
              <a:rPr lang="en-US"/>
              <a:t>Click to edit Master title style</a:t>
            </a:r>
          </a:p>
        </p:txBody>
      </p:sp>
      <p:sp>
        <p:nvSpPr>
          <p:cNvPr id="8" name="Slide Number">
            <a:extLst>
              <a:ext uri="{FF2B5EF4-FFF2-40B4-BE49-F238E27FC236}">
                <a16:creationId xmlns:a16="http://schemas.microsoft.com/office/drawing/2014/main" id="{A86AE8A6-05EF-4E76-AAAD-41743692E9F9}"/>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B871FE09-BB6E-4334-B0EA-E52395AA61B3}"/>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spTree>
    <p:extLst>
      <p:ext uri="{BB962C8B-B14F-4D97-AF65-F5344CB8AC3E}">
        <p14:creationId xmlns:p14="http://schemas.microsoft.com/office/powerpoint/2010/main" val="2338978713"/>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C6EE29E-F64A-419F-BFB0-EEDEB71953F6}"/>
              </a:ext>
            </a:extLst>
          </p:cNvPr>
          <p:cNvGraphicFramePr>
            <a:graphicFrameLocks noChangeAspect="1"/>
          </p:cNvGraphicFramePr>
          <p:nvPr userDrawn="1">
            <p:custDataLst>
              <p:tags r:id="rId2"/>
            </p:custDataLst>
            <p:extLst>
              <p:ext uri="{D42A27DB-BD31-4B8C-83A1-F6EECF244321}">
                <p14:modId xmlns:p14="http://schemas.microsoft.com/office/powerpoint/2010/main" val="36168054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6737"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EC6EE29E-F64A-419F-BFB0-EEDEB71953F6}"/>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9526043-F22A-4ED3-B0A1-DD7C4F83AF9B}"/>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3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8" name="2. Slide Title">
            <a:extLst>
              <a:ext uri="{FF2B5EF4-FFF2-40B4-BE49-F238E27FC236}">
                <a16:creationId xmlns:a16="http://schemas.microsoft.com/office/drawing/2014/main" id="{EA735538-C733-4892-93A4-7B433D8B8293}"/>
              </a:ext>
            </a:extLst>
          </p:cNvPr>
          <p:cNvSpPr>
            <a:spLocks noGrp="1"/>
          </p:cNvSpPr>
          <p:nvPr>
            <p:ph type="title" hasCustomPrompt="1"/>
            <p:custDataLst>
              <p:tags r:id="rId4"/>
            </p:custDataLst>
          </p:nvPr>
        </p:nvSpPr>
        <p:spPr>
          <a:xfrm>
            <a:off x="1505712" y="3556229"/>
            <a:ext cx="9180576" cy="523220"/>
          </a:xfrm>
          <a:prstGeom prst="rect">
            <a:avLst/>
          </a:prstGeom>
        </p:spPr>
        <p:txBody>
          <a:bodyPr vert="horz">
            <a:spAutoFit/>
          </a:bodyPr>
          <a:lstStyle>
            <a:lvl1pPr rtl="0">
              <a:lnSpc>
                <a:spcPct val="105000"/>
              </a:lnSpc>
              <a:defRPr sz="3400"/>
            </a:lvl1pPr>
          </a:lstStyle>
          <a:p>
            <a:r>
              <a:rPr lang="en-US"/>
              <a:t>“Click to add quote</a:t>
            </a:r>
          </a:p>
        </p:txBody>
      </p:sp>
      <p:sp>
        <p:nvSpPr>
          <p:cNvPr id="6" name="3. Subtitle">
            <a:extLst>
              <a:ext uri="{FF2B5EF4-FFF2-40B4-BE49-F238E27FC236}">
                <a16:creationId xmlns:a16="http://schemas.microsoft.com/office/drawing/2014/main" id="{8DB5022C-F66C-4018-82F3-195571DDD527}"/>
              </a:ext>
            </a:extLst>
          </p:cNvPr>
          <p:cNvSpPr>
            <a:spLocks noGrp="1"/>
          </p:cNvSpPr>
          <p:nvPr>
            <p:ph type="subTitle" idx="1" hasCustomPrompt="1"/>
            <p:custDataLst>
              <p:tags r:id="rId5"/>
            </p:custDataLst>
          </p:nvPr>
        </p:nvSpPr>
        <p:spPr>
          <a:xfrm>
            <a:off x="1505712" y="4284630"/>
            <a:ext cx="9180576" cy="246221"/>
          </a:xfrm>
          <a:prstGeom prst="rect">
            <a:avLst/>
          </a:prstGeom>
        </p:spPr>
        <p:txBody>
          <a:bodyPr wrap="square">
            <a:spAutoFit/>
          </a:bodyPr>
          <a:lstStyle>
            <a:lvl1pPr marL="0" indent="0" algn="l" rtl="0">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quote source</a:t>
            </a:r>
          </a:p>
        </p:txBody>
      </p:sp>
      <p:sp>
        <p:nvSpPr>
          <p:cNvPr id="9" name="Slide Number">
            <a:extLst>
              <a:ext uri="{FF2B5EF4-FFF2-40B4-BE49-F238E27FC236}">
                <a16:creationId xmlns:a16="http://schemas.microsoft.com/office/drawing/2014/main" id="{FAEB6FCE-50CC-4F2B-A5B3-CB508EDFCD46}"/>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97195F4E-ECA7-41A9-AFF3-0C4DAD103DA6}"/>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spTree>
    <p:extLst>
      <p:ext uri="{BB962C8B-B14F-4D97-AF65-F5344CB8AC3E}">
        <p14:creationId xmlns:p14="http://schemas.microsoft.com/office/powerpoint/2010/main" val="434541743"/>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2"/>
            </p:custDataLst>
            <p:extLst>
              <p:ext uri="{D42A27DB-BD31-4B8C-83A1-F6EECF244321}">
                <p14:modId xmlns:p14="http://schemas.microsoft.com/office/powerpoint/2010/main" val="20499159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7761"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DA8D6A48-EE20-4EB4-A234-9F3B16C02872}"/>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67C50C85-5FB9-4798-A8A4-1DA5B9F3ACC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3413760" y="0"/>
            <a:ext cx="8778240" cy="6858000"/>
          </a:xfrm>
          <a:prstGeom prst="rect">
            <a:avLst/>
          </a:prstGeom>
          <a:solidFill>
            <a:schemeClr val="accent4">
              <a:lumMod val="20000"/>
              <a:lumOff val="80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en-US">
              <a:solidFill>
                <a:srgbClr val="F0F0F0"/>
              </a:solidFill>
              <a:latin typeface="Arial" panose="020B0604020202020204" pitchFamily="34" charset="0"/>
            </a:endParaRPr>
          </a:p>
        </p:txBody>
      </p:sp>
      <p:sp>
        <p:nvSpPr>
          <p:cNvPr id="17" name="Slide Number">
            <a:extLst>
              <a:ext uri="{FF2B5EF4-FFF2-40B4-BE49-F238E27FC236}">
                <a16:creationId xmlns:a16="http://schemas.microsoft.com/office/drawing/2014/main" id="{ACF9526A-1F1C-4E57-8A8D-21EDBC12066F}"/>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6"/>
            </p:custDataLst>
          </p:nvPr>
        </p:nvSpPr>
        <p:spPr>
          <a:xfrm>
            <a:off x="554736" y="2744369"/>
            <a:ext cx="2514600" cy="769441"/>
          </a:xfrm>
        </p:spPr>
        <p:txBody>
          <a:bodyPr vert="horz" wrap="square" lIns="0" tIns="0" rIns="0" bIns="0" rtlCol="0" anchor="b" anchorCtr="0">
            <a:noAutofit/>
          </a:bodyPr>
          <a:lstStyle>
            <a:lvl1pPr rtl="0">
              <a:defRPr lang="en-US" dirty="0"/>
            </a:lvl1pPr>
          </a:lstStyle>
          <a:p>
            <a:pPr lvl="0"/>
            <a:r>
              <a:rPr lang="en-US"/>
              <a:t>Click to edit Master title style</a:t>
            </a:r>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7"/>
            </p:custDataLst>
          </p:nvPr>
        </p:nvSpPr>
        <p:spPr>
          <a:xfrm>
            <a:off x="554736" y="3659644"/>
            <a:ext cx="2514600" cy="492443"/>
          </a:xfrm>
          <a:prstGeom prst="rect">
            <a:avLst/>
          </a:prstGeom>
        </p:spPr>
        <p:txBody>
          <a:bodyPr wrap="square">
            <a:spAutoFit/>
          </a:bodyPr>
          <a:lstStyle>
            <a:lvl1pPr marL="0" indent="0" algn="l" rtl="0">
              <a:buNone/>
              <a:defRPr sz="1600" b="0" baseline="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21" name="5. Source" hidden="1">
            <a:extLst>
              <a:ext uri="{FF2B5EF4-FFF2-40B4-BE49-F238E27FC236}">
                <a16:creationId xmlns:a16="http://schemas.microsoft.com/office/drawing/2014/main" id="{25B2DE14-9B3F-4199-B082-9FEB12CE57EA}"/>
              </a:ext>
            </a:extLst>
          </p:cNvPr>
          <p:cNvSpPr txBox="1"/>
          <p:nvPr userDrawn="1">
            <p:custDataLst>
              <p:tags r:id="rId8"/>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pic>
        <p:nvPicPr>
          <p:cNvPr id="11" name="Picture 10">
            <a:extLst>
              <a:ext uri="{FF2B5EF4-FFF2-40B4-BE49-F238E27FC236}">
                <a16:creationId xmlns:a16="http://schemas.microsoft.com/office/drawing/2014/main" id="{5E6DBB92-EC11-4A79-83B6-63B7F2D97E4F}"/>
              </a:ext>
            </a:extLst>
          </p:cNvPr>
          <p:cNvPicPr>
            <a:picLocks noChangeAspect="1"/>
          </p:cNvPicPr>
          <p:nvPr userDrawn="1"/>
        </p:nvPicPr>
        <p:blipFill>
          <a:blip r:embed="rId12"/>
          <a:stretch>
            <a:fillRect/>
          </a:stretch>
        </p:blipFill>
        <p:spPr>
          <a:xfrm>
            <a:off x="10135026" y="6373368"/>
            <a:ext cx="1159550" cy="252852"/>
          </a:xfrm>
          <a:prstGeom prst="rect">
            <a:avLst/>
          </a:prstGeom>
        </p:spPr>
      </p:pic>
      <p:sp>
        <p:nvSpPr>
          <p:cNvPr id="2" name="TextBox 1">
            <a:extLst>
              <a:ext uri="{FF2B5EF4-FFF2-40B4-BE49-F238E27FC236}">
                <a16:creationId xmlns:a16="http://schemas.microsoft.com/office/drawing/2014/main" id="{C1D75DA8-877F-7154-2633-90B77AEB7C2B}"/>
              </a:ext>
            </a:extLst>
          </p:cNvPr>
          <p:cNvSpPr txBox="1"/>
          <p:nvPr userDrawn="1"/>
        </p:nvSpPr>
        <p:spPr>
          <a:xfrm>
            <a:off x="4236259" y="0"/>
            <a:ext cx="7955741" cy="230832"/>
          </a:xfrm>
          <a:prstGeom prst="rect">
            <a:avLst/>
          </a:prstGeom>
          <a:solidFill>
            <a:srgbClr val="F7FDEC"/>
          </a:solidFill>
        </p:spPr>
        <p:txBody>
          <a:bodyPr wrap="square" rtlCol="0">
            <a:spAutoFit/>
          </a:bodyPr>
          <a:lstStyle/>
          <a:p>
            <a:pPr algn="r"/>
            <a:r>
              <a:rPr lang="en-US" sz="900">
                <a:solidFill>
                  <a:srgbClr val="FF0000"/>
                </a:solidFill>
              </a:rPr>
              <a:t>DRAFT – FOR EVALUATION PURPOSES ONLY – NOT A FINAL DEPARTMENT OF ENERGY DETERMINATION – DO NOT DISTRIBUTE </a:t>
            </a:r>
          </a:p>
        </p:txBody>
      </p:sp>
    </p:spTree>
    <p:extLst>
      <p:ext uri="{BB962C8B-B14F-4D97-AF65-F5344CB8AC3E}">
        <p14:creationId xmlns:p14="http://schemas.microsoft.com/office/powerpoint/2010/main" val="357155045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2"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3"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E4D90A5-4F2C-23BE-E59F-20BCC59B8DA5}"/>
              </a:ext>
            </a:extLst>
          </p:cNvPr>
          <p:cNvSpPr>
            <a:spLocks noGrp="1"/>
          </p:cNvSpPr>
          <p:nvPr>
            <p:ph type="dt" sz="half" idx="10"/>
          </p:nvPr>
        </p:nvSpPr>
        <p:spPr/>
        <p:txBody>
          <a:bodyPr/>
          <a:lstStyle>
            <a:lvl1pPr>
              <a:defRPr/>
            </a:lvl1pPr>
          </a:lstStyle>
          <a:p>
            <a:pPr>
              <a:defRPr/>
            </a:pPr>
            <a:r>
              <a:rPr lang="en-US"/>
              <a:t>May 5 and 6, 2020</a:t>
            </a:r>
          </a:p>
        </p:txBody>
      </p:sp>
      <p:sp>
        <p:nvSpPr>
          <p:cNvPr id="5" name="Footer Placeholder 4">
            <a:extLst>
              <a:ext uri="{FF2B5EF4-FFF2-40B4-BE49-F238E27FC236}">
                <a16:creationId xmlns:a16="http://schemas.microsoft.com/office/drawing/2014/main" id="{724E17F0-4B58-B556-BB08-1991CCF880FB}"/>
              </a:ext>
            </a:extLst>
          </p:cNvPr>
          <p:cNvSpPr>
            <a:spLocks noGrp="1"/>
          </p:cNvSpPr>
          <p:nvPr>
            <p:ph type="ftr" sz="quarter" idx="11"/>
          </p:nvPr>
        </p:nvSpPr>
        <p:spPr/>
        <p:txBody>
          <a:bodyPr/>
          <a:lstStyle>
            <a:lvl1pPr>
              <a:defRPr/>
            </a:lvl1pPr>
          </a:lstStyle>
          <a:p>
            <a:pPr>
              <a:defRPr/>
            </a:pPr>
            <a:r>
              <a:rPr lang="en-US"/>
              <a:t>FY 2022 Strategy Session  [Name of Campaign] Campaign</a:t>
            </a:r>
          </a:p>
        </p:txBody>
      </p:sp>
      <p:sp>
        <p:nvSpPr>
          <p:cNvPr id="6" name="Slide Number Placeholder 5">
            <a:extLst>
              <a:ext uri="{FF2B5EF4-FFF2-40B4-BE49-F238E27FC236}">
                <a16:creationId xmlns:a16="http://schemas.microsoft.com/office/drawing/2014/main" id="{02E654B8-62E1-6934-10A5-F250E949D3E9}"/>
              </a:ext>
            </a:extLst>
          </p:cNvPr>
          <p:cNvSpPr>
            <a:spLocks noGrp="1"/>
          </p:cNvSpPr>
          <p:nvPr>
            <p:ph type="sldNum" sz="quarter" idx="12"/>
          </p:nvPr>
        </p:nvSpPr>
        <p:spPr/>
        <p:txBody>
          <a:bodyPr/>
          <a:lstStyle>
            <a:lvl1pPr>
              <a:defRPr/>
            </a:lvl1pPr>
          </a:lstStyle>
          <a:p>
            <a:pPr>
              <a:defRPr/>
            </a:pPr>
            <a:fld id="{B1798DB1-2705-490C-9785-34D7268888E6}" type="slidenum">
              <a:rPr lang="en-US"/>
              <a:pPr>
                <a:defRPr/>
              </a:pPr>
              <a:t>‹#›</a:t>
            </a:fld>
            <a:endParaRPr lang="en-US"/>
          </a:p>
        </p:txBody>
      </p:sp>
    </p:spTree>
    <p:extLst>
      <p:ext uri="{BB962C8B-B14F-4D97-AF65-F5344CB8AC3E}">
        <p14:creationId xmlns:p14="http://schemas.microsoft.com/office/powerpoint/2010/main" val="1562398853"/>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2"/>
            </p:custDataLst>
            <p:extLst>
              <p:ext uri="{D42A27DB-BD31-4B8C-83A1-F6EECF244321}">
                <p14:modId xmlns:p14="http://schemas.microsoft.com/office/powerpoint/2010/main" val="28919277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8785"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CEE6E84E-0DE7-4EEF-8932-BF42153B3B56}"/>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9D2CA90-0144-4292-9526-98A508F53171}"/>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4364736" y="0"/>
            <a:ext cx="7827264" cy="6858000"/>
          </a:xfrm>
          <a:prstGeom prst="rect">
            <a:avLst/>
          </a:prstGeom>
          <a:solidFill>
            <a:schemeClr val="accent4">
              <a:lumMod val="20000"/>
              <a:lumOff val="80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a:solidFill>
                <a:srgbClr val="F0F0F0"/>
              </a:solidFill>
              <a:latin typeface="Arial" panose="020B0604020202020204" pitchFamily="34" charset="0"/>
            </a:endParaRPr>
          </a:p>
        </p:txBody>
      </p:sp>
      <p:sp>
        <p:nvSpPr>
          <p:cNvPr id="17" name="Slide Number">
            <a:extLst>
              <a:ext uri="{FF2B5EF4-FFF2-40B4-BE49-F238E27FC236}">
                <a16:creationId xmlns:a16="http://schemas.microsoft.com/office/drawing/2014/main" id="{36B65DC7-979F-4AB7-9872-8CF5F2DCB753}"/>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6"/>
            </p:custDataLst>
          </p:nvPr>
        </p:nvSpPr>
        <p:spPr>
          <a:xfrm>
            <a:off x="554736" y="2744369"/>
            <a:ext cx="3465576" cy="769441"/>
          </a:xfrm>
          <a:prstGeom prst="rect">
            <a:avLst/>
          </a:prstGeom>
        </p:spPr>
        <p:txBody>
          <a:bodyPr vert="horz" wrap="square" lIns="0" tIns="0" rIns="0" bIns="0" rtlCol="0" anchor="b" anchorCtr="0">
            <a:noAutofit/>
          </a:bodyPr>
          <a:lstStyle>
            <a:lvl1pPr rtl="0">
              <a:defRPr lang="en-US" dirty="0"/>
            </a:lvl1pPr>
          </a:lstStyle>
          <a:p>
            <a:pPr lvl="0"/>
            <a:r>
              <a:rPr lang="en-US"/>
              <a:t>Click to edit Master title style</a:t>
            </a:r>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7"/>
            </p:custDataLst>
          </p:nvPr>
        </p:nvSpPr>
        <p:spPr>
          <a:xfrm>
            <a:off x="554735" y="3659644"/>
            <a:ext cx="3465575" cy="246221"/>
          </a:xfrm>
          <a:prstGeom prst="rect">
            <a:avLst/>
          </a:prstGeom>
        </p:spPr>
        <p:txBody>
          <a:bodyPr wrap="square">
            <a:spAutoFit/>
          </a:bodyPr>
          <a:lstStyle>
            <a:lvl1pPr marL="0" indent="0" algn="l" rtl="0">
              <a:buNone/>
              <a:defRPr sz="1600" b="0" baseline="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21" name="5. Source" hidden="1">
            <a:extLst>
              <a:ext uri="{FF2B5EF4-FFF2-40B4-BE49-F238E27FC236}">
                <a16:creationId xmlns:a16="http://schemas.microsoft.com/office/drawing/2014/main" id="{DA204BE1-D5C8-4D03-9090-21D41FEC78E0}"/>
              </a:ext>
            </a:extLst>
          </p:cNvPr>
          <p:cNvSpPr txBox="1"/>
          <p:nvPr userDrawn="1">
            <p:custDataLst>
              <p:tags r:id="rId8"/>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pic>
        <p:nvPicPr>
          <p:cNvPr id="11" name="Picture 10">
            <a:extLst>
              <a:ext uri="{FF2B5EF4-FFF2-40B4-BE49-F238E27FC236}">
                <a16:creationId xmlns:a16="http://schemas.microsoft.com/office/drawing/2014/main" id="{9A8E566D-20C0-49E3-8A71-BE821CC7910A}"/>
              </a:ext>
            </a:extLst>
          </p:cNvPr>
          <p:cNvPicPr>
            <a:picLocks noChangeAspect="1"/>
          </p:cNvPicPr>
          <p:nvPr userDrawn="1"/>
        </p:nvPicPr>
        <p:blipFill>
          <a:blip r:embed="rId12"/>
          <a:stretch>
            <a:fillRect/>
          </a:stretch>
        </p:blipFill>
        <p:spPr>
          <a:xfrm>
            <a:off x="10135026" y="6373368"/>
            <a:ext cx="1159550" cy="252852"/>
          </a:xfrm>
          <a:prstGeom prst="rect">
            <a:avLst/>
          </a:prstGeom>
        </p:spPr>
      </p:pic>
      <p:sp>
        <p:nvSpPr>
          <p:cNvPr id="15" name="TextBox 14">
            <a:extLst>
              <a:ext uri="{FF2B5EF4-FFF2-40B4-BE49-F238E27FC236}">
                <a16:creationId xmlns:a16="http://schemas.microsoft.com/office/drawing/2014/main" id="{88B8EF17-B673-4734-A1B7-3187BD4694A9}"/>
              </a:ext>
            </a:extLst>
          </p:cNvPr>
          <p:cNvSpPr txBox="1"/>
          <p:nvPr userDrawn="1"/>
        </p:nvSpPr>
        <p:spPr>
          <a:xfrm>
            <a:off x="9378374" y="66858"/>
            <a:ext cx="2625090" cy="215444"/>
          </a:xfrm>
          <a:prstGeom prst="rect">
            <a:avLst/>
          </a:prstGeom>
          <a:noFill/>
          <a:ln w="6350">
            <a:noFill/>
            <a:miter lim="800000"/>
          </a:ln>
        </p:spPr>
        <p:txBody>
          <a:bodyPr wrap="square">
            <a:spAutoFit/>
          </a:bodyPr>
          <a:lstStyle/>
          <a:p>
            <a:pPr algn="r"/>
            <a:r>
              <a:rPr lang="en-US" sz="800">
                <a:solidFill>
                  <a:srgbClr val="000000"/>
                </a:solidFill>
                <a:effectLst/>
                <a:latin typeface="McKinsey Sans Regular"/>
                <a:ea typeface="Times New Roman" panose="02020603050405020304" pitchFamily="18" charset="0"/>
                <a:cs typeface="Calibri" panose="020F0502020204030204" pitchFamily="34" charset="0"/>
              </a:rPr>
              <a:t>FOR INTERNAL USE ONLY </a:t>
            </a:r>
            <a:endParaRPr lang="en-US" sz="800"/>
          </a:p>
        </p:txBody>
      </p:sp>
      <p:sp>
        <p:nvSpPr>
          <p:cNvPr id="2" name="TextBox 1">
            <a:extLst>
              <a:ext uri="{FF2B5EF4-FFF2-40B4-BE49-F238E27FC236}">
                <a16:creationId xmlns:a16="http://schemas.microsoft.com/office/drawing/2014/main" id="{7297D058-FADF-3242-37C3-45D6FD7505E9}"/>
              </a:ext>
            </a:extLst>
          </p:cNvPr>
          <p:cNvSpPr txBox="1"/>
          <p:nvPr userDrawn="1"/>
        </p:nvSpPr>
        <p:spPr>
          <a:xfrm>
            <a:off x="4236259" y="0"/>
            <a:ext cx="7955741" cy="230832"/>
          </a:xfrm>
          <a:prstGeom prst="rect">
            <a:avLst/>
          </a:prstGeom>
          <a:solidFill>
            <a:srgbClr val="F7FDEC"/>
          </a:solidFill>
        </p:spPr>
        <p:txBody>
          <a:bodyPr wrap="square" rtlCol="0">
            <a:spAutoFit/>
          </a:bodyPr>
          <a:lstStyle/>
          <a:p>
            <a:pPr algn="r"/>
            <a:r>
              <a:rPr lang="en-US" sz="900">
                <a:solidFill>
                  <a:srgbClr val="FF0000"/>
                </a:solidFill>
              </a:rPr>
              <a:t>DRAFT – FOR EVALUATION PURPOSES ONLY – NOT A FINAL DEPARTMENT OF ENERGY DETERMINATION – DO NOT DISTRIBUTE </a:t>
            </a:r>
          </a:p>
        </p:txBody>
      </p:sp>
    </p:spTree>
    <p:extLst>
      <p:ext uri="{BB962C8B-B14F-4D97-AF65-F5344CB8AC3E}">
        <p14:creationId xmlns:p14="http://schemas.microsoft.com/office/powerpoint/2010/main" val="3343133871"/>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extLst>
              <p:ext uri="{D42A27DB-BD31-4B8C-83A1-F6EECF244321}">
                <p14:modId xmlns:p14="http://schemas.microsoft.com/office/powerpoint/2010/main" val="19834665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9809"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725BD87-3C3D-45F6-BBCF-F06FD867659F}"/>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6092952" y="0"/>
            <a:ext cx="6099048" cy="6858000"/>
          </a:xfrm>
          <a:prstGeom prst="rect">
            <a:avLst/>
          </a:prstGeom>
          <a:solidFill>
            <a:schemeClr val="accent4">
              <a:lumMod val="20000"/>
              <a:lumOff val="80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a:solidFill>
                <a:srgbClr val="F0F0F0"/>
              </a:solidFill>
              <a:latin typeface="Arial" panose="020B0604020202020204" pitchFamily="34" charset="0"/>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6"/>
            </p:custDataLst>
          </p:nvPr>
        </p:nvSpPr>
        <p:spPr>
          <a:xfrm>
            <a:off x="554736" y="172212"/>
            <a:ext cx="5065776" cy="731520"/>
          </a:xfrm>
        </p:spPr>
        <p:txBody>
          <a:bodyPr vert="horz"/>
          <a:lstStyle>
            <a:lvl1pPr rtl="0">
              <a:defRPr/>
            </a:lvl1pPr>
          </a:lstStyle>
          <a:p>
            <a:r>
              <a:rPr lang="en-US"/>
              <a:t>Click to edit Master title style</a:t>
            </a:r>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7"/>
            </p:custDataLst>
          </p:nvPr>
        </p:nvSpPr>
        <p:spPr>
          <a:xfrm>
            <a:off x="554736" y="919250"/>
            <a:ext cx="5065776" cy="246221"/>
          </a:xfrm>
          <a:prstGeom prst="rect">
            <a:avLst/>
          </a:prstGeom>
        </p:spPr>
        <p:txBody>
          <a:bodyPr wrap="square">
            <a:spAutoFit/>
          </a:bodyPr>
          <a:lstStyle>
            <a:lvl1pPr marL="0" indent="0" algn="l" rtl="0">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8"/>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pic>
        <p:nvPicPr>
          <p:cNvPr id="11" name="Picture 10">
            <a:extLst>
              <a:ext uri="{FF2B5EF4-FFF2-40B4-BE49-F238E27FC236}">
                <a16:creationId xmlns:a16="http://schemas.microsoft.com/office/drawing/2014/main" id="{49984FF9-1BBB-4056-B2D6-FB888D87F9E9}"/>
              </a:ext>
            </a:extLst>
          </p:cNvPr>
          <p:cNvPicPr>
            <a:picLocks noChangeAspect="1"/>
          </p:cNvPicPr>
          <p:nvPr userDrawn="1"/>
        </p:nvPicPr>
        <p:blipFill>
          <a:blip r:embed="rId12"/>
          <a:stretch>
            <a:fillRect/>
          </a:stretch>
        </p:blipFill>
        <p:spPr>
          <a:xfrm>
            <a:off x="10135026" y="6373368"/>
            <a:ext cx="1159550" cy="252852"/>
          </a:xfrm>
          <a:prstGeom prst="rect">
            <a:avLst/>
          </a:prstGeom>
        </p:spPr>
      </p:pic>
      <p:sp>
        <p:nvSpPr>
          <p:cNvPr id="5" name="TextBox 4">
            <a:extLst>
              <a:ext uri="{FF2B5EF4-FFF2-40B4-BE49-F238E27FC236}">
                <a16:creationId xmlns:a16="http://schemas.microsoft.com/office/drawing/2014/main" id="{7073C9C1-F8AC-65AB-B9F4-2A57E9883AA8}"/>
              </a:ext>
            </a:extLst>
          </p:cNvPr>
          <p:cNvSpPr txBox="1"/>
          <p:nvPr userDrawn="1"/>
        </p:nvSpPr>
        <p:spPr>
          <a:xfrm>
            <a:off x="4236259" y="0"/>
            <a:ext cx="7955741" cy="230832"/>
          </a:xfrm>
          <a:prstGeom prst="rect">
            <a:avLst/>
          </a:prstGeom>
          <a:noFill/>
        </p:spPr>
        <p:txBody>
          <a:bodyPr wrap="square" rtlCol="0">
            <a:spAutoFit/>
          </a:bodyPr>
          <a:lstStyle/>
          <a:p>
            <a:pPr algn="r"/>
            <a:r>
              <a:rPr lang="en-US" sz="900">
                <a:solidFill>
                  <a:srgbClr val="FF0000"/>
                </a:solidFill>
              </a:rPr>
              <a:t>DRAFT – FOR EVALUATION PURPOSES ONLY – NOT A FINAL DEPARTMENT OF ENERGY DETERMINATION – DO NOT DISTRIBUTE </a:t>
            </a:r>
          </a:p>
        </p:txBody>
      </p:sp>
    </p:spTree>
    <p:extLst>
      <p:ext uri="{BB962C8B-B14F-4D97-AF65-F5344CB8AC3E}">
        <p14:creationId xmlns:p14="http://schemas.microsoft.com/office/powerpoint/2010/main" val="2158076241"/>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2"/>
            </p:custDataLst>
            <p:extLst>
              <p:ext uri="{D42A27DB-BD31-4B8C-83A1-F6EECF244321}">
                <p14:modId xmlns:p14="http://schemas.microsoft.com/office/powerpoint/2010/main" val="20874107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0833" name="think-cell Slide" r:id="rId10" imgW="572" imgH="588" progId="TCLayout.ActiveDocument.1">
                  <p:embed/>
                </p:oleObj>
              </mc:Choice>
              <mc:Fallback>
                <p:oleObj name="think-cell Slide" r:id="rId10"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D668F04-7049-40BA-8D63-D8BBB6921318}"/>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9" name="2. Slide Title">
            <a:extLst>
              <a:ext uri="{FF2B5EF4-FFF2-40B4-BE49-F238E27FC236}">
                <a16:creationId xmlns:a16="http://schemas.microsoft.com/office/drawing/2014/main" id="{0415F114-7B0E-43F2-8881-F0D9FB2A643B}"/>
              </a:ext>
            </a:extLst>
          </p:cNvPr>
          <p:cNvSpPr>
            <a:spLocks noGrp="1"/>
          </p:cNvSpPr>
          <p:nvPr>
            <p:ph type="title"/>
            <p:custDataLst>
              <p:tags r:id="rId4"/>
            </p:custDataLst>
          </p:nvPr>
        </p:nvSpPr>
        <p:spPr>
          <a:xfrm>
            <a:off x="554736" y="172212"/>
            <a:ext cx="6967728" cy="731520"/>
          </a:xfrm>
        </p:spPr>
        <p:txBody>
          <a:bodyPr vert="horz"/>
          <a:lstStyle>
            <a:lvl1pPr rtl="0">
              <a:defRPr/>
            </a:lvl1pPr>
          </a:lstStyle>
          <a:p>
            <a:r>
              <a:rPr lang="en-US"/>
              <a:t>Click to edit Master title style</a:t>
            </a: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5"/>
            </p:custDataLst>
          </p:nvPr>
        </p:nvSpPr>
        <p:spPr bwMode="ltGray">
          <a:xfrm>
            <a:off x="7830312" y="0"/>
            <a:ext cx="4361688" cy="6858000"/>
          </a:xfrm>
          <a:prstGeom prst="rect">
            <a:avLst/>
          </a:prstGeom>
          <a:solidFill>
            <a:schemeClr val="accent4">
              <a:lumMod val="20000"/>
              <a:lumOff val="80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a:solidFill>
                <a:srgbClr val="F0F0F0"/>
              </a:solidFill>
              <a:latin typeface="Arial" panose="020B0604020202020204" pitchFamily="34" charset="0"/>
            </a:endParaRP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20" name="3. Subtitle">
            <a:extLst>
              <a:ext uri="{FF2B5EF4-FFF2-40B4-BE49-F238E27FC236}">
                <a16:creationId xmlns:a16="http://schemas.microsoft.com/office/drawing/2014/main" id="{712BED6B-950C-4FB8-AEE1-14FA61D013FF}"/>
              </a:ext>
            </a:extLst>
          </p:cNvPr>
          <p:cNvSpPr>
            <a:spLocks noGrp="1"/>
          </p:cNvSpPr>
          <p:nvPr>
            <p:ph type="subTitle" idx="1"/>
            <p:custDataLst>
              <p:tags r:id="rId7"/>
            </p:custDataLst>
          </p:nvPr>
        </p:nvSpPr>
        <p:spPr>
          <a:xfrm>
            <a:off x="554736" y="919250"/>
            <a:ext cx="6967728" cy="246221"/>
          </a:xfrm>
          <a:prstGeom prst="rect">
            <a:avLst/>
          </a:prstGeom>
        </p:spPr>
        <p:txBody>
          <a:bodyPr wrap="square">
            <a:spAutoFit/>
          </a:bodyPr>
          <a:lstStyle>
            <a:lvl1pPr marL="0" indent="0" algn="l" rtl="0">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1" name="5. Source" hidden="1">
            <a:extLst>
              <a:ext uri="{FF2B5EF4-FFF2-40B4-BE49-F238E27FC236}">
                <a16:creationId xmlns:a16="http://schemas.microsoft.com/office/drawing/2014/main" id="{F25A304F-F50E-4F96-991D-CFEB07060178}"/>
              </a:ext>
            </a:extLst>
          </p:cNvPr>
          <p:cNvSpPr txBox="1"/>
          <p:nvPr userDrawn="1">
            <p:custDataLst>
              <p:tags r:id="rId8"/>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solidFill>
                  <a:schemeClr val="tx1"/>
                </a:solidFill>
              </a:rPr>
              <a:t>Source: …</a:t>
            </a:r>
          </a:p>
        </p:txBody>
      </p:sp>
      <p:pic>
        <p:nvPicPr>
          <p:cNvPr id="11" name="Picture 10">
            <a:extLst>
              <a:ext uri="{FF2B5EF4-FFF2-40B4-BE49-F238E27FC236}">
                <a16:creationId xmlns:a16="http://schemas.microsoft.com/office/drawing/2014/main" id="{0D899DD9-C386-46E5-910C-1F0E69AFAC17}"/>
              </a:ext>
            </a:extLst>
          </p:cNvPr>
          <p:cNvPicPr>
            <a:picLocks noChangeAspect="1"/>
          </p:cNvPicPr>
          <p:nvPr userDrawn="1"/>
        </p:nvPicPr>
        <p:blipFill>
          <a:blip r:embed="rId12"/>
          <a:stretch>
            <a:fillRect/>
          </a:stretch>
        </p:blipFill>
        <p:spPr>
          <a:xfrm>
            <a:off x="10135026" y="6373368"/>
            <a:ext cx="1159550" cy="252852"/>
          </a:xfrm>
          <a:prstGeom prst="rect">
            <a:avLst/>
          </a:prstGeom>
        </p:spPr>
      </p:pic>
      <p:sp>
        <p:nvSpPr>
          <p:cNvPr id="2" name="TextBox 1">
            <a:extLst>
              <a:ext uri="{FF2B5EF4-FFF2-40B4-BE49-F238E27FC236}">
                <a16:creationId xmlns:a16="http://schemas.microsoft.com/office/drawing/2014/main" id="{53C1D79B-99BF-06BD-AA79-A70C40B26221}"/>
              </a:ext>
            </a:extLst>
          </p:cNvPr>
          <p:cNvSpPr txBox="1"/>
          <p:nvPr userDrawn="1"/>
        </p:nvSpPr>
        <p:spPr>
          <a:xfrm>
            <a:off x="4236259" y="0"/>
            <a:ext cx="7955741" cy="230832"/>
          </a:xfrm>
          <a:prstGeom prst="rect">
            <a:avLst/>
          </a:prstGeom>
          <a:noFill/>
        </p:spPr>
        <p:txBody>
          <a:bodyPr wrap="square" rtlCol="0">
            <a:spAutoFit/>
          </a:bodyPr>
          <a:lstStyle/>
          <a:p>
            <a:pPr algn="r"/>
            <a:r>
              <a:rPr lang="en-US" sz="900">
                <a:solidFill>
                  <a:srgbClr val="FF0000"/>
                </a:solidFill>
              </a:rPr>
              <a:t>DRAFT – FOR EVALUATION PURPOSES ONLY – NOT A FINAL DEPARTMENT OF ENERGY DETERMINATION – DO NOT DISTRIBUTE </a:t>
            </a:r>
          </a:p>
        </p:txBody>
      </p:sp>
    </p:spTree>
    <p:extLst>
      <p:ext uri="{BB962C8B-B14F-4D97-AF65-F5344CB8AC3E}">
        <p14:creationId xmlns:p14="http://schemas.microsoft.com/office/powerpoint/2010/main" val="3301692233"/>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preserve="1" userDrawn="1">
  <p:cSld name="3/4 ">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extLst>
              <p:ext uri="{D42A27DB-BD31-4B8C-83A1-F6EECF244321}">
                <p14:modId xmlns:p14="http://schemas.microsoft.com/office/powerpoint/2010/main" val="11691290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1857"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9F7114D8-6025-4386-BA96-B034FE6B3CDB}"/>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50854476-2923-4515-A585-4477FF861180}"/>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4"/>
            </p:custDataLst>
          </p:nvPr>
        </p:nvSpPr>
        <p:spPr bwMode="ltGray">
          <a:xfrm>
            <a:off x="8781416" y="0"/>
            <a:ext cx="3410584" cy="6858000"/>
          </a:xfrm>
          <a:prstGeom prst="rect">
            <a:avLst/>
          </a:prstGeom>
          <a:solidFill>
            <a:schemeClr val="accent4">
              <a:lumMod val="20000"/>
              <a:lumOff val="80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noProof="0">
              <a:solidFill>
                <a:srgbClr val="F0F0F0"/>
              </a:solidFill>
              <a:latin typeface="Arial" panose="020B0604020202020204" pitchFamily="34" charset="0"/>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chemeClr val="tx1"/>
                </a:solidFill>
                <a:effectLst/>
                <a:uLnTx/>
                <a:uFillTx/>
                <a:latin typeface="+mn-lt"/>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schemeClr val="tx1"/>
              </a:solidFill>
              <a:effectLst/>
              <a:uLnTx/>
              <a:uFillTx/>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6"/>
            </p:custDataLst>
          </p:nvPr>
        </p:nvSpPr>
        <p:spPr>
          <a:xfrm>
            <a:off x="554736" y="172212"/>
            <a:ext cx="7918704" cy="731520"/>
          </a:xfrm>
        </p:spPr>
        <p:txBody>
          <a:bodyPr vert="horz"/>
          <a:lstStyle>
            <a:lvl1pPr rtl="0">
              <a:defRPr/>
            </a:lvl1pPr>
          </a:lstStyle>
          <a:p>
            <a:r>
              <a:rPr lang="en-US"/>
              <a:t>Click to edit Master title style</a:t>
            </a:r>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7"/>
            </p:custDataLst>
          </p:nvPr>
        </p:nvSpPr>
        <p:spPr>
          <a:xfrm>
            <a:off x="554736" y="919250"/>
            <a:ext cx="7918704" cy="246221"/>
          </a:xfrm>
          <a:prstGeom prst="rect">
            <a:avLst/>
          </a:prstGeom>
        </p:spPr>
        <p:txBody>
          <a:bodyPr wrap="square">
            <a:spAutoFit/>
          </a:bodyPr>
          <a:lstStyle>
            <a:lvl1pPr marL="0" indent="0" algn="l" rtl="0">
              <a:buNone/>
              <a:defRPr sz="1600" b="0" u="none"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8"/>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a:ln>
                  <a:noFill/>
                </a:ln>
                <a:solidFill>
                  <a:schemeClr val="tx1"/>
                </a:solidFill>
                <a:effectLst/>
                <a:uLnTx/>
                <a:uFillTx/>
                <a:latin typeface="+mn-lt"/>
                <a:ea typeface="+mn-ea"/>
                <a:cs typeface="Arial" panose="020B0604020202020204" pitchFamily="34" charset="0"/>
              </a:rPr>
              <a:t>Source: …</a:t>
            </a:r>
          </a:p>
        </p:txBody>
      </p:sp>
      <p:pic>
        <p:nvPicPr>
          <p:cNvPr id="11" name="Picture 10">
            <a:extLst>
              <a:ext uri="{FF2B5EF4-FFF2-40B4-BE49-F238E27FC236}">
                <a16:creationId xmlns:a16="http://schemas.microsoft.com/office/drawing/2014/main" id="{0260C2FD-F1A0-4369-8570-CD27045A07E6}"/>
              </a:ext>
            </a:extLst>
          </p:cNvPr>
          <p:cNvPicPr>
            <a:picLocks noChangeAspect="1"/>
          </p:cNvPicPr>
          <p:nvPr userDrawn="1"/>
        </p:nvPicPr>
        <p:blipFill>
          <a:blip r:embed="rId12"/>
          <a:stretch>
            <a:fillRect/>
          </a:stretch>
        </p:blipFill>
        <p:spPr>
          <a:xfrm>
            <a:off x="10135026" y="6373368"/>
            <a:ext cx="1159550" cy="252852"/>
          </a:xfrm>
          <a:prstGeom prst="rect">
            <a:avLst/>
          </a:prstGeom>
        </p:spPr>
      </p:pic>
      <p:sp>
        <p:nvSpPr>
          <p:cNvPr id="2" name="TextBox 1">
            <a:extLst>
              <a:ext uri="{FF2B5EF4-FFF2-40B4-BE49-F238E27FC236}">
                <a16:creationId xmlns:a16="http://schemas.microsoft.com/office/drawing/2014/main" id="{70C8F15D-AB04-3107-C2EC-CCF7C7D06690}"/>
              </a:ext>
            </a:extLst>
          </p:cNvPr>
          <p:cNvSpPr txBox="1"/>
          <p:nvPr userDrawn="1"/>
        </p:nvSpPr>
        <p:spPr>
          <a:xfrm>
            <a:off x="4236259" y="0"/>
            <a:ext cx="7955741" cy="230832"/>
          </a:xfrm>
          <a:prstGeom prst="rect">
            <a:avLst/>
          </a:prstGeom>
          <a:noFill/>
        </p:spPr>
        <p:txBody>
          <a:bodyPr wrap="square" rtlCol="0">
            <a:spAutoFit/>
          </a:bodyPr>
          <a:lstStyle/>
          <a:p>
            <a:pPr algn="r"/>
            <a:r>
              <a:rPr lang="en-US" sz="900">
                <a:solidFill>
                  <a:srgbClr val="FF0000"/>
                </a:solidFill>
              </a:rPr>
              <a:t>DRAFT – FOR EVALUATION PURPOSES ONLY – NOT A FINAL DEPARTMENT OF ENERGY DETERMINATION – DO NOT DISTRIBUTE </a:t>
            </a:r>
          </a:p>
        </p:txBody>
      </p:sp>
    </p:spTree>
    <p:extLst>
      <p:ext uri="{BB962C8B-B14F-4D97-AF65-F5344CB8AC3E}">
        <p14:creationId xmlns:p14="http://schemas.microsoft.com/office/powerpoint/2010/main" val="1123636879"/>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showMasterSp="0" preserve="1" userDrawn="1">
  <p:cSld name="3-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648A5D5-75B9-4F02-A4CB-B3C65A9BF2CE}"/>
              </a:ext>
            </a:extLst>
          </p:cNvPr>
          <p:cNvGraphicFramePr>
            <a:graphicFrameLocks noChangeAspect="1"/>
          </p:cNvGraphicFramePr>
          <p:nvPr userDrawn="1">
            <p:custDataLst>
              <p:tags r:id="rId2"/>
            </p:custDataLst>
            <p:extLst>
              <p:ext uri="{D42A27DB-BD31-4B8C-83A1-F6EECF244321}">
                <p14:modId xmlns:p14="http://schemas.microsoft.com/office/powerpoint/2010/main" val="22946195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2881"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C648A5D5-75B9-4F02-A4CB-B3C65A9BF2CE}"/>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58AAF75-30DC-408A-933A-149F2D14D18F}"/>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5" name="Slide Number">
            <a:extLst>
              <a:ext uri="{FF2B5EF4-FFF2-40B4-BE49-F238E27FC236}">
                <a16:creationId xmlns:a16="http://schemas.microsoft.com/office/drawing/2014/main" id="{0AA537C7-2883-43C1-848C-3A4E9645077F}"/>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5"/>
            </p:custDataLst>
          </p:nvPr>
        </p:nvSpPr>
        <p:spPr>
          <a:xfrm>
            <a:off x="554736" y="172212"/>
            <a:ext cx="11082528" cy="989512"/>
          </a:xfrm>
        </p:spPr>
        <p:txBody>
          <a:bodyPr vert="horz">
            <a:noAutofit/>
          </a:bodyPr>
          <a:lstStyle>
            <a:lvl1pPr rtl="0">
              <a:defRPr/>
            </a:lvl1pPr>
          </a:lstStyle>
          <a:p>
            <a:r>
              <a:rPr lang="en-US"/>
              <a:t>Click to edit Master title style</a:t>
            </a:r>
          </a:p>
        </p:txBody>
      </p:sp>
      <p:sp>
        <p:nvSpPr>
          <p:cNvPr id="10" name="5. Source" hidden="1">
            <a:extLst>
              <a:ext uri="{FF2B5EF4-FFF2-40B4-BE49-F238E27FC236}">
                <a16:creationId xmlns:a16="http://schemas.microsoft.com/office/drawing/2014/main" id="{81E2484B-3E40-408C-A350-5EB40C8A09F0}"/>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pic>
        <p:nvPicPr>
          <p:cNvPr id="9" name="Picture 8">
            <a:extLst>
              <a:ext uri="{FF2B5EF4-FFF2-40B4-BE49-F238E27FC236}">
                <a16:creationId xmlns:a16="http://schemas.microsoft.com/office/drawing/2014/main" id="{7A3F2062-A8FB-4991-A930-1C6037C96C0E}"/>
              </a:ext>
            </a:extLst>
          </p:cNvPr>
          <p:cNvPicPr>
            <a:picLocks noChangeAspect="1"/>
          </p:cNvPicPr>
          <p:nvPr userDrawn="1"/>
        </p:nvPicPr>
        <p:blipFill>
          <a:blip r:embed="rId10"/>
          <a:stretch>
            <a:fillRect/>
          </a:stretch>
        </p:blipFill>
        <p:spPr>
          <a:xfrm>
            <a:off x="10135026" y="6373368"/>
            <a:ext cx="1159550" cy="252852"/>
          </a:xfrm>
          <a:prstGeom prst="rect">
            <a:avLst/>
          </a:prstGeom>
        </p:spPr>
      </p:pic>
      <p:sp>
        <p:nvSpPr>
          <p:cNvPr id="5" name="TextBox 4">
            <a:extLst>
              <a:ext uri="{FF2B5EF4-FFF2-40B4-BE49-F238E27FC236}">
                <a16:creationId xmlns:a16="http://schemas.microsoft.com/office/drawing/2014/main" id="{0B3E37C7-35C8-F3B4-D4F3-3ED2802FCCD0}"/>
              </a:ext>
            </a:extLst>
          </p:cNvPr>
          <p:cNvSpPr txBox="1"/>
          <p:nvPr userDrawn="1"/>
        </p:nvSpPr>
        <p:spPr>
          <a:xfrm>
            <a:off x="4236259" y="0"/>
            <a:ext cx="7955741" cy="230832"/>
          </a:xfrm>
          <a:prstGeom prst="rect">
            <a:avLst/>
          </a:prstGeom>
          <a:noFill/>
        </p:spPr>
        <p:txBody>
          <a:bodyPr wrap="square" rtlCol="0">
            <a:spAutoFit/>
          </a:bodyPr>
          <a:lstStyle/>
          <a:p>
            <a:pPr algn="r"/>
            <a:r>
              <a:rPr lang="en-US" sz="900">
                <a:solidFill>
                  <a:srgbClr val="FF0000"/>
                </a:solidFill>
              </a:rPr>
              <a:t>DRAFT – FOR EVALUATION PURPOSES ONLY – NOT A FINAL DEPARTMENT OF ENERGY DETERMINATION – DO NOT DISTRIBUTE </a:t>
            </a:r>
          </a:p>
        </p:txBody>
      </p:sp>
    </p:spTree>
    <p:extLst>
      <p:ext uri="{BB962C8B-B14F-4D97-AF65-F5344CB8AC3E}">
        <p14:creationId xmlns:p14="http://schemas.microsoft.com/office/powerpoint/2010/main" val="3961598035"/>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0E9A7C-FB74-480B-8212-8CE5C1AF5D1B}"/>
              </a:ext>
            </a:extLst>
          </p:cNvPr>
          <p:cNvGraphicFramePr>
            <a:graphicFrameLocks noChangeAspect="1"/>
          </p:cNvGraphicFramePr>
          <p:nvPr userDrawn="1">
            <p:custDataLst>
              <p:tags r:id="rId2"/>
            </p:custDataLst>
            <p:extLst>
              <p:ext uri="{D42A27DB-BD31-4B8C-83A1-F6EECF244321}">
                <p14:modId xmlns:p14="http://schemas.microsoft.com/office/powerpoint/2010/main" val="26996402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3905" name="think-cell Slide" r:id="rId6" imgW="592" imgH="591" progId="TCLayout.ActiveDocument.1">
                  <p:embed/>
                </p:oleObj>
              </mc:Choice>
              <mc:Fallback>
                <p:oleObj name="think-cell Slide" r:id="rId6" imgW="592" imgH="591" progId="TCLayout.ActiveDocument.1">
                  <p:embed/>
                  <p:pic>
                    <p:nvPicPr>
                      <p:cNvPr id="2" name="Object 1" hidden="1">
                        <a:extLst>
                          <a:ext uri="{FF2B5EF4-FFF2-40B4-BE49-F238E27FC236}">
                            <a16:creationId xmlns:a16="http://schemas.microsoft.com/office/drawing/2014/main" id="{220E9A7C-FB74-480B-8212-8CE5C1AF5D1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9" name="Slide Number">
            <a:extLst>
              <a:ext uri="{FF2B5EF4-FFF2-40B4-BE49-F238E27FC236}">
                <a16:creationId xmlns:a16="http://schemas.microsoft.com/office/drawing/2014/main" id="{6982A9EE-ED1D-4D7E-84CA-3C36D0891D68}"/>
              </a:ext>
            </a:extLst>
          </p:cNvPr>
          <p:cNvSpPr>
            <a:spLocks noChangeArrowheads="1"/>
          </p:cNvSpPr>
          <p:nvPr userDrawn="1">
            <p:custDataLst>
              <p:tags r:id="rId3"/>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09F9A864-CDB7-4063-BBF8-591908AA18D0}"/>
              </a:ext>
            </a:extLst>
          </p:cNvPr>
          <p:cNvSpPr txBox="1"/>
          <p:nvPr userDrawn="1">
            <p:custDataLst>
              <p:tags r:id="rId4"/>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sp>
        <p:nvSpPr>
          <p:cNvPr id="3" name="TextBox 2">
            <a:extLst>
              <a:ext uri="{FF2B5EF4-FFF2-40B4-BE49-F238E27FC236}">
                <a16:creationId xmlns:a16="http://schemas.microsoft.com/office/drawing/2014/main" id="{BA2DB3C9-3F0F-5C7B-E233-DF6E6FB267D2}"/>
              </a:ext>
            </a:extLst>
          </p:cNvPr>
          <p:cNvSpPr txBox="1"/>
          <p:nvPr userDrawn="1"/>
        </p:nvSpPr>
        <p:spPr>
          <a:xfrm>
            <a:off x="4236259" y="0"/>
            <a:ext cx="7955741" cy="230832"/>
          </a:xfrm>
          <a:prstGeom prst="rect">
            <a:avLst/>
          </a:prstGeom>
          <a:noFill/>
        </p:spPr>
        <p:txBody>
          <a:bodyPr wrap="square" rtlCol="0">
            <a:spAutoFit/>
          </a:bodyPr>
          <a:lstStyle/>
          <a:p>
            <a:pPr algn="r"/>
            <a:r>
              <a:rPr lang="en-US" sz="900">
                <a:solidFill>
                  <a:srgbClr val="FF0000"/>
                </a:solidFill>
              </a:rPr>
              <a:t>DRAFT – FOR EVALUATION PURPOSES ONLY – NOT A FINAL DEPARTMENT OF ENERGY DETERMINATION – DO NOT DISTRIBUTE </a:t>
            </a:r>
          </a:p>
        </p:txBody>
      </p:sp>
    </p:spTree>
    <p:extLst>
      <p:ext uri="{BB962C8B-B14F-4D97-AF65-F5344CB8AC3E}">
        <p14:creationId xmlns:p14="http://schemas.microsoft.com/office/powerpoint/2010/main" val="212433993"/>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954CCC1-5027-4384-BFF6-B54153C697A8}"/>
              </a:ext>
            </a:extLst>
          </p:cNvPr>
          <p:cNvGraphicFramePr>
            <a:graphicFrameLocks noChangeAspect="1"/>
          </p:cNvGraphicFramePr>
          <p:nvPr userDrawn="1">
            <p:custDataLst>
              <p:tags r:id="rId2"/>
            </p:custDataLst>
            <p:extLst>
              <p:ext uri="{D42A27DB-BD31-4B8C-83A1-F6EECF244321}">
                <p14:modId xmlns:p14="http://schemas.microsoft.com/office/powerpoint/2010/main" val="6689319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4929" name="think-cell Slide" r:id="rId5" imgW="592" imgH="591" progId="TCLayout.ActiveDocument.1">
                  <p:embed/>
                </p:oleObj>
              </mc:Choice>
              <mc:Fallback>
                <p:oleObj name="think-cell Slide" r:id="rId5" imgW="592" imgH="591" progId="TCLayout.ActiveDocument.1">
                  <p:embed/>
                  <p:pic>
                    <p:nvPicPr>
                      <p:cNvPr id="2" name="Object 1" hidden="1">
                        <a:extLst>
                          <a:ext uri="{FF2B5EF4-FFF2-40B4-BE49-F238E27FC236}">
                            <a16:creationId xmlns:a16="http://schemas.microsoft.com/office/drawing/2014/main" id="{A954CCC1-5027-4384-BFF6-B54153C697A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5. Source" hidden="1">
            <a:extLst>
              <a:ext uri="{FF2B5EF4-FFF2-40B4-BE49-F238E27FC236}">
                <a16:creationId xmlns:a16="http://schemas.microsoft.com/office/drawing/2014/main" id="{330AE89A-7771-4A6E-A02D-893DCB66C876}"/>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pic>
        <p:nvPicPr>
          <p:cNvPr id="5" name="Picture 4">
            <a:extLst>
              <a:ext uri="{FF2B5EF4-FFF2-40B4-BE49-F238E27FC236}">
                <a16:creationId xmlns:a16="http://schemas.microsoft.com/office/drawing/2014/main" id="{C78D7727-4A87-4A1B-B7CF-9517BA8F4E94}"/>
              </a:ext>
            </a:extLst>
          </p:cNvPr>
          <p:cNvPicPr>
            <a:picLocks noChangeAspect="1"/>
          </p:cNvPicPr>
          <p:nvPr userDrawn="1"/>
        </p:nvPicPr>
        <p:blipFill>
          <a:blip r:embed="rId7"/>
          <a:stretch>
            <a:fillRect/>
          </a:stretch>
        </p:blipFill>
        <p:spPr>
          <a:xfrm>
            <a:off x="4418970" y="3063306"/>
            <a:ext cx="3354060" cy="731388"/>
          </a:xfrm>
          <a:prstGeom prst="rect">
            <a:avLst/>
          </a:prstGeom>
        </p:spPr>
      </p:pic>
      <p:sp>
        <p:nvSpPr>
          <p:cNvPr id="3" name="TextBox 2">
            <a:extLst>
              <a:ext uri="{FF2B5EF4-FFF2-40B4-BE49-F238E27FC236}">
                <a16:creationId xmlns:a16="http://schemas.microsoft.com/office/drawing/2014/main" id="{9CDFA16C-5AA4-DD47-109A-44072B171114}"/>
              </a:ext>
            </a:extLst>
          </p:cNvPr>
          <p:cNvSpPr txBox="1"/>
          <p:nvPr userDrawn="1"/>
        </p:nvSpPr>
        <p:spPr>
          <a:xfrm>
            <a:off x="4236259" y="0"/>
            <a:ext cx="7955741" cy="230832"/>
          </a:xfrm>
          <a:prstGeom prst="rect">
            <a:avLst/>
          </a:prstGeom>
          <a:noFill/>
        </p:spPr>
        <p:txBody>
          <a:bodyPr wrap="square" rtlCol="0">
            <a:spAutoFit/>
          </a:bodyPr>
          <a:lstStyle/>
          <a:p>
            <a:pPr algn="r"/>
            <a:r>
              <a:rPr lang="en-US" sz="900">
                <a:solidFill>
                  <a:srgbClr val="FF0000"/>
                </a:solidFill>
              </a:rPr>
              <a:t>DRAFT – FOR EVALUATION PURPOSES ONLY – NOT A FINAL DEPARTMENT OF ENERGY DETERMINATION – DO NOT DISTRIBUTE </a:t>
            </a:r>
          </a:p>
        </p:txBody>
      </p:sp>
    </p:spTree>
    <p:extLst>
      <p:ext uri="{BB962C8B-B14F-4D97-AF65-F5344CB8AC3E}">
        <p14:creationId xmlns:p14="http://schemas.microsoft.com/office/powerpoint/2010/main" val="330362245"/>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userDrawn="1">
  <p:cSld name="3_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13659814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5953" name="think-cell Slide" r:id="rId9" imgW="413" imgH="416" progId="TCLayout.ActiveDocument.1">
                  <p:embed/>
                </p:oleObj>
              </mc:Choice>
              <mc:Fallback>
                <p:oleObj name="think-cell Slide" r:id="rId9" imgW="413" imgH="416" progId="TCLayout.ActiveDocument.1">
                  <p:embed/>
                  <p:pic>
                    <p:nvPicPr>
                      <p:cNvPr id="3" name="Object 2"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F741700-5035-4E61-A4AC-1B3C7AE220D5}"/>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err="1">
              <a:solidFill>
                <a:schemeClr val="bg1"/>
              </a:solidFill>
              <a:latin typeface="Georgia" panose="02040502050405020303" pitchFamily="18" charset="0"/>
              <a:ea typeface="+mj-ea"/>
              <a:cs typeface="+mj-cs"/>
              <a:sym typeface="Georgia" panose="02040502050405020303" pitchFamily="18"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554736" y="182372"/>
            <a:ext cx="11082528" cy="731520"/>
          </a:xfrm>
        </p:spPr>
        <p:txBody>
          <a:bodyPr vert="horz"/>
          <a:lstStyle/>
          <a:p>
            <a:r>
              <a:rPr lang="en-US"/>
              <a:t>Click to edit Master title style</a:t>
            </a: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7" name="3. Subtitle">
            <a:extLst>
              <a:ext uri="{FF2B5EF4-FFF2-40B4-BE49-F238E27FC236}">
                <a16:creationId xmlns:a16="http://schemas.microsoft.com/office/drawing/2014/main" id="{93FD6872-D3B4-4C24-B09B-0C5F32AC00ED}"/>
              </a:ext>
            </a:extLst>
          </p:cNvPr>
          <p:cNvSpPr>
            <a:spLocks noGrp="1"/>
          </p:cNvSpPr>
          <p:nvPr>
            <p:ph type="subTitle" idx="1"/>
            <p:custDataLst>
              <p:tags r:id="rId7"/>
            </p:custDataLst>
          </p:nvPr>
        </p:nvSpPr>
        <p:spPr>
          <a:xfrm>
            <a:off x="554736" y="903861"/>
            <a:ext cx="11082528" cy="276999"/>
          </a:xfrm>
        </p:spPr>
        <p:txBody>
          <a:bodyPr anchor="ctr" anchorCtr="0"/>
          <a:lstStyle/>
          <a:p>
            <a:r>
              <a:rPr lang="en-US" sz="1600"/>
              <a:t>Click to edit Master subtitle style</a:t>
            </a:r>
          </a:p>
        </p:txBody>
      </p:sp>
    </p:spTree>
    <p:extLst>
      <p:ext uri="{BB962C8B-B14F-4D97-AF65-F5344CB8AC3E}">
        <p14:creationId xmlns:p14="http://schemas.microsoft.com/office/powerpoint/2010/main" val="1637245669"/>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userDrawn="1">
  <p:cSld name="4_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9274284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6977" name="think-cell Slide" r:id="rId8" imgW="413" imgH="416" progId="TCLayout.ActiveDocument.1">
                  <p:embed/>
                </p:oleObj>
              </mc:Choice>
              <mc:Fallback>
                <p:oleObj name="think-cell Slide" r:id="rId8" imgW="413" imgH="416" progId="TCLayout.ActiveDocument.1">
                  <p:embed/>
                  <p:pic>
                    <p:nvPicPr>
                      <p:cNvPr id="3" name="Object 2" hidden="1">
                        <a:extLst>
                          <a:ext uri="{FF2B5EF4-FFF2-40B4-BE49-F238E27FC236}">
                            <a16:creationId xmlns:a16="http://schemas.microsoft.com/office/drawing/2014/main" id="{D8EFF8A2-0FB9-4B25-8B8D-492353274983}"/>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F741700-5035-4E61-A4AC-1B3C7AE220D5}"/>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err="1">
              <a:solidFill>
                <a:schemeClr val="bg1"/>
              </a:solidFill>
              <a:latin typeface="Georgia" panose="02040502050405020303" pitchFamily="18" charset="0"/>
              <a:ea typeface="+mj-ea"/>
              <a:cs typeface="+mj-cs"/>
              <a:sym typeface="Georgia" panose="02040502050405020303" pitchFamily="18"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554736" y="182372"/>
            <a:ext cx="11082528" cy="731520"/>
          </a:xfrm>
        </p:spPr>
        <p:txBody>
          <a:bodyPr/>
          <a:lstStyle/>
          <a:p>
            <a:r>
              <a:rPr lang="en-US"/>
              <a:t>Click to edit Master title style</a:t>
            </a: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Tree>
    <p:extLst>
      <p:ext uri="{BB962C8B-B14F-4D97-AF65-F5344CB8AC3E}">
        <p14:creationId xmlns:p14="http://schemas.microsoft.com/office/powerpoint/2010/main" val="3275631091"/>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userDrawn="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sz="3000"/>
            </a:lvl1pPr>
          </a:lstStyle>
          <a:p>
            <a:r>
              <a:rPr lang="en-US"/>
              <a:t>Click to edit Master title style</a:t>
            </a:r>
          </a:p>
        </p:txBody>
      </p:sp>
      <p:sp>
        <p:nvSpPr>
          <p:cNvPr id="6" name="Slide Number Placeholder 5"/>
          <p:cNvSpPr>
            <a:spLocks noGrp="1"/>
          </p:cNvSpPr>
          <p:nvPr>
            <p:ph type="sldNum" sz="quarter" idx="12"/>
          </p:nvPr>
        </p:nvSpPr>
        <p:spPr/>
        <p:txBody>
          <a:bodyPr/>
          <a:lstStyle/>
          <a:p>
            <a:fld id="{3894B5BD-8EEA-EE45-A2F9-285CE35FC7A2}" type="slidenum">
              <a:rPr lang="en-US" smtClean="0"/>
              <a:t>‹#›</a:t>
            </a:fld>
            <a:endParaRPr lang="en-US"/>
          </a:p>
        </p:txBody>
      </p:sp>
      <p:pic>
        <p:nvPicPr>
          <p:cNvPr id="3" name="Picture 2" descr="Text&#10;&#10;Description automatically generated">
            <a:hlinkClick r:id="rId2"/>
            <a:extLst>
              <a:ext uri="{FF2B5EF4-FFF2-40B4-BE49-F238E27FC236}">
                <a16:creationId xmlns:a16="http://schemas.microsoft.com/office/drawing/2014/main" id="{F482ACC4-DED8-579E-6D26-C4EF3F30D4C5}"/>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247622" y="6227047"/>
            <a:ext cx="3754656" cy="685554"/>
          </a:xfrm>
          <a:prstGeom prst="rect">
            <a:avLst/>
          </a:prstGeom>
        </p:spPr>
      </p:pic>
    </p:spTree>
    <p:extLst>
      <p:ext uri="{BB962C8B-B14F-4D97-AF65-F5344CB8AC3E}">
        <p14:creationId xmlns:p14="http://schemas.microsoft.com/office/powerpoint/2010/main" val="229316477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LANL 1">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A4D4B093-F253-1EB2-3247-44FFC4F7DDAF}"/>
              </a:ext>
            </a:extLst>
          </p:cNvPr>
          <p:cNvSpPr/>
          <p:nvPr userDrawn="1"/>
        </p:nvSpPr>
        <p:spPr>
          <a:xfrm>
            <a:off x="0" y="985838"/>
            <a:ext cx="12192000" cy="5507037"/>
          </a:xfrm>
          <a:prstGeom prst="rect">
            <a:avLst/>
          </a:prstGeom>
          <a:ln>
            <a:noFill/>
          </a:ln>
        </p:spPr>
        <p:style>
          <a:lnRef idx="2">
            <a:schemeClr val="dk1"/>
          </a:lnRef>
          <a:fillRef idx="1">
            <a:schemeClr val="lt1"/>
          </a:fillRef>
          <a:effectRef idx="0">
            <a:schemeClr val="dk1"/>
          </a:effectRef>
          <a:fontRef idx="minor">
            <a:schemeClr val="dk1"/>
          </a:fontRef>
        </p:style>
        <p:txBody>
          <a:bodyPr anchor="ctr"/>
          <a:lstStyle/>
          <a:p>
            <a:pPr algn="ctr" eaLnBrk="1" fontAlgn="auto" hangingPunct="1">
              <a:spcBef>
                <a:spcPts val="0"/>
              </a:spcBef>
              <a:spcAft>
                <a:spcPts val="0"/>
              </a:spcAft>
              <a:defRPr/>
            </a:pPr>
            <a:endParaRPr lang="en-US" sz="1013">
              <a:solidFill>
                <a:srgbClr val="214877"/>
              </a:solidFill>
            </a:endParaRPr>
          </a:p>
        </p:txBody>
      </p:sp>
      <p:sp>
        <p:nvSpPr>
          <p:cNvPr id="2" name="Title 1"/>
          <p:cNvSpPr>
            <a:spLocks noGrp="1"/>
          </p:cNvSpPr>
          <p:nvPr>
            <p:ph type="title"/>
          </p:nvPr>
        </p:nvSpPr>
        <p:spPr>
          <a:xfrm>
            <a:off x="371417" y="4"/>
            <a:ext cx="11549655" cy="985093"/>
          </a:xfrm>
          <a:prstGeom prst="rect">
            <a:avLst/>
          </a:prstGeom>
        </p:spPr>
        <p:txBody>
          <a:bodyPr/>
          <a:lstStyle>
            <a:lvl1pPr>
              <a:defRPr sz="2250"/>
            </a:lvl1pPr>
          </a:lstStyle>
          <a:p>
            <a:r>
              <a:rPr lang="en-US"/>
              <a:t>Click to edit Master title style</a:t>
            </a:r>
          </a:p>
        </p:txBody>
      </p:sp>
      <p:sp>
        <p:nvSpPr>
          <p:cNvPr id="8" name="Content Placeholder 2"/>
          <p:cNvSpPr>
            <a:spLocks noGrp="1"/>
          </p:cNvSpPr>
          <p:nvPr>
            <p:ph idx="1"/>
          </p:nvPr>
        </p:nvSpPr>
        <p:spPr>
          <a:xfrm>
            <a:off x="371412" y="1056640"/>
            <a:ext cx="11648997" cy="5269124"/>
          </a:xfrm>
          <a:prstGeom prst="rect">
            <a:avLst/>
          </a:prstGeom>
        </p:spPr>
        <p:txBody>
          <a:bodyPr/>
          <a:lstStyle>
            <a:lvl1pPr marL="127397" indent="-127397">
              <a:spcBef>
                <a:spcPts val="900"/>
              </a:spcBef>
              <a:buClr>
                <a:srgbClr val="07477F"/>
              </a:buClr>
              <a:buSzPct val="110000"/>
              <a:defRPr sz="1500">
                <a:solidFill>
                  <a:schemeClr val="accent1"/>
                </a:solidFill>
              </a:defRPr>
            </a:lvl1pPr>
            <a:lvl2pPr marL="385763" indent="-172641">
              <a:defRPr sz="1350">
                <a:solidFill>
                  <a:schemeClr val="accent1"/>
                </a:solidFill>
              </a:defRPr>
            </a:lvl2pPr>
            <a:lvl3pPr marL="472679" indent="-86916">
              <a:spcBef>
                <a:spcPts val="0"/>
              </a:spcBef>
              <a:defRPr sz="1050">
                <a:solidFill>
                  <a:schemeClr val="accent1"/>
                </a:solidFill>
              </a:defRPr>
            </a:lvl3pPr>
            <a:lvl4pPr>
              <a:defRPr sz="750">
                <a:solidFill>
                  <a:schemeClr val="accent1"/>
                </a:solidFill>
              </a:defRPr>
            </a:lvl4pPr>
            <a:lvl5pPr>
              <a:defRPr sz="750">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8">
            <a:extLst>
              <a:ext uri="{FF2B5EF4-FFF2-40B4-BE49-F238E27FC236}">
                <a16:creationId xmlns:a16="http://schemas.microsoft.com/office/drawing/2014/main" id="{EFC81C90-198B-7953-7D7C-109DF3CAAC61}"/>
              </a:ext>
            </a:extLst>
          </p:cNvPr>
          <p:cNvSpPr>
            <a:spLocks noGrp="1"/>
          </p:cNvSpPr>
          <p:nvPr>
            <p:ph type="dt" sz="half" idx="10"/>
          </p:nvPr>
        </p:nvSpPr>
        <p:spPr>
          <a:xfrm>
            <a:off x="0" y="0"/>
            <a:ext cx="0" cy="0"/>
          </a:xfrm>
        </p:spPr>
        <p:txBody>
          <a:bodyPr/>
          <a:lstStyle>
            <a:lvl1pPr>
              <a:defRPr/>
            </a:lvl1pPr>
          </a:lstStyle>
          <a:p>
            <a:pPr>
              <a:defRPr/>
            </a:pPr>
            <a:r>
              <a:rPr lang="en-US"/>
              <a:t>May 5 and 6, 2020</a:t>
            </a:r>
          </a:p>
        </p:txBody>
      </p:sp>
      <p:sp>
        <p:nvSpPr>
          <p:cNvPr id="6" name="Footer Placeholder 9">
            <a:extLst>
              <a:ext uri="{FF2B5EF4-FFF2-40B4-BE49-F238E27FC236}">
                <a16:creationId xmlns:a16="http://schemas.microsoft.com/office/drawing/2014/main" id="{920EF070-F23B-B4D4-4C14-04F84736D679}"/>
              </a:ext>
            </a:extLst>
          </p:cNvPr>
          <p:cNvSpPr>
            <a:spLocks noGrp="1"/>
          </p:cNvSpPr>
          <p:nvPr>
            <p:ph type="ftr" sz="quarter" idx="11"/>
          </p:nvPr>
        </p:nvSpPr>
        <p:spPr>
          <a:xfrm>
            <a:off x="0" y="0"/>
            <a:ext cx="0" cy="0"/>
          </a:xfrm>
        </p:spPr>
        <p:txBody>
          <a:bodyPr/>
          <a:lstStyle>
            <a:lvl1pPr>
              <a:defRPr/>
            </a:lvl1pPr>
          </a:lstStyle>
          <a:p>
            <a:pPr>
              <a:defRPr/>
            </a:pPr>
            <a:r>
              <a:rPr lang="en-US"/>
              <a:t>FY 2022 Strategy Session  [Name of Campaign] Campaign</a:t>
            </a:r>
          </a:p>
        </p:txBody>
      </p:sp>
    </p:spTree>
    <p:extLst>
      <p:ext uri="{BB962C8B-B14F-4D97-AF65-F5344CB8AC3E}">
        <p14:creationId xmlns:p14="http://schemas.microsoft.com/office/powerpoint/2010/main" val="2690561603"/>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2"/>
            </p:custDataLst>
            <p:extLst>
              <p:ext uri="{D42A27DB-BD31-4B8C-83A1-F6EECF244321}">
                <p14:modId xmlns:p14="http://schemas.microsoft.com/office/powerpoint/2010/main" val="2304626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0049" name="think-cell Slide" r:id="rId8" imgW="592" imgH="591" progId="TCLayout.ActiveDocument.1">
                  <p:embed/>
                </p:oleObj>
              </mc:Choice>
              <mc:Fallback>
                <p:oleObj name="think-cell Slide" r:id="rId8"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pic>
        <p:nvPicPr>
          <p:cNvPr id="6" name="Picture 5">
            <a:extLst>
              <a:ext uri="{FF2B5EF4-FFF2-40B4-BE49-F238E27FC236}">
                <a16:creationId xmlns:a16="http://schemas.microsoft.com/office/drawing/2014/main" id="{55E1DA73-0288-420C-963E-77565D03A29B}"/>
              </a:ext>
            </a:extLst>
          </p:cNvPr>
          <p:cNvPicPr>
            <a:picLocks noChangeAspect="1"/>
          </p:cNvPicPr>
          <p:nvPr userDrawn="1"/>
        </p:nvPicPr>
        <p:blipFill>
          <a:blip r:embed="rId10"/>
          <a:stretch>
            <a:fillRect/>
          </a:stretch>
        </p:blipFill>
        <p:spPr>
          <a:xfrm>
            <a:off x="0" y="0"/>
            <a:ext cx="12192000" cy="6858000"/>
          </a:xfrm>
          <a:prstGeom prst="rect">
            <a:avLst/>
          </a:prstGeom>
        </p:spPr>
      </p:pic>
      <p:sp>
        <p:nvSpPr>
          <p:cNvPr id="2" name="Rectangle 1" hidden="1">
            <a:extLst>
              <a:ext uri="{FF2B5EF4-FFF2-40B4-BE49-F238E27FC236}">
                <a16:creationId xmlns:a16="http://schemas.microsoft.com/office/drawing/2014/main" id="{CC42428D-965F-410A-AAB0-2F4E028AF07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4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9" name="Freeform: Shape 8">
            <a:extLst>
              <a:ext uri="{FF2B5EF4-FFF2-40B4-BE49-F238E27FC236}">
                <a16:creationId xmlns:a16="http://schemas.microsoft.com/office/drawing/2014/main" id="{ECAA7C47-1951-40C3-A10D-F7AB1FD94C79}"/>
              </a:ext>
            </a:extLst>
          </p:cNvPr>
          <p:cNvSpPr>
            <a:spLocks/>
          </p:cNvSpPr>
          <p:nvPr userDrawn="1"/>
        </p:nvSpPr>
        <p:spPr bwMode="ltGray">
          <a:xfrm>
            <a:off x="121447" y="825902"/>
            <a:ext cx="852614" cy="105559"/>
          </a:xfrm>
          <a:custGeom>
            <a:avLst/>
            <a:gdLst>
              <a:gd name="connsiteX0" fmla="*/ 0 w 11949113"/>
              <a:gd name="connsiteY0" fmla="*/ 0 h 88902"/>
              <a:gd name="connsiteX1" fmla="*/ 11949113 w 11949113"/>
              <a:gd name="connsiteY1" fmla="*/ 0 h 88902"/>
              <a:gd name="connsiteX2" fmla="*/ 11949113 w 11949113"/>
              <a:gd name="connsiteY2" fmla="*/ 88902 h 88902"/>
              <a:gd name="connsiteX3" fmla="*/ 0 w 11949113"/>
              <a:gd name="connsiteY3" fmla="*/ 88902 h 88902"/>
              <a:gd name="connsiteX4" fmla="*/ 0 w 11949113"/>
              <a:gd name="connsiteY4" fmla="*/ 0 h 889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49113" h="88902">
                <a:moveTo>
                  <a:pt x="0" y="0"/>
                </a:moveTo>
                <a:lnTo>
                  <a:pt x="11949113" y="0"/>
                </a:lnTo>
                <a:lnTo>
                  <a:pt x="11949113" y="88902"/>
                </a:lnTo>
                <a:lnTo>
                  <a:pt x="0" y="88902"/>
                </a:lnTo>
                <a:lnTo>
                  <a:pt x="0" y="0"/>
                </a:ln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err="1">
              <a:solidFill>
                <a:schemeClr val="tx1"/>
              </a:solidFill>
            </a:endParaRPr>
          </a:p>
        </p:txBody>
      </p:sp>
      <p:sp>
        <p:nvSpPr>
          <p:cNvPr id="10" name="Freeform: Shape 9">
            <a:extLst>
              <a:ext uri="{FF2B5EF4-FFF2-40B4-BE49-F238E27FC236}">
                <a16:creationId xmlns:a16="http://schemas.microsoft.com/office/drawing/2014/main" id="{5BAF4C89-23CA-4408-8100-78F60AF6DB7E}"/>
              </a:ext>
            </a:extLst>
          </p:cNvPr>
          <p:cNvSpPr>
            <a:spLocks/>
          </p:cNvSpPr>
          <p:nvPr userDrawn="1"/>
        </p:nvSpPr>
        <p:spPr bwMode="ltGray">
          <a:xfrm>
            <a:off x="4378345" y="2936248"/>
            <a:ext cx="7813649" cy="2421393"/>
          </a:xfrm>
          <a:custGeom>
            <a:avLst/>
            <a:gdLst>
              <a:gd name="connsiteX0" fmla="*/ 7692210 w 7692210"/>
              <a:gd name="connsiteY0" fmla="*/ 0 h 2421393"/>
              <a:gd name="connsiteX1" fmla="*/ 7692210 w 7692210"/>
              <a:gd name="connsiteY1" fmla="*/ 48255 h 2421393"/>
              <a:gd name="connsiteX2" fmla="*/ 7692210 w 7692210"/>
              <a:gd name="connsiteY2" fmla="*/ 88902 h 2421393"/>
              <a:gd name="connsiteX3" fmla="*/ 0 w 7692210"/>
              <a:gd name="connsiteY3" fmla="*/ 2421393 h 2421393"/>
              <a:gd name="connsiteX4" fmla="*/ 0 w 7692210"/>
              <a:gd name="connsiteY4" fmla="*/ 2332491 h 2421393"/>
              <a:gd name="connsiteX5" fmla="*/ 7692210 w 7692210"/>
              <a:gd name="connsiteY5" fmla="*/ 0 h 24213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210" h="2421393">
                <a:moveTo>
                  <a:pt x="7692210" y="0"/>
                </a:moveTo>
                <a:lnTo>
                  <a:pt x="7692210" y="48255"/>
                </a:lnTo>
                <a:lnTo>
                  <a:pt x="7692210" y="88902"/>
                </a:lnTo>
                <a:lnTo>
                  <a:pt x="0" y="2421393"/>
                </a:lnTo>
                <a:lnTo>
                  <a:pt x="0" y="2332491"/>
                </a:lnTo>
                <a:lnTo>
                  <a:pt x="7692210" y="0"/>
                </a:ln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err="1">
              <a:solidFill>
                <a:schemeClr val="tx1"/>
              </a:solidFill>
            </a:endParaRPr>
          </a:p>
        </p:txBody>
      </p:sp>
      <p:sp>
        <p:nvSpPr>
          <p:cNvPr id="11" name="Freeform: Shape 10">
            <a:extLst>
              <a:ext uri="{FF2B5EF4-FFF2-40B4-BE49-F238E27FC236}">
                <a16:creationId xmlns:a16="http://schemas.microsoft.com/office/drawing/2014/main" id="{403E8A91-EEB6-455D-8263-2FB1C13AAD3A}"/>
              </a:ext>
            </a:extLst>
          </p:cNvPr>
          <p:cNvSpPr>
            <a:spLocks/>
          </p:cNvSpPr>
          <p:nvPr userDrawn="1"/>
        </p:nvSpPr>
        <p:spPr bwMode="ltGray">
          <a:xfrm>
            <a:off x="1" y="6301013"/>
            <a:ext cx="974060" cy="396927"/>
          </a:xfrm>
          <a:custGeom>
            <a:avLst/>
            <a:gdLst>
              <a:gd name="connsiteX0" fmla="*/ 852616 w 852616"/>
              <a:gd name="connsiteY0" fmla="*/ 0 h 347439"/>
              <a:gd name="connsiteX1" fmla="*/ 852616 w 852616"/>
              <a:gd name="connsiteY1" fmla="*/ 88902 h 347439"/>
              <a:gd name="connsiteX2" fmla="*/ 0 w 852616"/>
              <a:gd name="connsiteY2" fmla="*/ 347439 h 347439"/>
              <a:gd name="connsiteX3" fmla="*/ 0 w 852616"/>
              <a:gd name="connsiteY3" fmla="*/ 258537 h 347439"/>
              <a:gd name="connsiteX4" fmla="*/ 852616 w 852616"/>
              <a:gd name="connsiteY4" fmla="*/ 0 h 3474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2616" h="347439">
                <a:moveTo>
                  <a:pt x="852616" y="0"/>
                </a:moveTo>
                <a:lnTo>
                  <a:pt x="852616" y="88902"/>
                </a:lnTo>
                <a:lnTo>
                  <a:pt x="0" y="347439"/>
                </a:lnTo>
                <a:lnTo>
                  <a:pt x="0" y="258537"/>
                </a:lnTo>
                <a:lnTo>
                  <a:pt x="852616" y="0"/>
                </a:ln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err="1">
              <a:solidFill>
                <a:schemeClr val="bg1"/>
              </a:solidFill>
            </a:endParaRPr>
          </a:p>
        </p:txBody>
      </p:sp>
      <p:sp>
        <p:nvSpPr>
          <p:cNvPr id="12" name="Freeform: Shape 11">
            <a:extLst>
              <a:ext uri="{FF2B5EF4-FFF2-40B4-BE49-F238E27FC236}">
                <a16:creationId xmlns:a16="http://schemas.microsoft.com/office/drawing/2014/main" id="{A85C89D5-CB77-4649-82F6-C256C0C58B84}"/>
              </a:ext>
            </a:extLst>
          </p:cNvPr>
          <p:cNvSpPr>
            <a:spLocks/>
          </p:cNvSpPr>
          <p:nvPr userDrawn="1"/>
        </p:nvSpPr>
        <p:spPr bwMode="ltGray">
          <a:xfrm>
            <a:off x="974062" y="993775"/>
            <a:ext cx="3404286" cy="5864225"/>
          </a:xfrm>
          <a:custGeom>
            <a:avLst/>
            <a:gdLst>
              <a:gd name="connsiteX0" fmla="*/ 0 w 11949113"/>
              <a:gd name="connsiteY0" fmla="*/ 0 h 88902"/>
              <a:gd name="connsiteX1" fmla="*/ 11949113 w 11949113"/>
              <a:gd name="connsiteY1" fmla="*/ 0 h 88902"/>
              <a:gd name="connsiteX2" fmla="*/ 11949113 w 11949113"/>
              <a:gd name="connsiteY2" fmla="*/ 88902 h 88902"/>
              <a:gd name="connsiteX3" fmla="*/ 0 w 11949113"/>
              <a:gd name="connsiteY3" fmla="*/ 88902 h 88902"/>
              <a:gd name="connsiteX4" fmla="*/ 0 w 11949113"/>
              <a:gd name="connsiteY4" fmla="*/ 0 h 889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49113" h="88902">
                <a:moveTo>
                  <a:pt x="0" y="0"/>
                </a:moveTo>
                <a:lnTo>
                  <a:pt x="11949113" y="0"/>
                </a:lnTo>
                <a:lnTo>
                  <a:pt x="11949113" y="88902"/>
                </a:lnTo>
                <a:lnTo>
                  <a:pt x="0" y="88902"/>
                </a:lnTo>
                <a:lnTo>
                  <a:pt x="0" y="0"/>
                </a:lnTo>
                <a:close/>
              </a:path>
            </a:pathLst>
          </a:custGeom>
          <a:solidFill>
            <a:schemeClr val="accent1">
              <a:alpha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err="1">
              <a:solidFill>
                <a:schemeClr val="tx1"/>
              </a:solidFill>
            </a:endParaRPr>
          </a:p>
        </p:txBody>
      </p:sp>
      <p:sp>
        <p:nvSpPr>
          <p:cNvPr id="16" name="Documenttype">
            <a:extLst>
              <a:ext uri="{FF2B5EF4-FFF2-40B4-BE49-F238E27FC236}">
                <a16:creationId xmlns:a16="http://schemas.microsoft.com/office/drawing/2014/main" id="{0CADA7EB-5C2E-4AD4-A32E-534A28817C8A}"/>
              </a:ext>
            </a:extLst>
          </p:cNvPr>
          <p:cNvSpPr>
            <a:spLocks noGrp="1"/>
          </p:cNvSpPr>
          <p:nvPr>
            <p:ph type="body" sz="quarter" idx="13" hasCustomPrompt="1"/>
            <p:custDataLst>
              <p:tags r:id="rId4"/>
            </p:custDataLst>
          </p:nvPr>
        </p:nvSpPr>
        <p:spPr>
          <a:xfrm>
            <a:off x="1167383" y="6210300"/>
            <a:ext cx="3014219" cy="215444"/>
          </a:xfrm>
          <a:prstGeom prst="rect">
            <a:avLst/>
          </a:prstGeom>
        </p:spPr>
        <p:txBody>
          <a:bodyPr wrap="square">
            <a:spAutoFit/>
          </a:bodyPr>
          <a:lstStyle>
            <a:lvl1pPr rtl="0">
              <a:buNone/>
              <a:defRPr sz="1400">
                <a:solidFill>
                  <a:schemeClr val="bg1"/>
                </a:solidFill>
              </a:defRPr>
            </a:lvl1pPr>
            <a:lvl2pPr marL="115888" indent="0">
              <a:buNone/>
              <a:defRPr>
                <a:solidFill>
                  <a:schemeClr val="bg1"/>
                </a:solidFill>
              </a:defRPr>
            </a:lvl2pPr>
            <a:lvl3pPr marL="466344" indent="0">
              <a:buNone/>
              <a:defRPr>
                <a:solidFill>
                  <a:schemeClr val="bg1"/>
                </a:solidFill>
              </a:defRPr>
            </a:lvl3pPr>
            <a:lvl4pPr marL="813816" indent="0">
              <a:buNone/>
              <a:defRPr>
                <a:solidFill>
                  <a:schemeClr val="bg1"/>
                </a:solidFill>
              </a:defRPr>
            </a:lvl4pPr>
            <a:lvl5pPr marL="1161288" indent="0">
              <a:buNone/>
              <a:defRPr>
                <a:solidFill>
                  <a:schemeClr val="bg1"/>
                </a:solidFill>
              </a:defRPr>
            </a:lvl5pPr>
          </a:lstStyle>
          <a:p>
            <a:pPr lvl="0"/>
            <a:r>
              <a:rPr lang="en-US"/>
              <a:t>Edit date or title/role</a:t>
            </a: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5"/>
            </p:custDataLst>
          </p:nvPr>
        </p:nvSpPr>
        <p:spPr>
          <a:xfrm>
            <a:off x="1168524" y="4576466"/>
            <a:ext cx="3014219" cy="615553"/>
          </a:xfrm>
          <a:prstGeom prst="rect">
            <a:avLst/>
          </a:prstGeom>
        </p:spPr>
        <p:txBody>
          <a:bodyPr wrap="square">
            <a:spAutoFit/>
          </a:bodyPr>
          <a:lstStyle>
            <a:lvl1pPr marL="0" indent="0" algn="l" rtl="0">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0" name="Title">
            <a:extLst>
              <a:ext uri="{FF2B5EF4-FFF2-40B4-BE49-F238E27FC236}">
                <a16:creationId xmlns:a16="http://schemas.microsoft.com/office/drawing/2014/main" id="{AA4E4E19-7239-46DA-AE24-CE9556C9BE7D}"/>
              </a:ext>
            </a:extLst>
          </p:cNvPr>
          <p:cNvSpPr>
            <a:spLocks noGrp="1"/>
          </p:cNvSpPr>
          <p:nvPr>
            <p:ph type="title"/>
            <p:custDataLst>
              <p:tags r:id="rId6"/>
            </p:custDataLst>
          </p:nvPr>
        </p:nvSpPr>
        <p:spPr>
          <a:xfrm>
            <a:off x="1168524" y="3745571"/>
            <a:ext cx="3014219" cy="677108"/>
          </a:xfrm>
          <a:prstGeom prst="rect">
            <a:avLst/>
          </a:prstGeom>
        </p:spPr>
        <p:txBody>
          <a:bodyPr vert="horz" anchor="b">
            <a:normAutofit/>
          </a:bodyPr>
          <a:lstStyle>
            <a:lvl1pPr rtl="0">
              <a:defRPr sz="4400" baseline="0">
                <a:ln w="6350" cap="flat">
                  <a:noFill/>
                  <a:miter lim="800000"/>
                </a:ln>
                <a:solidFill>
                  <a:schemeClr val="bg1"/>
                </a:solidFill>
              </a:defRPr>
            </a:lvl1pPr>
          </a:lstStyle>
          <a:p>
            <a:r>
              <a:rPr lang="en-US"/>
              <a:t>Click to edit Master title style</a:t>
            </a:r>
          </a:p>
        </p:txBody>
      </p:sp>
      <p:pic>
        <p:nvPicPr>
          <p:cNvPr id="19" name="Picture 18">
            <a:extLst>
              <a:ext uri="{FF2B5EF4-FFF2-40B4-BE49-F238E27FC236}">
                <a16:creationId xmlns:a16="http://schemas.microsoft.com/office/drawing/2014/main" id="{27D68A90-ABD6-4EFA-8E8A-79F6739E8198}"/>
              </a:ext>
            </a:extLst>
          </p:cNvPr>
          <p:cNvPicPr>
            <a:picLocks noChangeAspect="1"/>
          </p:cNvPicPr>
          <p:nvPr userDrawn="1"/>
        </p:nvPicPr>
        <p:blipFill>
          <a:blip r:embed="rId11"/>
          <a:stretch>
            <a:fillRect/>
          </a:stretch>
        </p:blipFill>
        <p:spPr>
          <a:xfrm>
            <a:off x="9086386" y="5932447"/>
            <a:ext cx="2548402" cy="555706"/>
          </a:xfrm>
          <a:prstGeom prst="rect">
            <a:avLst/>
          </a:prstGeom>
        </p:spPr>
      </p:pic>
      <p:sp>
        <p:nvSpPr>
          <p:cNvPr id="3" name="TextBox 2">
            <a:extLst>
              <a:ext uri="{FF2B5EF4-FFF2-40B4-BE49-F238E27FC236}">
                <a16:creationId xmlns:a16="http://schemas.microsoft.com/office/drawing/2014/main" id="{908466DB-256F-B70E-4D00-392A8CEBACA7}"/>
              </a:ext>
            </a:extLst>
          </p:cNvPr>
          <p:cNvSpPr txBox="1"/>
          <p:nvPr userDrawn="1"/>
        </p:nvSpPr>
        <p:spPr>
          <a:xfrm>
            <a:off x="4236259" y="0"/>
            <a:ext cx="7955741" cy="230832"/>
          </a:xfrm>
          <a:prstGeom prst="rect">
            <a:avLst/>
          </a:prstGeom>
          <a:noFill/>
        </p:spPr>
        <p:txBody>
          <a:bodyPr wrap="square" rtlCol="0">
            <a:spAutoFit/>
          </a:bodyPr>
          <a:lstStyle/>
          <a:p>
            <a:pPr algn="r"/>
            <a:r>
              <a:rPr lang="en-US" sz="900">
                <a:solidFill>
                  <a:srgbClr val="FF0000"/>
                </a:solidFill>
              </a:rPr>
              <a:t>DRAFT – FOR EVALUATION PURPOSES ONLY – NOT A FINAL DEPARTMENT OF ENERGY DETERMINATION – DO NOT DISTRIBUTE </a:t>
            </a:r>
          </a:p>
        </p:txBody>
      </p:sp>
    </p:spTree>
    <p:extLst>
      <p:ext uri="{BB962C8B-B14F-4D97-AF65-F5344CB8AC3E}">
        <p14:creationId xmlns:p14="http://schemas.microsoft.com/office/powerpoint/2010/main" val="797465091"/>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showMasterSp="0" preserve="1" userDrawn="1">
  <p:cSld name="1_Tit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2"/>
            </p:custDataLst>
            <p:extLst>
              <p:ext uri="{D42A27DB-BD31-4B8C-83A1-F6EECF244321}">
                <p14:modId xmlns:p14="http://schemas.microsoft.com/office/powerpoint/2010/main" val="725475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1073" name="think-cell Slide" r:id="rId8" imgW="592" imgH="591" progId="TCLayout.ActiveDocument.1">
                  <p:embed/>
                </p:oleObj>
              </mc:Choice>
              <mc:Fallback>
                <p:oleObj name="think-cell Slide" r:id="rId8"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4400" b="1" i="0" baseline="0">
              <a:solidFill>
                <a:schemeClr val="bg1"/>
              </a:solidFill>
              <a:latin typeface="Arial" panose="020B0604020202020204" pitchFamily="34" charset="0"/>
              <a:ea typeface="+mj-ea"/>
              <a:cs typeface="+mj-cs"/>
              <a:sym typeface="Arial" panose="020B0604020202020204" pitchFamily="34" charset="0"/>
            </a:endParaRPr>
          </a:p>
        </p:txBody>
      </p:sp>
      <p:pic>
        <p:nvPicPr>
          <p:cNvPr id="13" name="Picture 12">
            <a:extLst>
              <a:ext uri="{FF2B5EF4-FFF2-40B4-BE49-F238E27FC236}">
                <a16:creationId xmlns:a16="http://schemas.microsoft.com/office/drawing/2014/main" id="{0A4ECE80-78F9-4776-8D97-A318A82772DD}"/>
              </a:ext>
            </a:extLst>
          </p:cNvPr>
          <p:cNvPicPr>
            <a:picLocks noChangeAspect="1" noChangeArrowheads="1"/>
          </p:cNvPicPr>
          <p:nvPr userDrawn="1"/>
        </p:nvPicPr>
        <p:blipFill rotWithShape="1">
          <a:blip r:embed="rId10">
            <a:extLst>
              <a:ext uri="{28A0092B-C50C-407E-A947-70E740481C1C}">
                <a14:useLocalDpi xmlns:a14="http://schemas.microsoft.com/office/drawing/2010/main" val="0"/>
              </a:ext>
            </a:extLst>
          </a:blip>
          <a:srcRect l="61903" r="1088"/>
          <a:stretch/>
        </p:blipFill>
        <p:spPr bwMode="auto">
          <a:xfrm>
            <a:off x="7579553" y="3176"/>
            <a:ext cx="4612448" cy="6854824"/>
          </a:xfrm>
          <a:custGeom>
            <a:avLst/>
            <a:gdLst>
              <a:gd name="connsiteX0" fmla="*/ 3392082 w 4612448"/>
              <a:gd name="connsiteY0" fmla="*/ 0 h 6854824"/>
              <a:gd name="connsiteX1" fmla="*/ 4612448 w 4612448"/>
              <a:gd name="connsiteY1" fmla="*/ 0 h 6854824"/>
              <a:gd name="connsiteX2" fmla="*/ 4612448 w 4612448"/>
              <a:gd name="connsiteY2" fmla="*/ 1229449 h 6854824"/>
              <a:gd name="connsiteX3" fmla="*/ 929739 w 4612448"/>
              <a:gd name="connsiteY3" fmla="*/ 6854824 h 6854824"/>
              <a:gd name="connsiteX4" fmla="*/ 904006 w 4612448"/>
              <a:gd name="connsiteY4" fmla="*/ 6854824 h 6854824"/>
              <a:gd name="connsiteX5" fmla="*/ 0 w 4612448"/>
              <a:gd name="connsiteY5" fmla="*/ 5140681 h 6854824"/>
              <a:gd name="connsiteX6" fmla="*/ 5896 w 4612448"/>
              <a:gd name="connsiteY6" fmla="*/ 5142274 h 68548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612448" h="6854824">
                <a:moveTo>
                  <a:pt x="3392082" y="0"/>
                </a:moveTo>
                <a:lnTo>
                  <a:pt x="4612448" y="0"/>
                </a:lnTo>
                <a:lnTo>
                  <a:pt x="4612448" y="1229449"/>
                </a:lnTo>
                <a:lnTo>
                  <a:pt x="929739" y="6854824"/>
                </a:lnTo>
                <a:lnTo>
                  <a:pt x="904006" y="6854824"/>
                </a:lnTo>
                <a:lnTo>
                  <a:pt x="0" y="5140681"/>
                </a:lnTo>
                <a:lnTo>
                  <a:pt x="5896" y="5142274"/>
                </a:lnTo>
                <a:close/>
              </a:path>
            </a:pathLst>
          </a:custGeom>
          <a:noFill/>
          <a:extLst>
            <a:ext uri="{909E8E84-426E-40DD-AFC4-6F175D3DCCD1}">
              <a14:hiddenFill xmlns:a14="http://schemas.microsoft.com/office/drawing/2010/main">
                <a:solidFill>
                  <a:srgbClr val="FFFFFF"/>
                </a:solidFill>
              </a14:hiddenFill>
            </a:ext>
          </a:extLst>
        </p:spPr>
      </p:pic>
      <p:pic>
        <p:nvPicPr>
          <p:cNvPr id="14" name="Picture 13">
            <a:extLst>
              <a:ext uri="{FF2B5EF4-FFF2-40B4-BE49-F238E27FC236}">
                <a16:creationId xmlns:a16="http://schemas.microsoft.com/office/drawing/2014/main" id="{59CFA717-8272-4817-BE37-0C59132EE680}"/>
              </a:ext>
            </a:extLst>
          </p:cNvPr>
          <p:cNvPicPr>
            <a:picLocks noChangeAspect="1" noChangeArrowheads="1"/>
          </p:cNvPicPr>
          <p:nvPr userDrawn="1"/>
        </p:nvPicPr>
        <p:blipFill rotWithShape="1">
          <a:blip r:embed="rId10">
            <a:extLst>
              <a:ext uri="{28A0092B-C50C-407E-A947-70E740481C1C}">
                <a14:useLocalDpi xmlns:a14="http://schemas.microsoft.com/office/drawing/2010/main" val="0"/>
              </a:ext>
            </a:extLst>
          </a:blip>
          <a:srcRect l="1113" t="18088" r="1088" b="25093"/>
          <a:stretch/>
        </p:blipFill>
        <p:spPr bwMode="auto">
          <a:xfrm>
            <a:off x="3176" y="1243074"/>
            <a:ext cx="12188825" cy="3894839"/>
          </a:xfrm>
          <a:custGeom>
            <a:avLst/>
            <a:gdLst>
              <a:gd name="connsiteX0" fmla="*/ 0 w 12188825"/>
              <a:gd name="connsiteY0" fmla="*/ 0 h 3894839"/>
              <a:gd name="connsiteX1" fmla="*/ 12188825 w 12188825"/>
              <a:gd name="connsiteY1" fmla="*/ 0 h 3894839"/>
              <a:gd name="connsiteX2" fmla="*/ 12188825 w 12188825"/>
              <a:gd name="connsiteY2" fmla="*/ 3871400 h 3894839"/>
              <a:gd name="connsiteX3" fmla="*/ 12111525 w 12188825"/>
              <a:gd name="connsiteY3" fmla="*/ 3894839 h 3894839"/>
              <a:gd name="connsiteX4" fmla="*/ 0 w 12188825"/>
              <a:gd name="connsiteY4" fmla="*/ 3894839 h 38948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88825" h="3894839">
                <a:moveTo>
                  <a:pt x="0" y="0"/>
                </a:moveTo>
                <a:lnTo>
                  <a:pt x="12188825" y="0"/>
                </a:lnTo>
                <a:lnTo>
                  <a:pt x="12188825" y="3871400"/>
                </a:lnTo>
                <a:lnTo>
                  <a:pt x="12111525" y="3894839"/>
                </a:lnTo>
                <a:lnTo>
                  <a:pt x="0" y="3894839"/>
                </a:lnTo>
                <a:close/>
              </a:path>
            </a:pathLst>
          </a:custGeom>
          <a:noFill/>
          <a:extLst>
            <a:ext uri="{909E8E84-426E-40DD-AFC4-6F175D3DCCD1}">
              <a14:hiddenFill xmlns:a14="http://schemas.microsoft.com/office/drawing/2010/main">
                <a:solidFill>
                  <a:srgbClr val="FFFFFF"/>
                </a:solidFill>
              </a14:hiddenFill>
            </a:ext>
          </a:extLst>
        </p:spPr>
      </p:pic>
      <p:sp>
        <p:nvSpPr>
          <p:cNvPr id="15" name="Right Triangle 14">
            <a:extLst>
              <a:ext uri="{FF2B5EF4-FFF2-40B4-BE49-F238E27FC236}">
                <a16:creationId xmlns:a16="http://schemas.microsoft.com/office/drawing/2014/main" id="{1B3A1FEA-EA30-4EB0-8D69-64C37450EFAB}"/>
              </a:ext>
            </a:extLst>
          </p:cNvPr>
          <p:cNvSpPr/>
          <p:nvPr userDrawn="1"/>
        </p:nvSpPr>
        <p:spPr>
          <a:xfrm flipV="1">
            <a:off x="0" y="1243073"/>
            <a:ext cx="1427792" cy="2780480"/>
          </a:xfrm>
          <a:prstGeom prst="rtTriangle">
            <a:avLst/>
          </a:prstGeom>
          <a:solidFill>
            <a:schemeClr val="accent3">
              <a:alpha val="91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solidFill>
                <a:schemeClr val="tx1"/>
              </a:solidFill>
            </a:endParaRPr>
          </a:p>
        </p:txBody>
      </p:sp>
      <p:sp>
        <p:nvSpPr>
          <p:cNvPr id="17" name="Freeform: Shape 16">
            <a:extLst>
              <a:ext uri="{FF2B5EF4-FFF2-40B4-BE49-F238E27FC236}">
                <a16:creationId xmlns:a16="http://schemas.microsoft.com/office/drawing/2014/main" id="{C61DA7B5-8BFB-462E-A388-8EAD222AAA04}"/>
              </a:ext>
            </a:extLst>
          </p:cNvPr>
          <p:cNvSpPr/>
          <p:nvPr userDrawn="1"/>
        </p:nvSpPr>
        <p:spPr>
          <a:xfrm>
            <a:off x="8501885" y="5137912"/>
            <a:ext cx="3690115" cy="1741856"/>
          </a:xfrm>
          <a:custGeom>
            <a:avLst/>
            <a:gdLst>
              <a:gd name="connsiteX0" fmla="*/ 1110893 w 3616582"/>
              <a:gd name="connsiteY0" fmla="*/ 0 h 1702684"/>
              <a:gd name="connsiteX1" fmla="*/ 3616582 w 3616582"/>
              <a:gd name="connsiteY1" fmla="*/ 0 h 1702684"/>
              <a:gd name="connsiteX2" fmla="*/ 3616582 w 3616582"/>
              <a:gd name="connsiteY2" fmla="*/ 1702684 h 1702684"/>
              <a:gd name="connsiteX3" fmla="*/ 0 w 3616582"/>
              <a:gd name="connsiteY3" fmla="*/ 1702684 h 1702684"/>
              <a:gd name="connsiteX4" fmla="*/ 0 w 3616582"/>
              <a:gd name="connsiteY4" fmla="*/ 1692465 h 17026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16582" h="1702684">
                <a:moveTo>
                  <a:pt x="1110893" y="0"/>
                </a:moveTo>
                <a:lnTo>
                  <a:pt x="3616582" y="0"/>
                </a:lnTo>
                <a:lnTo>
                  <a:pt x="3616582" y="1702684"/>
                </a:lnTo>
                <a:lnTo>
                  <a:pt x="0" y="1702684"/>
                </a:lnTo>
                <a:lnTo>
                  <a:pt x="0" y="1692465"/>
                </a:ln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err="1">
              <a:solidFill>
                <a:schemeClr val="tx1"/>
              </a:solidFill>
            </a:endParaRPr>
          </a:p>
        </p:txBody>
      </p:sp>
      <p:sp>
        <p:nvSpPr>
          <p:cNvPr id="19" name="Freeform 17">
            <a:extLst>
              <a:ext uri="{FF2B5EF4-FFF2-40B4-BE49-F238E27FC236}">
                <a16:creationId xmlns:a16="http://schemas.microsoft.com/office/drawing/2014/main" id="{5B25DF85-BB03-4821-A7DF-A526E9AA28E0}"/>
              </a:ext>
            </a:extLst>
          </p:cNvPr>
          <p:cNvSpPr/>
          <p:nvPr userDrawn="1"/>
        </p:nvSpPr>
        <p:spPr>
          <a:xfrm>
            <a:off x="7579552" y="1"/>
            <a:ext cx="4612448" cy="6879770"/>
          </a:xfrm>
          <a:custGeom>
            <a:avLst/>
            <a:gdLst>
              <a:gd name="connsiteX0" fmla="*/ 2493918 w 3391152"/>
              <a:gd name="connsiteY0" fmla="*/ 0 h 5283603"/>
              <a:gd name="connsiteX1" fmla="*/ 3391152 w 3391152"/>
              <a:gd name="connsiteY1" fmla="*/ 0 h 5283603"/>
              <a:gd name="connsiteX2" fmla="*/ 3391152 w 3391152"/>
              <a:gd name="connsiteY2" fmla="*/ 944643 h 5283603"/>
              <a:gd name="connsiteX3" fmla="*/ 713001 w 3391152"/>
              <a:gd name="connsiteY3" fmla="*/ 5194951 h 5283603"/>
              <a:gd name="connsiteX4" fmla="*/ 673082 w 3391152"/>
              <a:gd name="connsiteY4" fmla="*/ 5283603 h 5283603"/>
              <a:gd name="connsiteX5" fmla="*/ 0 w 3391152"/>
              <a:gd name="connsiteY5" fmla="*/ 3949821 h 5283603"/>
              <a:gd name="connsiteX6" fmla="*/ 4335 w 3391152"/>
              <a:gd name="connsiteY6" fmla="*/ 3951045 h 5283603"/>
              <a:gd name="connsiteX0" fmla="*/ 2493918 w 3391152"/>
              <a:gd name="connsiteY0" fmla="*/ 0 h 5283603"/>
              <a:gd name="connsiteX1" fmla="*/ 3391152 w 3391152"/>
              <a:gd name="connsiteY1" fmla="*/ 0 h 5283603"/>
              <a:gd name="connsiteX2" fmla="*/ 3391152 w 3391152"/>
              <a:gd name="connsiteY2" fmla="*/ 944643 h 5283603"/>
              <a:gd name="connsiteX3" fmla="*/ 673082 w 3391152"/>
              <a:gd name="connsiteY3" fmla="*/ 5283603 h 5283603"/>
              <a:gd name="connsiteX4" fmla="*/ 0 w 3391152"/>
              <a:gd name="connsiteY4" fmla="*/ 3949821 h 5283603"/>
              <a:gd name="connsiteX5" fmla="*/ 4335 w 3391152"/>
              <a:gd name="connsiteY5" fmla="*/ 3951045 h 5283603"/>
              <a:gd name="connsiteX6" fmla="*/ 2493918 w 3391152"/>
              <a:gd name="connsiteY6" fmla="*/ 0 h 52836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91152" h="5283603">
                <a:moveTo>
                  <a:pt x="2493918" y="0"/>
                </a:moveTo>
                <a:lnTo>
                  <a:pt x="3391152" y="0"/>
                </a:lnTo>
                <a:lnTo>
                  <a:pt x="3391152" y="944643"/>
                </a:lnTo>
                <a:lnTo>
                  <a:pt x="673082" y="5283603"/>
                </a:lnTo>
                <a:lnTo>
                  <a:pt x="0" y="3949821"/>
                </a:lnTo>
                <a:lnTo>
                  <a:pt x="4335" y="3951045"/>
                </a:lnTo>
                <a:lnTo>
                  <a:pt x="2493918" y="0"/>
                </a:lnTo>
                <a:close/>
              </a:path>
            </a:pathLst>
          </a:custGeom>
          <a:solidFill>
            <a:schemeClr val="accent2">
              <a:alpha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solidFill>
                <a:schemeClr val="tx1"/>
              </a:solidFill>
            </a:endParaRPr>
          </a:p>
        </p:txBody>
      </p:sp>
      <p:sp>
        <p:nvSpPr>
          <p:cNvPr id="21" name="Documenttype">
            <a:extLst>
              <a:ext uri="{FF2B5EF4-FFF2-40B4-BE49-F238E27FC236}">
                <a16:creationId xmlns:a16="http://schemas.microsoft.com/office/drawing/2014/main" id="{7C745320-37FF-42B3-9534-86A718277A29}"/>
              </a:ext>
            </a:extLst>
          </p:cNvPr>
          <p:cNvSpPr>
            <a:spLocks noGrp="1"/>
          </p:cNvSpPr>
          <p:nvPr>
            <p:ph type="body" sz="quarter" idx="13" hasCustomPrompt="1"/>
            <p:custDataLst>
              <p:tags r:id="rId4"/>
            </p:custDataLst>
          </p:nvPr>
        </p:nvSpPr>
        <p:spPr>
          <a:xfrm>
            <a:off x="546547" y="6543567"/>
            <a:ext cx="6908676" cy="215444"/>
          </a:xfrm>
          <a:prstGeom prst="rect">
            <a:avLst/>
          </a:prstGeom>
        </p:spPr>
        <p:txBody>
          <a:bodyPr wrap="square">
            <a:spAutoFit/>
          </a:bodyPr>
          <a:lstStyle>
            <a:lvl1pPr rtl="0">
              <a:buNone/>
              <a:defRPr sz="1400">
                <a:solidFill>
                  <a:schemeClr val="tx1"/>
                </a:solidFill>
              </a:defRPr>
            </a:lvl1pPr>
            <a:lvl2pPr marL="115888" indent="0">
              <a:buNone/>
              <a:defRPr>
                <a:solidFill>
                  <a:schemeClr val="bg1"/>
                </a:solidFill>
              </a:defRPr>
            </a:lvl2pPr>
            <a:lvl3pPr marL="466344" indent="0">
              <a:buNone/>
              <a:defRPr>
                <a:solidFill>
                  <a:schemeClr val="bg1"/>
                </a:solidFill>
              </a:defRPr>
            </a:lvl3pPr>
            <a:lvl4pPr marL="813816" indent="0">
              <a:buNone/>
              <a:defRPr>
                <a:solidFill>
                  <a:schemeClr val="bg1"/>
                </a:solidFill>
              </a:defRPr>
            </a:lvl4pPr>
            <a:lvl5pPr marL="1161288" indent="0">
              <a:buNone/>
              <a:defRPr>
                <a:solidFill>
                  <a:schemeClr val="bg1"/>
                </a:solidFill>
              </a:defRPr>
            </a:lvl5pPr>
          </a:lstStyle>
          <a:p>
            <a:pPr lvl="0"/>
            <a:r>
              <a:rPr lang="en-US"/>
              <a:t>Edit date or title/role</a:t>
            </a:r>
          </a:p>
        </p:txBody>
      </p:sp>
      <p:sp>
        <p:nvSpPr>
          <p:cNvPr id="22" name="Subtitle">
            <a:extLst>
              <a:ext uri="{FF2B5EF4-FFF2-40B4-BE49-F238E27FC236}">
                <a16:creationId xmlns:a16="http://schemas.microsoft.com/office/drawing/2014/main" id="{936DA3EB-D045-4FAD-9B66-6B75FD0170A9}"/>
              </a:ext>
            </a:extLst>
          </p:cNvPr>
          <p:cNvSpPr>
            <a:spLocks noGrp="1"/>
          </p:cNvSpPr>
          <p:nvPr>
            <p:ph type="subTitle" idx="1"/>
            <p:custDataLst>
              <p:tags r:id="rId5"/>
            </p:custDataLst>
          </p:nvPr>
        </p:nvSpPr>
        <p:spPr>
          <a:xfrm>
            <a:off x="547688" y="6148640"/>
            <a:ext cx="6908676" cy="307777"/>
          </a:xfrm>
          <a:prstGeom prst="rect">
            <a:avLst/>
          </a:prstGeom>
        </p:spPr>
        <p:txBody>
          <a:bodyPr wrap="square">
            <a:spAutoFit/>
          </a:bodyPr>
          <a:lstStyle>
            <a:lvl1pPr marL="0" indent="0" algn="l" rtl="0">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3" name="Title">
            <a:extLst>
              <a:ext uri="{FF2B5EF4-FFF2-40B4-BE49-F238E27FC236}">
                <a16:creationId xmlns:a16="http://schemas.microsoft.com/office/drawing/2014/main" id="{EF0F7737-DAAF-416F-BF2B-0F77A15BE27B}"/>
              </a:ext>
            </a:extLst>
          </p:cNvPr>
          <p:cNvSpPr>
            <a:spLocks noGrp="1"/>
          </p:cNvSpPr>
          <p:nvPr>
            <p:ph type="title"/>
            <p:custDataLst>
              <p:tags r:id="rId6"/>
            </p:custDataLst>
          </p:nvPr>
        </p:nvSpPr>
        <p:spPr>
          <a:xfrm>
            <a:off x="547688" y="5384382"/>
            <a:ext cx="6908676" cy="677108"/>
          </a:xfrm>
          <a:prstGeom prst="rect">
            <a:avLst/>
          </a:prstGeom>
        </p:spPr>
        <p:txBody>
          <a:bodyPr vert="horz" anchor="b">
            <a:normAutofit/>
          </a:bodyPr>
          <a:lstStyle>
            <a:lvl1pPr rtl="0">
              <a:defRPr sz="2800" baseline="0">
                <a:ln w="6350" cap="flat">
                  <a:noFill/>
                  <a:miter lim="800000"/>
                </a:ln>
                <a:solidFill>
                  <a:schemeClr val="accent1"/>
                </a:solidFill>
              </a:defRPr>
            </a:lvl1pPr>
          </a:lstStyle>
          <a:p>
            <a:r>
              <a:rPr lang="en-US"/>
              <a:t>Click to edit Master title style</a:t>
            </a:r>
          </a:p>
        </p:txBody>
      </p:sp>
      <p:pic>
        <p:nvPicPr>
          <p:cNvPr id="26" name="Picture 25">
            <a:extLst>
              <a:ext uri="{FF2B5EF4-FFF2-40B4-BE49-F238E27FC236}">
                <a16:creationId xmlns:a16="http://schemas.microsoft.com/office/drawing/2014/main" id="{A029A6E1-8D51-4BF3-ADC1-8F909C4956AF}"/>
              </a:ext>
            </a:extLst>
          </p:cNvPr>
          <p:cNvPicPr>
            <a:picLocks noChangeAspect="1"/>
          </p:cNvPicPr>
          <p:nvPr userDrawn="1"/>
        </p:nvPicPr>
        <p:blipFill>
          <a:blip r:embed="rId11"/>
          <a:stretch>
            <a:fillRect/>
          </a:stretch>
        </p:blipFill>
        <p:spPr>
          <a:xfrm>
            <a:off x="546547" y="377701"/>
            <a:ext cx="2548402" cy="555706"/>
          </a:xfrm>
          <a:prstGeom prst="rect">
            <a:avLst/>
          </a:prstGeom>
        </p:spPr>
      </p:pic>
      <p:sp>
        <p:nvSpPr>
          <p:cNvPr id="3" name="TextBox 2">
            <a:extLst>
              <a:ext uri="{FF2B5EF4-FFF2-40B4-BE49-F238E27FC236}">
                <a16:creationId xmlns:a16="http://schemas.microsoft.com/office/drawing/2014/main" id="{A44963BE-D5F8-DC58-BAF6-8A530C69364F}"/>
              </a:ext>
            </a:extLst>
          </p:cNvPr>
          <p:cNvSpPr txBox="1"/>
          <p:nvPr userDrawn="1"/>
        </p:nvSpPr>
        <p:spPr>
          <a:xfrm>
            <a:off x="4236259" y="0"/>
            <a:ext cx="7955741" cy="230832"/>
          </a:xfrm>
          <a:prstGeom prst="rect">
            <a:avLst/>
          </a:prstGeom>
          <a:noFill/>
        </p:spPr>
        <p:txBody>
          <a:bodyPr wrap="square" rtlCol="0">
            <a:spAutoFit/>
          </a:bodyPr>
          <a:lstStyle/>
          <a:p>
            <a:pPr algn="r"/>
            <a:r>
              <a:rPr lang="en-US" sz="900">
                <a:solidFill>
                  <a:srgbClr val="FF0000"/>
                </a:solidFill>
              </a:rPr>
              <a:t>DRAFT – FOR EVALUATION PURPOSES ONLY – NOT A FINAL DEPARTMENT OF ENERGY DETERMINATION – DO NOT DISTRIBUTE </a:t>
            </a:r>
          </a:p>
        </p:txBody>
      </p:sp>
    </p:spTree>
    <p:extLst>
      <p:ext uri="{BB962C8B-B14F-4D97-AF65-F5344CB8AC3E}">
        <p14:creationId xmlns:p14="http://schemas.microsoft.com/office/powerpoint/2010/main" val="2286744086"/>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showMasterSp="0" preserve="1" userDrawn="1">
  <p:cSld name="2_Tit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2"/>
            </p:custDataLst>
            <p:extLst>
              <p:ext uri="{D42A27DB-BD31-4B8C-83A1-F6EECF244321}">
                <p14:modId xmlns:p14="http://schemas.microsoft.com/office/powerpoint/2010/main" val="24032001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2097" name="think-cell Slide" r:id="rId8" imgW="592" imgH="591" progId="TCLayout.ActiveDocument.1">
                  <p:embed/>
                </p:oleObj>
              </mc:Choice>
              <mc:Fallback>
                <p:oleObj name="think-cell Slide" r:id="rId8"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27D09001-FF44-47D1-9415-7476D9A171C5}"/>
              </a:ext>
            </a:extLst>
          </p:cNvPr>
          <p:cNvPicPr>
            <a:picLocks noChangeAspect="1"/>
          </p:cNvPicPr>
          <p:nvPr userDrawn="1"/>
        </p:nvPicPr>
        <p:blipFill>
          <a:blip r:embed="rId10"/>
          <a:stretch>
            <a:fillRect/>
          </a:stretch>
        </p:blipFill>
        <p:spPr>
          <a:xfrm>
            <a:off x="0" y="494863"/>
            <a:ext cx="12192000" cy="6362700"/>
          </a:xfrm>
          <a:prstGeom prst="rect">
            <a:avLst/>
          </a:prstGeom>
        </p:spPr>
      </p:pic>
      <p:sp>
        <p:nvSpPr>
          <p:cNvPr id="2" name="Rectangle 1" hidden="1">
            <a:extLst>
              <a:ext uri="{FF2B5EF4-FFF2-40B4-BE49-F238E27FC236}">
                <a16:creationId xmlns:a16="http://schemas.microsoft.com/office/drawing/2014/main" id="{CC42428D-965F-410A-AAB0-2F4E028AF07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4400" b="1" i="0" baseline="0">
              <a:solidFill>
                <a:schemeClr val="bg1"/>
              </a:solidFill>
              <a:latin typeface="Arial" panose="020B0604020202020204" pitchFamily="34" charset="0"/>
              <a:ea typeface="+mj-ea"/>
              <a:cs typeface="+mj-cs"/>
              <a:sym typeface="Arial" panose="020B0604020202020204" pitchFamily="34" charset="0"/>
            </a:endParaRPr>
          </a:p>
        </p:txBody>
      </p:sp>
      <p:pic>
        <p:nvPicPr>
          <p:cNvPr id="16" name="Picture 15">
            <a:extLst>
              <a:ext uri="{FF2B5EF4-FFF2-40B4-BE49-F238E27FC236}">
                <a16:creationId xmlns:a16="http://schemas.microsoft.com/office/drawing/2014/main" id="{F7B8AA9B-F81D-490F-BF84-5A931FD2CAD1}"/>
              </a:ext>
            </a:extLst>
          </p:cNvPr>
          <p:cNvPicPr>
            <a:picLocks noChangeAspect="1"/>
          </p:cNvPicPr>
          <p:nvPr userDrawn="1"/>
        </p:nvPicPr>
        <p:blipFill>
          <a:blip r:embed="rId11"/>
          <a:stretch>
            <a:fillRect/>
          </a:stretch>
        </p:blipFill>
        <p:spPr>
          <a:xfrm>
            <a:off x="546547" y="494863"/>
            <a:ext cx="2548402" cy="555706"/>
          </a:xfrm>
          <a:prstGeom prst="rect">
            <a:avLst/>
          </a:prstGeom>
        </p:spPr>
      </p:pic>
      <p:sp>
        <p:nvSpPr>
          <p:cNvPr id="20" name="Documenttype">
            <a:extLst>
              <a:ext uri="{FF2B5EF4-FFF2-40B4-BE49-F238E27FC236}">
                <a16:creationId xmlns:a16="http://schemas.microsoft.com/office/drawing/2014/main" id="{8E9DA300-EDFF-4276-9677-41E8CCD899A7}"/>
              </a:ext>
            </a:extLst>
          </p:cNvPr>
          <p:cNvSpPr>
            <a:spLocks noGrp="1"/>
          </p:cNvSpPr>
          <p:nvPr>
            <p:ph type="body" sz="quarter" idx="13" hasCustomPrompt="1"/>
            <p:custDataLst>
              <p:tags r:id="rId4"/>
            </p:custDataLst>
          </p:nvPr>
        </p:nvSpPr>
        <p:spPr>
          <a:xfrm>
            <a:off x="545406" y="5401388"/>
            <a:ext cx="10141773" cy="215444"/>
          </a:xfrm>
          <a:prstGeom prst="rect">
            <a:avLst/>
          </a:prstGeom>
        </p:spPr>
        <p:txBody>
          <a:bodyPr wrap="square">
            <a:spAutoFit/>
          </a:bodyPr>
          <a:lstStyle>
            <a:lvl1pPr rtl="0">
              <a:buNone/>
              <a:defRPr sz="1400">
                <a:solidFill>
                  <a:schemeClr val="bg1"/>
                </a:solidFill>
              </a:defRPr>
            </a:lvl1pPr>
            <a:lvl2pPr marL="115888" indent="0">
              <a:buNone/>
              <a:defRPr>
                <a:solidFill>
                  <a:schemeClr val="bg1"/>
                </a:solidFill>
              </a:defRPr>
            </a:lvl2pPr>
            <a:lvl3pPr marL="466344" indent="0">
              <a:buNone/>
              <a:defRPr>
                <a:solidFill>
                  <a:schemeClr val="bg1"/>
                </a:solidFill>
              </a:defRPr>
            </a:lvl3pPr>
            <a:lvl4pPr marL="813816" indent="0">
              <a:buNone/>
              <a:defRPr>
                <a:solidFill>
                  <a:schemeClr val="bg1"/>
                </a:solidFill>
              </a:defRPr>
            </a:lvl4pPr>
            <a:lvl5pPr marL="1161288" indent="0">
              <a:buNone/>
              <a:defRPr>
                <a:solidFill>
                  <a:schemeClr val="bg1"/>
                </a:solidFill>
              </a:defRPr>
            </a:lvl5pPr>
          </a:lstStyle>
          <a:p>
            <a:pPr lvl="0"/>
            <a:r>
              <a:rPr lang="en-US"/>
              <a:t>CONFIDENTIAL AND PROPRIETARY</a:t>
            </a:r>
          </a:p>
        </p:txBody>
      </p:sp>
      <p:sp>
        <p:nvSpPr>
          <p:cNvPr id="24" name="Subtitle">
            <a:extLst>
              <a:ext uri="{FF2B5EF4-FFF2-40B4-BE49-F238E27FC236}">
                <a16:creationId xmlns:a16="http://schemas.microsoft.com/office/drawing/2014/main" id="{5CBBAD6E-CD05-4A16-A56D-BC2A7F092955}"/>
              </a:ext>
            </a:extLst>
          </p:cNvPr>
          <p:cNvSpPr>
            <a:spLocks noGrp="1"/>
          </p:cNvSpPr>
          <p:nvPr>
            <p:ph type="subTitle" idx="1"/>
            <p:custDataLst>
              <p:tags r:id="rId5"/>
            </p:custDataLst>
          </p:nvPr>
        </p:nvSpPr>
        <p:spPr>
          <a:xfrm>
            <a:off x="546547" y="4259895"/>
            <a:ext cx="10141773" cy="307777"/>
          </a:xfrm>
          <a:prstGeom prst="rect">
            <a:avLst/>
          </a:prstGeom>
        </p:spPr>
        <p:txBody>
          <a:bodyPr wrap="square">
            <a:spAutoFit/>
          </a:bodyPr>
          <a:lstStyle>
            <a:lvl1pPr marL="0" indent="0" algn="l" rtl="0">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5" name="Title">
            <a:extLst>
              <a:ext uri="{FF2B5EF4-FFF2-40B4-BE49-F238E27FC236}">
                <a16:creationId xmlns:a16="http://schemas.microsoft.com/office/drawing/2014/main" id="{8D7F567B-A8F5-4C4E-87B5-46ACD7803C1F}"/>
              </a:ext>
            </a:extLst>
          </p:cNvPr>
          <p:cNvSpPr>
            <a:spLocks noGrp="1"/>
          </p:cNvSpPr>
          <p:nvPr>
            <p:ph type="title"/>
            <p:custDataLst>
              <p:tags r:id="rId6"/>
            </p:custDataLst>
          </p:nvPr>
        </p:nvSpPr>
        <p:spPr>
          <a:xfrm>
            <a:off x="546547" y="3429000"/>
            <a:ext cx="10141773" cy="677108"/>
          </a:xfrm>
          <a:prstGeom prst="rect">
            <a:avLst/>
          </a:prstGeom>
        </p:spPr>
        <p:txBody>
          <a:bodyPr vert="horz" anchor="b">
            <a:normAutofit/>
          </a:bodyPr>
          <a:lstStyle>
            <a:lvl1pPr rtl="0">
              <a:defRPr sz="4400" baseline="0">
                <a:ln w="6350" cap="flat">
                  <a:noFill/>
                  <a:miter lim="800000"/>
                </a:ln>
                <a:solidFill>
                  <a:schemeClr val="bg1"/>
                </a:solidFill>
              </a:defRPr>
            </a:lvl1pPr>
          </a:lstStyle>
          <a:p>
            <a:r>
              <a:rPr lang="en-US"/>
              <a:t>Click to edit Master title style</a:t>
            </a:r>
          </a:p>
        </p:txBody>
      </p:sp>
      <p:sp>
        <p:nvSpPr>
          <p:cNvPr id="3" name="TextBox 2">
            <a:extLst>
              <a:ext uri="{FF2B5EF4-FFF2-40B4-BE49-F238E27FC236}">
                <a16:creationId xmlns:a16="http://schemas.microsoft.com/office/drawing/2014/main" id="{77532148-F5EA-1763-0200-88FEDD8EA809}"/>
              </a:ext>
            </a:extLst>
          </p:cNvPr>
          <p:cNvSpPr txBox="1"/>
          <p:nvPr userDrawn="1"/>
        </p:nvSpPr>
        <p:spPr>
          <a:xfrm>
            <a:off x="4236259" y="0"/>
            <a:ext cx="7955741" cy="230832"/>
          </a:xfrm>
          <a:prstGeom prst="rect">
            <a:avLst/>
          </a:prstGeom>
          <a:noFill/>
        </p:spPr>
        <p:txBody>
          <a:bodyPr wrap="square" rtlCol="0">
            <a:spAutoFit/>
          </a:bodyPr>
          <a:lstStyle/>
          <a:p>
            <a:pPr algn="r"/>
            <a:r>
              <a:rPr lang="en-US" sz="900">
                <a:solidFill>
                  <a:srgbClr val="FF0000"/>
                </a:solidFill>
              </a:rPr>
              <a:t>DRAFT – FOR EVALUATION PURPOSES ONLY – NOT A FINAL DEPARTMENT OF ENERGY DETERMINATION – DO NOT DISTRIBUTE </a:t>
            </a:r>
          </a:p>
        </p:txBody>
      </p:sp>
    </p:spTree>
    <p:extLst>
      <p:ext uri="{BB962C8B-B14F-4D97-AF65-F5344CB8AC3E}">
        <p14:creationId xmlns:p14="http://schemas.microsoft.com/office/powerpoint/2010/main" val="4266735727"/>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showMasterSp="0" preserve="1" userDrawn="1">
  <p:cSld name="3_Tit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2"/>
            </p:custDataLst>
            <p:extLst>
              <p:ext uri="{D42A27DB-BD31-4B8C-83A1-F6EECF244321}">
                <p14:modId xmlns:p14="http://schemas.microsoft.com/office/powerpoint/2010/main" val="28894784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121" name="think-cell Slide" r:id="rId8" imgW="592" imgH="591" progId="TCLayout.ActiveDocument.1">
                  <p:embed/>
                </p:oleObj>
              </mc:Choice>
              <mc:Fallback>
                <p:oleObj name="think-cell Slide" r:id="rId8"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pic>
        <p:nvPicPr>
          <p:cNvPr id="4" name="Picture 3">
            <a:extLst>
              <a:ext uri="{FF2B5EF4-FFF2-40B4-BE49-F238E27FC236}">
                <a16:creationId xmlns:a16="http://schemas.microsoft.com/office/drawing/2014/main" id="{6037D79A-496A-4325-82A6-C649542E69CF}"/>
              </a:ext>
            </a:extLst>
          </p:cNvPr>
          <p:cNvPicPr>
            <a:picLocks noChangeAspect="1"/>
          </p:cNvPicPr>
          <p:nvPr userDrawn="1"/>
        </p:nvPicPr>
        <p:blipFill>
          <a:blip r:embed="rId10"/>
          <a:stretch>
            <a:fillRect/>
          </a:stretch>
        </p:blipFill>
        <p:spPr>
          <a:xfrm>
            <a:off x="0" y="0"/>
            <a:ext cx="12192000" cy="6858000"/>
          </a:xfrm>
          <a:prstGeom prst="rect">
            <a:avLst/>
          </a:prstGeom>
        </p:spPr>
      </p:pic>
      <p:sp>
        <p:nvSpPr>
          <p:cNvPr id="28" name="Flowchart: Manual Input 27">
            <a:extLst>
              <a:ext uri="{FF2B5EF4-FFF2-40B4-BE49-F238E27FC236}">
                <a16:creationId xmlns:a16="http://schemas.microsoft.com/office/drawing/2014/main" id="{96C0299D-2DC0-46BB-B2DC-1B1867899B78}"/>
              </a:ext>
            </a:extLst>
          </p:cNvPr>
          <p:cNvSpPr/>
          <p:nvPr userDrawn="1"/>
        </p:nvSpPr>
        <p:spPr>
          <a:xfrm>
            <a:off x="3176" y="2428239"/>
            <a:ext cx="12185647" cy="4429761"/>
          </a:xfrm>
          <a:prstGeom prst="flowChartManualInput">
            <a:avLst/>
          </a:prstGeom>
          <a:solidFill>
            <a:srgbClr val="0D4C8F"/>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9" name="Flowchart: Manual Input 8">
            <a:extLst>
              <a:ext uri="{FF2B5EF4-FFF2-40B4-BE49-F238E27FC236}">
                <a16:creationId xmlns:a16="http://schemas.microsoft.com/office/drawing/2014/main" id="{64BB68BF-86DC-4A75-BE4B-F7F8FC73E874}"/>
              </a:ext>
            </a:extLst>
          </p:cNvPr>
          <p:cNvSpPr/>
          <p:nvPr userDrawn="1"/>
        </p:nvSpPr>
        <p:spPr>
          <a:xfrm>
            <a:off x="3176" y="2590800"/>
            <a:ext cx="12185647" cy="4267200"/>
          </a:xfrm>
          <a:prstGeom prst="flowChartManualInput">
            <a:avLst/>
          </a:prstGeom>
          <a:solidFill>
            <a:srgbClr val="00652E"/>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2" name="Rectangle 1" hidden="1">
            <a:extLst>
              <a:ext uri="{FF2B5EF4-FFF2-40B4-BE49-F238E27FC236}">
                <a16:creationId xmlns:a16="http://schemas.microsoft.com/office/drawing/2014/main" id="{CC42428D-965F-410A-AAB0-2F4E028AF07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4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20" name="Documenttype">
            <a:extLst>
              <a:ext uri="{FF2B5EF4-FFF2-40B4-BE49-F238E27FC236}">
                <a16:creationId xmlns:a16="http://schemas.microsoft.com/office/drawing/2014/main" id="{8E9DA300-EDFF-4276-9677-41E8CCD899A7}"/>
              </a:ext>
            </a:extLst>
          </p:cNvPr>
          <p:cNvSpPr>
            <a:spLocks noGrp="1"/>
          </p:cNvSpPr>
          <p:nvPr>
            <p:ph type="body" sz="quarter" idx="13" hasCustomPrompt="1"/>
            <p:custDataLst>
              <p:tags r:id="rId4"/>
            </p:custDataLst>
          </p:nvPr>
        </p:nvSpPr>
        <p:spPr>
          <a:xfrm>
            <a:off x="545406" y="6201506"/>
            <a:ext cx="11088241" cy="215444"/>
          </a:xfrm>
          <a:prstGeom prst="rect">
            <a:avLst/>
          </a:prstGeom>
        </p:spPr>
        <p:txBody>
          <a:bodyPr wrap="square">
            <a:spAutoFit/>
          </a:bodyPr>
          <a:lstStyle>
            <a:lvl1pPr rtl="0">
              <a:buNone/>
              <a:defRPr sz="1400">
                <a:solidFill>
                  <a:schemeClr val="bg1"/>
                </a:solidFill>
              </a:defRPr>
            </a:lvl1pPr>
            <a:lvl2pPr marL="115888" indent="0">
              <a:buNone/>
              <a:defRPr>
                <a:solidFill>
                  <a:schemeClr val="bg1"/>
                </a:solidFill>
              </a:defRPr>
            </a:lvl2pPr>
            <a:lvl3pPr marL="466344" indent="0">
              <a:buNone/>
              <a:defRPr>
                <a:solidFill>
                  <a:schemeClr val="bg1"/>
                </a:solidFill>
              </a:defRPr>
            </a:lvl3pPr>
            <a:lvl4pPr marL="813816" indent="0">
              <a:buNone/>
              <a:defRPr>
                <a:solidFill>
                  <a:schemeClr val="bg1"/>
                </a:solidFill>
              </a:defRPr>
            </a:lvl4pPr>
            <a:lvl5pPr marL="1161288" indent="0">
              <a:buNone/>
              <a:defRPr>
                <a:solidFill>
                  <a:schemeClr val="bg1"/>
                </a:solidFill>
              </a:defRPr>
            </a:lvl5pPr>
          </a:lstStyle>
          <a:p>
            <a:pPr lvl="0"/>
            <a:r>
              <a:rPr lang="en-US"/>
              <a:t>Edit date or title/role</a:t>
            </a:r>
          </a:p>
        </p:txBody>
      </p:sp>
      <p:sp>
        <p:nvSpPr>
          <p:cNvPr id="24" name="Subtitle">
            <a:extLst>
              <a:ext uri="{FF2B5EF4-FFF2-40B4-BE49-F238E27FC236}">
                <a16:creationId xmlns:a16="http://schemas.microsoft.com/office/drawing/2014/main" id="{5CBBAD6E-CD05-4A16-A56D-BC2A7F092955}"/>
              </a:ext>
            </a:extLst>
          </p:cNvPr>
          <p:cNvSpPr>
            <a:spLocks noGrp="1"/>
          </p:cNvSpPr>
          <p:nvPr>
            <p:ph type="subTitle" idx="1"/>
            <p:custDataLst>
              <p:tags r:id="rId5"/>
            </p:custDataLst>
          </p:nvPr>
        </p:nvSpPr>
        <p:spPr>
          <a:xfrm>
            <a:off x="546547" y="5060013"/>
            <a:ext cx="11088241" cy="307777"/>
          </a:xfrm>
          <a:prstGeom prst="rect">
            <a:avLst/>
          </a:prstGeom>
        </p:spPr>
        <p:txBody>
          <a:bodyPr wrap="square">
            <a:spAutoFit/>
          </a:bodyPr>
          <a:lstStyle>
            <a:lvl1pPr marL="0" indent="0" algn="l" rtl="0">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5" name="Title">
            <a:extLst>
              <a:ext uri="{FF2B5EF4-FFF2-40B4-BE49-F238E27FC236}">
                <a16:creationId xmlns:a16="http://schemas.microsoft.com/office/drawing/2014/main" id="{8D7F567B-A8F5-4C4E-87B5-46ACD7803C1F}"/>
              </a:ext>
            </a:extLst>
          </p:cNvPr>
          <p:cNvSpPr>
            <a:spLocks noGrp="1"/>
          </p:cNvSpPr>
          <p:nvPr>
            <p:ph type="title"/>
            <p:custDataLst>
              <p:tags r:id="rId6"/>
            </p:custDataLst>
          </p:nvPr>
        </p:nvSpPr>
        <p:spPr>
          <a:xfrm>
            <a:off x="546547" y="4229118"/>
            <a:ext cx="11088241" cy="677108"/>
          </a:xfrm>
          <a:prstGeom prst="rect">
            <a:avLst/>
          </a:prstGeom>
        </p:spPr>
        <p:txBody>
          <a:bodyPr vert="horz" anchor="b">
            <a:normAutofit/>
          </a:bodyPr>
          <a:lstStyle>
            <a:lvl1pPr rtl="0">
              <a:defRPr sz="4400" baseline="0">
                <a:ln w="6350" cap="flat">
                  <a:noFill/>
                  <a:miter lim="800000"/>
                </a:ln>
                <a:solidFill>
                  <a:schemeClr val="bg1"/>
                </a:solidFill>
              </a:defRPr>
            </a:lvl1pPr>
          </a:lstStyle>
          <a:p>
            <a:r>
              <a:rPr lang="en-US"/>
              <a:t>Click to edit Master title style</a:t>
            </a:r>
          </a:p>
        </p:txBody>
      </p:sp>
      <p:sp>
        <p:nvSpPr>
          <p:cNvPr id="15" name="Flowchart: Manual Input 14">
            <a:extLst>
              <a:ext uri="{FF2B5EF4-FFF2-40B4-BE49-F238E27FC236}">
                <a16:creationId xmlns:a16="http://schemas.microsoft.com/office/drawing/2014/main" id="{E8132EFD-BEAB-471D-ADD7-1E4E63560BBE}"/>
              </a:ext>
            </a:extLst>
          </p:cNvPr>
          <p:cNvSpPr/>
          <p:nvPr userDrawn="1"/>
        </p:nvSpPr>
        <p:spPr>
          <a:xfrm>
            <a:off x="9316719" y="197724"/>
            <a:ext cx="2872103" cy="1432823"/>
          </a:xfrm>
          <a:prstGeom prst="flowChartManualInput">
            <a:avLst/>
          </a:prstGeom>
          <a:solidFill>
            <a:schemeClr val="tx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pic>
        <p:nvPicPr>
          <p:cNvPr id="16" name="Picture 15">
            <a:extLst>
              <a:ext uri="{FF2B5EF4-FFF2-40B4-BE49-F238E27FC236}">
                <a16:creationId xmlns:a16="http://schemas.microsoft.com/office/drawing/2014/main" id="{F7B8AA9B-F81D-490F-BF84-5A931FD2CAD1}"/>
              </a:ext>
            </a:extLst>
          </p:cNvPr>
          <p:cNvPicPr>
            <a:picLocks noChangeAspect="1"/>
          </p:cNvPicPr>
          <p:nvPr userDrawn="1"/>
        </p:nvPicPr>
        <p:blipFill>
          <a:blip r:embed="rId11"/>
          <a:stretch>
            <a:fillRect/>
          </a:stretch>
        </p:blipFill>
        <p:spPr>
          <a:xfrm>
            <a:off x="9478569" y="775294"/>
            <a:ext cx="2548402" cy="555706"/>
          </a:xfrm>
          <a:prstGeom prst="rect">
            <a:avLst/>
          </a:prstGeom>
        </p:spPr>
      </p:pic>
      <p:sp>
        <p:nvSpPr>
          <p:cNvPr id="3" name="TextBox 2">
            <a:extLst>
              <a:ext uri="{FF2B5EF4-FFF2-40B4-BE49-F238E27FC236}">
                <a16:creationId xmlns:a16="http://schemas.microsoft.com/office/drawing/2014/main" id="{13139F8C-9FF1-0525-5D11-BED76BE569B4}"/>
              </a:ext>
            </a:extLst>
          </p:cNvPr>
          <p:cNvSpPr txBox="1"/>
          <p:nvPr userDrawn="1"/>
        </p:nvSpPr>
        <p:spPr>
          <a:xfrm>
            <a:off x="4236259" y="6627168"/>
            <a:ext cx="7955741" cy="230832"/>
          </a:xfrm>
          <a:prstGeom prst="rect">
            <a:avLst/>
          </a:prstGeom>
          <a:noFill/>
        </p:spPr>
        <p:txBody>
          <a:bodyPr wrap="square" rtlCol="0">
            <a:spAutoFit/>
          </a:bodyPr>
          <a:lstStyle/>
          <a:p>
            <a:pPr algn="r"/>
            <a:r>
              <a:rPr lang="en-US" sz="900">
                <a:solidFill>
                  <a:srgbClr val="FF0000"/>
                </a:solidFill>
              </a:rPr>
              <a:t>DRAFT – FOR EVALUATION PURPOSES ONLY – NOT A FINAL DEPARTMENT OF ENERGY DETERMINATION – DO NOT DISTRIBUTE </a:t>
            </a:r>
          </a:p>
        </p:txBody>
      </p:sp>
    </p:spTree>
    <p:extLst>
      <p:ext uri="{BB962C8B-B14F-4D97-AF65-F5344CB8AC3E}">
        <p14:creationId xmlns:p14="http://schemas.microsoft.com/office/powerpoint/2010/main" val="2026483748"/>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7746323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4145"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4"/>
            </p:custDataLst>
          </p:nvPr>
        </p:nvSpPr>
        <p:spPr>
          <a:xfrm>
            <a:off x="554736" y="1043075"/>
            <a:ext cx="11082528" cy="246221"/>
          </a:xfrm>
          <a:prstGeom prst="rect">
            <a:avLst/>
          </a:prstGeom>
        </p:spPr>
        <p:txBody>
          <a:bodyPr wrap="square">
            <a:spAutoFit/>
          </a:bodyPr>
          <a:lstStyle>
            <a:lvl1pPr marL="0" indent="0" algn="l" rtl="0">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sp>
        <p:nvSpPr>
          <p:cNvPr id="10" name="2. Slide Title">
            <a:extLst>
              <a:ext uri="{FF2B5EF4-FFF2-40B4-BE49-F238E27FC236}">
                <a16:creationId xmlns:a16="http://schemas.microsoft.com/office/drawing/2014/main" id="{8326FFD0-8389-4032-AAB8-00C262CAF746}"/>
              </a:ext>
            </a:extLst>
          </p:cNvPr>
          <p:cNvSpPr>
            <a:spLocks noGrp="1"/>
          </p:cNvSpPr>
          <p:nvPr>
            <p:ph type="title"/>
            <p:custDataLst>
              <p:tags r:id="rId7"/>
            </p:custDataLst>
          </p:nvPr>
        </p:nvSpPr>
        <p:spPr>
          <a:xfrm>
            <a:off x="554736" y="296037"/>
            <a:ext cx="11082528" cy="731520"/>
          </a:xfrm>
          <a:prstGeom prst="rect">
            <a:avLst/>
          </a:prstGeom>
        </p:spPr>
        <p:txBody>
          <a:bodyPr vert="horz" wrap="square" lIns="0" tIns="0" rIns="0" bIns="0" rtlCol="0" anchor="b" anchorCtr="0">
            <a:noAutofit/>
          </a:bodyPr>
          <a:lstStyle>
            <a:lvl1pPr>
              <a:defRPr sz="2400"/>
            </a:lvl1pPr>
          </a:lstStyle>
          <a:p>
            <a:r>
              <a:rPr lang="en-US"/>
              <a:t>Click to edit Master title style</a:t>
            </a:r>
          </a:p>
        </p:txBody>
      </p:sp>
    </p:spTree>
    <p:extLst>
      <p:ext uri="{BB962C8B-B14F-4D97-AF65-F5344CB8AC3E}">
        <p14:creationId xmlns:p14="http://schemas.microsoft.com/office/powerpoint/2010/main" val="281797269"/>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9BA84E71-6FE7-4585-B82E-BE5603311945}"/>
              </a:ext>
            </a:extLst>
          </p:cNvPr>
          <p:cNvGraphicFramePr>
            <a:graphicFrameLocks noChangeAspect="1"/>
          </p:cNvGraphicFramePr>
          <p:nvPr userDrawn="1">
            <p:custDataLst>
              <p:tags r:id="rId2"/>
            </p:custDataLst>
            <p:extLst>
              <p:ext uri="{D42A27DB-BD31-4B8C-83A1-F6EECF244321}">
                <p14:modId xmlns:p14="http://schemas.microsoft.com/office/powerpoint/2010/main" val="12606119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5169" name="think-cell Slide" r:id="rId8" imgW="592" imgH="591" progId="TCLayout.ActiveDocument.1">
                  <p:embed/>
                </p:oleObj>
              </mc:Choice>
              <mc:Fallback>
                <p:oleObj name="think-cell Slide" r:id="rId8" imgW="592" imgH="591" progId="TCLayout.ActiveDocument.1">
                  <p:embed/>
                  <p:pic>
                    <p:nvPicPr>
                      <p:cNvPr id="10" name="Object 9" hidden="1">
                        <a:extLst>
                          <a:ext uri="{FF2B5EF4-FFF2-40B4-BE49-F238E27FC236}">
                            <a16:creationId xmlns:a16="http://schemas.microsoft.com/office/drawing/2014/main" id="{9BA84E71-6FE7-4585-B82E-BE5603311945}"/>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D62A08AB-557D-4245-84FA-9DB6B6C6845A}"/>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4"/>
            </p:custDataLst>
          </p:nvPr>
        </p:nvSpPr>
        <p:spPr>
          <a:xfrm>
            <a:off x="554736" y="1706563"/>
            <a:ext cx="3813048" cy="769441"/>
          </a:xfrm>
          <a:prstGeom prst="rect">
            <a:avLst/>
          </a:prstGeom>
        </p:spPr>
        <p:txBody>
          <a:bodyPr vert="horz" anchor="t">
            <a:noAutofit/>
          </a:bodyPr>
          <a:lstStyle>
            <a:lvl1pPr rtl="0">
              <a:lnSpc>
                <a:spcPct val="100000"/>
              </a:lnSpc>
              <a:defRPr>
                <a:ln w="6350" cap="flat">
                  <a:noFill/>
                  <a:miter lim="800000"/>
                </a:ln>
              </a:defRPr>
            </a:lvl1pPr>
          </a:lstStyle>
          <a:p>
            <a:r>
              <a:rPr lang="en-US"/>
              <a:t>Click to edit Master title style</a:t>
            </a:r>
          </a:p>
        </p:txBody>
      </p:sp>
      <p:sp>
        <p:nvSpPr>
          <p:cNvPr id="4" name="Slide Number">
            <a:extLst>
              <a:ext uri="{FF2B5EF4-FFF2-40B4-BE49-F238E27FC236}">
                <a16:creationId xmlns:a16="http://schemas.microsoft.com/office/drawing/2014/main" id="{EFB4BF85-6002-4998-80DC-DC1B92544D1D}"/>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0E2D5DBB-C1B8-4A27-836D-C2E6D553234D}"/>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spTree>
    <p:extLst>
      <p:ext uri="{BB962C8B-B14F-4D97-AF65-F5344CB8AC3E}">
        <p14:creationId xmlns:p14="http://schemas.microsoft.com/office/powerpoint/2010/main" val="1092159146"/>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Mid Lef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C4F5195-E8F7-4A2F-B02E-643BB3D88381}"/>
              </a:ext>
            </a:extLst>
          </p:cNvPr>
          <p:cNvGraphicFramePr>
            <a:graphicFrameLocks noChangeAspect="1"/>
          </p:cNvGraphicFramePr>
          <p:nvPr userDrawn="1">
            <p:custDataLst>
              <p:tags r:id="rId2"/>
            </p:custDataLst>
            <p:extLst>
              <p:ext uri="{D42A27DB-BD31-4B8C-83A1-F6EECF244321}">
                <p14:modId xmlns:p14="http://schemas.microsoft.com/office/powerpoint/2010/main" val="39476618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6193" name="think-cell Slide" r:id="rId8" imgW="592" imgH="591" progId="TCLayout.ActiveDocument.1">
                  <p:embed/>
                </p:oleObj>
              </mc:Choice>
              <mc:Fallback>
                <p:oleObj name="think-cell Slide" r:id="rId8" imgW="592" imgH="591" progId="TCLayout.ActiveDocument.1">
                  <p:embed/>
                  <p:pic>
                    <p:nvPicPr>
                      <p:cNvPr id="4" name="Object 3" hidden="1">
                        <a:extLst>
                          <a:ext uri="{FF2B5EF4-FFF2-40B4-BE49-F238E27FC236}">
                            <a16:creationId xmlns:a16="http://schemas.microsoft.com/office/drawing/2014/main" id="{3C4F5195-E8F7-4A2F-B02E-643BB3D88381}"/>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15EFC92-5E3D-4BDC-A378-85D30212A9E2}"/>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4"/>
            </p:custDataLst>
          </p:nvPr>
        </p:nvSpPr>
        <p:spPr>
          <a:xfrm>
            <a:off x="554736" y="3044280"/>
            <a:ext cx="5065776" cy="769441"/>
          </a:xfrm>
          <a:prstGeom prst="rect">
            <a:avLst/>
          </a:prstGeom>
        </p:spPr>
        <p:txBody>
          <a:bodyPr vert="horz" rIns="365760" anchor="ctr">
            <a:noAutofit/>
          </a:bodyPr>
          <a:lstStyle>
            <a:lvl1pPr rtl="0">
              <a:defRPr>
                <a:ln w="6350" cap="flat">
                  <a:noFill/>
                  <a:miter lim="800000"/>
                </a:ln>
              </a:defRPr>
            </a:lvl1pPr>
          </a:lstStyle>
          <a:p>
            <a:r>
              <a:rPr lang="en-US"/>
              <a:t>Click to edit Master title style</a:t>
            </a:r>
          </a:p>
        </p:txBody>
      </p:sp>
      <p:sp>
        <p:nvSpPr>
          <p:cNvPr id="9" name="Slide Number">
            <a:extLst>
              <a:ext uri="{FF2B5EF4-FFF2-40B4-BE49-F238E27FC236}">
                <a16:creationId xmlns:a16="http://schemas.microsoft.com/office/drawing/2014/main" id="{2BF771FC-DD10-42B6-A51E-7F1E26F8184D}"/>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C0D33C43-5B9F-44B4-82FA-BAAD11A7FB8E}"/>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spTree>
    <p:extLst>
      <p:ext uri="{BB962C8B-B14F-4D97-AF65-F5344CB8AC3E}">
        <p14:creationId xmlns:p14="http://schemas.microsoft.com/office/powerpoint/2010/main" val="97170665"/>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05B6D76-6B4B-4ED5-B8F1-5D1D09831257}"/>
              </a:ext>
            </a:extLst>
          </p:cNvPr>
          <p:cNvGraphicFramePr>
            <a:graphicFrameLocks noChangeAspect="1"/>
          </p:cNvGraphicFramePr>
          <p:nvPr userDrawn="1">
            <p:custDataLst>
              <p:tags r:id="rId2"/>
            </p:custDataLst>
            <p:extLst>
              <p:ext uri="{D42A27DB-BD31-4B8C-83A1-F6EECF244321}">
                <p14:modId xmlns:p14="http://schemas.microsoft.com/office/powerpoint/2010/main" val="38332444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7217"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305B6D76-6B4B-4ED5-B8F1-5D1D09831257}"/>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DCF374B-2477-45CD-A00B-B8676A45ACDF}"/>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4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7" name="2. Slide Title">
            <a:extLst>
              <a:ext uri="{FF2B5EF4-FFF2-40B4-BE49-F238E27FC236}">
                <a16:creationId xmlns:a16="http://schemas.microsoft.com/office/drawing/2014/main" id="{99495DFD-8D6A-4DD8-AE3A-47FA42AA0A4F}"/>
              </a:ext>
            </a:extLst>
          </p:cNvPr>
          <p:cNvSpPr>
            <a:spLocks noGrp="1"/>
          </p:cNvSpPr>
          <p:nvPr>
            <p:ph type="title"/>
            <p:custDataLst>
              <p:tags r:id="rId4"/>
            </p:custDataLst>
          </p:nvPr>
        </p:nvSpPr>
        <p:spPr>
          <a:xfrm>
            <a:off x="554736" y="4580468"/>
            <a:ext cx="11082528" cy="677108"/>
          </a:xfrm>
        </p:spPr>
        <p:txBody>
          <a:bodyPr vert="horz" anchor="b">
            <a:noAutofit/>
          </a:bodyPr>
          <a:lstStyle>
            <a:lvl1pPr rtl="0">
              <a:lnSpc>
                <a:spcPct val="100000"/>
              </a:lnSpc>
              <a:defRPr sz="4400"/>
            </a:lvl1pPr>
          </a:lstStyle>
          <a:p>
            <a:r>
              <a:rPr lang="en-US"/>
              <a:t>Click to edit Master title style</a:t>
            </a:r>
          </a:p>
        </p:txBody>
      </p:sp>
      <p:sp>
        <p:nvSpPr>
          <p:cNvPr id="8" name="Slide Number">
            <a:extLst>
              <a:ext uri="{FF2B5EF4-FFF2-40B4-BE49-F238E27FC236}">
                <a16:creationId xmlns:a16="http://schemas.microsoft.com/office/drawing/2014/main" id="{A86AE8A6-05EF-4E76-AAAD-41743692E9F9}"/>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B871FE09-BB6E-4334-B0EA-E52395AA61B3}"/>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spTree>
    <p:extLst>
      <p:ext uri="{BB962C8B-B14F-4D97-AF65-F5344CB8AC3E}">
        <p14:creationId xmlns:p14="http://schemas.microsoft.com/office/powerpoint/2010/main" val="1473489890"/>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C6EE29E-F64A-419F-BFB0-EEDEB71953F6}"/>
              </a:ext>
            </a:extLst>
          </p:cNvPr>
          <p:cNvGraphicFramePr>
            <a:graphicFrameLocks noChangeAspect="1"/>
          </p:cNvGraphicFramePr>
          <p:nvPr userDrawn="1">
            <p:custDataLst>
              <p:tags r:id="rId2"/>
            </p:custDataLst>
            <p:extLst>
              <p:ext uri="{D42A27DB-BD31-4B8C-83A1-F6EECF244321}">
                <p14:modId xmlns:p14="http://schemas.microsoft.com/office/powerpoint/2010/main" val="36168054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8241"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EC6EE29E-F64A-419F-BFB0-EEDEB71953F6}"/>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9526043-F22A-4ED3-B0A1-DD7C4F83AF9B}"/>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3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8" name="2. Slide Title">
            <a:extLst>
              <a:ext uri="{FF2B5EF4-FFF2-40B4-BE49-F238E27FC236}">
                <a16:creationId xmlns:a16="http://schemas.microsoft.com/office/drawing/2014/main" id="{EA735538-C733-4892-93A4-7B433D8B8293}"/>
              </a:ext>
            </a:extLst>
          </p:cNvPr>
          <p:cNvSpPr>
            <a:spLocks noGrp="1"/>
          </p:cNvSpPr>
          <p:nvPr>
            <p:ph type="title" hasCustomPrompt="1"/>
            <p:custDataLst>
              <p:tags r:id="rId4"/>
            </p:custDataLst>
          </p:nvPr>
        </p:nvSpPr>
        <p:spPr>
          <a:xfrm>
            <a:off x="1505712" y="3556229"/>
            <a:ext cx="9180576" cy="523220"/>
          </a:xfrm>
          <a:prstGeom prst="rect">
            <a:avLst/>
          </a:prstGeom>
        </p:spPr>
        <p:txBody>
          <a:bodyPr vert="horz">
            <a:spAutoFit/>
          </a:bodyPr>
          <a:lstStyle>
            <a:lvl1pPr rtl="0">
              <a:lnSpc>
                <a:spcPct val="105000"/>
              </a:lnSpc>
              <a:defRPr sz="3400"/>
            </a:lvl1pPr>
          </a:lstStyle>
          <a:p>
            <a:r>
              <a:rPr lang="en-US"/>
              <a:t>“Click to add quote</a:t>
            </a:r>
          </a:p>
        </p:txBody>
      </p:sp>
      <p:sp>
        <p:nvSpPr>
          <p:cNvPr id="6" name="3. Subtitle">
            <a:extLst>
              <a:ext uri="{FF2B5EF4-FFF2-40B4-BE49-F238E27FC236}">
                <a16:creationId xmlns:a16="http://schemas.microsoft.com/office/drawing/2014/main" id="{8DB5022C-F66C-4018-82F3-195571DDD527}"/>
              </a:ext>
            </a:extLst>
          </p:cNvPr>
          <p:cNvSpPr>
            <a:spLocks noGrp="1"/>
          </p:cNvSpPr>
          <p:nvPr>
            <p:ph type="subTitle" idx="1" hasCustomPrompt="1"/>
            <p:custDataLst>
              <p:tags r:id="rId5"/>
            </p:custDataLst>
          </p:nvPr>
        </p:nvSpPr>
        <p:spPr>
          <a:xfrm>
            <a:off x="1505712" y="4284630"/>
            <a:ext cx="9180576" cy="246221"/>
          </a:xfrm>
          <a:prstGeom prst="rect">
            <a:avLst/>
          </a:prstGeom>
        </p:spPr>
        <p:txBody>
          <a:bodyPr wrap="square">
            <a:spAutoFit/>
          </a:bodyPr>
          <a:lstStyle>
            <a:lvl1pPr marL="0" indent="0" algn="l" rtl="0">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quote source</a:t>
            </a:r>
          </a:p>
        </p:txBody>
      </p:sp>
      <p:sp>
        <p:nvSpPr>
          <p:cNvPr id="9" name="Slide Number">
            <a:extLst>
              <a:ext uri="{FF2B5EF4-FFF2-40B4-BE49-F238E27FC236}">
                <a16:creationId xmlns:a16="http://schemas.microsoft.com/office/drawing/2014/main" id="{FAEB6FCE-50CC-4F2B-A5B3-CB508EDFCD46}"/>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97195F4E-ECA7-41A9-AFF3-0C4DAD103DA6}"/>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spTree>
    <p:extLst>
      <p:ext uri="{BB962C8B-B14F-4D97-AF65-F5344CB8AC3E}">
        <p14:creationId xmlns:p14="http://schemas.microsoft.com/office/powerpoint/2010/main" val="784871688"/>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2"/>
            </p:custDataLst>
            <p:extLst>
              <p:ext uri="{D42A27DB-BD31-4B8C-83A1-F6EECF244321}">
                <p14:modId xmlns:p14="http://schemas.microsoft.com/office/powerpoint/2010/main" val="20499159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9265"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DA8D6A48-EE20-4EB4-A234-9F3B16C02872}"/>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67C50C85-5FB9-4798-A8A4-1DA5B9F3ACC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3413760" y="0"/>
            <a:ext cx="8778240" cy="6858000"/>
          </a:xfrm>
          <a:prstGeom prst="rect">
            <a:avLst/>
          </a:prstGeom>
          <a:solidFill>
            <a:schemeClr val="accent4">
              <a:lumMod val="20000"/>
              <a:lumOff val="80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en-US">
              <a:solidFill>
                <a:srgbClr val="F0F0F0"/>
              </a:solidFill>
              <a:latin typeface="Arial" panose="020B0604020202020204" pitchFamily="34" charset="0"/>
            </a:endParaRPr>
          </a:p>
        </p:txBody>
      </p:sp>
      <p:sp>
        <p:nvSpPr>
          <p:cNvPr id="17" name="Slide Number">
            <a:extLst>
              <a:ext uri="{FF2B5EF4-FFF2-40B4-BE49-F238E27FC236}">
                <a16:creationId xmlns:a16="http://schemas.microsoft.com/office/drawing/2014/main" id="{ACF9526A-1F1C-4E57-8A8D-21EDBC12066F}"/>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6"/>
            </p:custDataLst>
          </p:nvPr>
        </p:nvSpPr>
        <p:spPr>
          <a:xfrm>
            <a:off x="554736" y="2744369"/>
            <a:ext cx="2514600" cy="769441"/>
          </a:xfrm>
        </p:spPr>
        <p:txBody>
          <a:bodyPr vert="horz" wrap="square" lIns="0" tIns="0" rIns="0" bIns="0" rtlCol="0" anchor="b" anchorCtr="0">
            <a:noAutofit/>
          </a:bodyPr>
          <a:lstStyle>
            <a:lvl1pPr rtl="0">
              <a:defRPr lang="en-US" dirty="0"/>
            </a:lvl1pPr>
          </a:lstStyle>
          <a:p>
            <a:pPr lvl="0"/>
            <a:r>
              <a:rPr lang="en-US"/>
              <a:t>Click to edit Master title style</a:t>
            </a:r>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7"/>
            </p:custDataLst>
          </p:nvPr>
        </p:nvSpPr>
        <p:spPr>
          <a:xfrm>
            <a:off x="554736" y="3659644"/>
            <a:ext cx="2514600" cy="492443"/>
          </a:xfrm>
          <a:prstGeom prst="rect">
            <a:avLst/>
          </a:prstGeom>
        </p:spPr>
        <p:txBody>
          <a:bodyPr wrap="square">
            <a:spAutoFit/>
          </a:bodyPr>
          <a:lstStyle>
            <a:lvl1pPr marL="0" indent="0" algn="l" rtl="0">
              <a:buNone/>
              <a:defRPr sz="1600" b="0" baseline="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21" name="5. Source" hidden="1">
            <a:extLst>
              <a:ext uri="{FF2B5EF4-FFF2-40B4-BE49-F238E27FC236}">
                <a16:creationId xmlns:a16="http://schemas.microsoft.com/office/drawing/2014/main" id="{25B2DE14-9B3F-4199-B082-9FEB12CE57EA}"/>
              </a:ext>
            </a:extLst>
          </p:cNvPr>
          <p:cNvSpPr txBox="1"/>
          <p:nvPr userDrawn="1">
            <p:custDataLst>
              <p:tags r:id="rId8"/>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pic>
        <p:nvPicPr>
          <p:cNvPr id="11" name="Picture 10">
            <a:extLst>
              <a:ext uri="{FF2B5EF4-FFF2-40B4-BE49-F238E27FC236}">
                <a16:creationId xmlns:a16="http://schemas.microsoft.com/office/drawing/2014/main" id="{5E6DBB92-EC11-4A79-83B6-63B7F2D97E4F}"/>
              </a:ext>
            </a:extLst>
          </p:cNvPr>
          <p:cNvPicPr>
            <a:picLocks noChangeAspect="1"/>
          </p:cNvPicPr>
          <p:nvPr userDrawn="1"/>
        </p:nvPicPr>
        <p:blipFill>
          <a:blip r:embed="rId12"/>
          <a:stretch>
            <a:fillRect/>
          </a:stretch>
        </p:blipFill>
        <p:spPr>
          <a:xfrm>
            <a:off x="10135026" y="6373368"/>
            <a:ext cx="1159550" cy="252852"/>
          </a:xfrm>
          <a:prstGeom prst="rect">
            <a:avLst/>
          </a:prstGeom>
        </p:spPr>
      </p:pic>
      <p:sp>
        <p:nvSpPr>
          <p:cNvPr id="2" name="TextBox 1">
            <a:extLst>
              <a:ext uri="{FF2B5EF4-FFF2-40B4-BE49-F238E27FC236}">
                <a16:creationId xmlns:a16="http://schemas.microsoft.com/office/drawing/2014/main" id="{C1D75DA8-877F-7154-2633-90B77AEB7C2B}"/>
              </a:ext>
            </a:extLst>
          </p:cNvPr>
          <p:cNvSpPr txBox="1"/>
          <p:nvPr userDrawn="1"/>
        </p:nvSpPr>
        <p:spPr>
          <a:xfrm>
            <a:off x="4236259" y="0"/>
            <a:ext cx="7955741" cy="230832"/>
          </a:xfrm>
          <a:prstGeom prst="rect">
            <a:avLst/>
          </a:prstGeom>
          <a:solidFill>
            <a:srgbClr val="F7FDEC"/>
          </a:solidFill>
        </p:spPr>
        <p:txBody>
          <a:bodyPr wrap="square" rtlCol="0">
            <a:spAutoFit/>
          </a:bodyPr>
          <a:lstStyle/>
          <a:p>
            <a:pPr algn="r"/>
            <a:r>
              <a:rPr lang="en-US" sz="900">
                <a:solidFill>
                  <a:srgbClr val="FF0000"/>
                </a:solidFill>
              </a:rPr>
              <a:t>DRAFT – FOR EVALUATION PURPOSES ONLY – NOT A FINAL DEPARTMENT OF ENERGY DETERMINATION – DO NOT DISTRIBUTE </a:t>
            </a:r>
          </a:p>
        </p:txBody>
      </p:sp>
    </p:spTree>
    <p:extLst>
      <p:ext uri="{BB962C8B-B14F-4D97-AF65-F5344CB8AC3E}">
        <p14:creationId xmlns:p14="http://schemas.microsoft.com/office/powerpoint/2010/main" val="251163403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3285263729"/>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2"/>
            </p:custDataLst>
            <p:extLst>
              <p:ext uri="{D42A27DB-BD31-4B8C-83A1-F6EECF244321}">
                <p14:modId xmlns:p14="http://schemas.microsoft.com/office/powerpoint/2010/main" val="28919277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0289"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CEE6E84E-0DE7-4EEF-8932-BF42153B3B56}"/>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9D2CA90-0144-4292-9526-98A508F53171}"/>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4364736" y="0"/>
            <a:ext cx="7827264" cy="6858000"/>
          </a:xfrm>
          <a:prstGeom prst="rect">
            <a:avLst/>
          </a:prstGeom>
          <a:solidFill>
            <a:schemeClr val="accent4">
              <a:lumMod val="20000"/>
              <a:lumOff val="80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a:solidFill>
                <a:srgbClr val="F0F0F0"/>
              </a:solidFill>
              <a:latin typeface="Arial" panose="020B0604020202020204" pitchFamily="34" charset="0"/>
            </a:endParaRPr>
          </a:p>
        </p:txBody>
      </p:sp>
      <p:sp>
        <p:nvSpPr>
          <p:cNvPr id="17" name="Slide Number">
            <a:extLst>
              <a:ext uri="{FF2B5EF4-FFF2-40B4-BE49-F238E27FC236}">
                <a16:creationId xmlns:a16="http://schemas.microsoft.com/office/drawing/2014/main" id="{36B65DC7-979F-4AB7-9872-8CF5F2DCB753}"/>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6"/>
            </p:custDataLst>
          </p:nvPr>
        </p:nvSpPr>
        <p:spPr>
          <a:xfrm>
            <a:off x="554736" y="2744369"/>
            <a:ext cx="3465576" cy="769441"/>
          </a:xfrm>
          <a:prstGeom prst="rect">
            <a:avLst/>
          </a:prstGeom>
        </p:spPr>
        <p:txBody>
          <a:bodyPr vert="horz" wrap="square" lIns="0" tIns="0" rIns="0" bIns="0" rtlCol="0" anchor="b" anchorCtr="0">
            <a:noAutofit/>
          </a:bodyPr>
          <a:lstStyle>
            <a:lvl1pPr rtl="0">
              <a:defRPr lang="en-US" dirty="0"/>
            </a:lvl1pPr>
          </a:lstStyle>
          <a:p>
            <a:pPr lvl="0"/>
            <a:r>
              <a:rPr lang="en-US"/>
              <a:t>Click to edit Master title style</a:t>
            </a:r>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7"/>
            </p:custDataLst>
          </p:nvPr>
        </p:nvSpPr>
        <p:spPr>
          <a:xfrm>
            <a:off x="554735" y="3659644"/>
            <a:ext cx="3465575" cy="246221"/>
          </a:xfrm>
          <a:prstGeom prst="rect">
            <a:avLst/>
          </a:prstGeom>
        </p:spPr>
        <p:txBody>
          <a:bodyPr wrap="square">
            <a:spAutoFit/>
          </a:bodyPr>
          <a:lstStyle>
            <a:lvl1pPr marL="0" indent="0" algn="l" rtl="0">
              <a:buNone/>
              <a:defRPr sz="1600" b="0" baseline="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21" name="5. Source" hidden="1">
            <a:extLst>
              <a:ext uri="{FF2B5EF4-FFF2-40B4-BE49-F238E27FC236}">
                <a16:creationId xmlns:a16="http://schemas.microsoft.com/office/drawing/2014/main" id="{DA204BE1-D5C8-4D03-9090-21D41FEC78E0}"/>
              </a:ext>
            </a:extLst>
          </p:cNvPr>
          <p:cNvSpPr txBox="1"/>
          <p:nvPr userDrawn="1">
            <p:custDataLst>
              <p:tags r:id="rId8"/>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pic>
        <p:nvPicPr>
          <p:cNvPr id="11" name="Picture 10">
            <a:extLst>
              <a:ext uri="{FF2B5EF4-FFF2-40B4-BE49-F238E27FC236}">
                <a16:creationId xmlns:a16="http://schemas.microsoft.com/office/drawing/2014/main" id="{9A8E566D-20C0-49E3-8A71-BE821CC7910A}"/>
              </a:ext>
            </a:extLst>
          </p:cNvPr>
          <p:cNvPicPr>
            <a:picLocks noChangeAspect="1"/>
          </p:cNvPicPr>
          <p:nvPr userDrawn="1"/>
        </p:nvPicPr>
        <p:blipFill>
          <a:blip r:embed="rId12"/>
          <a:stretch>
            <a:fillRect/>
          </a:stretch>
        </p:blipFill>
        <p:spPr>
          <a:xfrm>
            <a:off x="10135026" y="6373368"/>
            <a:ext cx="1159550" cy="252852"/>
          </a:xfrm>
          <a:prstGeom prst="rect">
            <a:avLst/>
          </a:prstGeom>
        </p:spPr>
      </p:pic>
      <p:sp>
        <p:nvSpPr>
          <p:cNvPr id="15" name="TextBox 14">
            <a:extLst>
              <a:ext uri="{FF2B5EF4-FFF2-40B4-BE49-F238E27FC236}">
                <a16:creationId xmlns:a16="http://schemas.microsoft.com/office/drawing/2014/main" id="{88B8EF17-B673-4734-A1B7-3187BD4694A9}"/>
              </a:ext>
            </a:extLst>
          </p:cNvPr>
          <p:cNvSpPr txBox="1"/>
          <p:nvPr userDrawn="1"/>
        </p:nvSpPr>
        <p:spPr>
          <a:xfrm>
            <a:off x="9378374" y="66858"/>
            <a:ext cx="2625090" cy="215444"/>
          </a:xfrm>
          <a:prstGeom prst="rect">
            <a:avLst/>
          </a:prstGeom>
          <a:noFill/>
          <a:ln w="6350">
            <a:noFill/>
            <a:miter lim="800000"/>
          </a:ln>
        </p:spPr>
        <p:txBody>
          <a:bodyPr wrap="square">
            <a:spAutoFit/>
          </a:bodyPr>
          <a:lstStyle/>
          <a:p>
            <a:pPr algn="r"/>
            <a:r>
              <a:rPr lang="en-US" sz="800">
                <a:solidFill>
                  <a:srgbClr val="000000"/>
                </a:solidFill>
                <a:effectLst/>
                <a:latin typeface="McKinsey Sans Regular"/>
                <a:ea typeface="Times New Roman" panose="02020603050405020304" pitchFamily="18" charset="0"/>
                <a:cs typeface="Calibri" panose="020F0502020204030204" pitchFamily="34" charset="0"/>
              </a:rPr>
              <a:t>FOR INTERNAL USE ONLY </a:t>
            </a:r>
            <a:endParaRPr lang="en-US" sz="800"/>
          </a:p>
        </p:txBody>
      </p:sp>
      <p:sp>
        <p:nvSpPr>
          <p:cNvPr id="2" name="TextBox 1">
            <a:extLst>
              <a:ext uri="{FF2B5EF4-FFF2-40B4-BE49-F238E27FC236}">
                <a16:creationId xmlns:a16="http://schemas.microsoft.com/office/drawing/2014/main" id="{7297D058-FADF-3242-37C3-45D6FD7505E9}"/>
              </a:ext>
            </a:extLst>
          </p:cNvPr>
          <p:cNvSpPr txBox="1"/>
          <p:nvPr userDrawn="1"/>
        </p:nvSpPr>
        <p:spPr>
          <a:xfrm>
            <a:off x="4236259" y="0"/>
            <a:ext cx="7955741" cy="230832"/>
          </a:xfrm>
          <a:prstGeom prst="rect">
            <a:avLst/>
          </a:prstGeom>
          <a:solidFill>
            <a:srgbClr val="F7FDEC"/>
          </a:solidFill>
        </p:spPr>
        <p:txBody>
          <a:bodyPr wrap="square" rtlCol="0">
            <a:spAutoFit/>
          </a:bodyPr>
          <a:lstStyle/>
          <a:p>
            <a:pPr algn="r"/>
            <a:r>
              <a:rPr lang="en-US" sz="900">
                <a:solidFill>
                  <a:srgbClr val="FF0000"/>
                </a:solidFill>
              </a:rPr>
              <a:t>DRAFT – FOR EVALUATION PURPOSES ONLY – NOT A FINAL DEPARTMENT OF ENERGY DETERMINATION – DO NOT DISTRIBUTE </a:t>
            </a:r>
          </a:p>
        </p:txBody>
      </p:sp>
    </p:spTree>
    <p:extLst>
      <p:ext uri="{BB962C8B-B14F-4D97-AF65-F5344CB8AC3E}">
        <p14:creationId xmlns:p14="http://schemas.microsoft.com/office/powerpoint/2010/main" val="1678490023"/>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extLst>
              <p:ext uri="{D42A27DB-BD31-4B8C-83A1-F6EECF244321}">
                <p14:modId xmlns:p14="http://schemas.microsoft.com/office/powerpoint/2010/main" val="19834665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1313"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725BD87-3C3D-45F6-BBCF-F06FD867659F}"/>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6092952" y="0"/>
            <a:ext cx="6099048" cy="6858000"/>
          </a:xfrm>
          <a:prstGeom prst="rect">
            <a:avLst/>
          </a:prstGeom>
          <a:solidFill>
            <a:schemeClr val="accent4">
              <a:lumMod val="20000"/>
              <a:lumOff val="80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a:solidFill>
                <a:srgbClr val="F0F0F0"/>
              </a:solidFill>
              <a:latin typeface="Arial" panose="020B0604020202020204" pitchFamily="34" charset="0"/>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6"/>
            </p:custDataLst>
          </p:nvPr>
        </p:nvSpPr>
        <p:spPr>
          <a:xfrm>
            <a:off x="554736" y="172212"/>
            <a:ext cx="5065776" cy="731520"/>
          </a:xfrm>
        </p:spPr>
        <p:txBody>
          <a:bodyPr vert="horz"/>
          <a:lstStyle>
            <a:lvl1pPr rtl="0">
              <a:defRPr/>
            </a:lvl1pPr>
          </a:lstStyle>
          <a:p>
            <a:r>
              <a:rPr lang="en-US"/>
              <a:t>Click to edit Master title style</a:t>
            </a:r>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7"/>
            </p:custDataLst>
          </p:nvPr>
        </p:nvSpPr>
        <p:spPr>
          <a:xfrm>
            <a:off x="554736" y="919250"/>
            <a:ext cx="5065776" cy="246221"/>
          </a:xfrm>
          <a:prstGeom prst="rect">
            <a:avLst/>
          </a:prstGeom>
        </p:spPr>
        <p:txBody>
          <a:bodyPr wrap="square">
            <a:spAutoFit/>
          </a:bodyPr>
          <a:lstStyle>
            <a:lvl1pPr marL="0" indent="0" algn="l" rtl="0">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8"/>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pic>
        <p:nvPicPr>
          <p:cNvPr id="11" name="Picture 10">
            <a:extLst>
              <a:ext uri="{FF2B5EF4-FFF2-40B4-BE49-F238E27FC236}">
                <a16:creationId xmlns:a16="http://schemas.microsoft.com/office/drawing/2014/main" id="{49984FF9-1BBB-4056-B2D6-FB888D87F9E9}"/>
              </a:ext>
            </a:extLst>
          </p:cNvPr>
          <p:cNvPicPr>
            <a:picLocks noChangeAspect="1"/>
          </p:cNvPicPr>
          <p:nvPr userDrawn="1"/>
        </p:nvPicPr>
        <p:blipFill>
          <a:blip r:embed="rId12"/>
          <a:stretch>
            <a:fillRect/>
          </a:stretch>
        </p:blipFill>
        <p:spPr>
          <a:xfrm>
            <a:off x="10135026" y="6373368"/>
            <a:ext cx="1159550" cy="252852"/>
          </a:xfrm>
          <a:prstGeom prst="rect">
            <a:avLst/>
          </a:prstGeom>
        </p:spPr>
      </p:pic>
      <p:sp>
        <p:nvSpPr>
          <p:cNvPr id="5" name="TextBox 4">
            <a:extLst>
              <a:ext uri="{FF2B5EF4-FFF2-40B4-BE49-F238E27FC236}">
                <a16:creationId xmlns:a16="http://schemas.microsoft.com/office/drawing/2014/main" id="{7073C9C1-F8AC-65AB-B9F4-2A57E9883AA8}"/>
              </a:ext>
            </a:extLst>
          </p:cNvPr>
          <p:cNvSpPr txBox="1"/>
          <p:nvPr userDrawn="1"/>
        </p:nvSpPr>
        <p:spPr>
          <a:xfrm>
            <a:off x="4236259" y="0"/>
            <a:ext cx="7955741" cy="230832"/>
          </a:xfrm>
          <a:prstGeom prst="rect">
            <a:avLst/>
          </a:prstGeom>
          <a:noFill/>
        </p:spPr>
        <p:txBody>
          <a:bodyPr wrap="square" rtlCol="0">
            <a:spAutoFit/>
          </a:bodyPr>
          <a:lstStyle/>
          <a:p>
            <a:pPr algn="r"/>
            <a:r>
              <a:rPr lang="en-US" sz="900">
                <a:solidFill>
                  <a:srgbClr val="FF0000"/>
                </a:solidFill>
              </a:rPr>
              <a:t>DRAFT – FOR EVALUATION PURPOSES ONLY – NOT A FINAL DEPARTMENT OF ENERGY DETERMINATION – DO NOT DISTRIBUTE </a:t>
            </a:r>
          </a:p>
        </p:txBody>
      </p:sp>
    </p:spTree>
    <p:extLst>
      <p:ext uri="{BB962C8B-B14F-4D97-AF65-F5344CB8AC3E}">
        <p14:creationId xmlns:p14="http://schemas.microsoft.com/office/powerpoint/2010/main" val="2571410172"/>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2"/>
            </p:custDataLst>
            <p:extLst>
              <p:ext uri="{D42A27DB-BD31-4B8C-83A1-F6EECF244321}">
                <p14:modId xmlns:p14="http://schemas.microsoft.com/office/powerpoint/2010/main" val="20874107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2337" name="think-cell Slide" r:id="rId10" imgW="572" imgH="588" progId="TCLayout.ActiveDocument.1">
                  <p:embed/>
                </p:oleObj>
              </mc:Choice>
              <mc:Fallback>
                <p:oleObj name="think-cell Slide" r:id="rId10"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D668F04-7049-40BA-8D63-D8BBB6921318}"/>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9" name="2. Slide Title">
            <a:extLst>
              <a:ext uri="{FF2B5EF4-FFF2-40B4-BE49-F238E27FC236}">
                <a16:creationId xmlns:a16="http://schemas.microsoft.com/office/drawing/2014/main" id="{0415F114-7B0E-43F2-8881-F0D9FB2A643B}"/>
              </a:ext>
            </a:extLst>
          </p:cNvPr>
          <p:cNvSpPr>
            <a:spLocks noGrp="1"/>
          </p:cNvSpPr>
          <p:nvPr>
            <p:ph type="title"/>
            <p:custDataLst>
              <p:tags r:id="rId4"/>
            </p:custDataLst>
          </p:nvPr>
        </p:nvSpPr>
        <p:spPr>
          <a:xfrm>
            <a:off x="554736" y="172212"/>
            <a:ext cx="6967728" cy="731520"/>
          </a:xfrm>
        </p:spPr>
        <p:txBody>
          <a:bodyPr vert="horz"/>
          <a:lstStyle>
            <a:lvl1pPr rtl="0">
              <a:defRPr/>
            </a:lvl1pPr>
          </a:lstStyle>
          <a:p>
            <a:r>
              <a:rPr lang="en-US"/>
              <a:t>Click to edit Master title style</a:t>
            </a: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5"/>
            </p:custDataLst>
          </p:nvPr>
        </p:nvSpPr>
        <p:spPr bwMode="ltGray">
          <a:xfrm>
            <a:off x="7830312" y="0"/>
            <a:ext cx="4361688" cy="6858000"/>
          </a:xfrm>
          <a:prstGeom prst="rect">
            <a:avLst/>
          </a:prstGeom>
          <a:solidFill>
            <a:schemeClr val="accent4">
              <a:lumMod val="20000"/>
              <a:lumOff val="80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a:solidFill>
                <a:srgbClr val="F0F0F0"/>
              </a:solidFill>
              <a:latin typeface="Arial" panose="020B0604020202020204" pitchFamily="34" charset="0"/>
            </a:endParaRP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20" name="3. Subtitle">
            <a:extLst>
              <a:ext uri="{FF2B5EF4-FFF2-40B4-BE49-F238E27FC236}">
                <a16:creationId xmlns:a16="http://schemas.microsoft.com/office/drawing/2014/main" id="{712BED6B-950C-4FB8-AEE1-14FA61D013FF}"/>
              </a:ext>
            </a:extLst>
          </p:cNvPr>
          <p:cNvSpPr>
            <a:spLocks noGrp="1"/>
          </p:cNvSpPr>
          <p:nvPr>
            <p:ph type="subTitle" idx="1"/>
            <p:custDataLst>
              <p:tags r:id="rId7"/>
            </p:custDataLst>
          </p:nvPr>
        </p:nvSpPr>
        <p:spPr>
          <a:xfrm>
            <a:off x="554736" y="919250"/>
            <a:ext cx="6967728" cy="246221"/>
          </a:xfrm>
          <a:prstGeom prst="rect">
            <a:avLst/>
          </a:prstGeom>
        </p:spPr>
        <p:txBody>
          <a:bodyPr wrap="square">
            <a:spAutoFit/>
          </a:bodyPr>
          <a:lstStyle>
            <a:lvl1pPr marL="0" indent="0" algn="l" rtl="0">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1" name="5. Source" hidden="1">
            <a:extLst>
              <a:ext uri="{FF2B5EF4-FFF2-40B4-BE49-F238E27FC236}">
                <a16:creationId xmlns:a16="http://schemas.microsoft.com/office/drawing/2014/main" id="{F25A304F-F50E-4F96-991D-CFEB07060178}"/>
              </a:ext>
            </a:extLst>
          </p:cNvPr>
          <p:cNvSpPr txBox="1"/>
          <p:nvPr userDrawn="1">
            <p:custDataLst>
              <p:tags r:id="rId8"/>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solidFill>
                  <a:schemeClr val="tx1"/>
                </a:solidFill>
              </a:rPr>
              <a:t>Source: …</a:t>
            </a:r>
          </a:p>
        </p:txBody>
      </p:sp>
      <p:pic>
        <p:nvPicPr>
          <p:cNvPr id="11" name="Picture 10">
            <a:extLst>
              <a:ext uri="{FF2B5EF4-FFF2-40B4-BE49-F238E27FC236}">
                <a16:creationId xmlns:a16="http://schemas.microsoft.com/office/drawing/2014/main" id="{0D899DD9-C386-46E5-910C-1F0E69AFAC17}"/>
              </a:ext>
            </a:extLst>
          </p:cNvPr>
          <p:cNvPicPr>
            <a:picLocks noChangeAspect="1"/>
          </p:cNvPicPr>
          <p:nvPr userDrawn="1"/>
        </p:nvPicPr>
        <p:blipFill>
          <a:blip r:embed="rId12"/>
          <a:stretch>
            <a:fillRect/>
          </a:stretch>
        </p:blipFill>
        <p:spPr>
          <a:xfrm>
            <a:off x="10135026" y="6373368"/>
            <a:ext cx="1159550" cy="252852"/>
          </a:xfrm>
          <a:prstGeom prst="rect">
            <a:avLst/>
          </a:prstGeom>
        </p:spPr>
      </p:pic>
      <p:sp>
        <p:nvSpPr>
          <p:cNvPr id="2" name="TextBox 1">
            <a:extLst>
              <a:ext uri="{FF2B5EF4-FFF2-40B4-BE49-F238E27FC236}">
                <a16:creationId xmlns:a16="http://schemas.microsoft.com/office/drawing/2014/main" id="{53C1D79B-99BF-06BD-AA79-A70C40B26221}"/>
              </a:ext>
            </a:extLst>
          </p:cNvPr>
          <p:cNvSpPr txBox="1"/>
          <p:nvPr userDrawn="1"/>
        </p:nvSpPr>
        <p:spPr>
          <a:xfrm>
            <a:off x="4236259" y="0"/>
            <a:ext cx="7955741" cy="230832"/>
          </a:xfrm>
          <a:prstGeom prst="rect">
            <a:avLst/>
          </a:prstGeom>
          <a:noFill/>
        </p:spPr>
        <p:txBody>
          <a:bodyPr wrap="square" rtlCol="0">
            <a:spAutoFit/>
          </a:bodyPr>
          <a:lstStyle/>
          <a:p>
            <a:pPr algn="r"/>
            <a:r>
              <a:rPr lang="en-US" sz="900">
                <a:solidFill>
                  <a:srgbClr val="FF0000"/>
                </a:solidFill>
              </a:rPr>
              <a:t>DRAFT – FOR EVALUATION PURPOSES ONLY – NOT A FINAL DEPARTMENT OF ENERGY DETERMINATION – DO NOT DISTRIBUTE </a:t>
            </a:r>
          </a:p>
        </p:txBody>
      </p:sp>
    </p:spTree>
    <p:extLst>
      <p:ext uri="{BB962C8B-B14F-4D97-AF65-F5344CB8AC3E}">
        <p14:creationId xmlns:p14="http://schemas.microsoft.com/office/powerpoint/2010/main" val="1508702521"/>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showMasterSp="0" preserve="1" userDrawn="1">
  <p:cSld name="3/4 ">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extLst>
              <p:ext uri="{D42A27DB-BD31-4B8C-83A1-F6EECF244321}">
                <p14:modId xmlns:p14="http://schemas.microsoft.com/office/powerpoint/2010/main" val="11691290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361"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9F7114D8-6025-4386-BA96-B034FE6B3CDB}"/>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50854476-2923-4515-A585-4477FF861180}"/>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4"/>
            </p:custDataLst>
          </p:nvPr>
        </p:nvSpPr>
        <p:spPr bwMode="ltGray">
          <a:xfrm>
            <a:off x="8781416" y="0"/>
            <a:ext cx="3410584" cy="6858000"/>
          </a:xfrm>
          <a:prstGeom prst="rect">
            <a:avLst/>
          </a:prstGeom>
          <a:solidFill>
            <a:schemeClr val="accent4">
              <a:lumMod val="20000"/>
              <a:lumOff val="80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noProof="0">
              <a:solidFill>
                <a:srgbClr val="F0F0F0"/>
              </a:solidFill>
              <a:latin typeface="Arial" panose="020B0604020202020204" pitchFamily="34" charset="0"/>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chemeClr val="tx1"/>
                </a:solidFill>
                <a:effectLst/>
                <a:uLnTx/>
                <a:uFillTx/>
                <a:latin typeface="+mn-lt"/>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schemeClr val="tx1"/>
              </a:solidFill>
              <a:effectLst/>
              <a:uLnTx/>
              <a:uFillTx/>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6"/>
            </p:custDataLst>
          </p:nvPr>
        </p:nvSpPr>
        <p:spPr>
          <a:xfrm>
            <a:off x="554736" y="172212"/>
            <a:ext cx="7918704" cy="731520"/>
          </a:xfrm>
        </p:spPr>
        <p:txBody>
          <a:bodyPr vert="horz"/>
          <a:lstStyle>
            <a:lvl1pPr rtl="0">
              <a:defRPr/>
            </a:lvl1pPr>
          </a:lstStyle>
          <a:p>
            <a:r>
              <a:rPr lang="en-US"/>
              <a:t>Click to edit Master title style</a:t>
            </a:r>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7"/>
            </p:custDataLst>
          </p:nvPr>
        </p:nvSpPr>
        <p:spPr>
          <a:xfrm>
            <a:off x="554736" y="919250"/>
            <a:ext cx="7918704" cy="246221"/>
          </a:xfrm>
          <a:prstGeom prst="rect">
            <a:avLst/>
          </a:prstGeom>
        </p:spPr>
        <p:txBody>
          <a:bodyPr wrap="square">
            <a:spAutoFit/>
          </a:bodyPr>
          <a:lstStyle>
            <a:lvl1pPr marL="0" indent="0" algn="l" rtl="0">
              <a:buNone/>
              <a:defRPr sz="1600" b="0" u="none"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8"/>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a:ln>
                  <a:noFill/>
                </a:ln>
                <a:solidFill>
                  <a:schemeClr val="tx1"/>
                </a:solidFill>
                <a:effectLst/>
                <a:uLnTx/>
                <a:uFillTx/>
                <a:latin typeface="+mn-lt"/>
                <a:ea typeface="+mn-ea"/>
                <a:cs typeface="Arial" panose="020B0604020202020204" pitchFamily="34" charset="0"/>
              </a:rPr>
              <a:t>Source: …</a:t>
            </a:r>
          </a:p>
        </p:txBody>
      </p:sp>
      <p:pic>
        <p:nvPicPr>
          <p:cNvPr id="11" name="Picture 10">
            <a:extLst>
              <a:ext uri="{FF2B5EF4-FFF2-40B4-BE49-F238E27FC236}">
                <a16:creationId xmlns:a16="http://schemas.microsoft.com/office/drawing/2014/main" id="{0260C2FD-F1A0-4369-8570-CD27045A07E6}"/>
              </a:ext>
            </a:extLst>
          </p:cNvPr>
          <p:cNvPicPr>
            <a:picLocks noChangeAspect="1"/>
          </p:cNvPicPr>
          <p:nvPr userDrawn="1"/>
        </p:nvPicPr>
        <p:blipFill>
          <a:blip r:embed="rId12"/>
          <a:stretch>
            <a:fillRect/>
          </a:stretch>
        </p:blipFill>
        <p:spPr>
          <a:xfrm>
            <a:off x="10135026" y="6373368"/>
            <a:ext cx="1159550" cy="252852"/>
          </a:xfrm>
          <a:prstGeom prst="rect">
            <a:avLst/>
          </a:prstGeom>
        </p:spPr>
      </p:pic>
      <p:sp>
        <p:nvSpPr>
          <p:cNvPr id="2" name="TextBox 1">
            <a:extLst>
              <a:ext uri="{FF2B5EF4-FFF2-40B4-BE49-F238E27FC236}">
                <a16:creationId xmlns:a16="http://schemas.microsoft.com/office/drawing/2014/main" id="{70C8F15D-AB04-3107-C2EC-CCF7C7D06690}"/>
              </a:ext>
            </a:extLst>
          </p:cNvPr>
          <p:cNvSpPr txBox="1"/>
          <p:nvPr userDrawn="1"/>
        </p:nvSpPr>
        <p:spPr>
          <a:xfrm>
            <a:off x="4236259" y="0"/>
            <a:ext cx="7955741" cy="230832"/>
          </a:xfrm>
          <a:prstGeom prst="rect">
            <a:avLst/>
          </a:prstGeom>
          <a:noFill/>
        </p:spPr>
        <p:txBody>
          <a:bodyPr wrap="square" rtlCol="0">
            <a:spAutoFit/>
          </a:bodyPr>
          <a:lstStyle/>
          <a:p>
            <a:pPr algn="r"/>
            <a:r>
              <a:rPr lang="en-US" sz="900">
                <a:solidFill>
                  <a:srgbClr val="FF0000"/>
                </a:solidFill>
              </a:rPr>
              <a:t>DRAFT – FOR EVALUATION PURPOSES ONLY – NOT A FINAL DEPARTMENT OF ENERGY DETERMINATION – DO NOT DISTRIBUTE </a:t>
            </a:r>
          </a:p>
        </p:txBody>
      </p:sp>
    </p:spTree>
    <p:extLst>
      <p:ext uri="{BB962C8B-B14F-4D97-AF65-F5344CB8AC3E}">
        <p14:creationId xmlns:p14="http://schemas.microsoft.com/office/powerpoint/2010/main" val="3592803853"/>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showMasterSp="0" preserve="1" userDrawn="1">
  <p:cSld name="3-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648A5D5-75B9-4F02-A4CB-B3C65A9BF2CE}"/>
              </a:ext>
            </a:extLst>
          </p:cNvPr>
          <p:cNvGraphicFramePr>
            <a:graphicFrameLocks noChangeAspect="1"/>
          </p:cNvGraphicFramePr>
          <p:nvPr userDrawn="1">
            <p:custDataLst>
              <p:tags r:id="rId2"/>
            </p:custDataLst>
            <p:extLst>
              <p:ext uri="{D42A27DB-BD31-4B8C-83A1-F6EECF244321}">
                <p14:modId xmlns:p14="http://schemas.microsoft.com/office/powerpoint/2010/main" val="22946195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4385"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C648A5D5-75B9-4F02-A4CB-B3C65A9BF2CE}"/>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58AAF75-30DC-408A-933A-149F2D14D18F}"/>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5" name="Slide Number">
            <a:extLst>
              <a:ext uri="{FF2B5EF4-FFF2-40B4-BE49-F238E27FC236}">
                <a16:creationId xmlns:a16="http://schemas.microsoft.com/office/drawing/2014/main" id="{0AA537C7-2883-43C1-848C-3A4E9645077F}"/>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5"/>
            </p:custDataLst>
          </p:nvPr>
        </p:nvSpPr>
        <p:spPr>
          <a:xfrm>
            <a:off x="554736" y="172212"/>
            <a:ext cx="11082528" cy="989512"/>
          </a:xfrm>
        </p:spPr>
        <p:txBody>
          <a:bodyPr vert="horz">
            <a:noAutofit/>
          </a:bodyPr>
          <a:lstStyle>
            <a:lvl1pPr rtl="0">
              <a:defRPr/>
            </a:lvl1pPr>
          </a:lstStyle>
          <a:p>
            <a:r>
              <a:rPr lang="en-US"/>
              <a:t>Click to edit Master title style</a:t>
            </a:r>
          </a:p>
        </p:txBody>
      </p:sp>
      <p:sp>
        <p:nvSpPr>
          <p:cNvPr id="10" name="5. Source" hidden="1">
            <a:extLst>
              <a:ext uri="{FF2B5EF4-FFF2-40B4-BE49-F238E27FC236}">
                <a16:creationId xmlns:a16="http://schemas.microsoft.com/office/drawing/2014/main" id="{81E2484B-3E40-408C-A350-5EB40C8A09F0}"/>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pic>
        <p:nvPicPr>
          <p:cNvPr id="9" name="Picture 8">
            <a:extLst>
              <a:ext uri="{FF2B5EF4-FFF2-40B4-BE49-F238E27FC236}">
                <a16:creationId xmlns:a16="http://schemas.microsoft.com/office/drawing/2014/main" id="{7A3F2062-A8FB-4991-A930-1C6037C96C0E}"/>
              </a:ext>
            </a:extLst>
          </p:cNvPr>
          <p:cNvPicPr>
            <a:picLocks noChangeAspect="1"/>
          </p:cNvPicPr>
          <p:nvPr userDrawn="1"/>
        </p:nvPicPr>
        <p:blipFill>
          <a:blip r:embed="rId10"/>
          <a:stretch>
            <a:fillRect/>
          </a:stretch>
        </p:blipFill>
        <p:spPr>
          <a:xfrm>
            <a:off x="10135026" y="6373368"/>
            <a:ext cx="1159550" cy="252852"/>
          </a:xfrm>
          <a:prstGeom prst="rect">
            <a:avLst/>
          </a:prstGeom>
        </p:spPr>
      </p:pic>
      <p:sp>
        <p:nvSpPr>
          <p:cNvPr id="5" name="TextBox 4">
            <a:extLst>
              <a:ext uri="{FF2B5EF4-FFF2-40B4-BE49-F238E27FC236}">
                <a16:creationId xmlns:a16="http://schemas.microsoft.com/office/drawing/2014/main" id="{0B3E37C7-35C8-F3B4-D4F3-3ED2802FCCD0}"/>
              </a:ext>
            </a:extLst>
          </p:cNvPr>
          <p:cNvSpPr txBox="1"/>
          <p:nvPr userDrawn="1"/>
        </p:nvSpPr>
        <p:spPr>
          <a:xfrm>
            <a:off x="4236259" y="0"/>
            <a:ext cx="7955741" cy="230832"/>
          </a:xfrm>
          <a:prstGeom prst="rect">
            <a:avLst/>
          </a:prstGeom>
          <a:noFill/>
        </p:spPr>
        <p:txBody>
          <a:bodyPr wrap="square" rtlCol="0">
            <a:spAutoFit/>
          </a:bodyPr>
          <a:lstStyle/>
          <a:p>
            <a:pPr algn="r"/>
            <a:r>
              <a:rPr lang="en-US" sz="900">
                <a:solidFill>
                  <a:srgbClr val="FF0000"/>
                </a:solidFill>
              </a:rPr>
              <a:t>DRAFT – FOR EVALUATION PURPOSES ONLY – NOT A FINAL DEPARTMENT OF ENERGY DETERMINATION – DO NOT DISTRIBUTE </a:t>
            </a:r>
          </a:p>
        </p:txBody>
      </p:sp>
    </p:spTree>
    <p:extLst>
      <p:ext uri="{BB962C8B-B14F-4D97-AF65-F5344CB8AC3E}">
        <p14:creationId xmlns:p14="http://schemas.microsoft.com/office/powerpoint/2010/main" val="2965940243"/>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0E9A7C-FB74-480B-8212-8CE5C1AF5D1B}"/>
              </a:ext>
            </a:extLst>
          </p:cNvPr>
          <p:cNvGraphicFramePr>
            <a:graphicFrameLocks noChangeAspect="1"/>
          </p:cNvGraphicFramePr>
          <p:nvPr userDrawn="1">
            <p:custDataLst>
              <p:tags r:id="rId2"/>
            </p:custDataLst>
            <p:extLst>
              <p:ext uri="{D42A27DB-BD31-4B8C-83A1-F6EECF244321}">
                <p14:modId xmlns:p14="http://schemas.microsoft.com/office/powerpoint/2010/main" val="26996402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5409" name="think-cell Slide" r:id="rId6" imgW="592" imgH="591" progId="TCLayout.ActiveDocument.1">
                  <p:embed/>
                </p:oleObj>
              </mc:Choice>
              <mc:Fallback>
                <p:oleObj name="think-cell Slide" r:id="rId6" imgW="592" imgH="591" progId="TCLayout.ActiveDocument.1">
                  <p:embed/>
                  <p:pic>
                    <p:nvPicPr>
                      <p:cNvPr id="2" name="Object 1" hidden="1">
                        <a:extLst>
                          <a:ext uri="{FF2B5EF4-FFF2-40B4-BE49-F238E27FC236}">
                            <a16:creationId xmlns:a16="http://schemas.microsoft.com/office/drawing/2014/main" id="{220E9A7C-FB74-480B-8212-8CE5C1AF5D1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9" name="Slide Number">
            <a:extLst>
              <a:ext uri="{FF2B5EF4-FFF2-40B4-BE49-F238E27FC236}">
                <a16:creationId xmlns:a16="http://schemas.microsoft.com/office/drawing/2014/main" id="{6982A9EE-ED1D-4D7E-84CA-3C36D0891D68}"/>
              </a:ext>
            </a:extLst>
          </p:cNvPr>
          <p:cNvSpPr>
            <a:spLocks noChangeArrowheads="1"/>
          </p:cNvSpPr>
          <p:nvPr userDrawn="1">
            <p:custDataLst>
              <p:tags r:id="rId3"/>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09F9A864-CDB7-4063-BBF8-591908AA18D0}"/>
              </a:ext>
            </a:extLst>
          </p:cNvPr>
          <p:cNvSpPr txBox="1"/>
          <p:nvPr userDrawn="1">
            <p:custDataLst>
              <p:tags r:id="rId4"/>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sp>
        <p:nvSpPr>
          <p:cNvPr id="3" name="TextBox 2">
            <a:extLst>
              <a:ext uri="{FF2B5EF4-FFF2-40B4-BE49-F238E27FC236}">
                <a16:creationId xmlns:a16="http://schemas.microsoft.com/office/drawing/2014/main" id="{BA2DB3C9-3F0F-5C7B-E233-DF6E6FB267D2}"/>
              </a:ext>
            </a:extLst>
          </p:cNvPr>
          <p:cNvSpPr txBox="1"/>
          <p:nvPr userDrawn="1"/>
        </p:nvSpPr>
        <p:spPr>
          <a:xfrm>
            <a:off x="4236259" y="0"/>
            <a:ext cx="7955741" cy="230832"/>
          </a:xfrm>
          <a:prstGeom prst="rect">
            <a:avLst/>
          </a:prstGeom>
          <a:noFill/>
        </p:spPr>
        <p:txBody>
          <a:bodyPr wrap="square" rtlCol="0">
            <a:spAutoFit/>
          </a:bodyPr>
          <a:lstStyle/>
          <a:p>
            <a:pPr algn="r"/>
            <a:r>
              <a:rPr lang="en-US" sz="900">
                <a:solidFill>
                  <a:srgbClr val="FF0000"/>
                </a:solidFill>
              </a:rPr>
              <a:t>DRAFT – FOR EVALUATION PURPOSES ONLY – NOT A FINAL DEPARTMENT OF ENERGY DETERMINATION – DO NOT DISTRIBUTE </a:t>
            </a:r>
          </a:p>
        </p:txBody>
      </p:sp>
    </p:spTree>
    <p:extLst>
      <p:ext uri="{BB962C8B-B14F-4D97-AF65-F5344CB8AC3E}">
        <p14:creationId xmlns:p14="http://schemas.microsoft.com/office/powerpoint/2010/main" val="1302532061"/>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954CCC1-5027-4384-BFF6-B54153C697A8}"/>
              </a:ext>
            </a:extLst>
          </p:cNvPr>
          <p:cNvGraphicFramePr>
            <a:graphicFrameLocks noChangeAspect="1"/>
          </p:cNvGraphicFramePr>
          <p:nvPr userDrawn="1">
            <p:custDataLst>
              <p:tags r:id="rId2"/>
            </p:custDataLst>
            <p:extLst>
              <p:ext uri="{D42A27DB-BD31-4B8C-83A1-F6EECF244321}">
                <p14:modId xmlns:p14="http://schemas.microsoft.com/office/powerpoint/2010/main" val="6689319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6433" name="think-cell Slide" r:id="rId5" imgW="592" imgH="591" progId="TCLayout.ActiveDocument.1">
                  <p:embed/>
                </p:oleObj>
              </mc:Choice>
              <mc:Fallback>
                <p:oleObj name="think-cell Slide" r:id="rId5" imgW="592" imgH="591" progId="TCLayout.ActiveDocument.1">
                  <p:embed/>
                  <p:pic>
                    <p:nvPicPr>
                      <p:cNvPr id="2" name="Object 1" hidden="1">
                        <a:extLst>
                          <a:ext uri="{FF2B5EF4-FFF2-40B4-BE49-F238E27FC236}">
                            <a16:creationId xmlns:a16="http://schemas.microsoft.com/office/drawing/2014/main" id="{A954CCC1-5027-4384-BFF6-B54153C697A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5. Source" hidden="1">
            <a:extLst>
              <a:ext uri="{FF2B5EF4-FFF2-40B4-BE49-F238E27FC236}">
                <a16:creationId xmlns:a16="http://schemas.microsoft.com/office/drawing/2014/main" id="{330AE89A-7771-4A6E-A02D-893DCB66C876}"/>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pic>
        <p:nvPicPr>
          <p:cNvPr id="5" name="Picture 4">
            <a:extLst>
              <a:ext uri="{FF2B5EF4-FFF2-40B4-BE49-F238E27FC236}">
                <a16:creationId xmlns:a16="http://schemas.microsoft.com/office/drawing/2014/main" id="{C78D7727-4A87-4A1B-B7CF-9517BA8F4E94}"/>
              </a:ext>
            </a:extLst>
          </p:cNvPr>
          <p:cNvPicPr>
            <a:picLocks noChangeAspect="1"/>
          </p:cNvPicPr>
          <p:nvPr userDrawn="1"/>
        </p:nvPicPr>
        <p:blipFill>
          <a:blip r:embed="rId7"/>
          <a:stretch>
            <a:fillRect/>
          </a:stretch>
        </p:blipFill>
        <p:spPr>
          <a:xfrm>
            <a:off x="4418970" y="3063306"/>
            <a:ext cx="3354060" cy="731388"/>
          </a:xfrm>
          <a:prstGeom prst="rect">
            <a:avLst/>
          </a:prstGeom>
        </p:spPr>
      </p:pic>
      <p:sp>
        <p:nvSpPr>
          <p:cNvPr id="3" name="TextBox 2">
            <a:extLst>
              <a:ext uri="{FF2B5EF4-FFF2-40B4-BE49-F238E27FC236}">
                <a16:creationId xmlns:a16="http://schemas.microsoft.com/office/drawing/2014/main" id="{9CDFA16C-5AA4-DD47-109A-44072B171114}"/>
              </a:ext>
            </a:extLst>
          </p:cNvPr>
          <p:cNvSpPr txBox="1"/>
          <p:nvPr userDrawn="1"/>
        </p:nvSpPr>
        <p:spPr>
          <a:xfrm>
            <a:off x="4236259" y="0"/>
            <a:ext cx="7955741" cy="230832"/>
          </a:xfrm>
          <a:prstGeom prst="rect">
            <a:avLst/>
          </a:prstGeom>
          <a:noFill/>
        </p:spPr>
        <p:txBody>
          <a:bodyPr wrap="square" rtlCol="0">
            <a:spAutoFit/>
          </a:bodyPr>
          <a:lstStyle/>
          <a:p>
            <a:pPr algn="r"/>
            <a:r>
              <a:rPr lang="en-US" sz="900">
                <a:solidFill>
                  <a:srgbClr val="FF0000"/>
                </a:solidFill>
              </a:rPr>
              <a:t>DRAFT – FOR EVALUATION PURPOSES ONLY – NOT A FINAL DEPARTMENT OF ENERGY DETERMINATION – DO NOT DISTRIBUTE </a:t>
            </a:r>
          </a:p>
        </p:txBody>
      </p:sp>
    </p:spTree>
    <p:extLst>
      <p:ext uri="{BB962C8B-B14F-4D97-AF65-F5344CB8AC3E}">
        <p14:creationId xmlns:p14="http://schemas.microsoft.com/office/powerpoint/2010/main" val="1342668960"/>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userDrawn="1">
  <p:cSld name="3_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13659814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7457" name="think-cell Slide" r:id="rId9" imgW="413" imgH="416" progId="TCLayout.ActiveDocument.1">
                  <p:embed/>
                </p:oleObj>
              </mc:Choice>
              <mc:Fallback>
                <p:oleObj name="think-cell Slide" r:id="rId9" imgW="413" imgH="416" progId="TCLayout.ActiveDocument.1">
                  <p:embed/>
                  <p:pic>
                    <p:nvPicPr>
                      <p:cNvPr id="3" name="Object 2"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F741700-5035-4E61-A4AC-1B3C7AE220D5}"/>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err="1">
              <a:solidFill>
                <a:schemeClr val="bg1"/>
              </a:solidFill>
              <a:latin typeface="Georgia" panose="02040502050405020303" pitchFamily="18" charset="0"/>
              <a:ea typeface="+mj-ea"/>
              <a:cs typeface="+mj-cs"/>
              <a:sym typeface="Georgia" panose="02040502050405020303" pitchFamily="18"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554736" y="182372"/>
            <a:ext cx="11082528" cy="731520"/>
          </a:xfrm>
        </p:spPr>
        <p:txBody>
          <a:bodyPr vert="horz"/>
          <a:lstStyle/>
          <a:p>
            <a:r>
              <a:rPr lang="en-US"/>
              <a:t>Click to edit Master title style</a:t>
            </a: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7" name="3. Subtitle">
            <a:extLst>
              <a:ext uri="{FF2B5EF4-FFF2-40B4-BE49-F238E27FC236}">
                <a16:creationId xmlns:a16="http://schemas.microsoft.com/office/drawing/2014/main" id="{93FD6872-D3B4-4C24-B09B-0C5F32AC00ED}"/>
              </a:ext>
            </a:extLst>
          </p:cNvPr>
          <p:cNvSpPr>
            <a:spLocks noGrp="1"/>
          </p:cNvSpPr>
          <p:nvPr>
            <p:ph type="subTitle" idx="1"/>
            <p:custDataLst>
              <p:tags r:id="rId7"/>
            </p:custDataLst>
          </p:nvPr>
        </p:nvSpPr>
        <p:spPr>
          <a:xfrm>
            <a:off x="554736" y="903861"/>
            <a:ext cx="11082528" cy="276999"/>
          </a:xfrm>
        </p:spPr>
        <p:txBody>
          <a:bodyPr anchor="ctr" anchorCtr="0"/>
          <a:lstStyle/>
          <a:p>
            <a:r>
              <a:rPr lang="en-US" sz="1600"/>
              <a:t>Click to edit Master subtitle style</a:t>
            </a:r>
          </a:p>
        </p:txBody>
      </p:sp>
    </p:spTree>
    <p:extLst>
      <p:ext uri="{BB962C8B-B14F-4D97-AF65-F5344CB8AC3E}">
        <p14:creationId xmlns:p14="http://schemas.microsoft.com/office/powerpoint/2010/main" val="349286809"/>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userDrawn="1">
  <p:cSld name="4_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9274284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8481" name="think-cell Slide" r:id="rId8" imgW="413" imgH="416" progId="TCLayout.ActiveDocument.1">
                  <p:embed/>
                </p:oleObj>
              </mc:Choice>
              <mc:Fallback>
                <p:oleObj name="think-cell Slide" r:id="rId8" imgW="413" imgH="416" progId="TCLayout.ActiveDocument.1">
                  <p:embed/>
                  <p:pic>
                    <p:nvPicPr>
                      <p:cNvPr id="3" name="Object 2" hidden="1">
                        <a:extLst>
                          <a:ext uri="{FF2B5EF4-FFF2-40B4-BE49-F238E27FC236}">
                            <a16:creationId xmlns:a16="http://schemas.microsoft.com/office/drawing/2014/main" id="{D8EFF8A2-0FB9-4B25-8B8D-492353274983}"/>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F741700-5035-4E61-A4AC-1B3C7AE220D5}"/>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err="1">
              <a:solidFill>
                <a:schemeClr val="bg1"/>
              </a:solidFill>
              <a:latin typeface="Georgia" panose="02040502050405020303" pitchFamily="18" charset="0"/>
              <a:ea typeface="+mj-ea"/>
              <a:cs typeface="+mj-cs"/>
              <a:sym typeface="Georgia" panose="02040502050405020303" pitchFamily="18"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554736" y="182372"/>
            <a:ext cx="11082528" cy="731520"/>
          </a:xfrm>
        </p:spPr>
        <p:txBody>
          <a:bodyPr/>
          <a:lstStyle/>
          <a:p>
            <a:r>
              <a:rPr lang="en-US"/>
              <a:t>Click to edit Master title style</a:t>
            </a: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Tree>
    <p:extLst>
      <p:ext uri="{BB962C8B-B14F-4D97-AF65-F5344CB8AC3E}">
        <p14:creationId xmlns:p14="http://schemas.microsoft.com/office/powerpoint/2010/main" val="2762290743"/>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userDrawn="1">
  <p:cSld name="2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35915740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9505"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4"/>
            </p:custDataLst>
          </p:nvPr>
        </p:nvSpPr>
        <p:spPr>
          <a:xfrm>
            <a:off x="554736" y="825429"/>
            <a:ext cx="11082528" cy="2462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b="0" baseline="0" dirty="0"/>
            </a:lvl1pPr>
          </a:lstStyle>
          <a:p>
            <a:pPr lvl="0">
              <a:buNone/>
            </a:pPr>
            <a:r>
              <a:rPr lang="en-US"/>
              <a:t>Click to edit Master subtitle style</a:t>
            </a: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5"/>
            </p:custDataLst>
          </p:nvPr>
        </p:nvSpPr>
        <p:spPr bwMode="black">
          <a:xfrm>
            <a:off x="11312525" y="64225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5" y="650166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7793926" y="153357"/>
            <a:ext cx="3843338" cy="123111"/>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lgn="r">
              <a:defRPr lang="en-US" sz="800" b="0" dirty="0">
                <a:cs typeface="+mn-cs"/>
              </a:defRPr>
            </a:lvl1pPr>
          </a:lstStyle>
          <a:p>
            <a:pPr lvl="0">
              <a:buNone/>
            </a:pPr>
            <a:r>
              <a:rPr lang="en-US"/>
              <a:t>Add tracker</a:t>
            </a:r>
          </a:p>
        </p:txBody>
      </p:sp>
      <p:sp>
        <p:nvSpPr>
          <p:cNvPr id="10" name="2. Slide Title">
            <a:extLst>
              <a:ext uri="{FF2B5EF4-FFF2-40B4-BE49-F238E27FC236}">
                <a16:creationId xmlns:a16="http://schemas.microsoft.com/office/drawing/2014/main" id="{8326FFD0-8389-4032-AAB8-00C262CAF746}"/>
              </a:ext>
            </a:extLst>
          </p:cNvPr>
          <p:cNvSpPr>
            <a:spLocks noGrp="1"/>
          </p:cNvSpPr>
          <p:nvPr>
            <p:ph type="title"/>
            <p:custDataLst>
              <p:tags r:id="rId8"/>
            </p:custDataLst>
          </p:nvPr>
        </p:nvSpPr>
        <p:spPr>
          <a:xfrm>
            <a:off x="554736" y="324612"/>
            <a:ext cx="11082528" cy="384721"/>
          </a:xfrm>
          <a:prstGeom prst="rect">
            <a:avLst/>
          </a:prstGeom>
        </p:spPr>
        <p:txBody>
          <a:bodyPr vert="horz" wrap="square" lIns="0" tIns="0" rIns="0" bIns="0" rtlCol="0" anchor="t" anchorCtr="0">
            <a:spAutoFit/>
          </a:bodyPr>
          <a:lstStyle>
            <a:lvl1pPr>
              <a:defRPr lang="en-US" dirty="0">
                <a:solidFill>
                  <a:schemeClr val="accent1"/>
                </a:solidFill>
              </a:defRPr>
            </a:lvl1pPr>
          </a:lstStyle>
          <a:p>
            <a:pPr lvl="0"/>
            <a:r>
              <a:rPr lang="en-US"/>
              <a:t>Click to edit Master title style</a:t>
            </a:r>
          </a:p>
        </p:txBody>
      </p:sp>
    </p:spTree>
    <p:extLst>
      <p:ext uri="{BB962C8B-B14F-4D97-AF65-F5344CB8AC3E}">
        <p14:creationId xmlns:p14="http://schemas.microsoft.com/office/powerpoint/2010/main" val="358224876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pic>
        <p:nvPicPr>
          <p:cNvPr id="3" name="Picture 6">
            <a:extLst>
              <a:ext uri="{FF2B5EF4-FFF2-40B4-BE49-F238E27FC236}">
                <a16:creationId xmlns:a16="http://schemas.microsoft.com/office/drawing/2014/main" id="{750E9E46-8041-528A-8B04-431FBAEE8DBE}"/>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609600" y="2362200"/>
            <a:ext cx="11134725" cy="3109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321301263"/>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showMasterSp="0" userDrawn="1">
  <p:cSld name="1_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2"/>
            </p:custDataLst>
            <p:extLst>
              <p:ext uri="{D42A27DB-BD31-4B8C-83A1-F6EECF244321}">
                <p14:modId xmlns:p14="http://schemas.microsoft.com/office/powerpoint/2010/main" val="20874107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0529" name="think-cell Slide" r:id="rId10" imgW="572" imgH="588" progId="TCLayout.ActiveDocument.1">
                  <p:embed/>
                </p:oleObj>
              </mc:Choice>
              <mc:Fallback>
                <p:oleObj name="think-cell Slide" r:id="rId10"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D668F04-7049-40BA-8D63-D8BBB6921318}"/>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9" name="2. Slide Title">
            <a:extLst>
              <a:ext uri="{FF2B5EF4-FFF2-40B4-BE49-F238E27FC236}">
                <a16:creationId xmlns:a16="http://schemas.microsoft.com/office/drawing/2014/main" id="{0415F114-7B0E-43F2-8881-F0D9FB2A643B}"/>
              </a:ext>
            </a:extLst>
          </p:cNvPr>
          <p:cNvSpPr>
            <a:spLocks noGrp="1"/>
          </p:cNvSpPr>
          <p:nvPr>
            <p:ph type="title"/>
            <p:custDataLst>
              <p:tags r:id="rId4"/>
            </p:custDataLst>
          </p:nvPr>
        </p:nvSpPr>
        <p:spPr>
          <a:xfrm>
            <a:off x="554736" y="172212"/>
            <a:ext cx="6967728" cy="731520"/>
          </a:xfrm>
        </p:spPr>
        <p:txBody>
          <a:bodyPr vert="horz"/>
          <a:lstStyle>
            <a:lvl1pPr rtl="0">
              <a:defRPr/>
            </a:lvl1pPr>
          </a:lstStyle>
          <a:p>
            <a:r>
              <a:rPr lang="en-US"/>
              <a:t>Click to edit Master title style</a:t>
            </a: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5"/>
            </p:custDataLst>
          </p:nvPr>
        </p:nvSpPr>
        <p:spPr bwMode="ltGray">
          <a:xfrm>
            <a:off x="7830312" y="0"/>
            <a:ext cx="4361688" cy="6858000"/>
          </a:xfrm>
          <a:prstGeom prst="rect">
            <a:avLst/>
          </a:prstGeom>
          <a:solidFill>
            <a:schemeClr val="accent4">
              <a:lumMod val="20000"/>
              <a:lumOff val="80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a:solidFill>
                <a:srgbClr val="F0F0F0"/>
              </a:solidFill>
              <a:latin typeface="Arial" panose="020B0604020202020204" pitchFamily="34" charset="0"/>
            </a:endParaRP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20" name="3. Subtitle">
            <a:extLst>
              <a:ext uri="{FF2B5EF4-FFF2-40B4-BE49-F238E27FC236}">
                <a16:creationId xmlns:a16="http://schemas.microsoft.com/office/drawing/2014/main" id="{712BED6B-950C-4FB8-AEE1-14FA61D013FF}"/>
              </a:ext>
            </a:extLst>
          </p:cNvPr>
          <p:cNvSpPr>
            <a:spLocks noGrp="1"/>
          </p:cNvSpPr>
          <p:nvPr>
            <p:ph type="subTitle" idx="1"/>
            <p:custDataLst>
              <p:tags r:id="rId7"/>
            </p:custDataLst>
          </p:nvPr>
        </p:nvSpPr>
        <p:spPr>
          <a:xfrm>
            <a:off x="554736" y="919250"/>
            <a:ext cx="6967728" cy="246221"/>
          </a:xfrm>
          <a:prstGeom prst="rect">
            <a:avLst/>
          </a:prstGeom>
        </p:spPr>
        <p:txBody>
          <a:bodyPr wrap="square">
            <a:spAutoFit/>
          </a:bodyPr>
          <a:lstStyle>
            <a:lvl1pPr marL="0" indent="0" algn="l" rtl="0">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1" name="5. Source" hidden="1">
            <a:extLst>
              <a:ext uri="{FF2B5EF4-FFF2-40B4-BE49-F238E27FC236}">
                <a16:creationId xmlns:a16="http://schemas.microsoft.com/office/drawing/2014/main" id="{F25A304F-F50E-4F96-991D-CFEB07060178}"/>
              </a:ext>
            </a:extLst>
          </p:cNvPr>
          <p:cNvSpPr txBox="1"/>
          <p:nvPr userDrawn="1">
            <p:custDataLst>
              <p:tags r:id="rId8"/>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solidFill>
                  <a:schemeClr val="tx1"/>
                </a:solidFill>
              </a:rPr>
              <a:t>Source: …</a:t>
            </a:r>
          </a:p>
        </p:txBody>
      </p:sp>
      <p:pic>
        <p:nvPicPr>
          <p:cNvPr id="11" name="Picture 10">
            <a:extLst>
              <a:ext uri="{FF2B5EF4-FFF2-40B4-BE49-F238E27FC236}">
                <a16:creationId xmlns:a16="http://schemas.microsoft.com/office/drawing/2014/main" id="{0D899DD9-C386-46E5-910C-1F0E69AFAC17}"/>
              </a:ext>
            </a:extLst>
          </p:cNvPr>
          <p:cNvPicPr>
            <a:picLocks noChangeAspect="1"/>
          </p:cNvPicPr>
          <p:nvPr userDrawn="1"/>
        </p:nvPicPr>
        <p:blipFill>
          <a:blip r:embed="rId12"/>
          <a:stretch>
            <a:fillRect/>
          </a:stretch>
        </p:blipFill>
        <p:spPr>
          <a:xfrm>
            <a:off x="10135026" y="6373368"/>
            <a:ext cx="1159550" cy="252852"/>
          </a:xfrm>
          <a:prstGeom prst="rect">
            <a:avLst/>
          </a:prstGeom>
        </p:spPr>
      </p:pic>
    </p:spTree>
    <p:extLst>
      <p:ext uri="{BB962C8B-B14F-4D97-AF65-F5344CB8AC3E}">
        <p14:creationId xmlns:p14="http://schemas.microsoft.com/office/powerpoint/2010/main" val="1433532693"/>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userDrawn="1">
  <p:cSld name="6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7746323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1553"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4"/>
            </p:custDataLst>
          </p:nvPr>
        </p:nvSpPr>
        <p:spPr>
          <a:xfrm>
            <a:off x="554736" y="919250"/>
            <a:ext cx="11082528" cy="246221"/>
          </a:xfrm>
          <a:prstGeom prst="rect">
            <a:avLst/>
          </a:prstGeom>
        </p:spPr>
        <p:txBody>
          <a:bodyPr wrap="square">
            <a:spAutoFit/>
          </a:bodyPr>
          <a:lstStyle>
            <a:lvl1pPr marL="0" indent="0" algn="l" rtl="0">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554735" y="50475"/>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CONFIDENTIAL AND PROPRIETARY</a:t>
            </a:r>
          </a:p>
        </p:txBody>
      </p:sp>
      <p:sp>
        <p:nvSpPr>
          <p:cNvPr id="10" name="2. Slide Title">
            <a:extLst>
              <a:ext uri="{FF2B5EF4-FFF2-40B4-BE49-F238E27FC236}">
                <a16:creationId xmlns:a16="http://schemas.microsoft.com/office/drawing/2014/main" id="{8326FFD0-8389-4032-AAB8-00C262CAF746}"/>
              </a:ext>
            </a:extLst>
          </p:cNvPr>
          <p:cNvSpPr>
            <a:spLocks noGrp="1"/>
          </p:cNvSpPr>
          <p:nvPr>
            <p:ph type="title"/>
            <p:custDataLst>
              <p:tags r:id="rId8"/>
            </p:custDataLst>
          </p:nvPr>
        </p:nvSpPr>
        <p:spPr>
          <a:xfrm>
            <a:off x="554736" y="172212"/>
            <a:ext cx="11082528" cy="731520"/>
          </a:xfrm>
          <a:prstGeom prst="rect">
            <a:avLst/>
          </a:prstGeom>
        </p:spPr>
        <p:txBody>
          <a:bodyPr vert="horz" wrap="square" lIns="0" tIns="0" rIns="0" bIns="0" rtlCol="0" anchor="b" anchorCtr="0">
            <a:noAutofit/>
          </a:bodyPr>
          <a:lstStyle/>
          <a:p>
            <a:r>
              <a:rPr lang="en-US"/>
              <a:t>Click to edit Master title style</a:t>
            </a:r>
          </a:p>
        </p:txBody>
      </p:sp>
    </p:spTree>
    <p:extLst>
      <p:ext uri="{BB962C8B-B14F-4D97-AF65-F5344CB8AC3E}">
        <p14:creationId xmlns:p14="http://schemas.microsoft.com/office/powerpoint/2010/main" val="387772290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pic>
        <p:nvPicPr>
          <p:cNvPr id="4" name="Picture 6">
            <a:extLst>
              <a:ext uri="{FF2B5EF4-FFF2-40B4-BE49-F238E27FC236}">
                <a16:creationId xmlns:a16="http://schemas.microsoft.com/office/drawing/2014/main" id="{AE968968-1E43-EEFA-E13E-A3611B7AF81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5" name="Date Placeholder 3">
            <a:extLst>
              <a:ext uri="{FF2B5EF4-FFF2-40B4-BE49-F238E27FC236}">
                <a16:creationId xmlns:a16="http://schemas.microsoft.com/office/drawing/2014/main" id="{34BC7B69-EFF9-386B-C9D7-C4D1FEE0E6D7}"/>
              </a:ext>
            </a:extLst>
          </p:cNvPr>
          <p:cNvSpPr>
            <a:spLocks noGrp="1"/>
          </p:cNvSpPr>
          <p:nvPr>
            <p:ph type="dt" sz="half" idx="10"/>
          </p:nvPr>
        </p:nvSpPr>
        <p:spPr/>
        <p:txBody>
          <a:bodyPr/>
          <a:lstStyle>
            <a:lvl1pPr>
              <a:defRPr>
                <a:solidFill>
                  <a:schemeClr val="tx1">
                    <a:tint val="75000"/>
                  </a:schemeClr>
                </a:solidFill>
              </a:defRPr>
            </a:lvl1pPr>
          </a:lstStyle>
          <a:p>
            <a:pPr>
              <a:defRPr/>
            </a:pPr>
            <a:r>
              <a:rPr lang="en-US"/>
              <a:t>May 5 and 6, 2020</a:t>
            </a:r>
          </a:p>
        </p:txBody>
      </p:sp>
      <p:sp>
        <p:nvSpPr>
          <p:cNvPr id="6" name="Footer Placeholder 4">
            <a:extLst>
              <a:ext uri="{FF2B5EF4-FFF2-40B4-BE49-F238E27FC236}">
                <a16:creationId xmlns:a16="http://schemas.microsoft.com/office/drawing/2014/main" id="{CD874915-9673-7958-B8F5-EA2FB5839629}"/>
              </a:ext>
            </a:extLst>
          </p:cNvPr>
          <p:cNvSpPr>
            <a:spLocks noGrp="1"/>
          </p:cNvSpPr>
          <p:nvPr>
            <p:ph type="ftr" sz="quarter" idx="11"/>
          </p:nvPr>
        </p:nvSpPr>
        <p:spPr/>
        <p:txBody>
          <a:bodyPr/>
          <a:lstStyle>
            <a:lvl1pPr>
              <a:defRPr>
                <a:solidFill>
                  <a:schemeClr val="tx1">
                    <a:tint val="75000"/>
                  </a:schemeClr>
                </a:solidFill>
              </a:defRPr>
            </a:lvl1pPr>
          </a:lstStyle>
          <a:p>
            <a:pPr>
              <a:defRPr/>
            </a:pPr>
            <a:r>
              <a:rPr lang="en-US"/>
              <a:t>FY 2022 Strategy Session  [Name of Campaign] Campaign</a:t>
            </a:r>
          </a:p>
        </p:txBody>
      </p:sp>
      <p:sp>
        <p:nvSpPr>
          <p:cNvPr id="7" name="Slide Number Placeholder 5">
            <a:extLst>
              <a:ext uri="{FF2B5EF4-FFF2-40B4-BE49-F238E27FC236}">
                <a16:creationId xmlns:a16="http://schemas.microsoft.com/office/drawing/2014/main" id="{1D987A16-4980-FA02-28DF-BB39D7032CAA}"/>
              </a:ext>
            </a:extLst>
          </p:cNvPr>
          <p:cNvSpPr>
            <a:spLocks noGrp="1"/>
          </p:cNvSpPr>
          <p:nvPr>
            <p:ph type="sldNum" sz="quarter" idx="12"/>
          </p:nvPr>
        </p:nvSpPr>
        <p:spPr/>
        <p:txBody>
          <a:bodyPr/>
          <a:lstStyle>
            <a:lvl1pPr>
              <a:defRPr dirty="0">
                <a:solidFill>
                  <a:schemeClr val="tx1">
                    <a:tint val="75000"/>
                  </a:schemeClr>
                </a:solidFill>
              </a:defRPr>
            </a:lvl1pPr>
          </a:lstStyle>
          <a:p>
            <a:pPr>
              <a:defRPr/>
            </a:pPr>
            <a:fld id="{BF1B77E8-DC60-4C1E-A9EB-04E713B7F2F7}" type="slidenum">
              <a:rPr lang="en-US"/>
              <a:pPr>
                <a:defRPr/>
              </a:pPr>
              <a:t>‹#›</a:t>
            </a:fld>
            <a:endParaRPr lang="en-US"/>
          </a:p>
        </p:txBody>
      </p:sp>
    </p:spTree>
    <p:extLst>
      <p:ext uri="{BB962C8B-B14F-4D97-AF65-F5344CB8AC3E}">
        <p14:creationId xmlns:p14="http://schemas.microsoft.com/office/powerpoint/2010/main" val="39564290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pic>
        <p:nvPicPr>
          <p:cNvPr id="4" name="Content Placeholder 3">
            <a:extLst>
              <a:ext uri="{FF2B5EF4-FFF2-40B4-BE49-F238E27FC236}">
                <a16:creationId xmlns:a16="http://schemas.microsoft.com/office/drawing/2014/main" id="{8844B89B-F975-1C1F-1F43-6663B7616D1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12192000"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3">
            <a:extLst>
              <a:ext uri="{FF2B5EF4-FFF2-40B4-BE49-F238E27FC236}">
                <a16:creationId xmlns:a16="http://schemas.microsoft.com/office/drawing/2014/main" id="{006F6BC2-4B07-8978-3DC2-9AF3EB19B4CE}"/>
              </a:ext>
            </a:extLst>
          </p:cNvPr>
          <p:cNvSpPr>
            <a:spLocks noGrp="1"/>
          </p:cNvSpPr>
          <p:nvPr>
            <p:ph type="dt" sz="half" idx="10"/>
          </p:nvPr>
        </p:nvSpPr>
        <p:spPr/>
        <p:txBody>
          <a:bodyPr/>
          <a:lstStyle>
            <a:lvl1pPr>
              <a:defRPr>
                <a:solidFill>
                  <a:schemeClr val="tx1">
                    <a:tint val="75000"/>
                  </a:schemeClr>
                </a:solidFill>
              </a:defRPr>
            </a:lvl1pPr>
          </a:lstStyle>
          <a:p>
            <a:pPr>
              <a:defRPr/>
            </a:pPr>
            <a:r>
              <a:rPr lang="en-US"/>
              <a:t>May 5 and 6, 2020</a:t>
            </a:r>
          </a:p>
        </p:txBody>
      </p:sp>
      <p:sp>
        <p:nvSpPr>
          <p:cNvPr id="6" name="Footer Placeholder 4">
            <a:extLst>
              <a:ext uri="{FF2B5EF4-FFF2-40B4-BE49-F238E27FC236}">
                <a16:creationId xmlns:a16="http://schemas.microsoft.com/office/drawing/2014/main" id="{C8A43F40-3A7E-2DD3-E625-4499D60E3FF4}"/>
              </a:ext>
            </a:extLst>
          </p:cNvPr>
          <p:cNvSpPr>
            <a:spLocks noGrp="1"/>
          </p:cNvSpPr>
          <p:nvPr>
            <p:ph type="ftr" sz="quarter" idx="11"/>
          </p:nvPr>
        </p:nvSpPr>
        <p:spPr/>
        <p:txBody>
          <a:bodyPr/>
          <a:lstStyle>
            <a:lvl1pPr>
              <a:defRPr>
                <a:solidFill>
                  <a:schemeClr val="tx1">
                    <a:tint val="75000"/>
                  </a:schemeClr>
                </a:solidFill>
              </a:defRPr>
            </a:lvl1pPr>
          </a:lstStyle>
          <a:p>
            <a:pPr>
              <a:defRPr/>
            </a:pPr>
            <a:r>
              <a:rPr lang="en-US"/>
              <a:t>FY 2022 Strategy Session  [Name of Campaign] Campaign</a:t>
            </a:r>
          </a:p>
        </p:txBody>
      </p:sp>
      <p:sp>
        <p:nvSpPr>
          <p:cNvPr id="7" name="Slide Number Placeholder 5">
            <a:extLst>
              <a:ext uri="{FF2B5EF4-FFF2-40B4-BE49-F238E27FC236}">
                <a16:creationId xmlns:a16="http://schemas.microsoft.com/office/drawing/2014/main" id="{23E00FE6-74DE-6CA7-C9FD-BD8818ADA8A0}"/>
              </a:ext>
            </a:extLst>
          </p:cNvPr>
          <p:cNvSpPr>
            <a:spLocks noGrp="1"/>
          </p:cNvSpPr>
          <p:nvPr>
            <p:ph type="sldNum" sz="quarter" idx="12"/>
          </p:nvPr>
        </p:nvSpPr>
        <p:spPr/>
        <p:txBody>
          <a:bodyPr/>
          <a:lstStyle>
            <a:lvl1pPr>
              <a:defRPr/>
            </a:lvl1pPr>
          </a:lstStyle>
          <a:p>
            <a:pPr>
              <a:defRPr/>
            </a:pPr>
            <a:fld id="{3C280D7F-3732-47E6-86F4-6F2C48F875FA}" type="slidenum">
              <a:rPr lang="en-US"/>
              <a:pPr>
                <a:defRPr/>
              </a:pPr>
              <a:t>‹#›</a:t>
            </a:fld>
            <a:endParaRPr lang="en-US"/>
          </a:p>
        </p:txBody>
      </p:sp>
    </p:spTree>
    <p:extLst>
      <p:ext uri="{BB962C8B-B14F-4D97-AF65-F5344CB8AC3E}">
        <p14:creationId xmlns:p14="http://schemas.microsoft.com/office/powerpoint/2010/main" val="94582913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089568DC-8CDF-1563-B473-43A1328E1389}"/>
              </a:ext>
            </a:extLst>
          </p:cNvPr>
          <p:cNvSpPr>
            <a:spLocks noGrp="1"/>
          </p:cNvSpPr>
          <p:nvPr>
            <p:ph type="dt" sz="half" idx="10"/>
          </p:nvPr>
        </p:nvSpPr>
        <p:spPr/>
        <p:txBody>
          <a:bodyPr/>
          <a:lstStyle>
            <a:lvl1pPr>
              <a:defRPr/>
            </a:lvl1pPr>
          </a:lstStyle>
          <a:p>
            <a:pPr>
              <a:defRPr/>
            </a:pPr>
            <a:r>
              <a:rPr lang="en-US"/>
              <a:t>May 5 and 6, 2020</a:t>
            </a:r>
          </a:p>
        </p:txBody>
      </p:sp>
      <p:sp>
        <p:nvSpPr>
          <p:cNvPr id="5" name="Footer Placeholder 4">
            <a:extLst>
              <a:ext uri="{FF2B5EF4-FFF2-40B4-BE49-F238E27FC236}">
                <a16:creationId xmlns:a16="http://schemas.microsoft.com/office/drawing/2014/main" id="{98D3040D-71A3-D2E6-FD5F-7759B4CA02E2}"/>
              </a:ext>
            </a:extLst>
          </p:cNvPr>
          <p:cNvSpPr>
            <a:spLocks noGrp="1"/>
          </p:cNvSpPr>
          <p:nvPr>
            <p:ph type="ftr" sz="quarter" idx="11"/>
          </p:nvPr>
        </p:nvSpPr>
        <p:spPr/>
        <p:txBody>
          <a:bodyPr/>
          <a:lstStyle>
            <a:lvl1pPr>
              <a:defRPr/>
            </a:lvl1pPr>
          </a:lstStyle>
          <a:p>
            <a:pPr>
              <a:defRPr/>
            </a:pPr>
            <a:r>
              <a:rPr lang="en-US"/>
              <a:t>FY 2022 Strategy Session  [Name of Campaign] Campaign</a:t>
            </a:r>
          </a:p>
        </p:txBody>
      </p:sp>
      <p:sp>
        <p:nvSpPr>
          <p:cNvPr id="6" name="Slide Number Placeholder 5">
            <a:extLst>
              <a:ext uri="{FF2B5EF4-FFF2-40B4-BE49-F238E27FC236}">
                <a16:creationId xmlns:a16="http://schemas.microsoft.com/office/drawing/2014/main" id="{420E3DBB-153C-2AE8-6885-EDE49EB46062}"/>
              </a:ext>
            </a:extLst>
          </p:cNvPr>
          <p:cNvSpPr>
            <a:spLocks noGrp="1"/>
          </p:cNvSpPr>
          <p:nvPr>
            <p:ph type="sldNum" sz="quarter" idx="12"/>
          </p:nvPr>
        </p:nvSpPr>
        <p:spPr/>
        <p:txBody>
          <a:bodyPr/>
          <a:lstStyle>
            <a:lvl1pPr>
              <a:defRPr/>
            </a:lvl1pPr>
          </a:lstStyle>
          <a:p>
            <a:pPr>
              <a:defRPr/>
            </a:pPr>
            <a:fld id="{6A2CA6D5-2F80-4ACE-82EE-A2392B3EA2CE}" type="slidenum">
              <a:rPr lang="en-US"/>
              <a:pPr>
                <a:defRPr/>
              </a:pPr>
              <a:t>‹#›</a:t>
            </a:fld>
            <a:endParaRPr lang="en-US"/>
          </a:p>
        </p:txBody>
      </p:sp>
    </p:spTree>
    <p:extLst>
      <p:ext uri="{BB962C8B-B14F-4D97-AF65-F5344CB8AC3E}">
        <p14:creationId xmlns:p14="http://schemas.microsoft.com/office/powerpoint/2010/main" val="369302773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3">
            <a:extLst>
              <a:ext uri="{FF2B5EF4-FFF2-40B4-BE49-F238E27FC236}">
                <a16:creationId xmlns:a16="http://schemas.microsoft.com/office/drawing/2014/main" id="{665C9919-07BA-A35A-144C-2E87ACFE5556}"/>
              </a:ext>
            </a:extLst>
          </p:cNvPr>
          <p:cNvSpPr>
            <a:spLocks noGrp="1"/>
          </p:cNvSpPr>
          <p:nvPr>
            <p:ph type="dt" sz="half" idx="10"/>
          </p:nvPr>
        </p:nvSpPr>
        <p:spPr/>
        <p:txBody>
          <a:bodyPr/>
          <a:lstStyle>
            <a:lvl1pPr>
              <a:defRPr/>
            </a:lvl1pPr>
          </a:lstStyle>
          <a:p>
            <a:pPr>
              <a:defRPr/>
            </a:pPr>
            <a:r>
              <a:rPr lang="en-US"/>
              <a:t>May 5 and 6, 2020</a:t>
            </a:r>
          </a:p>
        </p:txBody>
      </p:sp>
      <p:sp>
        <p:nvSpPr>
          <p:cNvPr id="6" name="Footer Placeholder 4">
            <a:extLst>
              <a:ext uri="{FF2B5EF4-FFF2-40B4-BE49-F238E27FC236}">
                <a16:creationId xmlns:a16="http://schemas.microsoft.com/office/drawing/2014/main" id="{C22744AA-9E0D-BF62-E787-3EAB474AC5AD}"/>
              </a:ext>
            </a:extLst>
          </p:cNvPr>
          <p:cNvSpPr>
            <a:spLocks noGrp="1"/>
          </p:cNvSpPr>
          <p:nvPr>
            <p:ph type="ftr" sz="quarter" idx="11"/>
          </p:nvPr>
        </p:nvSpPr>
        <p:spPr/>
        <p:txBody>
          <a:bodyPr/>
          <a:lstStyle>
            <a:lvl1pPr>
              <a:defRPr/>
            </a:lvl1pPr>
          </a:lstStyle>
          <a:p>
            <a:pPr>
              <a:defRPr/>
            </a:pPr>
            <a:r>
              <a:rPr lang="en-US"/>
              <a:t>FY 2022 Strategy Session  [Name of Campaign] Campaign</a:t>
            </a:r>
          </a:p>
        </p:txBody>
      </p:sp>
      <p:sp>
        <p:nvSpPr>
          <p:cNvPr id="7" name="Slide Number Placeholder 5">
            <a:extLst>
              <a:ext uri="{FF2B5EF4-FFF2-40B4-BE49-F238E27FC236}">
                <a16:creationId xmlns:a16="http://schemas.microsoft.com/office/drawing/2014/main" id="{DBCF4B1B-4027-1E02-2AB3-990CBFAC89CC}"/>
              </a:ext>
            </a:extLst>
          </p:cNvPr>
          <p:cNvSpPr>
            <a:spLocks noGrp="1"/>
          </p:cNvSpPr>
          <p:nvPr>
            <p:ph type="sldNum" sz="quarter" idx="12"/>
          </p:nvPr>
        </p:nvSpPr>
        <p:spPr/>
        <p:txBody>
          <a:bodyPr/>
          <a:lstStyle>
            <a:lvl1pPr>
              <a:defRPr/>
            </a:lvl1pPr>
          </a:lstStyle>
          <a:p>
            <a:pPr>
              <a:defRPr/>
            </a:pPr>
            <a:fld id="{FC57089C-FC07-4618-BD63-3547B56A886F}" type="slidenum">
              <a:rPr lang="en-US"/>
              <a:pPr>
                <a:defRPr/>
              </a:pPr>
              <a:t>‹#›</a:t>
            </a:fld>
            <a:endParaRPr lang="en-US"/>
          </a:p>
        </p:txBody>
      </p:sp>
    </p:spTree>
    <p:extLst>
      <p:ext uri="{BB962C8B-B14F-4D97-AF65-F5344CB8AC3E}">
        <p14:creationId xmlns:p14="http://schemas.microsoft.com/office/powerpoint/2010/main" val="425252093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3">
            <a:extLst>
              <a:ext uri="{FF2B5EF4-FFF2-40B4-BE49-F238E27FC236}">
                <a16:creationId xmlns:a16="http://schemas.microsoft.com/office/drawing/2014/main" id="{AD53A6E3-3CBA-DDF8-933C-656CA21188C7}"/>
              </a:ext>
            </a:extLst>
          </p:cNvPr>
          <p:cNvSpPr>
            <a:spLocks noGrp="1"/>
          </p:cNvSpPr>
          <p:nvPr>
            <p:ph type="dt" sz="half" idx="10"/>
          </p:nvPr>
        </p:nvSpPr>
        <p:spPr/>
        <p:txBody>
          <a:bodyPr/>
          <a:lstStyle>
            <a:lvl1pPr>
              <a:defRPr/>
            </a:lvl1pPr>
          </a:lstStyle>
          <a:p>
            <a:pPr>
              <a:defRPr/>
            </a:pPr>
            <a:r>
              <a:rPr lang="en-US"/>
              <a:t>May 5 and 6, 2020</a:t>
            </a:r>
          </a:p>
        </p:txBody>
      </p:sp>
      <p:sp>
        <p:nvSpPr>
          <p:cNvPr id="8" name="Footer Placeholder 4">
            <a:extLst>
              <a:ext uri="{FF2B5EF4-FFF2-40B4-BE49-F238E27FC236}">
                <a16:creationId xmlns:a16="http://schemas.microsoft.com/office/drawing/2014/main" id="{939FE40F-766B-6751-5A8D-B20007AEB11E}"/>
              </a:ext>
            </a:extLst>
          </p:cNvPr>
          <p:cNvSpPr>
            <a:spLocks noGrp="1"/>
          </p:cNvSpPr>
          <p:nvPr>
            <p:ph type="ftr" sz="quarter" idx="11"/>
          </p:nvPr>
        </p:nvSpPr>
        <p:spPr/>
        <p:txBody>
          <a:bodyPr/>
          <a:lstStyle>
            <a:lvl1pPr>
              <a:defRPr/>
            </a:lvl1pPr>
          </a:lstStyle>
          <a:p>
            <a:pPr>
              <a:defRPr/>
            </a:pPr>
            <a:r>
              <a:rPr lang="en-US"/>
              <a:t>FY 2022 Strategy Session  [Name of Campaign] Campaign</a:t>
            </a:r>
          </a:p>
        </p:txBody>
      </p:sp>
      <p:sp>
        <p:nvSpPr>
          <p:cNvPr id="9" name="Slide Number Placeholder 5">
            <a:extLst>
              <a:ext uri="{FF2B5EF4-FFF2-40B4-BE49-F238E27FC236}">
                <a16:creationId xmlns:a16="http://schemas.microsoft.com/office/drawing/2014/main" id="{0C37F6CC-039D-AB13-2C10-3E0A3444B279}"/>
              </a:ext>
            </a:extLst>
          </p:cNvPr>
          <p:cNvSpPr>
            <a:spLocks noGrp="1"/>
          </p:cNvSpPr>
          <p:nvPr>
            <p:ph type="sldNum" sz="quarter" idx="12"/>
          </p:nvPr>
        </p:nvSpPr>
        <p:spPr/>
        <p:txBody>
          <a:bodyPr/>
          <a:lstStyle>
            <a:lvl1pPr>
              <a:defRPr/>
            </a:lvl1pPr>
          </a:lstStyle>
          <a:p>
            <a:pPr>
              <a:defRPr/>
            </a:pPr>
            <a:fld id="{AFD9DEC3-86E2-4965-96DF-DE055451186B}" type="slidenum">
              <a:rPr lang="en-US"/>
              <a:pPr>
                <a:defRPr/>
              </a:pPr>
              <a:t>‹#›</a:t>
            </a:fld>
            <a:endParaRPr lang="en-US"/>
          </a:p>
        </p:txBody>
      </p:sp>
    </p:spTree>
    <p:extLst>
      <p:ext uri="{BB962C8B-B14F-4D97-AF65-F5344CB8AC3E}">
        <p14:creationId xmlns:p14="http://schemas.microsoft.com/office/powerpoint/2010/main" val="149968059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pic>
        <p:nvPicPr>
          <p:cNvPr id="4" name="Content Placeholder 3">
            <a:extLst>
              <a:ext uri="{FF2B5EF4-FFF2-40B4-BE49-F238E27FC236}">
                <a16:creationId xmlns:a16="http://schemas.microsoft.com/office/drawing/2014/main" id="{49627630-CF19-A365-776E-AB0EE3C8AAAA}"/>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12192000"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838200" y="666760"/>
            <a:ext cx="10515600" cy="912658"/>
          </a:xfrm>
        </p:spPr>
        <p:txBody>
          <a:bodyPr>
            <a:normAutofit/>
          </a:bodyPr>
          <a:lstStyle>
            <a:lvl1pPr>
              <a:defRPr sz="3000">
                <a:solidFill>
                  <a:srgbClr val="214877"/>
                </a:solidFill>
                <a:latin typeface="+mj-lt"/>
              </a:defRPr>
            </a:lvl1pPr>
          </a:lstStyle>
          <a:p>
            <a:r>
              <a:rPr lang="en-US"/>
              <a:t>Click to edit Master title style</a:t>
            </a:r>
          </a:p>
        </p:txBody>
      </p:sp>
      <p:sp>
        <p:nvSpPr>
          <p:cNvPr id="3" name="Content Placeholder 2"/>
          <p:cNvSpPr>
            <a:spLocks noGrp="1"/>
          </p:cNvSpPr>
          <p:nvPr>
            <p:ph idx="1"/>
          </p:nvPr>
        </p:nvSpPr>
        <p:spPr>
          <a:xfrm>
            <a:off x="838200" y="1592865"/>
            <a:ext cx="10515600" cy="461674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Slide Number Placeholder 9">
            <a:extLst>
              <a:ext uri="{FF2B5EF4-FFF2-40B4-BE49-F238E27FC236}">
                <a16:creationId xmlns:a16="http://schemas.microsoft.com/office/drawing/2014/main" id="{4CCC7286-56A9-456F-3051-6A7D5C0F7621}"/>
              </a:ext>
            </a:extLst>
          </p:cNvPr>
          <p:cNvSpPr>
            <a:spLocks noGrp="1"/>
          </p:cNvSpPr>
          <p:nvPr>
            <p:ph type="sldNum" sz="quarter" idx="10"/>
          </p:nvPr>
        </p:nvSpPr>
        <p:spPr/>
        <p:txBody>
          <a:bodyPr/>
          <a:lstStyle>
            <a:lvl1pPr>
              <a:defRPr/>
            </a:lvl1pPr>
          </a:lstStyle>
          <a:p>
            <a:pPr>
              <a:defRPr/>
            </a:pPr>
            <a:fld id="{37926BA8-E0F8-42A8-A83C-EBAA1A1E8FCD}" type="slidenum">
              <a:rPr lang="en-US"/>
              <a:pPr>
                <a:defRPr/>
              </a:pPr>
              <a:t>‹#›</a:t>
            </a:fld>
            <a:endParaRPr lang="en-US"/>
          </a:p>
        </p:txBody>
      </p:sp>
    </p:spTree>
    <p:extLst>
      <p:ext uri="{BB962C8B-B14F-4D97-AF65-F5344CB8AC3E}">
        <p14:creationId xmlns:p14="http://schemas.microsoft.com/office/powerpoint/2010/main" val="178845913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3">
            <a:extLst>
              <a:ext uri="{FF2B5EF4-FFF2-40B4-BE49-F238E27FC236}">
                <a16:creationId xmlns:a16="http://schemas.microsoft.com/office/drawing/2014/main" id="{2B702854-0A64-14E5-8C9C-498794F2350E}"/>
              </a:ext>
            </a:extLst>
          </p:cNvPr>
          <p:cNvSpPr>
            <a:spLocks noGrp="1"/>
          </p:cNvSpPr>
          <p:nvPr>
            <p:ph type="dt" sz="half" idx="10"/>
          </p:nvPr>
        </p:nvSpPr>
        <p:spPr/>
        <p:txBody>
          <a:bodyPr/>
          <a:lstStyle>
            <a:lvl1pPr>
              <a:defRPr/>
            </a:lvl1pPr>
          </a:lstStyle>
          <a:p>
            <a:pPr>
              <a:defRPr/>
            </a:pPr>
            <a:r>
              <a:rPr lang="en-US"/>
              <a:t>May 5 and 6, 2020</a:t>
            </a:r>
          </a:p>
        </p:txBody>
      </p:sp>
      <p:sp>
        <p:nvSpPr>
          <p:cNvPr id="4" name="Footer Placeholder 4">
            <a:extLst>
              <a:ext uri="{FF2B5EF4-FFF2-40B4-BE49-F238E27FC236}">
                <a16:creationId xmlns:a16="http://schemas.microsoft.com/office/drawing/2014/main" id="{503197C3-8F46-7060-E654-7955C2209481}"/>
              </a:ext>
            </a:extLst>
          </p:cNvPr>
          <p:cNvSpPr>
            <a:spLocks noGrp="1"/>
          </p:cNvSpPr>
          <p:nvPr>
            <p:ph type="ftr" sz="quarter" idx="11"/>
          </p:nvPr>
        </p:nvSpPr>
        <p:spPr/>
        <p:txBody>
          <a:bodyPr/>
          <a:lstStyle>
            <a:lvl1pPr>
              <a:defRPr/>
            </a:lvl1pPr>
          </a:lstStyle>
          <a:p>
            <a:pPr>
              <a:defRPr/>
            </a:pPr>
            <a:r>
              <a:rPr lang="en-US"/>
              <a:t>FY 2022 Strategy Session  [Name of Campaign] Campaign</a:t>
            </a:r>
          </a:p>
        </p:txBody>
      </p:sp>
      <p:sp>
        <p:nvSpPr>
          <p:cNvPr id="5" name="Slide Number Placeholder 5">
            <a:extLst>
              <a:ext uri="{FF2B5EF4-FFF2-40B4-BE49-F238E27FC236}">
                <a16:creationId xmlns:a16="http://schemas.microsoft.com/office/drawing/2014/main" id="{340CFD21-7456-BC7C-7BBF-B4273DD6DBE8}"/>
              </a:ext>
            </a:extLst>
          </p:cNvPr>
          <p:cNvSpPr>
            <a:spLocks noGrp="1"/>
          </p:cNvSpPr>
          <p:nvPr>
            <p:ph type="sldNum" sz="quarter" idx="12"/>
          </p:nvPr>
        </p:nvSpPr>
        <p:spPr/>
        <p:txBody>
          <a:bodyPr/>
          <a:lstStyle>
            <a:lvl1pPr>
              <a:defRPr/>
            </a:lvl1pPr>
          </a:lstStyle>
          <a:p>
            <a:pPr>
              <a:defRPr/>
            </a:pPr>
            <a:fld id="{0A0013FE-3959-428D-BCA2-4669ACCE9447}" type="slidenum">
              <a:rPr lang="en-US"/>
              <a:pPr>
                <a:defRPr/>
              </a:pPr>
              <a:t>‹#›</a:t>
            </a:fld>
            <a:endParaRPr lang="en-US"/>
          </a:p>
        </p:txBody>
      </p:sp>
    </p:spTree>
    <p:extLst>
      <p:ext uri="{BB962C8B-B14F-4D97-AF65-F5344CB8AC3E}">
        <p14:creationId xmlns:p14="http://schemas.microsoft.com/office/powerpoint/2010/main" val="4686767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3">
            <a:extLst>
              <a:ext uri="{FF2B5EF4-FFF2-40B4-BE49-F238E27FC236}">
                <a16:creationId xmlns:a16="http://schemas.microsoft.com/office/drawing/2014/main" id="{8773EB83-53EB-680E-8A4C-11F5F221EC10}"/>
              </a:ext>
            </a:extLst>
          </p:cNvPr>
          <p:cNvSpPr>
            <a:spLocks noGrp="1"/>
          </p:cNvSpPr>
          <p:nvPr>
            <p:ph type="dt" sz="half" idx="10"/>
          </p:nvPr>
        </p:nvSpPr>
        <p:spPr/>
        <p:txBody>
          <a:bodyPr/>
          <a:lstStyle>
            <a:lvl1pPr>
              <a:defRPr/>
            </a:lvl1pPr>
          </a:lstStyle>
          <a:p>
            <a:pPr>
              <a:defRPr/>
            </a:pPr>
            <a:r>
              <a:rPr lang="en-US"/>
              <a:t>May 5 and 6, 2020</a:t>
            </a:r>
          </a:p>
        </p:txBody>
      </p:sp>
      <p:sp>
        <p:nvSpPr>
          <p:cNvPr id="3" name="Footer Placeholder 4">
            <a:extLst>
              <a:ext uri="{FF2B5EF4-FFF2-40B4-BE49-F238E27FC236}">
                <a16:creationId xmlns:a16="http://schemas.microsoft.com/office/drawing/2014/main" id="{44F7CE69-AD12-ACFA-3D54-EBDEF2531D61}"/>
              </a:ext>
            </a:extLst>
          </p:cNvPr>
          <p:cNvSpPr>
            <a:spLocks noGrp="1"/>
          </p:cNvSpPr>
          <p:nvPr>
            <p:ph type="ftr" sz="quarter" idx="11"/>
          </p:nvPr>
        </p:nvSpPr>
        <p:spPr/>
        <p:txBody>
          <a:bodyPr/>
          <a:lstStyle>
            <a:lvl1pPr>
              <a:defRPr/>
            </a:lvl1pPr>
          </a:lstStyle>
          <a:p>
            <a:pPr>
              <a:defRPr/>
            </a:pPr>
            <a:r>
              <a:rPr lang="en-US"/>
              <a:t>FY 2022 Strategy Session  [Name of Campaign] Campaign</a:t>
            </a:r>
          </a:p>
        </p:txBody>
      </p:sp>
      <p:sp>
        <p:nvSpPr>
          <p:cNvPr id="4" name="Slide Number Placeholder 5">
            <a:extLst>
              <a:ext uri="{FF2B5EF4-FFF2-40B4-BE49-F238E27FC236}">
                <a16:creationId xmlns:a16="http://schemas.microsoft.com/office/drawing/2014/main" id="{5640241C-54B3-DB3C-D31F-6237A3771FCE}"/>
              </a:ext>
            </a:extLst>
          </p:cNvPr>
          <p:cNvSpPr>
            <a:spLocks noGrp="1"/>
          </p:cNvSpPr>
          <p:nvPr>
            <p:ph type="sldNum" sz="quarter" idx="12"/>
          </p:nvPr>
        </p:nvSpPr>
        <p:spPr/>
        <p:txBody>
          <a:bodyPr/>
          <a:lstStyle>
            <a:lvl1pPr>
              <a:defRPr/>
            </a:lvl1pPr>
          </a:lstStyle>
          <a:p>
            <a:pPr>
              <a:defRPr/>
            </a:pPr>
            <a:fld id="{CC0EA3C5-2085-426F-A858-D6CCB8390F34}" type="slidenum">
              <a:rPr lang="en-US"/>
              <a:pPr>
                <a:defRPr/>
              </a:pPr>
              <a:t>‹#›</a:t>
            </a:fld>
            <a:endParaRPr lang="en-US"/>
          </a:p>
        </p:txBody>
      </p:sp>
    </p:spTree>
    <p:extLst>
      <p:ext uri="{BB962C8B-B14F-4D97-AF65-F5344CB8AC3E}">
        <p14:creationId xmlns:p14="http://schemas.microsoft.com/office/powerpoint/2010/main" val="292918799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3">
            <a:extLst>
              <a:ext uri="{FF2B5EF4-FFF2-40B4-BE49-F238E27FC236}">
                <a16:creationId xmlns:a16="http://schemas.microsoft.com/office/drawing/2014/main" id="{0E955B94-EFE4-2CD2-228A-C9FBD3DDECD6}"/>
              </a:ext>
            </a:extLst>
          </p:cNvPr>
          <p:cNvSpPr>
            <a:spLocks noGrp="1"/>
          </p:cNvSpPr>
          <p:nvPr>
            <p:ph type="dt" sz="half" idx="10"/>
          </p:nvPr>
        </p:nvSpPr>
        <p:spPr/>
        <p:txBody>
          <a:bodyPr/>
          <a:lstStyle>
            <a:lvl1pPr>
              <a:defRPr/>
            </a:lvl1pPr>
          </a:lstStyle>
          <a:p>
            <a:pPr>
              <a:defRPr/>
            </a:pPr>
            <a:r>
              <a:rPr lang="en-US"/>
              <a:t>May 5 and 6, 2020</a:t>
            </a:r>
          </a:p>
        </p:txBody>
      </p:sp>
      <p:sp>
        <p:nvSpPr>
          <p:cNvPr id="6" name="Footer Placeholder 4">
            <a:extLst>
              <a:ext uri="{FF2B5EF4-FFF2-40B4-BE49-F238E27FC236}">
                <a16:creationId xmlns:a16="http://schemas.microsoft.com/office/drawing/2014/main" id="{5013F4A8-1C17-DE0B-D056-9A787C95C2A4}"/>
              </a:ext>
            </a:extLst>
          </p:cNvPr>
          <p:cNvSpPr>
            <a:spLocks noGrp="1"/>
          </p:cNvSpPr>
          <p:nvPr>
            <p:ph type="ftr" sz="quarter" idx="11"/>
          </p:nvPr>
        </p:nvSpPr>
        <p:spPr/>
        <p:txBody>
          <a:bodyPr/>
          <a:lstStyle>
            <a:lvl1pPr>
              <a:defRPr/>
            </a:lvl1pPr>
          </a:lstStyle>
          <a:p>
            <a:pPr>
              <a:defRPr/>
            </a:pPr>
            <a:r>
              <a:rPr lang="en-US"/>
              <a:t>FY 2022 Strategy Session  [Name of Campaign] Campaign</a:t>
            </a:r>
          </a:p>
        </p:txBody>
      </p:sp>
      <p:sp>
        <p:nvSpPr>
          <p:cNvPr id="7" name="Slide Number Placeholder 5">
            <a:extLst>
              <a:ext uri="{FF2B5EF4-FFF2-40B4-BE49-F238E27FC236}">
                <a16:creationId xmlns:a16="http://schemas.microsoft.com/office/drawing/2014/main" id="{646E6AD9-47BA-4915-F28A-5E107CB270C3}"/>
              </a:ext>
            </a:extLst>
          </p:cNvPr>
          <p:cNvSpPr>
            <a:spLocks noGrp="1"/>
          </p:cNvSpPr>
          <p:nvPr>
            <p:ph type="sldNum" sz="quarter" idx="12"/>
          </p:nvPr>
        </p:nvSpPr>
        <p:spPr/>
        <p:txBody>
          <a:bodyPr/>
          <a:lstStyle>
            <a:lvl1pPr>
              <a:defRPr/>
            </a:lvl1pPr>
          </a:lstStyle>
          <a:p>
            <a:pPr>
              <a:defRPr/>
            </a:pPr>
            <a:fld id="{58FD613B-3D28-4E33-8D14-0EDD8F8126EB}" type="slidenum">
              <a:rPr lang="en-US"/>
              <a:pPr>
                <a:defRPr/>
              </a:pPr>
              <a:t>‹#›</a:t>
            </a:fld>
            <a:endParaRPr lang="en-US"/>
          </a:p>
        </p:txBody>
      </p:sp>
    </p:spTree>
    <p:extLst>
      <p:ext uri="{BB962C8B-B14F-4D97-AF65-F5344CB8AC3E}">
        <p14:creationId xmlns:p14="http://schemas.microsoft.com/office/powerpoint/2010/main" val="101017502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noChangeAspect="1"/>
          </p:cNvSpPr>
          <p:nvPr>
            <p:ph type="pic" idx="1"/>
          </p:nvPr>
        </p:nvSpPr>
        <p:spPr>
          <a:xfrm>
            <a:off x="5183188" y="987425"/>
            <a:ext cx="6172200" cy="4873625"/>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a:t>Click icon to add picture</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3">
            <a:extLst>
              <a:ext uri="{FF2B5EF4-FFF2-40B4-BE49-F238E27FC236}">
                <a16:creationId xmlns:a16="http://schemas.microsoft.com/office/drawing/2014/main" id="{E7F2A787-9679-88E7-2A9A-32F3E0D4FCAE}"/>
              </a:ext>
            </a:extLst>
          </p:cNvPr>
          <p:cNvSpPr>
            <a:spLocks noGrp="1"/>
          </p:cNvSpPr>
          <p:nvPr>
            <p:ph type="dt" sz="half" idx="10"/>
          </p:nvPr>
        </p:nvSpPr>
        <p:spPr/>
        <p:txBody>
          <a:bodyPr/>
          <a:lstStyle>
            <a:lvl1pPr>
              <a:defRPr/>
            </a:lvl1pPr>
          </a:lstStyle>
          <a:p>
            <a:pPr>
              <a:defRPr/>
            </a:pPr>
            <a:r>
              <a:rPr lang="en-US"/>
              <a:t>May 5 and 6, 2020</a:t>
            </a:r>
          </a:p>
        </p:txBody>
      </p:sp>
      <p:sp>
        <p:nvSpPr>
          <p:cNvPr id="6" name="Footer Placeholder 4">
            <a:extLst>
              <a:ext uri="{FF2B5EF4-FFF2-40B4-BE49-F238E27FC236}">
                <a16:creationId xmlns:a16="http://schemas.microsoft.com/office/drawing/2014/main" id="{0C243E31-2F2B-A8B4-ED12-DDDB81BB5A19}"/>
              </a:ext>
            </a:extLst>
          </p:cNvPr>
          <p:cNvSpPr>
            <a:spLocks noGrp="1"/>
          </p:cNvSpPr>
          <p:nvPr>
            <p:ph type="ftr" sz="quarter" idx="11"/>
          </p:nvPr>
        </p:nvSpPr>
        <p:spPr/>
        <p:txBody>
          <a:bodyPr/>
          <a:lstStyle>
            <a:lvl1pPr>
              <a:defRPr/>
            </a:lvl1pPr>
          </a:lstStyle>
          <a:p>
            <a:pPr>
              <a:defRPr/>
            </a:pPr>
            <a:r>
              <a:rPr lang="en-US"/>
              <a:t>FY 2022 Strategy Session  [Name of Campaign] Campaign</a:t>
            </a:r>
          </a:p>
        </p:txBody>
      </p:sp>
      <p:sp>
        <p:nvSpPr>
          <p:cNvPr id="7" name="Slide Number Placeholder 5">
            <a:extLst>
              <a:ext uri="{FF2B5EF4-FFF2-40B4-BE49-F238E27FC236}">
                <a16:creationId xmlns:a16="http://schemas.microsoft.com/office/drawing/2014/main" id="{D9CE9C73-65FE-C662-56CB-E5CCACC75A74}"/>
              </a:ext>
            </a:extLst>
          </p:cNvPr>
          <p:cNvSpPr>
            <a:spLocks noGrp="1"/>
          </p:cNvSpPr>
          <p:nvPr>
            <p:ph type="sldNum" sz="quarter" idx="12"/>
          </p:nvPr>
        </p:nvSpPr>
        <p:spPr/>
        <p:txBody>
          <a:bodyPr/>
          <a:lstStyle>
            <a:lvl1pPr>
              <a:defRPr/>
            </a:lvl1pPr>
          </a:lstStyle>
          <a:p>
            <a:pPr>
              <a:defRPr/>
            </a:pPr>
            <a:fld id="{26A02541-6B91-475E-8455-F3BA25E8A81A}" type="slidenum">
              <a:rPr lang="en-US"/>
              <a:pPr>
                <a:defRPr/>
              </a:pPr>
              <a:t>‹#›</a:t>
            </a:fld>
            <a:endParaRPr lang="en-US"/>
          </a:p>
        </p:txBody>
      </p:sp>
    </p:spTree>
    <p:extLst>
      <p:ext uri="{BB962C8B-B14F-4D97-AF65-F5344CB8AC3E}">
        <p14:creationId xmlns:p14="http://schemas.microsoft.com/office/powerpoint/2010/main" val="330646633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C6E708B-8536-7DFF-3D9D-C9AB64AF553D}"/>
              </a:ext>
            </a:extLst>
          </p:cNvPr>
          <p:cNvSpPr>
            <a:spLocks noGrp="1"/>
          </p:cNvSpPr>
          <p:nvPr>
            <p:ph type="dt" sz="half" idx="10"/>
          </p:nvPr>
        </p:nvSpPr>
        <p:spPr/>
        <p:txBody>
          <a:bodyPr/>
          <a:lstStyle>
            <a:lvl1pPr>
              <a:defRPr/>
            </a:lvl1pPr>
          </a:lstStyle>
          <a:p>
            <a:pPr>
              <a:defRPr/>
            </a:pPr>
            <a:r>
              <a:rPr lang="en-US"/>
              <a:t>May 5 and 6, 2020</a:t>
            </a:r>
          </a:p>
        </p:txBody>
      </p:sp>
      <p:sp>
        <p:nvSpPr>
          <p:cNvPr id="5" name="Footer Placeholder 4">
            <a:extLst>
              <a:ext uri="{FF2B5EF4-FFF2-40B4-BE49-F238E27FC236}">
                <a16:creationId xmlns:a16="http://schemas.microsoft.com/office/drawing/2014/main" id="{D121BFE4-D916-3287-C24F-59F5FC2CA48B}"/>
              </a:ext>
            </a:extLst>
          </p:cNvPr>
          <p:cNvSpPr>
            <a:spLocks noGrp="1"/>
          </p:cNvSpPr>
          <p:nvPr>
            <p:ph type="ftr" sz="quarter" idx="11"/>
          </p:nvPr>
        </p:nvSpPr>
        <p:spPr/>
        <p:txBody>
          <a:bodyPr/>
          <a:lstStyle>
            <a:lvl1pPr>
              <a:defRPr/>
            </a:lvl1pPr>
          </a:lstStyle>
          <a:p>
            <a:pPr>
              <a:defRPr/>
            </a:pPr>
            <a:r>
              <a:rPr lang="en-US"/>
              <a:t>FY 2022 Strategy Session  [Name of Campaign] Campaign</a:t>
            </a:r>
          </a:p>
        </p:txBody>
      </p:sp>
      <p:sp>
        <p:nvSpPr>
          <p:cNvPr id="6" name="Slide Number Placeholder 5">
            <a:extLst>
              <a:ext uri="{FF2B5EF4-FFF2-40B4-BE49-F238E27FC236}">
                <a16:creationId xmlns:a16="http://schemas.microsoft.com/office/drawing/2014/main" id="{C0220A73-07A8-5091-BC24-A08C93A7EBEB}"/>
              </a:ext>
            </a:extLst>
          </p:cNvPr>
          <p:cNvSpPr>
            <a:spLocks noGrp="1"/>
          </p:cNvSpPr>
          <p:nvPr>
            <p:ph type="sldNum" sz="quarter" idx="12"/>
          </p:nvPr>
        </p:nvSpPr>
        <p:spPr/>
        <p:txBody>
          <a:bodyPr/>
          <a:lstStyle>
            <a:lvl1pPr>
              <a:defRPr/>
            </a:lvl1pPr>
          </a:lstStyle>
          <a:p>
            <a:pPr>
              <a:defRPr/>
            </a:pPr>
            <a:fld id="{E0C8E832-6BB6-49E8-AE06-245303ED535C}" type="slidenum">
              <a:rPr lang="en-US"/>
              <a:pPr>
                <a:defRPr/>
              </a:pPr>
              <a:t>‹#›</a:t>
            </a:fld>
            <a:endParaRPr lang="en-US"/>
          </a:p>
        </p:txBody>
      </p:sp>
    </p:spTree>
    <p:extLst>
      <p:ext uri="{BB962C8B-B14F-4D97-AF65-F5344CB8AC3E}">
        <p14:creationId xmlns:p14="http://schemas.microsoft.com/office/powerpoint/2010/main" val="137553958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47BE17F-451B-4C43-541B-5FAE71737371}"/>
              </a:ext>
            </a:extLst>
          </p:cNvPr>
          <p:cNvSpPr>
            <a:spLocks noGrp="1"/>
          </p:cNvSpPr>
          <p:nvPr>
            <p:ph type="dt" sz="half" idx="10"/>
          </p:nvPr>
        </p:nvSpPr>
        <p:spPr/>
        <p:txBody>
          <a:bodyPr/>
          <a:lstStyle>
            <a:lvl1pPr>
              <a:defRPr/>
            </a:lvl1pPr>
          </a:lstStyle>
          <a:p>
            <a:pPr>
              <a:defRPr/>
            </a:pPr>
            <a:r>
              <a:rPr lang="en-US"/>
              <a:t>May 5 and 6, 2020</a:t>
            </a:r>
          </a:p>
        </p:txBody>
      </p:sp>
      <p:sp>
        <p:nvSpPr>
          <p:cNvPr id="5" name="Footer Placeholder 4">
            <a:extLst>
              <a:ext uri="{FF2B5EF4-FFF2-40B4-BE49-F238E27FC236}">
                <a16:creationId xmlns:a16="http://schemas.microsoft.com/office/drawing/2014/main" id="{578FCF79-86CF-1726-AFF6-3629DF4BA0F8}"/>
              </a:ext>
            </a:extLst>
          </p:cNvPr>
          <p:cNvSpPr>
            <a:spLocks noGrp="1"/>
          </p:cNvSpPr>
          <p:nvPr>
            <p:ph type="ftr" sz="quarter" idx="11"/>
          </p:nvPr>
        </p:nvSpPr>
        <p:spPr/>
        <p:txBody>
          <a:bodyPr/>
          <a:lstStyle>
            <a:lvl1pPr>
              <a:defRPr/>
            </a:lvl1pPr>
          </a:lstStyle>
          <a:p>
            <a:pPr>
              <a:defRPr/>
            </a:pPr>
            <a:r>
              <a:rPr lang="en-US"/>
              <a:t>FY 2022 Strategy Session  [Name of Campaign] Campaign</a:t>
            </a:r>
          </a:p>
        </p:txBody>
      </p:sp>
      <p:sp>
        <p:nvSpPr>
          <p:cNvPr id="6" name="Slide Number Placeholder 5">
            <a:extLst>
              <a:ext uri="{FF2B5EF4-FFF2-40B4-BE49-F238E27FC236}">
                <a16:creationId xmlns:a16="http://schemas.microsoft.com/office/drawing/2014/main" id="{E49C5BC6-A05B-4B3A-F67D-A344489EAD9C}"/>
              </a:ext>
            </a:extLst>
          </p:cNvPr>
          <p:cNvSpPr>
            <a:spLocks noGrp="1"/>
          </p:cNvSpPr>
          <p:nvPr>
            <p:ph type="sldNum" sz="quarter" idx="12"/>
          </p:nvPr>
        </p:nvSpPr>
        <p:spPr/>
        <p:txBody>
          <a:bodyPr/>
          <a:lstStyle>
            <a:lvl1pPr>
              <a:defRPr/>
            </a:lvl1pPr>
          </a:lstStyle>
          <a:p>
            <a:pPr>
              <a:defRPr/>
            </a:pPr>
            <a:fld id="{E45DE6D8-6D7C-4FE7-B3F5-D3486F68ADF6}" type="slidenum">
              <a:rPr lang="en-US"/>
              <a:pPr>
                <a:defRPr/>
              </a:pPr>
              <a:t>‹#›</a:t>
            </a:fld>
            <a:endParaRPr lang="en-US"/>
          </a:p>
        </p:txBody>
      </p:sp>
    </p:spTree>
    <p:extLst>
      <p:ext uri="{BB962C8B-B14F-4D97-AF65-F5344CB8AC3E}">
        <p14:creationId xmlns:p14="http://schemas.microsoft.com/office/powerpoint/2010/main" val="1887246767"/>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2009735073"/>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3770490497"/>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Tree>
    <p:extLst>
      <p:ext uri="{BB962C8B-B14F-4D97-AF65-F5344CB8AC3E}">
        <p14:creationId xmlns:p14="http://schemas.microsoft.com/office/powerpoint/2010/main" val="1024920474"/>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66403143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1" y="1709744"/>
            <a:ext cx="10515600" cy="2852737"/>
          </a:xfrm>
        </p:spPr>
        <p:txBody>
          <a:bodyPr anchor="b"/>
          <a:lstStyle>
            <a:lvl1pPr>
              <a:defRPr sz="4500"/>
            </a:lvl1pPr>
          </a:lstStyle>
          <a:p>
            <a:r>
              <a:rPr lang="en-US"/>
              <a:t>Click to edit Master title style</a:t>
            </a:r>
          </a:p>
        </p:txBody>
      </p:sp>
      <p:sp>
        <p:nvSpPr>
          <p:cNvPr id="3" name="Text Placeholder 2"/>
          <p:cNvSpPr>
            <a:spLocks noGrp="1"/>
          </p:cNvSpPr>
          <p:nvPr>
            <p:ph type="body" idx="1"/>
          </p:nvPr>
        </p:nvSpPr>
        <p:spPr>
          <a:xfrm>
            <a:off x="831851" y="4589469"/>
            <a:ext cx="10515600" cy="1500187"/>
          </a:xfrm>
        </p:spPr>
        <p:txBody>
          <a:bodyPr/>
          <a:lstStyle>
            <a:lvl1pPr marL="0" indent="0">
              <a:buNone/>
              <a:defRPr sz="1800">
                <a:solidFill>
                  <a:schemeClr val="tx1">
                    <a:tint val="75000"/>
                  </a:schemeClr>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531ED6F3-50F9-8D4B-0B38-E3BAEF9ADAF5}"/>
              </a:ext>
            </a:extLst>
          </p:cNvPr>
          <p:cNvSpPr>
            <a:spLocks noGrp="1"/>
          </p:cNvSpPr>
          <p:nvPr>
            <p:ph type="dt" sz="half" idx="10"/>
          </p:nvPr>
        </p:nvSpPr>
        <p:spPr/>
        <p:txBody>
          <a:bodyPr/>
          <a:lstStyle>
            <a:lvl1pPr>
              <a:defRPr/>
            </a:lvl1pPr>
          </a:lstStyle>
          <a:p>
            <a:pPr>
              <a:defRPr/>
            </a:pPr>
            <a:r>
              <a:rPr lang="en-US"/>
              <a:t>May 5 and 6, 2020</a:t>
            </a:r>
          </a:p>
        </p:txBody>
      </p:sp>
      <p:sp>
        <p:nvSpPr>
          <p:cNvPr id="5" name="Footer Placeholder 4">
            <a:extLst>
              <a:ext uri="{FF2B5EF4-FFF2-40B4-BE49-F238E27FC236}">
                <a16:creationId xmlns:a16="http://schemas.microsoft.com/office/drawing/2014/main" id="{CC60A49B-C141-CFCB-FBBB-E91ED7191E2E}"/>
              </a:ext>
            </a:extLst>
          </p:cNvPr>
          <p:cNvSpPr>
            <a:spLocks noGrp="1"/>
          </p:cNvSpPr>
          <p:nvPr>
            <p:ph type="ftr" sz="quarter" idx="11"/>
          </p:nvPr>
        </p:nvSpPr>
        <p:spPr/>
        <p:txBody>
          <a:bodyPr/>
          <a:lstStyle>
            <a:lvl1pPr>
              <a:defRPr/>
            </a:lvl1pPr>
          </a:lstStyle>
          <a:p>
            <a:pPr>
              <a:defRPr/>
            </a:pPr>
            <a:r>
              <a:rPr lang="en-US"/>
              <a:t>FY 2022 Strategy Session  [Name of Campaign] Campaign</a:t>
            </a:r>
          </a:p>
        </p:txBody>
      </p:sp>
      <p:sp>
        <p:nvSpPr>
          <p:cNvPr id="6" name="Slide Number Placeholder 5">
            <a:extLst>
              <a:ext uri="{FF2B5EF4-FFF2-40B4-BE49-F238E27FC236}">
                <a16:creationId xmlns:a16="http://schemas.microsoft.com/office/drawing/2014/main" id="{A1BBE999-C8BB-E56C-8D23-E289FD4D81E2}"/>
              </a:ext>
            </a:extLst>
          </p:cNvPr>
          <p:cNvSpPr>
            <a:spLocks noGrp="1"/>
          </p:cNvSpPr>
          <p:nvPr>
            <p:ph type="sldNum" sz="quarter" idx="12"/>
          </p:nvPr>
        </p:nvSpPr>
        <p:spPr/>
        <p:txBody>
          <a:bodyPr/>
          <a:lstStyle>
            <a:lvl1pPr>
              <a:defRPr/>
            </a:lvl1pPr>
          </a:lstStyle>
          <a:p>
            <a:pPr>
              <a:defRPr/>
            </a:pPr>
            <a:fld id="{4F3E07EC-032D-4A3E-B861-C45766C2CAF8}" type="slidenum">
              <a:rPr lang="en-US"/>
              <a:pPr>
                <a:defRPr/>
              </a:pPr>
              <a:t>‹#›</a:t>
            </a:fld>
            <a:endParaRPr lang="en-US"/>
          </a:p>
        </p:txBody>
      </p:sp>
    </p:spTree>
    <p:extLst>
      <p:ext uri="{BB962C8B-B14F-4D97-AF65-F5344CB8AC3E}">
        <p14:creationId xmlns:p14="http://schemas.microsoft.com/office/powerpoint/2010/main" val="1107560885"/>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ontent with Caption">
    <p:spTree>
      <p:nvGrpSpPr>
        <p:cNvPr id="1" name=""/>
        <p:cNvGrpSpPr/>
        <p:nvPr/>
      </p:nvGrpSpPr>
      <p:grpSpPr>
        <a:xfrm>
          <a:off x="0" y="0"/>
          <a:ext cx="0" cy="0"/>
          <a:chOff x="0" y="0"/>
          <a:chExt cx="0" cy="0"/>
        </a:xfrm>
      </p:grpSpPr>
    </p:spTree>
    <p:extLst>
      <p:ext uri="{BB962C8B-B14F-4D97-AF65-F5344CB8AC3E}">
        <p14:creationId xmlns:p14="http://schemas.microsoft.com/office/powerpoint/2010/main" val="3882303765"/>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pic>
        <p:nvPicPr>
          <p:cNvPr id="4" name="Picture 6">
            <a:extLst>
              <a:ext uri="{FF2B5EF4-FFF2-40B4-BE49-F238E27FC236}">
                <a16:creationId xmlns:a16="http://schemas.microsoft.com/office/drawing/2014/main" id="{AE968968-1E43-EEFA-E13E-A3611B7AF81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5" name="Date Placeholder 3">
            <a:extLst>
              <a:ext uri="{FF2B5EF4-FFF2-40B4-BE49-F238E27FC236}">
                <a16:creationId xmlns:a16="http://schemas.microsoft.com/office/drawing/2014/main" id="{34BC7B69-EFF9-386B-C9D7-C4D1FEE0E6D7}"/>
              </a:ext>
            </a:extLst>
          </p:cNvPr>
          <p:cNvSpPr>
            <a:spLocks noGrp="1"/>
          </p:cNvSpPr>
          <p:nvPr>
            <p:ph type="dt" sz="half" idx="10"/>
          </p:nvPr>
        </p:nvSpPr>
        <p:spPr/>
        <p:txBody>
          <a:bodyPr/>
          <a:lstStyle>
            <a:lvl1pPr>
              <a:defRPr>
                <a:solidFill>
                  <a:schemeClr val="tx1">
                    <a:tint val="75000"/>
                  </a:schemeClr>
                </a:solidFill>
              </a:defRPr>
            </a:lvl1pPr>
          </a:lstStyle>
          <a:p>
            <a:pPr>
              <a:defRPr/>
            </a:pPr>
            <a:r>
              <a:rPr lang="en-US"/>
              <a:t>May 5 and 6, 2020</a:t>
            </a:r>
          </a:p>
        </p:txBody>
      </p:sp>
      <p:sp>
        <p:nvSpPr>
          <p:cNvPr id="6" name="Footer Placeholder 4">
            <a:extLst>
              <a:ext uri="{FF2B5EF4-FFF2-40B4-BE49-F238E27FC236}">
                <a16:creationId xmlns:a16="http://schemas.microsoft.com/office/drawing/2014/main" id="{CD874915-9673-7958-B8F5-EA2FB5839629}"/>
              </a:ext>
            </a:extLst>
          </p:cNvPr>
          <p:cNvSpPr>
            <a:spLocks noGrp="1"/>
          </p:cNvSpPr>
          <p:nvPr>
            <p:ph type="ftr" sz="quarter" idx="11"/>
          </p:nvPr>
        </p:nvSpPr>
        <p:spPr/>
        <p:txBody>
          <a:bodyPr/>
          <a:lstStyle>
            <a:lvl1pPr>
              <a:defRPr>
                <a:solidFill>
                  <a:schemeClr val="tx1">
                    <a:tint val="75000"/>
                  </a:schemeClr>
                </a:solidFill>
              </a:defRPr>
            </a:lvl1pPr>
          </a:lstStyle>
          <a:p>
            <a:pPr>
              <a:defRPr/>
            </a:pPr>
            <a:r>
              <a:rPr lang="en-US"/>
              <a:t>FY 2022 Strategy Session  [Name of Campaign] Campaign</a:t>
            </a:r>
          </a:p>
        </p:txBody>
      </p:sp>
      <p:sp>
        <p:nvSpPr>
          <p:cNvPr id="7" name="Slide Number Placeholder 5">
            <a:extLst>
              <a:ext uri="{FF2B5EF4-FFF2-40B4-BE49-F238E27FC236}">
                <a16:creationId xmlns:a16="http://schemas.microsoft.com/office/drawing/2014/main" id="{1D987A16-4980-FA02-28DF-BB39D7032CAA}"/>
              </a:ext>
            </a:extLst>
          </p:cNvPr>
          <p:cNvSpPr>
            <a:spLocks noGrp="1"/>
          </p:cNvSpPr>
          <p:nvPr>
            <p:ph type="sldNum" sz="quarter" idx="12"/>
          </p:nvPr>
        </p:nvSpPr>
        <p:spPr/>
        <p:txBody>
          <a:bodyPr/>
          <a:lstStyle>
            <a:lvl1pPr>
              <a:defRPr dirty="0">
                <a:solidFill>
                  <a:schemeClr val="tx1">
                    <a:tint val="75000"/>
                  </a:schemeClr>
                </a:solidFill>
              </a:defRPr>
            </a:lvl1pPr>
          </a:lstStyle>
          <a:p>
            <a:pPr>
              <a:defRPr/>
            </a:pPr>
            <a:fld id="{BF1B77E8-DC60-4C1E-A9EB-04E713B7F2F7}" type="slidenum">
              <a:rPr lang="en-US"/>
              <a:pPr>
                <a:defRPr/>
              </a:pPr>
              <a:t>‹#›</a:t>
            </a:fld>
            <a:endParaRPr lang="en-US"/>
          </a:p>
        </p:txBody>
      </p:sp>
    </p:spTree>
    <p:extLst>
      <p:ext uri="{BB962C8B-B14F-4D97-AF65-F5344CB8AC3E}">
        <p14:creationId xmlns:p14="http://schemas.microsoft.com/office/powerpoint/2010/main" val="3022783358"/>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p:cSld name="Title Slide - Deep Purple">
    <p:spTree>
      <p:nvGrpSpPr>
        <p:cNvPr id="1" name=""/>
        <p:cNvGrpSpPr/>
        <p:nvPr/>
      </p:nvGrpSpPr>
      <p:grpSpPr>
        <a:xfrm>
          <a:off x="0" y="0"/>
          <a:ext cx="0" cy="0"/>
          <a:chOff x="0" y="0"/>
          <a:chExt cx="0" cy="0"/>
        </a:xfrm>
      </p:grpSpPr>
      <p:sp>
        <p:nvSpPr>
          <p:cNvPr id="15" name="Picture Placeholder 14">
            <a:extLst>
              <a:ext uri="{FF2B5EF4-FFF2-40B4-BE49-F238E27FC236}">
                <a16:creationId xmlns:a16="http://schemas.microsoft.com/office/drawing/2014/main" id="{42927F7C-53AC-400F-8DAD-235A2AF61FB8}"/>
              </a:ext>
            </a:extLst>
          </p:cNvPr>
          <p:cNvSpPr>
            <a:spLocks noGrp="1"/>
          </p:cNvSpPr>
          <p:nvPr>
            <p:ph type="pic" sz="quarter" idx="11"/>
          </p:nvPr>
        </p:nvSpPr>
        <p:spPr>
          <a:xfrm>
            <a:off x="0" y="1"/>
            <a:ext cx="12192000" cy="6280151"/>
          </a:xfrm>
          <a:solidFill>
            <a:schemeClr val="bg2">
              <a:lumMod val="90000"/>
            </a:schemeClr>
          </a:solidFill>
        </p:spPr>
        <p:txBody>
          <a:bodyPr/>
          <a:lstStyle/>
          <a:p>
            <a:r>
              <a:rPr lang="en-US"/>
              <a:t>Click icon to add picture</a:t>
            </a:r>
          </a:p>
        </p:txBody>
      </p:sp>
      <p:sp>
        <p:nvSpPr>
          <p:cNvPr id="13" name="Text Placeholder 12">
            <a:extLst>
              <a:ext uri="{FF2B5EF4-FFF2-40B4-BE49-F238E27FC236}">
                <a16:creationId xmlns:a16="http://schemas.microsoft.com/office/drawing/2014/main" id="{D2D74F39-96DB-4808-8693-9F55A9D7DB98}"/>
              </a:ext>
            </a:extLst>
          </p:cNvPr>
          <p:cNvSpPr>
            <a:spLocks noGrp="1"/>
          </p:cNvSpPr>
          <p:nvPr>
            <p:ph type="body" sz="quarter" idx="10"/>
          </p:nvPr>
        </p:nvSpPr>
        <p:spPr>
          <a:xfrm>
            <a:off x="0" y="1563078"/>
            <a:ext cx="7737229" cy="5294921"/>
          </a:xfrm>
          <a:solidFill>
            <a:schemeClr val="tx2"/>
          </a:solidFill>
        </p:spPr>
        <p:txBody>
          <a:bodyPr lIns="502920" tIns="274320" rIns="457200" bIns="457200"/>
          <a:lstStyle>
            <a:lvl1pPr marL="0" indent="0">
              <a:lnSpc>
                <a:spcPct val="100000"/>
              </a:lnSpc>
              <a:buNone/>
              <a:defRPr sz="4000">
                <a:solidFill>
                  <a:schemeClr val="bg1"/>
                </a:solidFill>
                <a:latin typeface="+mj-lt"/>
              </a:defRPr>
            </a:lvl1pPr>
            <a:lvl2pPr marL="0" indent="0">
              <a:spcBef>
                <a:spcPts val="1200"/>
              </a:spcBef>
              <a:buNone/>
              <a:defRPr sz="2000">
                <a:solidFill>
                  <a:srgbClr val="7899F2"/>
                </a:solidFill>
                <a:latin typeface="+mj-lt"/>
              </a:defRPr>
            </a:lvl2pPr>
            <a:lvl3pPr marL="609585" indent="0">
              <a:buNone/>
              <a:defRPr>
                <a:solidFill>
                  <a:schemeClr val="bg1"/>
                </a:solidFill>
                <a:latin typeface="+mj-lt"/>
              </a:defRPr>
            </a:lvl3pPr>
            <a:lvl4pPr marL="922844" indent="0">
              <a:buNone/>
              <a:defRPr>
                <a:solidFill>
                  <a:schemeClr val="bg1"/>
                </a:solidFill>
                <a:latin typeface="+mj-lt"/>
              </a:defRPr>
            </a:lvl4pPr>
            <a:lvl5pPr marL="1219170" indent="0">
              <a:buNone/>
              <a:defRPr>
                <a:solidFill>
                  <a:schemeClr val="bg1"/>
                </a:solidFill>
                <a:latin typeface="+mj-lt"/>
              </a:defRPr>
            </a:lvl5pPr>
          </a:lstStyle>
          <a:p>
            <a:pPr lvl="0"/>
            <a:r>
              <a:rPr lang="en-US"/>
              <a:t>Edit Master text styles</a:t>
            </a:r>
          </a:p>
          <a:p>
            <a:pPr lvl="1"/>
            <a:r>
              <a:rPr lang="en-US"/>
              <a:t>Second level</a:t>
            </a:r>
          </a:p>
        </p:txBody>
      </p:sp>
      <p:sp>
        <p:nvSpPr>
          <p:cNvPr id="3" name="Subtitle 2"/>
          <p:cNvSpPr>
            <a:spLocks noGrp="1"/>
          </p:cNvSpPr>
          <p:nvPr>
            <p:ph type="subTitle" idx="1"/>
          </p:nvPr>
        </p:nvSpPr>
        <p:spPr>
          <a:xfrm>
            <a:off x="701040" y="4738102"/>
            <a:ext cx="6461760" cy="225639"/>
          </a:xfrm>
        </p:spPr>
        <p:txBody>
          <a:bodyPr anchor="b" anchorCtr="0">
            <a:spAutoFit/>
          </a:bodyPr>
          <a:lstStyle>
            <a:lvl1pPr marL="0" indent="0" algn="l">
              <a:buNone/>
              <a:defRPr sz="1333" i="1">
                <a:solidFill>
                  <a:schemeClr val="bg1"/>
                </a:solidFill>
                <a:latin typeface="+mj-l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
        <p:nvSpPr>
          <p:cNvPr id="9" name="Freeform 5">
            <a:extLst>
              <a:ext uri="{FF2B5EF4-FFF2-40B4-BE49-F238E27FC236}">
                <a16:creationId xmlns:a16="http://schemas.microsoft.com/office/drawing/2014/main" id="{6EF64205-A64B-4137-BA41-5E5CFE0F359E}"/>
              </a:ext>
            </a:extLst>
          </p:cNvPr>
          <p:cNvSpPr>
            <a:spLocks noEditPoints="1"/>
          </p:cNvSpPr>
          <p:nvPr/>
        </p:nvSpPr>
        <p:spPr bwMode="auto">
          <a:xfrm>
            <a:off x="643609" y="578451"/>
            <a:ext cx="2922943" cy="547357"/>
          </a:xfrm>
          <a:custGeom>
            <a:avLst/>
            <a:gdLst>
              <a:gd name="T0" fmla="*/ 225 w 1440"/>
              <a:gd name="T1" fmla="*/ 110 h 267"/>
              <a:gd name="T2" fmla="*/ 317 w 1440"/>
              <a:gd name="T3" fmla="*/ 7 h 267"/>
              <a:gd name="T4" fmla="*/ 475 w 1440"/>
              <a:gd name="T5" fmla="*/ 19 h 267"/>
              <a:gd name="T6" fmla="*/ 830 w 1440"/>
              <a:gd name="T7" fmla="*/ 7 h 267"/>
              <a:gd name="T8" fmla="*/ 130 w 1440"/>
              <a:gd name="T9" fmla="*/ 210 h 267"/>
              <a:gd name="T10" fmla="*/ 437 w 1440"/>
              <a:gd name="T11" fmla="*/ 209 h 267"/>
              <a:gd name="T12" fmla="*/ 493 w 1440"/>
              <a:gd name="T13" fmla="*/ 198 h 267"/>
              <a:gd name="T14" fmla="*/ 866 w 1440"/>
              <a:gd name="T15" fmla="*/ 171 h 267"/>
              <a:gd name="T16" fmla="*/ 737 w 1440"/>
              <a:gd name="T17" fmla="*/ 261 h 267"/>
              <a:gd name="T18" fmla="*/ 958 w 1440"/>
              <a:gd name="T19" fmla="*/ 172 h 267"/>
              <a:gd name="T20" fmla="*/ 906 w 1440"/>
              <a:gd name="T21" fmla="*/ 254 h 267"/>
              <a:gd name="T22" fmla="*/ 309 w 1440"/>
              <a:gd name="T23" fmla="*/ 260 h 267"/>
              <a:gd name="T24" fmla="*/ 1053 w 1440"/>
              <a:gd name="T25" fmla="*/ 31 h 267"/>
              <a:gd name="T26" fmla="*/ 1075 w 1440"/>
              <a:gd name="T27" fmla="*/ 44 h 267"/>
              <a:gd name="T28" fmla="*/ 1091 w 1440"/>
              <a:gd name="T29" fmla="*/ 22 h 267"/>
              <a:gd name="T30" fmla="*/ 1107 w 1440"/>
              <a:gd name="T31" fmla="*/ 27 h 267"/>
              <a:gd name="T32" fmla="*/ 1125 w 1440"/>
              <a:gd name="T33" fmla="*/ 55 h 267"/>
              <a:gd name="T34" fmla="*/ 1159 w 1440"/>
              <a:gd name="T35" fmla="*/ 53 h 267"/>
              <a:gd name="T36" fmla="*/ 1160 w 1440"/>
              <a:gd name="T37" fmla="*/ 57 h 267"/>
              <a:gd name="T38" fmla="*/ 1177 w 1440"/>
              <a:gd name="T39" fmla="*/ 23 h 267"/>
              <a:gd name="T40" fmla="*/ 1207 w 1440"/>
              <a:gd name="T41" fmla="*/ 58 h 267"/>
              <a:gd name="T42" fmla="*/ 1245 w 1440"/>
              <a:gd name="T43" fmla="*/ 27 h 267"/>
              <a:gd name="T44" fmla="*/ 1225 w 1440"/>
              <a:gd name="T45" fmla="*/ 43 h 267"/>
              <a:gd name="T46" fmla="*/ 1271 w 1440"/>
              <a:gd name="T47" fmla="*/ 19 h 267"/>
              <a:gd name="T48" fmla="*/ 1259 w 1440"/>
              <a:gd name="T49" fmla="*/ 32 h 267"/>
              <a:gd name="T50" fmla="*/ 1290 w 1440"/>
              <a:gd name="T51" fmla="*/ 54 h 267"/>
              <a:gd name="T52" fmla="*/ 1310 w 1440"/>
              <a:gd name="T53" fmla="*/ 25 h 267"/>
              <a:gd name="T54" fmla="*/ 1059 w 1440"/>
              <a:gd name="T55" fmla="*/ 110 h 267"/>
              <a:gd name="T56" fmla="*/ 1099 w 1440"/>
              <a:gd name="T57" fmla="*/ 134 h 267"/>
              <a:gd name="T58" fmla="*/ 1120 w 1440"/>
              <a:gd name="T59" fmla="*/ 156 h 267"/>
              <a:gd name="T60" fmla="*/ 1141 w 1440"/>
              <a:gd name="T61" fmla="*/ 123 h 267"/>
              <a:gd name="T62" fmla="*/ 1148 w 1440"/>
              <a:gd name="T63" fmla="*/ 175 h 267"/>
              <a:gd name="T64" fmla="*/ 1184 w 1440"/>
              <a:gd name="T65" fmla="*/ 119 h 267"/>
              <a:gd name="T66" fmla="*/ 1181 w 1440"/>
              <a:gd name="T67" fmla="*/ 153 h 267"/>
              <a:gd name="T68" fmla="*/ 1201 w 1440"/>
              <a:gd name="T69" fmla="*/ 125 h 267"/>
              <a:gd name="T70" fmla="*/ 1230 w 1440"/>
              <a:gd name="T71" fmla="*/ 157 h 267"/>
              <a:gd name="T72" fmla="*/ 1260 w 1440"/>
              <a:gd name="T73" fmla="*/ 154 h 267"/>
              <a:gd name="T74" fmla="*/ 1261 w 1440"/>
              <a:gd name="T75" fmla="*/ 158 h 267"/>
              <a:gd name="T76" fmla="*/ 1284 w 1440"/>
              <a:gd name="T77" fmla="*/ 152 h 267"/>
              <a:gd name="T78" fmla="*/ 1294 w 1440"/>
              <a:gd name="T79" fmla="*/ 123 h 267"/>
              <a:gd name="T80" fmla="*/ 1317 w 1440"/>
              <a:gd name="T81" fmla="*/ 125 h 267"/>
              <a:gd name="T82" fmla="*/ 1342 w 1440"/>
              <a:gd name="T83" fmla="*/ 121 h 267"/>
              <a:gd name="T84" fmla="*/ 1351 w 1440"/>
              <a:gd name="T85" fmla="*/ 112 h 267"/>
              <a:gd name="T86" fmla="*/ 1364 w 1440"/>
              <a:gd name="T87" fmla="*/ 159 h 267"/>
              <a:gd name="T88" fmla="*/ 1399 w 1440"/>
              <a:gd name="T89" fmla="*/ 156 h 267"/>
              <a:gd name="T90" fmla="*/ 1432 w 1440"/>
              <a:gd name="T91" fmla="*/ 120 h 267"/>
              <a:gd name="T92" fmla="*/ 1410 w 1440"/>
              <a:gd name="T93" fmla="*/ 176 h 267"/>
              <a:gd name="T94" fmla="*/ 1076 w 1440"/>
              <a:gd name="T95" fmla="*/ 242 h 267"/>
              <a:gd name="T96" fmla="*/ 1062 w 1440"/>
              <a:gd name="T97" fmla="*/ 225 h 267"/>
              <a:gd name="T98" fmla="*/ 1091 w 1440"/>
              <a:gd name="T99" fmla="*/ 208 h 267"/>
              <a:gd name="T100" fmla="*/ 1112 w 1440"/>
              <a:gd name="T101" fmla="*/ 233 h 267"/>
              <a:gd name="T102" fmla="*/ 1128 w 1440"/>
              <a:gd name="T103" fmla="*/ 224 h 267"/>
              <a:gd name="T104" fmla="*/ 1168 w 1440"/>
              <a:gd name="T105" fmla="*/ 255 h 267"/>
              <a:gd name="T106" fmla="*/ 1154 w 1440"/>
              <a:gd name="T107" fmla="*/ 236 h 267"/>
              <a:gd name="T108" fmla="*/ 1203 w 1440"/>
              <a:gd name="T109" fmla="*/ 256 h 267"/>
              <a:gd name="T110" fmla="*/ 1200 w 1440"/>
              <a:gd name="T111" fmla="*/ 213 h 267"/>
              <a:gd name="T112" fmla="*/ 1227 w 1440"/>
              <a:gd name="T113" fmla="*/ 256 h 267"/>
              <a:gd name="T114" fmla="*/ 1249 w 1440"/>
              <a:gd name="T115" fmla="*/ 260 h 267"/>
              <a:gd name="T116" fmla="*/ 1255 w 1440"/>
              <a:gd name="T117" fmla="*/ 205 h 267"/>
              <a:gd name="T118" fmla="*/ 1297 w 1440"/>
              <a:gd name="T119" fmla="*/ 226 h 267"/>
              <a:gd name="T120" fmla="*/ 1303 w 1440"/>
              <a:gd name="T121" fmla="*/ 243 h 267"/>
              <a:gd name="T122" fmla="*/ 1344 w 1440"/>
              <a:gd name="T123" fmla="*/ 229 h 267"/>
              <a:gd name="T124" fmla="*/ 1328 w 1440"/>
              <a:gd name="T125" fmla="*/ 239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440" h="267">
                <a:moveTo>
                  <a:pt x="17" y="110"/>
                </a:moveTo>
                <a:cubicBezTo>
                  <a:pt x="3" y="110"/>
                  <a:pt x="3" y="110"/>
                  <a:pt x="3" y="110"/>
                </a:cubicBezTo>
                <a:cubicBezTo>
                  <a:pt x="3" y="1"/>
                  <a:pt x="3" y="1"/>
                  <a:pt x="3" y="1"/>
                </a:cubicBezTo>
                <a:cubicBezTo>
                  <a:pt x="81" y="83"/>
                  <a:pt x="81" y="83"/>
                  <a:pt x="81" y="83"/>
                </a:cubicBezTo>
                <a:cubicBezTo>
                  <a:pt x="81" y="7"/>
                  <a:pt x="81" y="7"/>
                  <a:pt x="81" y="7"/>
                </a:cubicBezTo>
                <a:cubicBezTo>
                  <a:pt x="95" y="7"/>
                  <a:pt x="95" y="7"/>
                  <a:pt x="95" y="7"/>
                </a:cubicBezTo>
                <a:cubicBezTo>
                  <a:pt x="95" y="117"/>
                  <a:pt x="95" y="117"/>
                  <a:pt x="95" y="117"/>
                </a:cubicBezTo>
                <a:cubicBezTo>
                  <a:pt x="17" y="35"/>
                  <a:pt x="17" y="35"/>
                  <a:pt x="17" y="35"/>
                </a:cubicBezTo>
                <a:lnTo>
                  <a:pt x="17" y="110"/>
                </a:lnTo>
                <a:close/>
                <a:moveTo>
                  <a:pt x="130" y="110"/>
                </a:moveTo>
                <a:cubicBezTo>
                  <a:pt x="145" y="110"/>
                  <a:pt x="145" y="110"/>
                  <a:pt x="145" y="110"/>
                </a:cubicBezTo>
                <a:cubicBezTo>
                  <a:pt x="178" y="33"/>
                  <a:pt x="178" y="33"/>
                  <a:pt x="178" y="33"/>
                </a:cubicBezTo>
                <a:cubicBezTo>
                  <a:pt x="210" y="109"/>
                  <a:pt x="210" y="109"/>
                  <a:pt x="210" y="109"/>
                </a:cubicBezTo>
                <a:cubicBezTo>
                  <a:pt x="210" y="110"/>
                  <a:pt x="210" y="110"/>
                  <a:pt x="210" y="110"/>
                </a:cubicBezTo>
                <a:cubicBezTo>
                  <a:pt x="225" y="110"/>
                  <a:pt x="225" y="110"/>
                  <a:pt x="225" y="110"/>
                </a:cubicBezTo>
                <a:cubicBezTo>
                  <a:pt x="178" y="0"/>
                  <a:pt x="178" y="0"/>
                  <a:pt x="178" y="0"/>
                </a:cubicBezTo>
                <a:lnTo>
                  <a:pt x="130" y="110"/>
                </a:lnTo>
                <a:close/>
                <a:moveTo>
                  <a:pt x="700" y="110"/>
                </a:moveTo>
                <a:cubicBezTo>
                  <a:pt x="715" y="110"/>
                  <a:pt x="715" y="110"/>
                  <a:pt x="715" y="110"/>
                </a:cubicBezTo>
                <a:cubicBezTo>
                  <a:pt x="748" y="33"/>
                  <a:pt x="748" y="33"/>
                  <a:pt x="748" y="33"/>
                </a:cubicBezTo>
                <a:cubicBezTo>
                  <a:pt x="780" y="109"/>
                  <a:pt x="780" y="109"/>
                  <a:pt x="780" y="109"/>
                </a:cubicBezTo>
                <a:cubicBezTo>
                  <a:pt x="780" y="110"/>
                  <a:pt x="780" y="110"/>
                  <a:pt x="780" y="110"/>
                </a:cubicBezTo>
                <a:cubicBezTo>
                  <a:pt x="795" y="110"/>
                  <a:pt x="795" y="110"/>
                  <a:pt x="795" y="110"/>
                </a:cubicBezTo>
                <a:cubicBezTo>
                  <a:pt x="748" y="0"/>
                  <a:pt x="748" y="0"/>
                  <a:pt x="748" y="0"/>
                </a:cubicBezTo>
                <a:lnTo>
                  <a:pt x="700" y="110"/>
                </a:lnTo>
                <a:close/>
                <a:moveTo>
                  <a:pt x="273" y="110"/>
                </a:moveTo>
                <a:cubicBezTo>
                  <a:pt x="286" y="110"/>
                  <a:pt x="286" y="110"/>
                  <a:pt x="286" y="110"/>
                </a:cubicBezTo>
                <a:cubicBezTo>
                  <a:pt x="286" y="20"/>
                  <a:pt x="286" y="20"/>
                  <a:pt x="286" y="20"/>
                </a:cubicBezTo>
                <a:cubicBezTo>
                  <a:pt x="317" y="20"/>
                  <a:pt x="317" y="20"/>
                  <a:pt x="317" y="20"/>
                </a:cubicBezTo>
                <a:cubicBezTo>
                  <a:pt x="317" y="7"/>
                  <a:pt x="317" y="7"/>
                  <a:pt x="317" y="7"/>
                </a:cubicBezTo>
                <a:cubicBezTo>
                  <a:pt x="242" y="7"/>
                  <a:pt x="242" y="7"/>
                  <a:pt x="242" y="7"/>
                </a:cubicBezTo>
                <a:cubicBezTo>
                  <a:pt x="242" y="20"/>
                  <a:pt x="242" y="20"/>
                  <a:pt x="242" y="20"/>
                </a:cubicBezTo>
                <a:cubicBezTo>
                  <a:pt x="273" y="20"/>
                  <a:pt x="273" y="20"/>
                  <a:pt x="273" y="20"/>
                </a:cubicBezTo>
                <a:lnTo>
                  <a:pt x="273" y="110"/>
                </a:lnTo>
                <a:close/>
                <a:moveTo>
                  <a:pt x="374" y="7"/>
                </a:moveTo>
                <a:cubicBezTo>
                  <a:pt x="360" y="7"/>
                  <a:pt x="360" y="7"/>
                  <a:pt x="360" y="7"/>
                </a:cubicBezTo>
                <a:cubicBezTo>
                  <a:pt x="360" y="110"/>
                  <a:pt x="360" y="110"/>
                  <a:pt x="360" y="110"/>
                </a:cubicBezTo>
                <a:cubicBezTo>
                  <a:pt x="374" y="110"/>
                  <a:pt x="374" y="110"/>
                  <a:pt x="374" y="110"/>
                </a:cubicBezTo>
                <a:lnTo>
                  <a:pt x="374" y="7"/>
                </a:lnTo>
                <a:close/>
                <a:moveTo>
                  <a:pt x="475" y="112"/>
                </a:moveTo>
                <a:cubicBezTo>
                  <a:pt x="445" y="112"/>
                  <a:pt x="421" y="88"/>
                  <a:pt x="421" y="59"/>
                </a:cubicBezTo>
                <a:cubicBezTo>
                  <a:pt x="421" y="29"/>
                  <a:pt x="445" y="5"/>
                  <a:pt x="475" y="5"/>
                </a:cubicBezTo>
                <a:cubicBezTo>
                  <a:pt x="505" y="5"/>
                  <a:pt x="528" y="29"/>
                  <a:pt x="528" y="59"/>
                </a:cubicBezTo>
                <a:cubicBezTo>
                  <a:pt x="528" y="88"/>
                  <a:pt x="505" y="112"/>
                  <a:pt x="475" y="112"/>
                </a:cubicBezTo>
                <a:close/>
                <a:moveTo>
                  <a:pt x="475" y="19"/>
                </a:moveTo>
                <a:cubicBezTo>
                  <a:pt x="453" y="19"/>
                  <a:pt x="435" y="37"/>
                  <a:pt x="435" y="59"/>
                </a:cubicBezTo>
                <a:cubicBezTo>
                  <a:pt x="435" y="81"/>
                  <a:pt x="453" y="99"/>
                  <a:pt x="475" y="99"/>
                </a:cubicBezTo>
                <a:cubicBezTo>
                  <a:pt x="497" y="99"/>
                  <a:pt x="514" y="81"/>
                  <a:pt x="514" y="59"/>
                </a:cubicBezTo>
                <a:cubicBezTo>
                  <a:pt x="514" y="37"/>
                  <a:pt x="497" y="19"/>
                  <a:pt x="475" y="19"/>
                </a:cubicBezTo>
                <a:close/>
                <a:moveTo>
                  <a:pt x="586" y="35"/>
                </a:moveTo>
                <a:cubicBezTo>
                  <a:pt x="664" y="117"/>
                  <a:pt x="664" y="117"/>
                  <a:pt x="664" y="117"/>
                </a:cubicBezTo>
                <a:cubicBezTo>
                  <a:pt x="664" y="7"/>
                  <a:pt x="664" y="7"/>
                  <a:pt x="664" y="7"/>
                </a:cubicBezTo>
                <a:cubicBezTo>
                  <a:pt x="650" y="7"/>
                  <a:pt x="650" y="7"/>
                  <a:pt x="650" y="7"/>
                </a:cubicBezTo>
                <a:cubicBezTo>
                  <a:pt x="650" y="83"/>
                  <a:pt x="650" y="83"/>
                  <a:pt x="650" y="83"/>
                </a:cubicBezTo>
                <a:cubicBezTo>
                  <a:pt x="572" y="1"/>
                  <a:pt x="572" y="1"/>
                  <a:pt x="572" y="1"/>
                </a:cubicBezTo>
                <a:cubicBezTo>
                  <a:pt x="572" y="110"/>
                  <a:pt x="572" y="110"/>
                  <a:pt x="572" y="110"/>
                </a:cubicBezTo>
                <a:cubicBezTo>
                  <a:pt x="586" y="110"/>
                  <a:pt x="586" y="110"/>
                  <a:pt x="586" y="110"/>
                </a:cubicBezTo>
                <a:lnTo>
                  <a:pt x="586" y="35"/>
                </a:lnTo>
                <a:close/>
                <a:moveTo>
                  <a:pt x="843" y="7"/>
                </a:moveTo>
                <a:cubicBezTo>
                  <a:pt x="830" y="7"/>
                  <a:pt x="830" y="7"/>
                  <a:pt x="830" y="7"/>
                </a:cubicBezTo>
                <a:cubicBezTo>
                  <a:pt x="830" y="110"/>
                  <a:pt x="830" y="110"/>
                  <a:pt x="830" y="110"/>
                </a:cubicBezTo>
                <a:cubicBezTo>
                  <a:pt x="885" y="110"/>
                  <a:pt x="885" y="110"/>
                  <a:pt x="885" y="110"/>
                </a:cubicBezTo>
                <a:cubicBezTo>
                  <a:pt x="885" y="97"/>
                  <a:pt x="885" y="97"/>
                  <a:pt x="885" y="97"/>
                </a:cubicBezTo>
                <a:cubicBezTo>
                  <a:pt x="843" y="97"/>
                  <a:pt x="843" y="97"/>
                  <a:pt x="843" y="97"/>
                </a:cubicBezTo>
                <a:lnTo>
                  <a:pt x="843" y="7"/>
                </a:lnTo>
                <a:close/>
                <a:moveTo>
                  <a:pt x="169" y="156"/>
                </a:moveTo>
                <a:cubicBezTo>
                  <a:pt x="139" y="156"/>
                  <a:pt x="116" y="179"/>
                  <a:pt x="116" y="209"/>
                </a:cubicBezTo>
                <a:cubicBezTo>
                  <a:pt x="116" y="240"/>
                  <a:pt x="139" y="262"/>
                  <a:pt x="169" y="262"/>
                </a:cubicBezTo>
                <a:cubicBezTo>
                  <a:pt x="175" y="262"/>
                  <a:pt x="188" y="261"/>
                  <a:pt x="200" y="252"/>
                </a:cubicBezTo>
                <a:cubicBezTo>
                  <a:pt x="200" y="252"/>
                  <a:pt x="200" y="252"/>
                  <a:pt x="200" y="252"/>
                </a:cubicBezTo>
                <a:cubicBezTo>
                  <a:pt x="200" y="234"/>
                  <a:pt x="200" y="234"/>
                  <a:pt x="200" y="234"/>
                </a:cubicBezTo>
                <a:cubicBezTo>
                  <a:pt x="198" y="236"/>
                  <a:pt x="198" y="236"/>
                  <a:pt x="198" y="236"/>
                </a:cubicBezTo>
                <a:cubicBezTo>
                  <a:pt x="196" y="239"/>
                  <a:pt x="192" y="242"/>
                  <a:pt x="187" y="245"/>
                </a:cubicBezTo>
                <a:cubicBezTo>
                  <a:pt x="181" y="247"/>
                  <a:pt x="175" y="249"/>
                  <a:pt x="169" y="249"/>
                </a:cubicBezTo>
                <a:cubicBezTo>
                  <a:pt x="142" y="249"/>
                  <a:pt x="130" y="226"/>
                  <a:pt x="130" y="210"/>
                </a:cubicBezTo>
                <a:cubicBezTo>
                  <a:pt x="130" y="187"/>
                  <a:pt x="147" y="169"/>
                  <a:pt x="169" y="169"/>
                </a:cubicBezTo>
                <a:cubicBezTo>
                  <a:pt x="174" y="169"/>
                  <a:pt x="180" y="170"/>
                  <a:pt x="185" y="173"/>
                </a:cubicBezTo>
                <a:cubicBezTo>
                  <a:pt x="190" y="175"/>
                  <a:pt x="194" y="178"/>
                  <a:pt x="198" y="182"/>
                </a:cubicBezTo>
                <a:cubicBezTo>
                  <a:pt x="200" y="184"/>
                  <a:pt x="200" y="184"/>
                  <a:pt x="200" y="184"/>
                </a:cubicBezTo>
                <a:cubicBezTo>
                  <a:pt x="200" y="166"/>
                  <a:pt x="200" y="166"/>
                  <a:pt x="200" y="166"/>
                </a:cubicBezTo>
                <a:cubicBezTo>
                  <a:pt x="200" y="166"/>
                  <a:pt x="200" y="166"/>
                  <a:pt x="200" y="166"/>
                </a:cubicBezTo>
                <a:cubicBezTo>
                  <a:pt x="191" y="159"/>
                  <a:pt x="181" y="156"/>
                  <a:pt x="169" y="156"/>
                </a:cubicBezTo>
                <a:close/>
                <a:moveTo>
                  <a:pt x="437" y="209"/>
                </a:moveTo>
                <a:cubicBezTo>
                  <a:pt x="437" y="225"/>
                  <a:pt x="431" y="238"/>
                  <a:pt x="419" y="249"/>
                </a:cubicBezTo>
                <a:cubicBezTo>
                  <a:pt x="409" y="257"/>
                  <a:pt x="399" y="261"/>
                  <a:pt x="382" y="261"/>
                </a:cubicBezTo>
                <a:cubicBezTo>
                  <a:pt x="360" y="261"/>
                  <a:pt x="360" y="261"/>
                  <a:pt x="360" y="261"/>
                </a:cubicBezTo>
                <a:cubicBezTo>
                  <a:pt x="360" y="157"/>
                  <a:pt x="360" y="157"/>
                  <a:pt x="360" y="157"/>
                </a:cubicBezTo>
                <a:cubicBezTo>
                  <a:pt x="382" y="157"/>
                  <a:pt x="382" y="157"/>
                  <a:pt x="382" y="157"/>
                </a:cubicBezTo>
                <a:cubicBezTo>
                  <a:pt x="393" y="157"/>
                  <a:pt x="407" y="159"/>
                  <a:pt x="420" y="170"/>
                </a:cubicBezTo>
                <a:cubicBezTo>
                  <a:pt x="426" y="175"/>
                  <a:pt x="437" y="187"/>
                  <a:pt x="437" y="209"/>
                </a:cubicBezTo>
                <a:close/>
                <a:moveTo>
                  <a:pt x="423" y="209"/>
                </a:moveTo>
                <a:cubicBezTo>
                  <a:pt x="423" y="186"/>
                  <a:pt x="407" y="171"/>
                  <a:pt x="382" y="171"/>
                </a:cubicBezTo>
                <a:cubicBezTo>
                  <a:pt x="374" y="171"/>
                  <a:pt x="374" y="171"/>
                  <a:pt x="374" y="171"/>
                </a:cubicBezTo>
                <a:cubicBezTo>
                  <a:pt x="374" y="247"/>
                  <a:pt x="374" y="247"/>
                  <a:pt x="374" y="247"/>
                </a:cubicBezTo>
                <a:cubicBezTo>
                  <a:pt x="382" y="247"/>
                  <a:pt x="382" y="247"/>
                  <a:pt x="382" y="247"/>
                </a:cubicBezTo>
                <a:cubicBezTo>
                  <a:pt x="390" y="247"/>
                  <a:pt x="401" y="246"/>
                  <a:pt x="410" y="239"/>
                </a:cubicBezTo>
                <a:cubicBezTo>
                  <a:pt x="416" y="234"/>
                  <a:pt x="423" y="224"/>
                  <a:pt x="423" y="209"/>
                </a:cubicBezTo>
                <a:close/>
                <a:moveTo>
                  <a:pt x="479" y="261"/>
                </a:moveTo>
                <a:cubicBezTo>
                  <a:pt x="541" y="261"/>
                  <a:pt x="541" y="261"/>
                  <a:pt x="541" y="261"/>
                </a:cubicBezTo>
                <a:cubicBezTo>
                  <a:pt x="541" y="247"/>
                  <a:pt x="541" y="247"/>
                  <a:pt x="541" y="247"/>
                </a:cubicBezTo>
                <a:cubicBezTo>
                  <a:pt x="493" y="247"/>
                  <a:pt x="493" y="247"/>
                  <a:pt x="493" y="247"/>
                </a:cubicBezTo>
                <a:cubicBezTo>
                  <a:pt x="493" y="211"/>
                  <a:pt x="493" y="211"/>
                  <a:pt x="493" y="211"/>
                </a:cubicBezTo>
                <a:cubicBezTo>
                  <a:pt x="535" y="211"/>
                  <a:pt x="535" y="211"/>
                  <a:pt x="535" y="211"/>
                </a:cubicBezTo>
                <a:cubicBezTo>
                  <a:pt x="535" y="198"/>
                  <a:pt x="535" y="198"/>
                  <a:pt x="535" y="198"/>
                </a:cubicBezTo>
                <a:cubicBezTo>
                  <a:pt x="493" y="198"/>
                  <a:pt x="493" y="198"/>
                  <a:pt x="493" y="198"/>
                </a:cubicBezTo>
                <a:cubicBezTo>
                  <a:pt x="493" y="171"/>
                  <a:pt x="493" y="171"/>
                  <a:pt x="493" y="171"/>
                </a:cubicBezTo>
                <a:cubicBezTo>
                  <a:pt x="541" y="171"/>
                  <a:pt x="541" y="171"/>
                  <a:pt x="541" y="171"/>
                </a:cubicBezTo>
                <a:cubicBezTo>
                  <a:pt x="541" y="157"/>
                  <a:pt x="541" y="157"/>
                  <a:pt x="541" y="157"/>
                </a:cubicBezTo>
                <a:cubicBezTo>
                  <a:pt x="479" y="157"/>
                  <a:pt x="479" y="157"/>
                  <a:pt x="479" y="157"/>
                </a:cubicBezTo>
                <a:lnTo>
                  <a:pt x="479" y="261"/>
                </a:lnTo>
                <a:close/>
                <a:moveTo>
                  <a:pt x="805" y="261"/>
                </a:moveTo>
                <a:cubicBezTo>
                  <a:pt x="866" y="261"/>
                  <a:pt x="866" y="261"/>
                  <a:pt x="866" y="261"/>
                </a:cubicBezTo>
                <a:cubicBezTo>
                  <a:pt x="866" y="247"/>
                  <a:pt x="866" y="247"/>
                  <a:pt x="866" y="247"/>
                </a:cubicBezTo>
                <a:cubicBezTo>
                  <a:pt x="819" y="247"/>
                  <a:pt x="819" y="247"/>
                  <a:pt x="819" y="247"/>
                </a:cubicBezTo>
                <a:cubicBezTo>
                  <a:pt x="819" y="211"/>
                  <a:pt x="819" y="211"/>
                  <a:pt x="819" y="211"/>
                </a:cubicBezTo>
                <a:cubicBezTo>
                  <a:pt x="860" y="211"/>
                  <a:pt x="860" y="211"/>
                  <a:pt x="860" y="211"/>
                </a:cubicBezTo>
                <a:cubicBezTo>
                  <a:pt x="860" y="198"/>
                  <a:pt x="860" y="198"/>
                  <a:pt x="860" y="198"/>
                </a:cubicBezTo>
                <a:cubicBezTo>
                  <a:pt x="819" y="198"/>
                  <a:pt x="819" y="198"/>
                  <a:pt x="819" y="198"/>
                </a:cubicBezTo>
                <a:cubicBezTo>
                  <a:pt x="819" y="171"/>
                  <a:pt x="819" y="171"/>
                  <a:pt x="819" y="171"/>
                </a:cubicBezTo>
                <a:cubicBezTo>
                  <a:pt x="866" y="171"/>
                  <a:pt x="866" y="171"/>
                  <a:pt x="866" y="171"/>
                </a:cubicBezTo>
                <a:cubicBezTo>
                  <a:pt x="866" y="157"/>
                  <a:pt x="866" y="157"/>
                  <a:pt x="866" y="157"/>
                </a:cubicBezTo>
                <a:cubicBezTo>
                  <a:pt x="805" y="157"/>
                  <a:pt x="805" y="157"/>
                  <a:pt x="805" y="157"/>
                </a:cubicBezTo>
                <a:lnTo>
                  <a:pt x="805" y="261"/>
                </a:lnTo>
                <a:close/>
                <a:moveTo>
                  <a:pt x="634" y="235"/>
                </a:moveTo>
                <a:cubicBezTo>
                  <a:pt x="595" y="149"/>
                  <a:pt x="595" y="149"/>
                  <a:pt x="595" y="149"/>
                </a:cubicBezTo>
                <a:cubicBezTo>
                  <a:pt x="578" y="261"/>
                  <a:pt x="578" y="261"/>
                  <a:pt x="578" y="261"/>
                </a:cubicBezTo>
                <a:cubicBezTo>
                  <a:pt x="592" y="261"/>
                  <a:pt x="592" y="261"/>
                  <a:pt x="592" y="261"/>
                </a:cubicBezTo>
                <a:cubicBezTo>
                  <a:pt x="601" y="194"/>
                  <a:pt x="601" y="194"/>
                  <a:pt x="601" y="194"/>
                </a:cubicBezTo>
                <a:cubicBezTo>
                  <a:pt x="634" y="267"/>
                  <a:pt x="634" y="267"/>
                  <a:pt x="634" y="267"/>
                </a:cubicBezTo>
                <a:cubicBezTo>
                  <a:pt x="668" y="194"/>
                  <a:pt x="668" y="194"/>
                  <a:pt x="668" y="194"/>
                </a:cubicBezTo>
                <a:cubicBezTo>
                  <a:pt x="677" y="261"/>
                  <a:pt x="677" y="261"/>
                  <a:pt x="677" y="261"/>
                </a:cubicBezTo>
                <a:cubicBezTo>
                  <a:pt x="691" y="261"/>
                  <a:pt x="691" y="261"/>
                  <a:pt x="691" y="261"/>
                </a:cubicBezTo>
                <a:cubicBezTo>
                  <a:pt x="674" y="148"/>
                  <a:pt x="674" y="148"/>
                  <a:pt x="674" y="148"/>
                </a:cubicBezTo>
                <a:lnTo>
                  <a:pt x="634" y="235"/>
                </a:lnTo>
                <a:close/>
                <a:moveTo>
                  <a:pt x="737" y="261"/>
                </a:moveTo>
                <a:cubicBezTo>
                  <a:pt x="751" y="261"/>
                  <a:pt x="751" y="261"/>
                  <a:pt x="751" y="261"/>
                </a:cubicBezTo>
                <a:cubicBezTo>
                  <a:pt x="751" y="157"/>
                  <a:pt x="751" y="157"/>
                  <a:pt x="751" y="157"/>
                </a:cubicBezTo>
                <a:cubicBezTo>
                  <a:pt x="737" y="157"/>
                  <a:pt x="737" y="157"/>
                  <a:pt x="737" y="157"/>
                </a:cubicBezTo>
                <a:lnTo>
                  <a:pt x="737" y="261"/>
                </a:lnTo>
                <a:close/>
                <a:moveTo>
                  <a:pt x="955" y="211"/>
                </a:moveTo>
                <a:cubicBezTo>
                  <a:pt x="950" y="207"/>
                  <a:pt x="945" y="204"/>
                  <a:pt x="939" y="201"/>
                </a:cubicBezTo>
                <a:cubicBezTo>
                  <a:pt x="929" y="197"/>
                  <a:pt x="929" y="197"/>
                  <a:pt x="929" y="197"/>
                </a:cubicBezTo>
                <a:cubicBezTo>
                  <a:pt x="925" y="195"/>
                  <a:pt x="922" y="194"/>
                  <a:pt x="919" y="191"/>
                </a:cubicBezTo>
                <a:cubicBezTo>
                  <a:pt x="916" y="189"/>
                  <a:pt x="916" y="187"/>
                  <a:pt x="916" y="183"/>
                </a:cubicBezTo>
                <a:cubicBezTo>
                  <a:pt x="916" y="175"/>
                  <a:pt x="922" y="169"/>
                  <a:pt x="931" y="169"/>
                </a:cubicBezTo>
                <a:cubicBezTo>
                  <a:pt x="936" y="169"/>
                  <a:pt x="940" y="171"/>
                  <a:pt x="942" y="172"/>
                </a:cubicBezTo>
                <a:cubicBezTo>
                  <a:pt x="944" y="174"/>
                  <a:pt x="946" y="177"/>
                  <a:pt x="947" y="179"/>
                </a:cubicBezTo>
                <a:cubicBezTo>
                  <a:pt x="948" y="181"/>
                  <a:pt x="948" y="181"/>
                  <a:pt x="948" y="181"/>
                </a:cubicBezTo>
                <a:cubicBezTo>
                  <a:pt x="959" y="173"/>
                  <a:pt x="959" y="173"/>
                  <a:pt x="959" y="173"/>
                </a:cubicBezTo>
                <a:cubicBezTo>
                  <a:pt x="958" y="172"/>
                  <a:pt x="958" y="172"/>
                  <a:pt x="958" y="172"/>
                </a:cubicBezTo>
                <a:cubicBezTo>
                  <a:pt x="956" y="167"/>
                  <a:pt x="952" y="163"/>
                  <a:pt x="948" y="161"/>
                </a:cubicBezTo>
                <a:cubicBezTo>
                  <a:pt x="943" y="157"/>
                  <a:pt x="938" y="156"/>
                  <a:pt x="931" y="156"/>
                </a:cubicBezTo>
                <a:cubicBezTo>
                  <a:pt x="914" y="156"/>
                  <a:pt x="902" y="167"/>
                  <a:pt x="902" y="183"/>
                </a:cubicBezTo>
                <a:cubicBezTo>
                  <a:pt x="902" y="190"/>
                  <a:pt x="904" y="195"/>
                  <a:pt x="909" y="200"/>
                </a:cubicBezTo>
                <a:cubicBezTo>
                  <a:pt x="913" y="205"/>
                  <a:pt x="918" y="207"/>
                  <a:pt x="922" y="209"/>
                </a:cubicBezTo>
                <a:cubicBezTo>
                  <a:pt x="932" y="213"/>
                  <a:pt x="932" y="213"/>
                  <a:pt x="932" y="213"/>
                </a:cubicBezTo>
                <a:cubicBezTo>
                  <a:pt x="937" y="215"/>
                  <a:pt x="941" y="217"/>
                  <a:pt x="944" y="220"/>
                </a:cubicBezTo>
                <a:cubicBezTo>
                  <a:pt x="947" y="223"/>
                  <a:pt x="948" y="226"/>
                  <a:pt x="948" y="231"/>
                </a:cubicBezTo>
                <a:cubicBezTo>
                  <a:pt x="948" y="240"/>
                  <a:pt x="942" y="249"/>
                  <a:pt x="929" y="249"/>
                </a:cubicBezTo>
                <a:cubicBezTo>
                  <a:pt x="924" y="249"/>
                  <a:pt x="919" y="247"/>
                  <a:pt x="916" y="244"/>
                </a:cubicBezTo>
                <a:cubicBezTo>
                  <a:pt x="913" y="241"/>
                  <a:pt x="911" y="236"/>
                  <a:pt x="910" y="232"/>
                </a:cubicBezTo>
                <a:cubicBezTo>
                  <a:pt x="910" y="230"/>
                  <a:pt x="910" y="230"/>
                  <a:pt x="910" y="230"/>
                </a:cubicBezTo>
                <a:cubicBezTo>
                  <a:pt x="896" y="234"/>
                  <a:pt x="896" y="234"/>
                  <a:pt x="896" y="234"/>
                </a:cubicBezTo>
                <a:cubicBezTo>
                  <a:pt x="897" y="235"/>
                  <a:pt x="897" y="235"/>
                  <a:pt x="897" y="235"/>
                </a:cubicBezTo>
                <a:cubicBezTo>
                  <a:pt x="898" y="243"/>
                  <a:pt x="902" y="249"/>
                  <a:pt x="906" y="254"/>
                </a:cubicBezTo>
                <a:cubicBezTo>
                  <a:pt x="912" y="260"/>
                  <a:pt x="920" y="262"/>
                  <a:pt x="929" y="262"/>
                </a:cubicBezTo>
                <a:cubicBezTo>
                  <a:pt x="948" y="262"/>
                  <a:pt x="962" y="249"/>
                  <a:pt x="962" y="230"/>
                </a:cubicBezTo>
                <a:cubicBezTo>
                  <a:pt x="962" y="222"/>
                  <a:pt x="960" y="216"/>
                  <a:pt x="955" y="211"/>
                </a:cubicBezTo>
                <a:close/>
                <a:moveTo>
                  <a:pt x="0" y="261"/>
                </a:moveTo>
                <a:cubicBezTo>
                  <a:pt x="15" y="261"/>
                  <a:pt x="15" y="261"/>
                  <a:pt x="15" y="261"/>
                </a:cubicBezTo>
                <a:cubicBezTo>
                  <a:pt x="48" y="184"/>
                  <a:pt x="48" y="184"/>
                  <a:pt x="48" y="184"/>
                </a:cubicBezTo>
                <a:cubicBezTo>
                  <a:pt x="79" y="260"/>
                  <a:pt x="79" y="260"/>
                  <a:pt x="79" y="260"/>
                </a:cubicBezTo>
                <a:cubicBezTo>
                  <a:pt x="80" y="261"/>
                  <a:pt x="80" y="261"/>
                  <a:pt x="80" y="261"/>
                </a:cubicBezTo>
                <a:cubicBezTo>
                  <a:pt x="95" y="261"/>
                  <a:pt x="95" y="261"/>
                  <a:pt x="95" y="261"/>
                </a:cubicBezTo>
                <a:cubicBezTo>
                  <a:pt x="48" y="151"/>
                  <a:pt x="48" y="151"/>
                  <a:pt x="48" y="151"/>
                </a:cubicBezTo>
                <a:lnTo>
                  <a:pt x="0" y="261"/>
                </a:lnTo>
                <a:close/>
                <a:moveTo>
                  <a:pt x="229" y="261"/>
                </a:moveTo>
                <a:cubicBezTo>
                  <a:pt x="244" y="261"/>
                  <a:pt x="244" y="261"/>
                  <a:pt x="244" y="261"/>
                </a:cubicBezTo>
                <a:cubicBezTo>
                  <a:pt x="277" y="184"/>
                  <a:pt x="277" y="184"/>
                  <a:pt x="277" y="184"/>
                </a:cubicBezTo>
                <a:cubicBezTo>
                  <a:pt x="309" y="260"/>
                  <a:pt x="309" y="260"/>
                  <a:pt x="309" y="260"/>
                </a:cubicBezTo>
                <a:cubicBezTo>
                  <a:pt x="309" y="261"/>
                  <a:pt x="309" y="261"/>
                  <a:pt x="309" y="261"/>
                </a:cubicBezTo>
                <a:cubicBezTo>
                  <a:pt x="324" y="261"/>
                  <a:pt x="324" y="261"/>
                  <a:pt x="324" y="261"/>
                </a:cubicBezTo>
                <a:cubicBezTo>
                  <a:pt x="277" y="151"/>
                  <a:pt x="277" y="151"/>
                  <a:pt x="277" y="151"/>
                </a:cubicBezTo>
                <a:lnTo>
                  <a:pt x="229" y="261"/>
                </a:lnTo>
                <a:close/>
                <a:moveTo>
                  <a:pt x="1071" y="11"/>
                </a:moveTo>
                <a:cubicBezTo>
                  <a:pt x="1071" y="18"/>
                  <a:pt x="1071" y="18"/>
                  <a:pt x="1071" y="18"/>
                </a:cubicBezTo>
                <a:cubicBezTo>
                  <a:pt x="1075" y="18"/>
                  <a:pt x="1075" y="18"/>
                  <a:pt x="1075" y="18"/>
                </a:cubicBezTo>
                <a:cubicBezTo>
                  <a:pt x="1077" y="9"/>
                  <a:pt x="1077" y="9"/>
                  <a:pt x="1077" y="9"/>
                </a:cubicBezTo>
                <a:cubicBezTo>
                  <a:pt x="1076" y="8"/>
                  <a:pt x="1074" y="7"/>
                  <a:pt x="1072" y="6"/>
                </a:cubicBezTo>
                <a:cubicBezTo>
                  <a:pt x="1070" y="6"/>
                  <a:pt x="1067" y="6"/>
                  <a:pt x="1064" y="6"/>
                </a:cubicBezTo>
                <a:cubicBezTo>
                  <a:pt x="1061" y="6"/>
                  <a:pt x="1058" y="6"/>
                  <a:pt x="1056" y="7"/>
                </a:cubicBezTo>
                <a:cubicBezTo>
                  <a:pt x="1053" y="9"/>
                  <a:pt x="1051" y="10"/>
                  <a:pt x="1049" y="12"/>
                </a:cubicBezTo>
                <a:cubicBezTo>
                  <a:pt x="1048" y="14"/>
                  <a:pt x="1047" y="17"/>
                  <a:pt x="1047" y="20"/>
                </a:cubicBezTo>
                <a:cubicBezTo>
                  <a:pt x="1047" y="22"/>
                  <a:pt x="1048" y="24"/>
                  <a:pt x="1049" y="26"/>
                </a:cubicBezTo>
                <a:cubicBezTo>
                  <a:pt x="1050" y="28"/>
                  <a:pt x="1051" y="30"/>
                  <a:pt x="1053" y="31"/>
                </a:cubicBezTo>
                <a:cubicBezTo>
                  <a:pt x="1055" y="32"/>
                  <a:pt x="1057" y="34"/>
                  <a:pt x="1059" y="35"/>
                </a:cubicBezTo>
                <a:cubicBezTo>
                  <a:pt x="1062" y="37"/>
                  <a:pt x="1064" y="39"/>
                  <a:pt x="1066" y="40"/>
                </a:cubicBezTo>
                <a:cubicBezTo>
                  <a:pt x="1067" y="42"/>
                  <a:pt x="1068" y="44"/>
                  <a:pt x="1068" y="47"/>
                </a:cubicBezTo>
                <a:cubicBezTo>
                  <a:pt x="1068" y="49"/>
                  <a:pt x="1067" y="52"/>
                  <a:pt x="1065" y="53"/>
                </a:cubicBezTo>
                <a:cubicBezTo>
                  <a:pt x="1062" y="55"/>
                  <a:pt x="1060" y="56"/>
                  <a:pt x="1057" y="56"/>
                </a:cubicBezTo>
                <a:cubicBezTo>
                  <a:pt x="1055" y="56"/>
                  <a:pt x="1053" y="56"/>
                  <a:pt x="1052" y="55"/>
                </a:cubicBezTo>
                <a:cubicBezTo>
                  <a:pt x="1050" y="55"/>
                  <a:pt x="1049" y="54"/>
                  <a:pt x="1048" y="54"/>
                </a:cubicBezTo>
                <a:cubicBezTo>
                  <a:pt x="1048" y="46"/>
                  <a:pt x="1048" y="46"/>
                  <a:pt x="1048" y="46"/>
                </a:cubicBezTo>
                <a:cubicBezTo>
                  <a:pt x="1044" y="46"/>
                  <a:pt x="1044" y="46"/>
                  <a:pt x="1044" y="46"/>
                </a:cubicBezTo>
                <a:cubicBezTo>
                  <a:pt x="1042" y="56"/>
                  <a:pt x="1042" y="56"/>
                  <a:pt x="1042" y="56"/>
                </a:cubicBezTo>
                <a:cubicBezTo>
                  <a:pt x="1043" y="57"/>
                  <a:pt x="1045" y="58"/>
                  <a:pt x="1048" y="58"/>
                </a:cubicBezTo>
                <a:cubicBezTo>
                  <a:pt x="1051" y="59"/>
                  <a:pt x="1054" y="59"/>
                  <a:pt x="1057" y="59"/>
                </a:cubicBezTo>
                <a:cubicBezTo>
                  <a:pt x="1060" y="59"/>
                  <a:pt x="1063" y="59"/>
                  <a:pt x="1066" y="57"/>
                </a:cubicBezTo>
                <a:cubicBezTo>
                  <a:pt x="1069" y="56"/>
                  <a:pt x="1071" y="54"/>
                  <a:pt x="1073" y="52"/>
                </a:cubicBezTo>
                <a:cubicBezTo>
                  <a:pt x="1074" y="50"/>
                  <a:pt x="1075" y="47"/>
                  <a:pt x="1075" y="44"/>
                </a:cubicBezTo>
                <a:cubicBezTo>
                  <a:pt x="1075" y="42"/>
                  <a:pt x="1074" y="40"/>
                  <a:pt x="1073" y="38"/>
                </a:cubicBezTo>
                <a:cubicBezTo>
                  <a:pt x="1072" y="36"/>
                  <a:pt x="1071" y="35"/>
                  <a:pt x="1069" y="34"/>
                </a:cubicBezTo>
                <a:cubicBezTo>
                  <a:pt x="1068" y="32"/>
                  <a:pt x="1066" y="31"/>
                  <a:pt x="1064" y="29"/>
                </a:cubicBezTo>
                <a:cubicBezTo>
                  <a:pt x="1060" y="27"/>
                  <a:pt x="1058" y="25"/>
                  <a:pt x="1056" y="24"/>
                </a:cubicBezTo>
                <a:cubicBezTo>
                  <a:pt x="1055" y="22"/>
                  <a:pt x="1054" y="20"/>
                  <a:pt x="1054" y="17"/>
                </a:cubicBezTo>
                <a:cubicBezTo>
                  <a:pt x="1054" y="15"/>
                  <a:pt x="1055" y="13"/>
                  <a:pt x="1057" y="11"/>
                </a:cubicBezTo>
                <a:cubicBezTo>
                  <a:pt x="1059" y="10"/>
                  <a:pt x="1061" y="9"/>
                  <a:pt x="1064" y="9"/>
                </a:cubicBezTo>
                <a:cubicBezTo>
                  <a:pt x="1065" y="9"/>
                  <a:pt x="1067" y="9"/>
                  <a:pt x="1068" y="10"/>
                </a:cubicBezTo>
                <a:cubicBezTo>
                  <a:pt x="1069" y="10"/>
                  <a:pt x="1070" y="10"/>
                  <a:pt x="1071" y="11"/>
                </a:cubicBezTo>
                <a:close/>
                <a:moveTo>
                  <a:pt x="1107" y="27"/>
                </a:moveTo>
                <a:cubicBezTo>
                  <a:pt x="1108" y="27"/>
                  <a:pt x="1108" y="27"/>
                  <a:pt x="1108" y="27"/>
                </a:cubicBezTo>
                <a:cubicBezTo>
                  <a:pt x="1110" y="20"/>
                  <a:pt x="1110" y="20"/>
                  <a:pt x="1110" y="20"/>
                </a:cubicBezTo>
                <a:cubicBezTo>
                  <a:pt x="1109" y="20"/>
                  <a:pt x="1108" y="19"/>
                  <a:pt x="1107" y="19"/>
                </a:cubicBezTo>
                <a:cubicBezTo>
                  <a:pt x="1105" y="19"/>
                  <a:pt x="1104" y="19"/>
                  <a:pt x="1102" y="19"/>
                </a:cubicBezTo>
                <a:cubicBezTo>
                  <a:pt x="1098" y="19"/>
                  <a:pt x="1094" y="20"/>
                  <a:pt x="1091" y="22"/>
                </a:cubicBezTo>
                <a:cubicBezTo>
                  <a:pt x="1088" y="25"/>
                  <a:pt x="1086" y="28"/>
                  <a:pt x="1084" y="32"/>
                </a:cubicBezTo>
                <a:cubicBezTo>
                  <a:pt x="1083" y="36"/>
                  <a:pt x="1082" y="40"/>
                  <a:pt x="1082" y="43"/>
                </a:cubicBezTo>
                <a:cubicBezTo>
                  <a:pt x="1082" y="48"/>
                  <a:pt x="1083" y="52"/>
                  <a:pt x="1085" y="55"/>
                </a:cubicBezTo>
                <a:cubicBezTo>
                  <a:pt x="1087" y="58"/>
                  <a:pt x="1091" y="59"/>
                  <a:pt x="1094" y="59"/>
                </a:cubicBezTo>
                <a:cubicBezTo>
                  <a:pt x="1098" y="59"/>
                  <a:pt x="1100" y="59"/>
                  <a:pt x="1102" y="57"/>
                </a:cubicBezTo>
                <a:cubicBezTo>
                  <a:pt x="1105" y="56"/>
                  <a:pt x="1106" y="54"/>
                  <a:pt x="1108" y="53"/>
                </a:cubicBezTo>
                <a:cubicBezTo>
                  <a:pt x="1106" y="50"/>
                  <a:pt x="1106" y="50"/>
                  <a:pt x="1106" y="50"/>
                </a:cubicBezTo>
                <a:cubicBezTo>
                  <a:pt x="1105" y="52"/>
                  <a:pt x="1103" y="53"/>
                  <a:pt x="1102" y="54"/>
                </a:cubicBezTo>
                <a:cubicBezTo>
                  <a:pt x="1100" y="54"/>
                  <a:pt x="1099" y="55"/>
                  <a:pt x="1097" y="55"/>
                </a:cubicBezTo>
                <a:cubicBezTo>
                  <a:pt x="1094" y="55"/>
                  <a:pt x="1092" y="54"/>
                  <a:pt x="1091" y="52"/>
                </a:cubicBezTo>
                <a:cubicBezTo>
                  <a:pt x="1090" y="50"/>
                  <a:pt x="1089" y="47"/>
                  <a:pt x="1089" y="43"/>
                </a:cubicBezTo>
                <a:cubicBezTo>
                  <a:pt x="1089" y="39"/>
                  <a:pt x="1090" y="35"/>
                  <a:pt x="1091" y="32"/>
                </a:cubicBezTo>
                <a:cubicBezTo>
                  <a:pt x="1092" y="30"/>
                  <a:pt x="1093" y="27"/>
                  <a:pt x="1095" y="26"/>
                </a:cubicBezTo>
                <a:cubicBezTo>
                  <a:pt x="1097" y="24"/>
                  <a:pt x="1099" y="23"/>
                  <a:pt x="1101" y="23"/>
                </a:cubicBezTo>
                <a:cubicBezTo>
                  <a:pt x="1102" y="23"/>
                  <a:pt x="1105" y="24"/>
                  <a:pt x="1107" y="27"/>
                </a:cubicBezTo>
                <a:close/>
                <a:moveTo>
                  <a:pt x="1124" y="52"/>
                </a:moveTo>
                <a:cubicBezTo>
                  <a:pt x="1129" y="19"/>
                  <a:pt x="1129" y="19"/>
                  <a:pt x="1129" y="19"/>
                </a:cubicBezTo>
                <a:cubicBezTo>
                  <a:pt x="1128" y="19"/>
                  <a:pt x="1128" y="19"/>
                  <a:pt x="1128" y="19"/>
                </a:cubicBezTo>
                <a:cubicBezTo>
                  <a:pt x="1118" y="20"/>
                  <a:pt x="1118" y="20"/>
                  <a:pt x="1118" y="20"/>
                </a:cubicBezTo>
                <a:cubicBezTo>
                  <a:pt x="1117" y="23"/>
                  <a:pt x="1117" y="23"/>
                  <a:pt x="1117" y="23"/>
                </a:cubicBezTo>
                <a:cubicBezTo>
                  <a:pt x="1122" y="24"/>
                  <a:pt x="1122" y="24"/>
                  <a:pt x="1122" y="24"/>
                </a:cubicBezTo>
                <a:cubicBezTo>
                  <a:pt x="1121" y="31"/>
                  <a:pt x="1120" y="37"/>
                  <a:pt x="1119" y="41"/>
                </a:cubicBezTo>
                <a:cubicBezTo>
                  <a:pt x="1118" y="49"/>
                  <a:pt x="1117" y="54"/>
                  <a:pt x="1117" y="55"/>
                </a:cubicBezTo>
                <a:cubicBezTo>
                  <a:pt x="1117" y="56"/>
                  <a:pt x="1118" y="57"/>
                  <a:pt x="1118" y="58"/>
                </a:cubicBezTo>
                <a:cubicBezTo>
                  <a:pt x="1119" y="59"/>
                  <a:pt x="1120" y="59"/>
                  <a:pt x="1122" y="59"/>
                </a:cubicBezTo>
                <a:cubicBezTo>
                  <a:pt x="1124" y="59"/>
                  <a:pt x="1125" y="59"/>
                  <a:pt x="1127" y="58"/>
                </a:cubicBezTo>
                <a:cubicBezTo>
                  <a:pt x="1128" y="57"/>
                  <a:pt x="1129" y="55"/>
                  <a:pt x="1130" y="54"/>
                </a:cubicBezTo>
                <a:cubicBezTo>
                  <a:pt x="1129" y="53"/>
                  <a:pt x="1129" y="53"/>
                  <a:pt x="1129" y="53"/>
                </a:cubicBezTo>
                <a:cubicBezTo>
                  <a:pt x="1128" y="54"/>
                  <a:pt x="1128" y="54"/>
                  <a:pt x="1127" y="54"/>
                </a:cubicBezTo>
                <a:cubicBezTo>
                  <a:pt x="1126" y="55"/>
                  <a:pt x="1126" y="55"/>
                  <a:pt x="1125" y="55"/>
                </a:cubicBezTo>
                <a:cubicBezTo>
                  <a:pt x="1125" y="55"/>
                  <a:pt x="1125" y="55"/>
                  <a:pt x="1125" y="54"/>
                </a:cubicBezTo>
                <a:cubicBezTo>
                  <a:pt x="1124" y="54"/>
                  <a:pt x="1124" y="54"/>
                  <a:pt x="1124" y="53"/>
                </a:cubicBezTo>
                <a:lnTo>
                  <a:pt x="1124" y="52"/>
                </a:lnTo>
                <a:close/>
                <a:moveTo>
                  <a:pt x="1127" y="11"/>
                </a:moveTo>
                <a:cubicBezTo>
                  <a:pt x="1128" y="11"/>
                  <a:pt x="1129" y="11"/>
                  <a:pt x="1130" y="10"/>
                </a:cubicBezTo>
                <a:cubicBezTo>
                  <a:pt x="1131" y="9"/>
                  <a:pt x="1131" y="7"/>
                  <a:pt x="1131" y="6"/>
                </a:cubicBezTo>
                <a:cubicBezTo>
                  <a:pt x="1131" y="5"/>
                  <a:pt x="1131" y="4"/>
                  <a:pt x="1130" y="3"/>
                </a:cubicBezTo>
                <a:cubicBezTo>
                  <a:pt x="1130" y="3"/>
                  <a:pt x="1129" y="2"/>
                  <a:pt x="1128" y="2"/>
                </a:cubicBezTo>
                <a:cubicBezTo>
                  <a:pt x="1126" y="2"/>
                  <a:pt x="1125" y="3"/>
                  <a:pt x="1124" y="4"/>
                </a:cubicBezTo>
                <a:cubicBezTo>
                  <a:pt x="1123" y="5"/>
                  <a:pt x="1123" y="6"/>
                  <a:pt x="1123" y="7"/>
                </a:cubicBezTo>
                <a:cubicBezTo>
                  <a:pt x="1123" y="8"/>
                  <a:pt x="1123" y="9"/>
                  <a:pt x="1124" y="10"/>
                </a:cubicBezTo>
                <a:cubicBezTo>
                  <a:pt x="1125" y="11"/>
                  <a:pt x="1126" y="11"/>
                  <a:pt x="1127" y="11"/>
                </a:cubicBezTo>
                <a:close/>
                <a:moveTo>
                  <a:pt x="1166" y="52"/>
                </a:moveTo>
                <a:cubicBezTo>
                  <a:pt x="1165" y="49"/>
                  <a:pt x="1165" y="49"/>
                  <a:pt x="1165" y="49"/>
                </a:cubicBezTo>
                <a:cubicBezTo>
                  <a:pt x="1163" y="51"/>
                  <a:pt x="1161" y="52"/>
                  <a:pt x="1159" y="53"/>
                </a:cubicBezTo>
                <a:cubicBezTo>
                  <a:pt x="1157" y="54"/>
                  <a:pt x="1155" y="55"/>
                  <a:pt x="1153" y="55"/>
                </a:cubicBezTo>
                <a:cubicBezTo>
                  <a:pt x="1150" y="55"/>
                  <a:pt x="1148" y="54"/>
                  <a:pt x="1147" y="51"/>
                </a:cubicBezTo>
                <a:cubicBezTo>
                  <a:pt x="1145" y="49"/>
                  <a:pt x="1145" y="46"/>
                  <a:pt x="1145" y="43"/>
                </a:cubicBezTo>
                <a:cubicBezTo>
                  <a:pt x="1148" y="43"/>
                  <a:pt x="1151" y="42"/>
                  <a:pt x="1155" y="41"/>
                </a:cubicBezTo>
                <a:cubicBezTo>
                  <a:pt x="1158" y="40"/>
                  <a:pt x="1162" y="38"/>
                  <a:pt x="1164" y="36"/>
                </a:cubicBezTo>
                <a:cubicBezTo>
                  <a:pt x="1167" y="33"/>
                  <a:pt x="1168" y="31"/>
                  <a:pt x="1168" y="27"/>
                </a:cubicBezTo>
                <a:cubicBezTo>
                  <a:pt x="1168" y="25"/>
                  <a:pt x="1167" y="23"/>
                  <a:pt x="1166" y="21"/>
                </a:cubicBezTo>
                <a:cubicBezTo>
                  <a:pt x="1164" y="19"/>
                  <a:pt x="1162" y="19"/>
                  <a:pt x="1158" y="19"/>
                </a:cubicBezTo>
                <a:cubicBezTo>
                  <a:pt x="1154" y="19"/>
                  <a:pt x="1151" y="20"/>
                  <a:pt x="1148" y="22"/>
                </a:cubicBezTo>
                <a:cubicBezTo>
                  <a:pt x="1145" y="24"/>
                  <a:pt x="1142" y="28"/>
                  <a:pt x="1140" y="31"/>
                </a:cubicBezTo>
                <a:cubicBezTo>
                  <a:pt x="1138" y="35"/>
                  <a:pt x="1138" y="40"/>
                  <a:pt x="1138" y="44"/>
                </a:cubicBezTo>
                <a:cubicBezTo>
                  <a:pt x="1138" y="47"/>
                  <a:pt x="1138" y="49"/>
                  <a:pt x="1139" y="52"/>
                </a:cubicBezTo>
                <a:cubicBezTo>
                  <a:pt x="1140" y="54"/>
                  <a:pt x="1142" y="56"/>
                  <a:pt x="1144" y="57"/>
                </a:cubicBezTo>
                <a:cubicBezTo>
                  <a:pt x="1146" y="59"/>
                  <a:pt x="1148" y="59"/>
                  <a:pt x="1151" y="59"/>
                </a:cubicBezTo>
                <a:cubicBezTo>
                  <a:pt x="1155" y="59"/>
                  <a:pt x="1158" y="58"/>
                  <a:pt x="1160" y="57"/>
                </a:cubicBezTo>
                <a:cubicBezTo>
                  <a:pt x="1163" y="55"/>
                  <a:pt x="1165" y="54"/>
                  <a:pt x="1166" y="52"/>
                </a:cubicBezTo>
                <a:close/>
                <a:moveTo>
                  <a:pt x="1157" y="22"/>
                </a:moveTo>
                <a:cubicBezTo>
                  <a:pt x="1158" y="22"/>
                  <a:pt x="1159" y="23"/>
                  <a:pt x="1160" y="24"/>
                </a:cubicBezTo>
                <a:cubicBezTo>
                  <a:pt x="1161" y="25"/>
                  <a:pt x="1161" y="26"/>
                  <a:pt x="1161" y="28"/>
                </a:cubicBezTo>
                <a:cubicBezTo>
                  <a:pt x="1161" y="30"/>
                  <a:pt x="1161" y="32"/>
                  <a:pt x="1159" y="34"/>
                </a:cubicBezTo>
                <a:cubicBezTo>
                  <a:pt x="1157" y="35"/>
                  <a:pt x="1155" y="37"/>
                  <a:pt x="1152" y="38"/>
                </a:cubicBezTo>
                <a:cubicBezTo>
                  <a:pt x="1150" y="39"/>
                  <a:pt x="1147" y="39"/>
                  <a:pt x="1145" y="39"/>
                </a:cubicBezTo>
                <a:cubicBezTo>
                  <a:pt x="1145" y="37"/>
                  <a:pt x="1146" y="34"/>
                  <a:pt x="1147" y="32"/>
                </a:cubicBezTo>
                <a:cubicBezTo>
                  <a:pt x="1148" y="29"/>
                  <a:pt x="1149" y="27"/>
                  <a:pt x="1151" y="25"/>
                </a:cubicBezTo>
                <a:cubicBezTo>
                  <a:pt x="1152" y="23"/>
                  <a:pt x="1154" y="22"/>
                  <a:pt x="1157" y="22"/>
                </a:cubicBezTo>
                <a:close/>
                <a:moveTo>
                  <a:pt x="1187" y="28"/>
                </a:moveTo>
                <a:cubicBezTo>
                  <a:pt x="1188" y="19"/>
                  <a:pt x="1188" y="19"/>
                  <a:pt x="1188" y="19"/>
                </a:cubicBezTo>
                <a:cubicBezTo>
                  <a:pt x="1186" y="19"/>
                  <a:pt x="1186" y="19"/>
                  <a:pt x="1186" y="19"/>
                </a:cubicBezTo>
                <a:cubicBezTo>
                  <a:pt x="1178" y="20"/>
                  <a:pt x="1178" y="20"/>
                  <a:pt x="1178" y="20"/>
                </a:cubicBezTo>
                <a:cubicBezTo>
                  <a:pt x="1177" y="23"/>
                  <a:pt x="1177" y="23"/>
                  <a:pt x="1177" y="23"/>
                </a:cubicBezTo>
                <a:cubicBezTo>
                  <a:pt x="1180" y="25"/>
                  <a:pt x="1180" y="25"/>
                  <a:pt x="1180" y="25"/>
                </a:cubicBezTo>
                <a:cubicBezTo>
                  <a:pt x="1176" y="58"/>
                  <a:pt x="1176" y="58"/>
                  <a:pt x="1176" y="58"/>
                </a:cubicBezTo>
                <a:cubicBezTo>
                  <a:pt x="1183" y="58"/>
                  <a:pt x="1183" y="58"/>
                  <a:pt x="1183" y="58"/>
                </a:cubicBezTo>
                <a:cubicBezTo>
                  <a:pt x="1186" y="33"/>
                  <a:pt x="1186" y="33"/>
                  <a:pt x="1186" y="33"/>
                </a:cubicBezTo>
                <a:cubicBezTo>
                  <a:pt x="1188" y="31"/>
                  <a:pt x="1190" y="28"/>
                  <a:pt x="1192" y="26"/>
                </a:cubicBezTo>
                <a:cubicBezTo>
                  <a:pt x="1194" y="25"/>
                  <a:pt x="1196" y="24"/>
                  <a:pt x="1198" y="24"/>
                </a:cubicBezTo>
                <a:cubicBezTo>
                  <a:pt x="1200" y="24"/>
                  <a:pt x="1201" y="24"/>
                  <a:pt x="1202" y="25"/>
                </a:cubicBezTo>
                <a:cubicBezTo>
                  <a:pt x="1202" y="26"/>
                  <a:pt x="1203" y="27"/>
                  <a:pt x="1203" y="29"/>
                </a:cubicBezTo>
                <a:cubicBezTo>
                  <a:pt x="1203" y="31"/>
                  <a:pt x="1202" y="33"/>
                  <a:pt x="1202" y="35"/>
                </a:cubicBezTo>
                <a:cubicBezTo>
                  <a:pt x="1202" y="37"/>
                  <a:pt x="1201" y="39"/>
                  <a:pt x="1201" y="41"/>
                </a:cubicBezTo>
                <a:cubicBezTo>
                  <a:pt x="1201" y="43"/>
                  <a:pt x="1201" y="43"/>
                  <a:pt x="1201" y="43"/>
                </a:cubicBezTo>
                <a:cubicBezTo>
                  <a:pt x="1200" y="46"/>
                  <a:pt x="1200" y="46"/>
                  <a:pt x="1200" y="46"/>
                </a:cubicBezTo>
                <a:cubicBezTo>
                  <a:pt x="1199" y="51"/>
                  <a:pt x="1199" y="54"/>
                  <a:pt x="1199" y="55"/>
                </a:cubicBezTo>
                <a:cubicBezTo>
                  <a:pt x="1199" y="58"/>
                  <a:pt x="1200" y="59"/>
                  <a:pt x="1203" y="59"/>
                </a:cubicBezTo>
                <a:cubicBezTo>
                  <a:pt x="1205" y="59"/>
                  <a:pt x="1206" y="59"/>
                  <a:pt x="1207" y="58"/>
                </a:cubicBezTo>
                <a:cubicBezTo>
                  <a:pt x="1208" y="58"/>
                  <a:pt x="1209" y="57"/>
                  <a:pt x="1210" y="57"/>
                </a:cubicBezTo>
                <a:cubicBezTo>
                  <a:pt x="1210" y="56"/>
                  <a:pt x="1211" y="55"/>
                  <a:pt x="1211" y="55"/>
                </a:cubicBezTo>
                <a:cubicBezTo>
                  <a:pt x="1210" y="53"/>
                  <a:pt x="1210" y="53"/>
                  <a:pt x="1210" y="53"/>
                </a:cubicBezTo>
                <a:cubicBezTo>
                  <a:pt x="1209" y="54"/>
                  <a:pt x="1208" y="55"/>
                  <a:pt x="1207" y="55"/>
                </a:cubicBezTo>
                <a:cubicBezTo>
                  <a:pt x="1206" y="55"/>
                  <a:pt x="1206" y="54"/>
                  <a:pt x="1206" y="53"/>
                </a:cubicBezTo>
                <a:cubicBezTo>
                  <a:pt x="1206" y="51"/>
                  <a:pt x="1206" y="48"/>
                  <a:pt x="1207" y="45"/>
                </a:cubicBezTo>
                <a:cubicBezTo>
                  <a:pt x="1208" y="41"/>
                  <a:pt x="1208" y="41"/>
                  <a:pt x="1208" y="41"/>
                </a:cubicBezTo>
                <a:cubicBezTo>
                  <a:pt x="1208" y="40"/>
                  <a:pt x="1208" y="40"/>
                  <a:pt x="1208" y="40"/>
                </a:cubicBezTo>
                <a:cubicBezTo>
                  <a:pt x="1209" y="34"/>
                  <a:pt x="1210" y="31"/>
                  <a:pt x="1210" y="29"/>
                </a:cubicBezTo>
                <a:cubicBezTo>
                  <a:pt x="1210" y="25"/>
                  <a:pt x="1209" y="23"/>
                  <a:pt x="1207" y="21"/>
                </a:cubicBezTo>
                <a:cubicBezTo>
                  <a:pt x="1206" y="19"/>
                  <a:pt x="1204" y="19"/>
                  <a:pt x="1201" y="19"/>
                </a:cubicBezTo>
                <a:cubicBezTo>
                  <a:pt x="1199" y="19"/>
                  <a:pt x="1196" y="19"/>
                  <a:pt x="1193" y="21"/>
                </a:cubicBezTo>
                <a:cubicBezTo>
                  <a:pt x="1191" y="23"/>
                  <a:pt x="1189" y="25"/>
                  <a:pt x="1187" y="28"/>
                </a:cubicBezTo>
                <a:close/>
                <a:moveTo>
                  <a:pt x="1243" y="27"/>
                </a:moveTo>
                <a:cubicBezTo>
                  <a:pt x="1245" y="27"/>
                  <a:pt x="1245" y="27"/>
                  <a:pt x="1245" y="27"/>
                </a:cubicBezTo>
                <a:cubicBezTo>
                  <a:pt x="1247" y="20"/>
                  <a:pt x="1247" y="20"/>
                  <a:pt x="1247" y="20"/>
                </a:cubicBezTo>
                <a:cubicBezTo>
                  <a:pt x="1246" y="20"/>
                  <a:pt x="1244" y="19"/>
                  <a:pt x="1243" y="19"/>
                </a:cubicBezTo>
                <a:cubicBezTo>
                  <a:pt x="1241" y="19"/>
                  <a:pt x="1240" y="19"/>
                  <a:pt x="1239" y="19"/>
                </a:cubicBezTo>
                <a:cubicBezTo>
                  <a:pt x="1234" y="19"/>
                  <a:pt x="1231" y="20"/>
                  <a:pt x="1228" y="22"/>
                </a:cubicBezTo>
                <a:cubicBezTo>
                  <a:pt x="1224" y="25"/>
                  <a:pt x="1222" y="28"/>
                  <a:pt x="1220" y="32"/>
                </a:cubicBezTo>
                <a:cubicBezTo>
                  <a:pt x="1219" y="36"/>
                  <a:pt x="1218" y="40"/>
                  <a:pt x="1218" y="43"/>
                </a:cubicBezTo>
                <a:cubicBezTo>
                  <a:pt x="1218" y="48"/>
                  <a:pt x="1219" y="52"/>
                  <a:pt x="1221" y="55"/>
                </a:cubicBezTo>
                <a:cubicBezTo>
                  <a:pt x="1224" y="58"/>
                  <a:pt x="1227" y="59"/>
                  <a:pt x="1231" y="59"/>
                </a:cubicBezTo>
                <a:cubicBezTo>
                  <a:pt x="1234" y="59"/>
                  <a:pt x="1236" y="59"/>
                  <a:pt x="1239" y="57"/>
                </a:cubicBezTo>
                <a:cubicBezTo>
                  <a:pt x="1241" y="56"/>
                  <a:pt x="1243" y="54"/>
                  <a:pt x="1244" y="53"/>
                </a:cubicBezTo>
                <a:cubicBezTo>
                  <a:pt x="1242" y="50"/>
                  <a:pt x="1242" y="50"/>
                  <a:pt x="1242" y="50"/>
                </a:cubicBezTo>
                <a:cubicBezTo>
                  <a:pt x="1241" y="52"/>
                  <a:pt x="1239" y="53"/>
                  <a:pt x="1238" y="54"/>
                </a:cubicBezTo>
                <a:cubicBezTo>
                  <a:pt x="1236" y="54"/>
                  <a:pt x="1235" y="55"/>
                  <a:pt x="1233" y="55"/>
                </a:cubicBezTo>
                <a:cubicBezTo>
                  <a:pt x="1230" y="55"/>
                  <a:pt x="1228" y="54"/>
                  <a:pt x="1227" y="52"/>
                </a:cubicBezTo>
                <a:cubicBezTo>
                  <a:pt x="1226" y="50"/>
                  <a:pt x="1225" y="47"/>
                  <a:pt x="1225" y="43"/>
                </a:cubicBezTo>
                <a:cubicBezTo>
                  <a:pt x="1225" y="39"/>
                  <a:pt x="1226" y="35"/>
                  <a:pt x="1227" y="32"/>
                </a:cubicBezTo>
                <a:cubicBezTo>
                  <a:pt x="1228" y="30"/>
                  <a:pt x="1229" y="27"/>
                  <a:pt x="1231" y="26"/>
                </a:cubicBezTo>
                <a:cubicBezTo>
                  <a:pt x="1233" y="24"/>
                  <a:pt x="1235" y="23"/>
                  <a:pt x="1237" y="23"/>
                </a:cubicBezTo>
                <a:cubicBezTo>
                  <a:pt x="1239" y="23"/>
                  <a:pt x="1241" y="24"/>
                  <a:pt x="1243" y="27"/>
                </a:cubicBezTo>
                <a:close/>
                <a:moveTo>
                  <a:pt x="1279" y="52"/>
                </a:moveTo>
                <a:cubicBezTo>
                  <a:pt x="1277" y="49"/>
                  <a:pt x="1277" y="49"/>
                  <a:pt x="1277" y="49"/>
                </a:cubicBezTo>
                <a:cubicBezTo>
                  <a:pt x="1276" y="51"/>
                  <a:pt x="1274" y="52"/>
                  <a:pt x="1272" y="53"/>
                </a:cubicBezTo>
                <a:cubicBezTo>
                  <a:pt x="1270" y="54"/>
                  <a:pt x="1268" y="55"/>
                  <a:pt x="1266" y="55"/>
                </a:cubicBezTo>
                <a:cubicBezTo>
                  <a:pt x="1263" y="55"/>
                  <a:pt x="1261" y="54"/>
                  <a:pt x="1259" y="51"/>
                </a:cubicBezTo>
                <a:cubicBezTo>
                  <a:pt x="1258" y="49"/>
                  <a:pt x="1257" y="46"/>
                  <a:pt x="1258" y="43"/>
                </a:cubicBezTo>
                <a:cubicBezTo>
                  <a:pt x="1260" y="43"/>
                  <a:pt x="1264" y="42"/>
                  <a:pt x="1267" y="41"/>
                </a:cubicBezTo>
                <a:cubicBezTo>
                  <a:pt x="1271" y="40"/>
                  <a:pt x="1274" y="38"/>
                  <a:pt x="1277" y="36"/>
                </a:cubicBezTo>
                <a:cubicBezTo>
                  <a:pt x="1280" y="33"/>
                  <a:pt x="1281" y="31"/>
                  <a:pt x="1281" y="27"/>
                </a:cubicBezTo>
                <a:cubicBezTo>
                  <a:pt x="1281" y="25"/>
                  <a:pt x="1280" y="23"/>
                  <a:pt x="1278" y="21"/>
                </a:cubicBezTo>
                <a:cubicBezTo>
                  <a:pt x="1277" y="19"/>
                  <a:pt x="1274" y="19"/>
                  <a:pt x="1271" y="19"/>
                </a:cubicBezTo>
                <a:cubicBezTo>
                  <a:pt x="1267" y="19"/>
                  <a:pt x="1264" y="20"/>
                  <a:pt x="1260" y="22"/>
                </a:cubicBezTo>
                <a:cubicBezTo>
                  <a:pt x="1257" y="24"/>
                  <a:pt x="1255" y="28"/>
                  <a:pt x="1253" y="31"/>
                </a:cubicBezTo>
                <a:cubicBezTo>
                  <a:pt x="1251" y="35"/>
                  <a:pt x="1250" y="40"/>
                  <a:pt x="1250" y="44"/>
                </a:cubicBezTo>
                <a:cubicBezTo>
                  <a:pt x="1250" y="47"/>
                  <a:pt x="1251" y="49"/>
                  <a:pt x="1252" y="52"/>
                </a:cubicBezTo>
                <a:cubicBezTo>
                  <a:pt x="1253" y="54"/>
                  <a:pt x="1254" y="56"/>
                  <a:pt x="1256" y="57"/>
                </a:cubicBezTo>
                <a:cubicBezTo>
                  <a:pt x="1258" y="59"/>
                  <a:pt x="1261" y="59"/>
                  <a:pt x="1264" y="59"/>
                </a:cubicBezTo>
                <a:cubicBezTo>
                  <a:pt x="1267" y="59"/>
                  <a:pt x="1270" y="58"/>
                  <a:pt x="1273" y="57"/>
                </a:cubicBezTo>
                <a:cubicBezTo>
                  <a:pt x="1276" y="55"/>
                  <a:pt x="1278" y="54"/>
                  <a:pt x="1279" y="52"/>
                </a:cubicBezTo>
                <a:close/>
                <a:moveTo>
                  <a:pt x="1269" y="22"/>
                </a:moveTo>
                <a:cubicBezTo>
                  <a:pt x="1271" y="22"/>
                  <a:pt x="1272" y="23"/>
                  <a:pt x="1273" y="24"/>
                </a:cubicBezTo>
                <a:cubicBezTo>
                  <a:pt x="1274" y="25"/>
                  <a:pt x="1274" y="26"/>
                  <a:pt x="1274" y="28"/>
                </a:cubicBezTo>
                <a:cubicBezTo>
                  <a:pt x="1274" y="30"/>
                  <a:pt x="1273" y="32"/>
                  <a:pt x="1272" y="34"/>
                </a:cubicBezTo>
                <a:cubicBezTo>
                  <a:pt x="1270" y="35"/>
                  <a:pt x="1268" y="37"/>
                  <a:pt x="1265" y="38"/>
                </a:cubicBezTo>
                <a:cubicBezTo>
                  <a:pt x="1263" y="39"/>
                  <a:pt x="1260" y="39"/>
                  <a:pt x="1258" y="39"/>
                </a:cubicBezTo>
                <a:cubicBezTo>
                  <a:pt x="1258" y="37"/>
                  <a:pt x="1259" y="34"/>
                  <a:pt x="1259" y="32"/>
                </a:cubicBezTo>
                <a:cubicBezTo>
                  <a:pt x="1260" y="29"/>
                  <a:pt x="1262" y="27"/>
                  <a:pt x="1263" y="25"/>
                </a:cubicBezTo>
                <a:cubicBezTo>
                  <a:pt x="1265" y="23"/>
                  <a:pt x="1267" y="22"/>
                  <a:pt x="1269" y="22"/>
                </a:cubicBezTo>
                <a:close/>
                <a:moveTo>
                  <a:pt x="1310" y="25"/>
                </a:moveTo>
                <a:cubicBezTo>
                  <a:pt x="1311" y="20"/>
                  <a:pt x="1311" y="20"/>
                  <a:pt x="1311" y="20"/>
                </a:cubicBezTo>
                <a:cubicBezTo>
                  <a:pt x="1311" y="20"/>
                  <a:pt x="1309" y="19"/>
                  <a:pt x="1308" y="19"/>
                </a:cubicBezTo>
                <a:cubicBezTo>
                  <a:pt x="1306" y="19"/>
                  <a:pt x="1304" y="19"/>
                  <a:pt x="1303" y="19"/>
                </a:cubicBezTo>
                <a:cubicBezTo>
                  <a:pt x="1300" y="19"/>
                  <a:pt x="1298" y="19"/>
                  <a:pt x="1296" y="20"/>
                </a:cubicBezTo>
                <a:cubicBezTo>
                  <a:pt x="1293" y="21"/>
                  <a:pt x="1292" y="22"/>
                  <a:pt x="1291" y="24"/>
                </a:cubicBezTo>
                <a:cubicBezTo>
                  <a:pt x="1289" y="26"/>
                  <a:pt x="1289" y="27"/>
                  <a:pt x="1289" y="30"/>
                </a:cubicBezTo>
                <a:cubicBezTo>
                  <a:pt x="1289" y="34"/>
                  <a:pt x="1291" y="38"/>
                  <a:pt x="1296" y="41"/>
                </a:cubicBezTo>
                <a:cubicBezTo>
                  <a:pt x="1298" y="43"/>
                  <a:pt x="1300" y="44"/>
                  <a:pt x="1301" y="45"/>
                </a:cubicBezTo>
                <a:cubicBezTo>
                  <a:pt x="1302" y="46"/>
                  <a:pt x="1303" y="48"/>
                  <a:pt x="1303" y="50"/>
                </a:cubicBezTo>
                <a:cubicBezTo>
                  <a:pt x="1303" y="51"/>
                  <a:pt x="1302" y="53"/>
                  <a:pt x="1301" y="54"/>
                </a:cubicBezTo>
                <a:cubicBezTo>
                  <a:pt x="1299" y="55"/>
                  <a:pt x="1297" y="55"/>
                  <a:pt x="1295" y="55"/>
                </a:cubicBezTo>
                <a:cubicBezTo>
                  <a:pt x="1293" y="55"/>
                  <a:pt x="1292" y="55"/>
                  <a:pt x="1290" y="54"/>
                </a:cubicBezTo>
                <a:cubicBezTo>
                  <a:pt x="1288" y="53"/>
                  <a:pt x="1287" y="53"/>
                  <a:pt x="1286" y="52"/>
                </a:cubicBezTo>
                <a:cubicBezTo>
                  <a:pt x="1285" y="57"/>
                  <a:pt x="1285" y="57"/>
                  <a:pt x="1285" y="57"/>
                </a:cubicBezTo>
                <a:cubicBezTo>
                  <a:pt x="1285" y="58"/>
                  <a:pt x="1287" y="58"/>
                  <a:pt x="1289" y="58"/>
                </a:cubicBezTo>
                <a:cubicBezTo>
                  <a:pt x="1291" y="59"/>
                  <a:pt x="1293" y="59"/>
                  <a:pt x="1295" y="59"/>
                </a:cubicBezTo>
                <a:cubicBezTo>
                  <a:pt x="1299" y="59"/>
                  <a:pt x="1303" y="58"/>
                  <a:pt x="1305" y="56"/>
                </a:cubicBezTo>
                <a:cubicBezTo>
                  <a:pt x="1308" y="54"/>
                  <a:pt x="1309" y="52"/>
                  <a:pt x="1309" y="48"/>
                </a:cubicBezTo>
                <a:cubicBezTo>
                  <a:pt x="1309" y="46"/>
                  <a:pt x="1309" y="45"/>
                  <a:pt x="1308" y="43"/>
                </a:cubicBezTo>
                <a:cubicBezTo>
                  <a:pt x="1307" y="42"/>
                  <a:pt x="1306" y="41"/>
                  <a:pt x="1305" y="40"/>
                </a:cubicBezTo>
                <a:cubicBezTo>
                  <a:pt x="1304" y="39"/>
                  <a:pt x="1303" y="38"/>
                  <a:pt x="1301" y="36"/>
                </a:cubicBezTo>
                <a:cubicBezTo>
                  <a:pt x="1299" y="35"/>
                  <a:pt x="1298" y="34"/>
                  <a:pt x="1297" y="32"/>
                </a:cubicBezTo>
                <a:cubicBezTo>
                  <a:pt x="1296" y="31"/>
                  <a:pt x="1295" y="30"/>
                  <a:pt x="1295" y="28"/>
                </a:cubicBezTo>
                <a:cubicBezTo>
                  <a:pt x="1295" y="26"/>
                  <a:pt x="1296" y="25"/>
                  <a:pt x="1297" y="24"/>
                </a:cubicBezTo>
                <a:cubicBezTo>
                  <a:pt x="1299" y="23"/>
                  <a:pt x="1300" y="23"/>
                  <a:pt x="1303" y="23"/>
                </a:cubicBezTo>
                <a:cubicBezTo>
                  <a:pt x="1304" y="23"/>
                  <a:pt x="1306" y="23"/>
                  <a:pt x="1307" y="24"/>
                </a:cubicBezTo>
                <a:cubicBezTo>
                  <a:pt x="1309" y="24"/>
                  <a:pt x="1310" y="25"/>
                  <a:pt x="1310" y="25"/>
                </a:cubicBezTo>
                <a:close/>
                <a:moveTo>
                  <a:pt x="1047" y="110"/>
                </a:moveTo>
                <a:cubicBezTo>
                  <a:pt x="1052" y="111"/>
                  <a:pt x="1052" y="111"/>
                  <a:pt x="1052" y="111"/>
                </a:cubicBezTo>
                <a:cubicBezTo>
                  <a:pt x="1046" y="156"/>
                  <a:pt x="1046" y="156"/>
                  <a:pt x="1046" y="156"/>
                </a:cubicBezTo>
                <a:cubicBezTo>
                  <a:pt x="1041" y="157"/>
                  <a:pt x="1041" y="157"/>
                  <a:pt x="1041" y="157"/>
                </a:cubicBezTo>
                <a:cubicBezTo>
                  <a:pt x="1041" y="159"/>
                  <a:pt x="1041" y="159"/>
                  <a:pt x="1041" y="159"/>
                </a:cubicBezTo>
                <a:cubicBezTo>
                  <a:pt x="1078" y="159"/>
                  <a:pt x="1078" y="159"/>
                  <a:pt x="1078" y="159"/>
                </a:cubicBezTo>
                <a:cubicBezTo>
                  <a:pt x="1081" y="147"/>
                  <a:pt x="1081" y="147"/>
                  <a:pt x="1081" y="147"/>
                </a:cubicBezTo>
                <a:cubicBezTo>
                  <a:pt x="1077" y="146"/>
                  <a:pt x="1077" y="146"/>
                  <a:pt x="1077" y="146"/>
                </a:cubicBezTo>
                <a:cubicBezTo>
                  <a:pt x="1073" y="155"/>
                  <a:pt x="1073" y="155"/>
                  <a:pt x="1073" y="155"/>
                </a:cubicBezTo>
                <a:cubicBezTo>
                  <a:pt x="1053" y="156"/>
                  <a:pt x="1053" y="156"/>
                  <a:pt x="1053" y="156"/>
                </a:cubicBezTo>
                <a:cubicBezTo>
                  <a:pt x="1056" y="134"/>
                  <a:pt x="1056" y="134"/>
                  <a:pt x="1056" y="134"/>
                </a:cubicBezTo>
                <a:cubicBezTo>
                  <a:pt x="1072" y="135"/>
                  <a:pt x="1072" y="135"/>
                  <a:pt x="1072" y="135"/>
                </a:cubicBezTo>
                <a:cubicBezTo>
                  <a:pt x="1073" y="130"/>
                  <a:pt x="1073" y="130"/>
                  <a:pt x="1073" y="130"/>
                </a:cubicBezTo>
                <a:cubicBezTo>
                  <a:pt x="1057" y="130"/>
                  <a:pt x="1057" y="130"/>
                  <a:pt x="1057" y="130"/>
                </a:cubicBezTo>
                <a:cubicBezTo>
                  <a:pt x="1059" y="110"/>
                  <a:pt x="1059" y="110"/>
                  <a:pt x="1059" y="110"/>
                </a:cubicBezTo>
                <a:cubicBezTo>
                  <a:pt x="1075" y="111"/>
                  <a:pt x="1075" y="111"/>
                  <a:pt x="1075" y="111"/>
                </a:cubicBezTo>
                <a:cubicBezTo>
                  <a:pt x="1076" y="118"/>
                  <a:pt x="1076" y="118"/>
                  <a:pt x="1076" y="118"/>
                </a:cubicBezTo>
                <a:cubicBezTo>
                  <a:pt x="1080" y="118"/>
                  <a:pt x="1080" y="118"/>
                  <a:pt x="1080" y="118"/>
                </a:cubicBezTo>
                <a:cubicBezTo>
                  <a:pt x="1081" y="107"/>
                  <a:pt x="1081" y="107"/>
                  <a:pt x="1081" y="107"/>
                </a:cubicBezTo>
                <a:cubicBezTo>
                  <a:pt x="1048" y="107"/>
                  <a:pt x="1048" y="107"/>
                  <a:pt x="1048" y="107"/>
                </a:cubicBezTo>
                <a:lnTo>
                  <a:pt x="1047" y="110"/>
                </a:lnTo>
                <a:close/>
                <a:moveTo>
                  <a:pt x="1100" y="129"/>
                </a:moveTo>
                <a:cubicBezTo>
                  <a:pt x="1100" y="120"/>
                  <a:pt x="1100" y="120"/>
                  <a:pt x="1100" y="120"/>
                </a:cubicBezTo>
                <a:cubicBezTo>
                  <a:pt x="1099" y="119"/>
                  <a:pt x="1099" y="119"/>
                  <a:pt x="1099" y="119"/>
                </a:cubicBezTo>
                <a:cubicBezTo>
                  <a:pt x="1090" y="121"/>
                  <a:pt x="1090" y="121"/>
                  <a:pt x="1090" y="121"/>
                </a:cubicBezTo>
                <a:cubicBezTo>
                  <a:pt x="1090" y="124"/>
                  <a:pt x="1090" y="124"/>
                  <a:pt x="1090" y="124"/>
                </a:cubicBezTo>
                <a:cubicBezTo>
                  <a:pt x="1093" y="125"/>
                  <a:pt x="1093" y="125"/>
                  <a:pt x="1093" y="125"/>
                </a:cubicBezTo>
                <a:cubicBezTo>
                  <a:pt x="1089" y="159"/>
                  <a:pt x="1089" y="159"/>
                  <a:pt x="1089" y="159"/>
                </a:cubicBezTo>
                <a:cubicBezTo>
                  <a:pt x="1095" y="159"/>
                  <a:pt x="1095" y="159"/>
                  <a:pt x="1095" y="159"/>
                </a:cubicBezTo>
                <a:cubicBezTo>
                  <a:pt x="1099" y="134"/>
                  <a:pt x="1099" y="134"/>
                  <a:pt x="1099" y="134"/>
                </a:cubicBezTo>
                <a:cubicBezTo>
                  <a:pt x="1101" y="131"/>
                  <a:pt x="1103" y="129"/>
                  <a:pt x="1105" y="127"/>
                </a:cubicBezTo>
                <a:cubicBezTo>
                  <a:pt x="1107" y="125"/>
                  <a:pt x="1109" y="124"/>
                  <a:pt x="1111" y="124"/>
                </a:cubicBezTo>
                <a:cubicBezTo>
                  <a:pt x="1113" y="124"/>
                  <a:pt x="1114" y="125"/>
                  <a:pt x="1114" y="126"/>
                </a:cubicBezTo>
                <a:cubicBezTo>
                  <a:pt x="1115" y="127"/>
                  <a:pt x="1115" y="128"/>
                  <a:pt x="1115" y="130"/>
                </a:cubicBezTo>
                <a:cubicBezTo>
                  <a:pt x="1115" y="132"/>
                  <a:pt x="1115" y="134"/>
                  <a:pt x="1115" y="135"/>
                </a:cubicBezTo>
                <a:cubicBezTo>
                  <a:pt x="1115" y="137"/>
                  <a:pt x="1114" y="140"/>
                  <a:pt x="1114" y="142"/>
                </a:cubicBezTo>
                <a:cubicBezTo>
                  <a:pt x="1114" y="144"/>
                  <a:pt x="1114" y="144"/>
                  <a:pt x="1114" y="144"/>
                </a:cubicBezTo>
                <a:cubicBezTo>
                  <a:pt x="1113" y="147"/>
                  <a:pt x="1113" y="147"/>
                  <a:pt x="1113" y="147"/>
                </a:cubicBezTo>
                <a:cubicBezTo>
                  <a:pt x="1112" y="151"/>
                  <a:pt x="1112" y="154"/>
                  <a:pt x="1112" y="156"/>
                </a:cubicBezTo>
                <a:cubicBezTo>
                  <a:pt x="1112" y="159"/>
                  <a:pt x="1113" y="160"/>
                  <a:pt x="1116" y="160"/>
                </a:cubicBezTo>
                <a:cubicBezTo>
                  <a:pt x="1117" y="160"/>
                  <a:pt x="1119" y="160"/>
                  <a:pt x="1120" y="159"/>
                </a:cubicBezTo>
                <a:cubicBezTo>
                  <a:pt x="1121" y="159"/>
                  <a:pt x="1122" y="158"/>
                  <a:pt x="1123" y="157"/>
                </a:cubicBezTo>
                <a:cubicBezTo>
                  <a:pt x="1123" y="157"/>
                  <a:pt x="1124" y="156"/>
                  <a:pt x="1124" y="156"/>
                </a:cubicBezTo>
                <a:cubicBezTo>
                  <a:pt x="1123" y="154"/>
                  <a:pt x="1123" y="154"/>
                  <a:pt x="1123" y="154"/>
                </a:cubicBezTo>
                <a:cubicBezTo>
                  <a:pt x="1122" y="155"/>
                  <a:pt x="1121" y="156"/>
                  <a:pt x="1120" y="156"/>
                </a:cubicBezTo>
                <a:cubicBezTo>
                  <a:pt x="1119" y="156"/>
                  <a:pt x="1119" y="155"/>
                  <a:pt x="1119" y="154"/>
                </a:cubicBezTo>
                <a:cubicBezTo>
                  <a:pt x="1119" y="152"/>
                  <a:pt x="1119" y="149"/>
                  <a:pt x="1120" y="145"/>
                </a:cubicBezTo>
                <a:cubicBezTo>
                  <a:pt x="1121" y="142"/>
                  <a:pt x="1121" y="142"/>
                  <a:pt x="1121" y="142"/>
                </a:cubicBezTo>
                <a:cubicBezTo>
                  <a:pt x="1121" y="140"/>
                  <a:pt x="1121" y="140"/>
                  <a:pt x="1121" y="140"/>
                </a:cubicBezTo>
                <a:cubicBezTo>
                  <a:pt x="1122" y="135"/>
                  <a:pt x="1122" y="132"/>
                  <a:pt x="1122" y="130"/>
                </a:cubicBezTo>
                <a:cubicBezTo>
                  <a:pt x="1122" y="126"/>
                  <a:pt x="1122" y="123"/>
                  <a:pt x="1120" y="122"/>
                </a:cubicBezTo>
                <a:cubicBezTo>
                  <a:pt x="1119" y="120"/>
                  <a:pt x="1117" y="119"/>
                  <a:pt x="1114" y="119"/>
                </a:cubicBezTo>
                <a:cubicBezTo>
                  <a:pt x="1112" y="119"/>
                  <a:pt x="1109" y="120"/>
                  <a:pt x="1106" y="122"/>
                </a:cubicBezTo>
                <a:cubicBezTo>
                  <a:pt x="1104" y="124"/>
                  <a:pt x="1102" y="126"/>
                  <a:pt x="1100" y="129"/>
                </a:cubicBezTo>
                <a:close/>
                <a:moveTo>
                  <a:pt x="1159" y="162"/>
                </a:moveTo>
                <a:cubicBezTo>
                  <a:pt x="1165" y="119"/>
                  <a:pt x="1165" y="119"/>
                  <a:pt x="1165" y="119"/>
                </a:cubicBezTo>
                <a:cubicBezTo>
                  <a:pt x="1160" y="121"/>
                  <a:pt x="1160" y="121"/>
                  <a:pt x="1160" y="121"/>
                </a:cubicBezTo>
                <a:cubicBezTo>
                  <a:pt x="1159" y="121"/>
                  <a:pt x="1158" y="120"/>
                  <a:pt x="1157" y="120"/>
                </a:cubicBezTo>
                <a:cubicBezTo>
                  <a:pt x="1155" y="120"/>
                  <a:pt x="1154" y="119"/>
                  <a:pt x="1153" y="119"/>
                </a:cubicBezTo>
                <a:cubicBezTo>
                  <a:pt x="1148" y="119"/>
                  <a:pt x="1144" y="121"/>
                  <a:pt x="1141" y="123"/>
                </a:cubicBezTo>
                <a:cubicBezTo>
                  <a:pt x="1137" y="126"/>
                  <a:pt x="1135" y="129"/>
                  <a:pt x="1133" y="133"/>
                </a:cubicBezTo>
                <a:cubicBezTo>
                  <a:pt x="1131" y="137"/>
                  <a:pt x="1130" y="141"/>
                  <a:pt x="1130" y="145"/>
                </a:cubicBezTo>
                <a:cubicBezTo>
                  <a:pt x="1130" y="150"/>
                  <a:pt x="1131" y="153"/>
                  <a:pt x="1133" y="156"/>
                </a:cubicBezTo>
                <a:cubicBezTo>
                  <a:pt x="1135" y="159"/>
                  <a:pt x="1138" y="160"/>
                  <a:pt x="1142" y="160"/>
                </a:cubicBezTo>
                <a:cubicBezTo>
                  <a:pt x="1144" y="160"/>
                  <a:pt x="1146" y="159"/>
                  <a:pt x="1148" y="158"/>
                </a:cubicBezTo>
                <a:cubicBezTo>
                  <a:pt x="1150" y="157"/>
                  <a:pt x="1152" y="156"/>
                  <a:pt x="1153" y="155"/>
                </a:cubicBezTo>
                <a:cubicBezTo>
                  <a:pt x="1151" y="164"/>
                  <a:pt x="1151" y="164"/>
                  <a:pt x="1151" y="164"/>
                </a:cubicBezTo>
                <a:cubicBezTo>
                  <a:pt x="1151" y="167"/>
                  <a:pt x="1150" y="169"/>
                  <a:pt x="1149" y="170"/>
                </a:cubicBezTo>
                <a:cubicBezTo>
                  <a:pt x="1147" y="172"/>
                  <a:pt x="1145" y="172"/>
                  <a:pt x="1142" y="172"/>
                </a:cubicBezTo>
                <a:cubicBezTo>
                  <a:pt x="1140" y="172"/>
                  <a:pt x="1139" y="172"/>
                  <a:pt x="1137" y="171"/>
                </a:cubicBezTo>
                <a:cubicBezTo>
                  <a:pt x="1136" y="171"/>
                  <a:pt x="1134" y="170"/>
                  <a:pt x="1133" y="170"/>
                </a:cubicBezTo>
                <a:cubicBezTo>
                  <a:pt x="1132" y="175"/>
                  <a:pt x="1132" y="175"/>
                  <a:pt x="1132" y="175"/>
                </a:cubicBezTo>
                <a:cubicBezTo>
                  <a:pt x="1132" y="176"/>
                  <a:pt x="1134" y="176"/>
                  <a:pt x="1135" y="176"/>
                </a:cubicBezTo>
                <a:cubicBezTo>
                  <a:pt x="1137" y="177"/>
                  <a:pt x="1138" y="177"/>
                  <a:pt x="1140" y="177"/>
                </a:cubicBezTo>
                <a:cubicBezTo>
                  <a:pt x="1142" y="177"/>
                  <a:pt x="1145" y="176"/>
                  <a:pt x="1148" y="175"/>
                </a:cubicBezTo>
                <a:cubicBezTo>
                  <a:pt x="1150" y="174"/>
                  <a:pt x="1153" y="173"/>
                  <a:pt x="1155" y="170"/>
                </a:cubicBezTo>
                <a:cubicBezTo>
                  <a:pt x="1157" y="168"/>
                  <a:pt x="1158" y="165"/>
                  <a:pt x="1159" y="162"/>
                </a:cubicBezTo>
                <a:close/>
                <a:moveTo>
                  <a:pt x="1157" y="125"/>
                </a:moveTo>
                <a:cubicBezTo>
                  <a:pt x="1154" y="150"/>
                  <a:pt x="1154" y="150"/>
                  <a:pt x="1154" y="150"/>
                </a:cubicBezTo>
                <a:cubicBezTo>
                  <a:pt x="1152" y="151"/>
                  <a:pt x="1151" y="153"/>
                  <a:pt x="1149" y="154"/>
                </a:cubicBezTo>
                <a:cubicBezTo>
                  <a:pt x="1148" y="155"/>
                  <a:pt x="1146" y="155"/>
                  <a:pt x="1144" y="155"/>
                </a:cubicBezTo>
                <a:cubicBezTo>
                  <a:pt x="1142" y="155"/>
                  <a:pt x="1140" y="155"/>
                  <a:pt x="1139" y="153"/>
                </a:cubicBezTo>
                <a:cubicBezTo>
                  <a:pt x="1138" y="151"/>
                  <a:pt x="1138" y="148"/>
                  <a:pt x="1138" y="145"/>
                </a:cubicBezTo>
                <a:cubicBezTo>
                  <a:pt x="1138" y="142"/>
                  <a:pt x="1138" y="138"/>
                  <a:pt x="1139" y="135"/>
                </a:cubicBezTo>
                <a:cubicBezTo>
                  <a:pt x="1140" y="132"/>
                  <a:pt x="1142" y="129"/>
                  <a:pt x="1144" y="127"/>
                </a:cubicBezTo>
                <a:cubicBezTo>
                  <a:pt x="1146" y="124"/>
                  <a:pt x="1149" y="123"/>
                  <a:pt x="1152" y="123"/>
                </a:cubicBezTo>
                <a:cubicBezTo>
                  <a:pt x="1154" y="123"/>
                  <a:pt x="1156" y="124"/>
                  <a:pt x="1157" y="125"/>
                </a:cubicBezTo>
                <a:close/>
                <a:moveTo>
                  <a:pt x="1181" y="153"/>
                </a:moveTo>
                <a:cubicBezTo>
                  <a:pt x="1185" y="120"/>
                  <a:pt x="1185" y="120"/>
                  <a:pt x="1185" y="120"/>
                </a:cubicBezTo>
                <a:cubicBezTo>
                  <a:pt x="1184" y="119"/>
                  <a:pt x="1184" y="119"/>
                  <a:pt x="1184" y="119"/>
                </a:cubicBezTo>
                <a:cubicBezTo>
                  <a:pt x="1174" y="121"/>
                  <a:pt x="1174" y="121"/>
                  <a:pt x="1174" y="121"/>
                </a:cubicBezTo>
                <a:cubicBezTo>
                  <a:pt x="1173" y="123"/>
                  <a:pt x="1173" y="123"/>
                  <a:pt x="1173" y="123"/>
                </a:cubicBezTo>
                <a:cubicBezTo>
                  <a:pt x="1178" y="125"/>
                  <a:pt x="1178" y="125"/>
                  <a:pt x="1178" y="125"/>
                </a:cubicBezTo>
                <a:cubicBezTo>
                  <a:pt x="1177" y="132"/>
                  <a:pt x="1176" y="138"/>
                  <a:pt x="1175" y="142"/>
                </a:cubicBezTo>
                <a:cubicBezTo>
                  <a:pt x="1174" y="150"/>
                  <a:pt x="1174" y="154"/>
                  <a:pt x="1173" y="156"/>
                </a:cubicBezTo>
                <a:cubicBezTo>
                  <a:pt x="1173" y="157"/>
                  <a:pt x="1174" y="158"/>
                  <a:pt x="1174" y="159"/>
                </a:cubicBezTo>
                <a:cubicBezTo>
                  <a:pt x="1175" y="160"/>
                  <a:pt x="1176" y="160"/>
                  <a:pt x="1178" y="160"/>
                </a:cubicBezTo>
                <a:cubicBezTo>
                  <a:pt x="1180" y="160"/>
                  <a:pt x="1182" y="159"/>
                  <a:pt x="1183" y="158"/>
                </a:cubicBezTo>
                <a:cubicBezTo>
                  <a:pt x="1184" y="157"/>
                  <a:pt x="1185" y="156"/>
                  <a:pt x="1186" y="155"/>
                </a:cubicBezTo>
                <a:cubicBezTo>
                  <a:pt x="1185" y="154"/>
                  <a:pt x="1185" y="154"/>
                  <a:pt x="1185" y="154"/>
                </a:cubicBezTo>
                <a:cubicBezTo>
                  <a:pt x="1184" y="154"/>
                  <a:pt x="1184" y="155"/>
                  <a:pt x="1183" y="155"/>
                </a:cubicBezTo>
                <a:cubicBezTo>
                  <a:pt x="1183" y="156"/>
                  <a:pt x="1182" y="156"/>
                  <a:pt x="1182" y="156"/>
                </a:cubicBezTo>
                <a:cubicBezTo>
                  <a:pt x="1181" y="156"/>
                  <a:pt x="1181" y="156"/>
                  <a:pt x="1181" y="155"/>
                </a:cubicBezTo>
                <a:cubicBezTo>
                  <a:pt x="1181" y="155"/>
                  <a:pt x="1180" y="155"/>
                  <a:pt x="1180" y="154"/>
                </a:cubicBezTo>
                <a:lnTo>
                  <a:pt x="1181" y="153"/>
                </a:lnTo>
                <a:close/>
                <a:moveTo>
                  <a:pt x="1183" y="112"/>
                </a:moveTo>
                <a:cubicBezTo>
                  <a:pt x="1184" y="112"/>
                  <a:pt x="1185" y="111"/>
                  <a:pt x="1186" y="110"/>
                </a:cubicBezTo>
                <a:cubicBezTo>
                  <a:pt x="1187" y="109"/>
                  <a:pt x="1188" y="108"/>
                  <a:pt x="1188" y="107"/>
                </a:cubicBezTo>
                <a:cubicBezTo>
                  <a:pt x="1188" y="106"/>
                  <a:pt x="1187" y="105"/>
                  <a:pt x="1187" y="104"/>
                </a:cubicBezTo>
                <a:cubicBezTo>
                  <a:pt x="1186" y="103"/>
                  <a:pt x="1185" y="103"/>
                  <a:pt x="1184" y="103"/>
                </a:cubicBezTo>
                <a:cubicBezTo>
                  <a:pt x="1182" y="103"/>
                  <a:pt x="1181" y="103"/>
                  <a:pt x="1180" y="104"/>
                </a:cubicBezTo>
                <a:cubicBezTo>
                  <a:pt x="1180" y="105"/>
                  <a:pt x="1179" y="107"/>
                  <a:pt x="1179" y="108"/>
                </a:cubicBezTo>
                <a:cubicBezTo>
                  <a:pt x="1179" y="109"/>
                  <a:pt x="1179" y="110"/>
                  <a:pt x="1180" y="111"/>
                </a:cubicBezTo>
                <a:cubicBezTo>
                  <a:pt x="1181" y="111"/>
                  <a:pt x="1182" y="112"/>
                  <a:pt x="1183" y="112"/>
                </a:cubicBezTo>
                <a:close/>
                <a:moveTo>
                  <a:pt x="1207" y="129"/>
                </a:moveTo>
                <a:cubicBezTo>
                  <a:pt x="1208" y="120"/>
                  <a:pt x="1208" y="120"/>
                  <a:pt x="1208" y="120"/>
                </a:cubicBezTo>
                <a:cubicBezTo>
                  <a:pt x="1207" y="119"/>
                  <a:pt x="1207" y="119"/>
                  <a:pt x="1207" y="119"/>
                </a:cubicBezTo>
                <a:cubicBezTo>
                  <a:pt x="1198" y="121"/>
                  <a:pt x="1198" y="121"/>
                  <a:pt x="1198" y="121"/>
                </a:cubicBezTo>
                <a:cubicBezTo>
                  <a:pt x="1198" y="124"/>
                  <a:pt x="1198" y="124"/>
                  <a:pt x="1198" y="124"/>
                </a:cubicBezTo>
                <a:cubicBezTo>
                  <a:pt x="1201" y="125"/>
                  <a:pt x="1201" y="125"/>
                  <a:pt x="1201" y="125"/>
                </a:cubicBezTo>
                <a:cubicBezTo>
                  <a:pt x="1196" y="159"/>
                  <a:pt x="1196" y="159"/>
                  <a:pt x="1196" y="159"/>
                </a:cubicBezTo>
                <a:cubicBezTo>
                  <a:pt x="1203" y="159"/>
                  <a:pt x="1203" y="159"/>
                  <a:pt x="1203" y="159"/>
                </a:cubicBezTo>
                <a:cubicBezTo>
                  <a:pt x="1207" y="134"/>
                  <a:pt x="1207" y="134"/>
                  <a:pt x="1207" y="134"/>
                </a:cubicBezTo>
                <a:cubicBezTo>
                  <a:pt x="1208" y="131"/>
                  <a:pt x="1210" y="129"/>
                  <a:pt x="1213" y="127"/>
                </a:cubicBezTo>
                <a:cubicBezTo>
                  <a:pt x="1215" y="125"/>
                  <a:pt x="1217" y="124"/>
                  <a:pt x="1219" y="124"/>
                </a:cubicBezTo>
                <a:cubicBezTo>
                  <a:pt x="1220" y="124"/>
                  <a:pt x="1221" y="125"/>
                  <a:pt x="1222" y="126"/>
                </a:cubicBezTo>
                <a:cubicBezTo>
                  <a:pt x="1223" y="127"/>
                  <a:pt x="1223" y="128"/>
                  <a:pt x="1223" y="130"/>
                </a:cubicBezTo>
                <a:cubicBezTo>
                  <a:pt x="1223" y="132"/>
                  <a:pt x="1223" y="134"/>
                  <a:pt x="1223" y="135"/>
                </a:cubicBezTo>
                <a:cubicBezTo>
                  <a:pt x="1222" y="137"/>
                  <a:pt x="1222" y="140"/>
                  <a:pt x="1222" y="142"/>
                </a:cubicBezTo>
                <a:cubicBezTo>
                  <a:pt x="1221" y="144"/>
                  <a:pt x="1221" y="144"/>
                  <a:pt x="1221" y="144"/>
                </a:cubicBezTo>
                <a:cubicBezTo>
                  <a:pt x="1221" y="147"/>
                  <a:pt x="1221" y="147"/>
                  <a:pt x="1221" y="147"/>
                </a:cubicBezTo>
                <a:cubicBezTo>
                  <a:pt x="1220" y="151"/>
                  <a:pt x="1219" y="154"/>
                  <a:pt x="1219" y="156"/>
                </a:cubicBezTo>
                <a:cubicBezTo>
                  <a:pt x="1219" y="159"/>
                  <a:pt x="1221" y="160"/>
                  <a:pt x="1224" y="160"/>
                </a:cubicBezTo>
                <a:cubicBezTo>
                  <a:pt x="1225" y="160"/>
                  <a:pt x="1226" y="160"/>
                  <a:pt x="1227" y="159"/>
                </a:cubicBezTo>
                <a:cubicBezTo>
                  <a:pt x="1228" y="159"/>
                  <a:pt x="1229" y="158"/>
                  <a:pt x="1230" y="157"/>
                </a:cubicBezTo>
                <a:cubicBezTo>
                  <a:pt x="1231" y="157"/>
                  <a:pt x="1231" y="156"/>
                  <a:pt x="1232" y="156"/>
                </a:cubicBezTo>
                <a:cubicBezTo>
                  <a:pt x="1231" y="154"/>
                  <a:pt x="1231" y="154"/>
                  <a:pt x="1231" y="154"/>
                </a:cubicBezTo>
                <a:cubicBezTo>
                  <a:pt x="1229" y="155"/>
                  <a:pt x="1228" y="156"/>
                  <a:pt x="1227" y="156"/>
                </a:cubicBezTo>
                <a:cubicBezTo>
                  <a:pt x="1227" y="156"/>
                  <a:pt x="1227" y="155"/>
                  <a:pt x="1227" y="154"/>
                </a:cubicBezTo>
                <a:cubicBezTo>
                  <a:pt x="1227" y="152"/>
                  <a:pt x="1227" y="149"/>
                  <a:pt x="1228" y="145"/>
                </a:cubicBezTo>
                <a:cubicBezTo>
                  <a:pt x="1228" y="142"/>
                  <a:pt x="1228" y="142"/>
                  <a:pt x="1228" y="142"/>
                </a:cubicBezTo>
                <a:cubicBezTo>
                  <a:pt x="1229" y="140"/>
                  <a:pt x="1229" y="140"/>
                  <a:pt x="1229" y="140"/>
                </a:cubicBezTo>
                <a:cubicBezTo>
                  <a:pt x="1230" y="135"/>
                  <a:pt x="1230" y="132"/>
                  <a:pt x="1230" y="130"/>
                </a:cubicBezTo>
                <a:cubicBezTo>
                  <a:pt x="1230" y="126"/>
                  <a:pt x="1229" y="123"/>
                  <a:pt x="1228" y="122"/>
                </a:cubicBezTo>
                <a:cubicBezTo>
                  <a:pt x="1227" y="120"/>
                  <a:pt x="1225" y="119"/>
                  <a:pt x="1222" y="119"/>
                </a:cubicBezTo>
                <a:cubicBezTo>
                  <a:pt x="1219" y="119"/>
                  <a:pt x="1217" y="120"/>
                  <a:pt x="1214" y="122"/>
                </a:cubicBezTo>
                <a:cubicBezTo>
                  <a:pt x="1211" y="124"/>
                  <a:pt x="1209" y="126"/>
                  <a:pt x="1207" y="129"/>
                </a:cubicBezTo>
                <a:close/>
                <a:moveTo>
                  <a:pt x="1267" y="153"/>
                </a:moveTo>
                <a:cubicBezTo>
                  <a:pt x="1266" y="150"/>
                  <a:pt x="1266" y="150"/>
                  <a:pt x="1266" y="150"/>
                </a:cubicBezTo>
                <a:cubicBezTo>
                  <a:pt x="1264" y="152"/>
                  <a:pt x="1262" y="153"/>
                  <a:pt x="1260" y="154"/>
                </a:cubicBezTo>
                <a:cubicBezTo>
                  <a:pt x="1258" y="155"/>
                  <a:pt x="1256" y="156"/>
                  <a:pt x="1254" y="156"/>
                </a:cubicBezTo>
                <a:cubicBezTo>
                  <a:pt x="1251" y="156"/>
                  <a:pt x="1249" y="154"/>
                  <a:pt x="1248" y="152"/>
                </a:cubicBezTo>
                <a:cubicBezTo>
                  <a:pt x="1246" y="150"/>
                  <a:pt x="1246" y="147"/>
                  <a:pt x="1246" y="143"/>
                </a:cubicBezTo>
                <a:cubicBezTo>
                  <a:pt x="1249" y="143"/>
                  <a:pt x="1252" y="143"/>
                  <a:pt x="1256" y="142"/>
                </a:cubicBezTo>
                <a:cubicBezTo>
                  <a:pt x="1259" y="140"/>
                  <a:pt x="1263" y="139"/>
                  <a:pt x="1265" y="136"/>
                </a:cubicBezTo>
                <a:cubicBezTo>
                  <a:pt x="1268" y="134"/>
                  <a:pt x="1269" y="131"/>
                  <a:pt x="1269" y="128"/>
                </a:cubicBezTo>
                <a:cubicBezTo>
                  <a:pt x="1269" y="125"/>
                  <a:pt x="1268" y="123"/>
                  <a:pt x="1267" y="122"/>
                </a:cubicBezTo>
                <a:cubicBezTo>
                  <a:pt x="1265" y="120"/>
                  <a:pt x="1263" y="119"/>
                  <a:pt x="1259" y="119"/>
                </a:cubicBezTo>
                <a:cubicBezTo>
                  <a:pt x="1255" y="119"/>
                  <a:pt x="1252" y="121"/>
                  <a:pt x="1249" y="123"/>
                </a:cubicBezTo>
                <a:cubicBezTo>
                  <a:pt x="1246" y="125"/>
                  <a:pt x="1243" y="128"/>
                  <a:pt x="1241" y="132"/>
                </a:cubicBezTo>
                <a:cubicBezTo>
                  <a:pt x="1240" y="136"/>
                  <a:pt x="1239" y="140"/>
                  <a:pt x="1239" y="145"/>
                </a:cubicBezTo>
                <a:cubicBezTo>
                  <a:pt x="1239" y="147"/>
                  <a:pt x="1239" y="150"/>
                  <a:pt x="1240" y="152"/>
                </a:cubicBezTo>
                <a:cubicBezTo>
                  <a:pt x="1241" y="155"/>
                  <a:pt x="1243" y="156"/>
                  <a:pt x="1245" y="158"/>
                </a:cubicBezTo>
                <a:cubicBezTo>
                  <a:pt x="1247" y="159"/>
                  <a:pt x="1249" y="160"/>
                  <a:pt x="1253" y="160"/>
                </a:cubicBezTo>
                <a:cubicBezTo>
                  <a:pt x="1256" y="160"/>
                  <a:pt x="1259" y="159"/>
                  <a:pt x="1261" y="158"/>
                </a:cubicBezTo>
                <a:cubicBezTo>
                  <a:pt x="1264" y="156"/>
                  <a:pt x="1266" y="154"/>
                  <a:pt x="1267" y="153"/>
                </a:cubicBezTo>
                <a:close/>
                <a:moveTo>
                  <a:pt x="1258" y="123"/>
                </a:moveTo>
                <a:cubicBezTo>
                  <a:pt x="1259" y="123"/>
                  <a:pt x="1260" y="124"/>
                  <a:pt x="1261" y="125"/>
                </a:cubicBezTo>
                <a:cubicBezTo>
                  <a:pt x="1262" y="125"/>
                  <a:pt x="1263" y="127"/>
                  <a:pt x="1263" y="129"/>
                </a:cubicBezTo>
                <a:cubicBezTo>
                  <a:pt x="1263" y="131"/>
                  <a:pt x="1262" y="133"/>
                  <a:pt x="1260" y="135"/>
                </a:cubicBezTo>
                <a:cubicBezTo>
                  <a:pt x="1258" y="136"/>
                  <a:pt x="1256" y="138"/>
                  <a:pt x="1253" y="139"/>
                </a:cubicBezTo>
                <a:cubicBezTo>
                  <a:pt x="1251" y="139"/>
                  <a:pt x="1248" y="140"/>
                  <a:pt x="1246" y="140"/>
                </a:cubicBezTo>
                <a:cubicBezTo>
                  <a:pt x="1246" y="138"/>
                  <a:pt x="1247" y="135"/>
                  <a:pt x="1248" y="132"/>
                </a:cubicBezTo>
                <a:cubicBezTo>
                  <a:pt x="1249" y="130"/>
                  <a:pt x="1250" y="127"/>
                  <a:pt x="1252" y="126"/>
                </a:cubicBezTo>
                <a:cubicBezTo>
                  <a:pt x="1254" y="124"/>
                  <a:pt x="1255" y="123"/>
                  <a:pt x="1258" y="123"/>
                </a:cubicBezTo>
                <a:close/>
                <a:moveTo>
                  <a:pt x="1303" y="153"/>
                </a:moveTo>
                <a:cubicBezTo>
                  <a:pt x="1302" y="150"/>
                  <a:pt x="1302" y="150"/>
                  <a:pt x="1302" y="150"/>
                </a:cubicBezTo>
                <a:cubicBezTo>
                  <a:pt x="1300" y="152"/>
                  <a:pt x="1298" y="153"/>
                  <a:pt x="1296" y="154"/>
                </a:cubicBezTo>
                <a:cubicBezTo>
                  <a:pt x="1294" y="155"/>
                  <a:pt x="1292" y="156"/>
                  <a:pt x="1290" y="156"/>
                </a:cubicBezTo>
                <a:cubicBezTo>
                  <a:pt x="1287" y="156"/>
                  <a:pt x="1285" y="154"/>
                  <a:pt x="1284" y="152"/>
                </a:cubicBezTo>
                <a:cubicBezTo>
                  <a:pt x="1282" y="150"/>
                  <a:pt x="1282" y="147"/>
                  <a:pt x="1282" y="143"/>
                </a:cubicBezTo>
                <a:cubicBezTo>
                  <a:pt x="1285" y="143"/>
                  <a:pt x="1288" y="143"/>
                  <a:pt x="1292" y="142"/>
                </a:cubicBezTo>
                <a:cubicBezTo>
                  <a:pt x="1295" y="140"/>
                  <a:pt x="1299" y="139"/>
                  <a:pt x="1301" y="136"/>
                </a:cubicBezTo>
                <a:cubicBezTo>
                  <a:pt x="1304" y="134"/>
                  <a:pt x="1305" y="131"/>
                  <a:pt x="1305" y="128"/>
                </a:cubicBezTo>
                <a:cubicBezTo>
                  <a:pt x="1305" y="125"/>
                  <a:pt x="1304" y="123"/>
                  <a:pt x="1303" y="122"/>
                </a:cubicBezTo>
                <a:cubicBezTo>
                  <a:pt x="1301" y="120"/>
                  <a:pt x="1299" y="119"/>
                  <a:pt x="1295" y="119"/>
                </a:cubicBezTo>
                <a:cubicBezTo>
                  <a:pt x="1291" y="119"/>
                  <a:pt x="1288" y="121"/>
                  <a:pt x="1285" y="123"/>
                </a:cubicBezTo>
                <a:cubicBezTo>
                  <a:pt x="1282" y="125"/>
                  <a:pt x="1279" y="128"/>
                  <a:pt x="1277" y="132"/>
                </a:cubicBezTo>
                <a:cubicBezTo>
                  <a:pt x="1275" y="136"/>
                  <a:pt x="1275" y="140"/>
                  <a:pt x="1275" y="145"/>
                </a:cubicBezTo>
                <a:cubicBezTo>
                  <a:pt x="1275" y="147"/>
                  <a:pt x="1275" y="150"/>
                  <a:pt x="1276" y="152"/>
                </a:cubicBezTo>
                <a:cubicBezTo>
                  <a:pt x="1277" y="155"/>
                  <a:pt x="1279" y="156"/>
                  <a:pt x="1281" y="158"/>
                </a:cubicBezTo>
                <a:cubicBezTo>
                  <a:pt x="1283" y="159"/>
                  <a:pt x="1285" y="160"/>
                  <a:pt x="1288" y="160"/>
                </a:cubicBezTo>
                <a:cubicBezTo>
                  <a:pt x="1292" y="160"/>
                  <a:pt x="1295" y="159"/>
                  <a:pt x="1297" y="158"/>
                </a:cubicBezTo>
                <a:cubicBezTo>
                  <a:pt x="1300" y="156"/>
                  <a:pt x="1302" y="154"/>
                  <a:pt x="1303" y="153"/>
                </a:cubicBezTo>
                <a:close/>
                <a:moveTo>
                  <a:pt x="1294" y="123"/>
                </a:moveTo>
                <a:cubicBezTo>
                  <a:pt x="1295" y="123"/>
                  <a:pt x="1296" y="124"/>
                  <a:pt x="1297" y="125"/>
                </a:cubicBezTo>
                <a:cubicBezTo>
                  <a:pt x="1298" y="125"/>
                  <a:pt x="1298" y="127"/>
                  <a:pt x="1298" y="129"/>
                </a:cubicBezTo>
                <a:cubicBezTo>
                  <a:pt x="1298" y="131"/>
                  <a:pt x="1298" y="133"/>
                  <a:pt x="1296" y="135"/>
                </a:cubicBezTo>
                <a:cubicBezTo>
                  <a:pt x="1294" y="136"/>
                  <a:pt x="1292" y="138"/>
                  <a:pt x="1289" y="139"/>
                </a:cubicBezTo>
                <a:cubicBezTo>
                  <a:pt x="1287" y="139"/>
                  <a:pt x="1284" y="140"/>
                  <a:pt x="1282" y="140"/>
                </a:cubicBezTo>
                <a:cubicBezTo>
                  <a:pt x="1282" y="138"/>
                  <a:pt x="1283" y="135"/>
                  <a:pt x="1284" y="132"/>
                </a:cubicBezTo>
                <a:cubicBezTo>
                  <a:pt x="1285" y="130"/>
                  <a:pt x="1286" y="127"/>
                  <a:pt x="1288" y="126"/>
                </a:cubicBezTo>
                <a:cubicBezTo>
                  <a:pt x="1289" y="124"/>
                  <a:pt x="1291" y="123"/>
                  <a:pt x="1294" y="123"/>
                </a:cubicBezTo>
                <a:close/>
                <a:moveTo>
                  <a:pt x="1322" y="129"/>
                </a:moveTo>
                <a:cubicBezTo>
                  <a:pt x="1323" y="127"/>
                  <a:pt x="1323" y="127"/>
                  <a:pt x="1323" y="127"/>
                </a:cubicBezTo>
                <a:cubicBezTo>
                  <a:pt x="1323" y="120"/>
                  <a:pt x="1323" y="120"/>
                  <a:pt x="1323" y="120"/>
                </a:cubicBezTo>
                <a:cubicBezTo>
                  <a:pt x="1322" y="119"/>
                  <a:pt x="1322" y="119"/>
                  <a:pt x="1322" y="119"/>
                </a:cubicBezTo>
                <a:cubicBezTo>
                  <a:pt x="1314" y="121"/>
                  <a:pt x="1314" y="121"/>
                  <a:pt x="1314" y="121"/>
                </a:cubicBezTo>
                <a:cubicBezTo>
                  <a:pt x="1313" y="124"/>
                  <a:pt x="1313" y="124"/>
                  <a:pt x="1313" y="124"/>
                </a:cubicBezTo>
                <a:cubicBezTo>
                  <a:pt x="1317" y="125"/>
                  <a:pt x="1317" y="125"/>
                  <a:pt x="1317" y="125"/>
                </a:cubicBezTo>
                <a:cubicBezTo>
                  <a:pt x="1312" y="159"/>
                  <a:pt x="1312" y="159"/>
                  <a:pt x="1312" y="159"/>
                </a:cubicBezTo>
                <a:cubicBezTo>
                  <a:pt x="1319" y="159"/>
                  <a:pt x="1319" y="159"/>
                  <a:pt x="1319" y="159"/>
                </a:cubicBezTo>
                <a:cubicBezTo>
                  <a:pt x="1322" y="134"/>
                  <a:pt x="1322" y="134"/>
                  <a:pt x="1322" y="134"/>
                </a:cubicBezTo>
                <a:cubicBezTo>
                  <a:pt x="1323" y="132"/>
                  <a:pt x="1325" y="130"/>
                  <a:pt x="1327" y="129"/>
                </a:cubicBezTo>
                <a:cubicBezTo>
                  <a:pt x="1329" y="127"/>
                  <a:pt x="1331" y="127"/>
                  <a:pt x="1333" y="127"/>
                </a:cubicBezTo>
                <a:cubicBezTo>
                  <a:pt x="1334" y="127"/>
                  <a:pt x="1335" y="127"/>
                  <a:pt x="1336" y="127"/>
                </a:cubicBezTo>
                <a:cubicBezTo>
                  <a:pt x="1338" y="120"/>
                  <a:pt x="1338" y="120"/>
                  <a:pt x="1338" y="120"/>
                </a:cubicBezTo>
                <a:cubicBezTo>
                  <a:pt x="1337" y="120"/>
                  <a:pt x="1336" y="119"/>
                  <a:pt x="1335" y="119"/>
                </a:cubicBezTo>
                <a:cubicBezTo>
                  <a:pt x="1333" y="119"/>
                  <a:pt x="1331" y="120"/>
                  <a:pt x="1330" y="121"/>
                </a:cubicBezTo>
                <a:cubicBezTo>
                  <a:pt x="1328" y="122"/>
                  <a:pt x="1326" y="123"/>
                  <a:pt x="1325" y="125"/>
                </a:cubicBezTo>
                <a:cubicBezTo>
                  <a:pt x="1324" y="126"/>
                  <a:pt x="1323" y="128"/>
                  <a:pt x="1322" y="129"/>
                </a:cubicBezTo>
                <a:close/>
                <a:moveTo>
                  <a:pt x="1349" y="153"/>
                </a:moveTo>
                <a:cubicBezTo>
                  <a:pt x="1354" y="120"/>
                  <a:pt x="1354" y="120"/>
                  <a:pt x="1354" y="120"/>
                </a:cubicBezTo>
                <a:cubicBezTo>
                  <a:pt x="1352" y="119"/>
                  <a:pt x="1352" y="119"/>
                  <a:pt x="1352" y="119"/>
                </a:cubicBezTo>
                <a:cubicBezTo>
                  <a:pt x="1342" y="121"/>
                  <a:pt x="1342" y="121"/>
                  <a:pt x="1342" y="121"/>
                </a:cubicBezTo>
                <a:cubicBezTo>
                  <a:pt x="1342" y="123"/>
                  <a:pt x="1342" y="123"/>
                  <a:pt x="1342" y="123"/>
                </a:cubicBezTo>
                <a:cubicBezTo>
                  <a:pt x="1346" y="125"/>
                  <a:pt x="1346" y="125"/>
                  <a:pt x="1346" y="125"/>
                </a:cubicBezTo>
                <a:cubicBezTo>
                  <a:pt x="1345" y="132"/>
                  <a:pt x="1345" y="138"/>
                  <a:pt x="1344" y="142"/>
                </a:cubicBezTo>
                <a:cubicBezTo>
                  <a:pt x="1343" y="150"/>
                  <a:pt x="1342" y="154"/>
                  <a:pt x="1342" y="156"/>
                </a:cubicBezTo>
                <a:cubicBezTo>
                  <a:pt x="1342" y="157"/>
                  <a:pt x="1342" y="158"/>
                  <a:pt x="1343" y="159"/>
                </a:cubicBezTo>
                <a:cubicBezTo>
                  <a:pt x="1344" y="160"/>
                  <a:pt x="1345" y="160"/>
                  <a:pt x="1347" y="160"/>
                </a:cubicBezTo>
                <a:cubicBezTo>
                  <a:pt x="1349" y="160"/>
                  <a:pt x="1350" y="159"/>
                  <a:pt x="1352" y="158"/>
                </a:cubicBezTo>
                <a:cubicBezTo>
                  <a:pt x="1353" y="157"/>
                  <a:pt x="1354" y="156"/>
                  <a:pt x="1355" y="155"/>
                </a:cubicBezTo>
                <a:cubicBezTo>
                  <a:pt x="1354" y="154"/>
                  <a:pt x="1354" y="154"/>
                  <a:pt x="1354" y="154"/>
                </a:cubicBezTo>
                <a:cubicBezTo>
                  <a:pt x="1353" y="154"/>
                  <a:pt x="1352" y="155"/>
                  <a:pt x="1352" y="155"/>
                </a:cubicBezTo>
                <a:cubicBezTo>
                  <a:pt x="1351" y="156"/>
                  <a:pt x="1351" y="156"/>
                  <a:pt x="1350" y="156"/>
                </a:cubicBezTo>
                <a:cubicBezTo>
                  <a:pt x="1350" y="156"/>
                  <a:pt x="1350" y="156"/>
                  <a:pt x="1349" y="155"/>
                </a:cubicBezTo>
                <a:cubicBezTo>
                  <a:pt x="1349" y="155"/>
                  <a:pt x="1349" y="155"/>
                  <a:pt x="1349" y="154"/>
                </a:cubicBezTo>
                <a:lnTo>
                  <a:pt x="1349" y="153"/>
                </a:lnTo>
                <a:close/>
                <a:moveTo>
                  <a:pt x="1351" y="112"/>
                </a:moveTo>
                <a:cubicBezTo>
                  <a:pt x="1353" y="112"/>
                  <a:pt x="1354" y="111"/>
                  <a:pt x="1355" y="110"/>
                </a:cubicBezTo>
                <a:cubicBezTo>
                  <a:pt x="1356" y="109"/>
                  <a:pt x="1356" y="108"/>
                  <a:pt x="1356" y="107"/>
                </a:cubicBezTo>
                <a:cubicBezTo>
                  <a:pt x="1356" y="106"/>
                  <a:pt x="1356" y="105"/>
                  <a:pt x="1355" y="104"/>
                </a:cubicBezTo>
                <a:cubicBezTo>
                  <a:pt x="1354" y="103"/>
                  <a:pt x="1353" y="103"/>
                  <a:pt x="1352" y="103"/>
                </a:cubicBezTo>
                <a:cubicBezTo>
                  <a:pt x="1351" y="103"/>
                  <a:pt x="1350" y="103"/>
                  <a:pt x="1349" y="104"/>
                </a:cubicBezTo>
                <a:cubicBezTo>
                  <a:pt x="1348" y="105"/>
                  <a:pt x="1348" y="107"/>
                  <a:pt x="1348" y="108"/>
                </a:cubicBezTo>
                <a:cubicBezTo>
                  <a:pt x="1348" y="109"/>
                  <a:pt x="1348" y="110"/>
                  <a:pt x="1349" y="111"/>
                </a:cubicBezTo>
                <a:cubicBezTo>
                  <a:pt x="1350" y="111"/>
                  <a:pt x="1350" y="112"/>
                  <a:pt x="1351" y="112"/>
                </a:cubicBezTo>
                <a:close/>
                <a:moveTo>
                  <a:pt x="1374" y="129"/>
                </a:moveTo>
                <a:cubicBezTo>
                  <a:pt x="1375" y="120"/>
                  <a:pt x="1375" y="120"/>
                  <a:pt x="1375" y="120"/>
                </a:cubicBezTo>
                <a:cubicBezTo>
                  <a:pt x="1374" y="119"/>
                  <a:pt x="1374" y="119"/>
                  <a:pt x="1374" y="119"/>
                </a:cubicBezTo>
                <a:cubicBezTo>
                  <a:pt x="1365" y="121"/>
                  <a:pt x="1365" y="121"/>
                  <a:pt x="1365" y="121"/>
                </a:cubicBezTo>
                <a:cubicBezTo>
                  <a:pt x="1365" y="124"/>
                  <a:pt x="1365" y="124"/>
                  <a:pt x="1365" y="124"/>
                </a:cubicBezTo>
                <a:cubicBezTo>
                  <a:pt x="1368" y="125"/>
                  <a:pt x="1368" y="125"/>
                  <a:pt x="1368" y="125"/>
                </a:cubicBezTo>
                <a:cubicBezTo>
                  <a:pt x="1364" y="159"/>
                  <a:pt x="1364" y="159"/>
                  <a:pt x="1364" y="159"/>
                </a:cubicBezTo>
                <a:cubicBezTo>
                  <a:pt x="1370" y="159"/>
                  <a:pt x="1370" y="159"/>
                  <a:pt x="1370" y="159"/>
                </a:cubicBezTo>
                <a:cubicBezTo>
                  <a:pt x="1374" y="134"/>
                  <a:pt x="1374" y="134"/>
                  <a:pt x="1374" y="134"/>
                </a:cubicBezTo>
                <a:cubicBezTo>
                  <a:pt x="1375" y="131"/>
                  <a:pt x="1377" y="129"/>
                  <a:pt x="1380" y="127"/>
                </a:cubicBezTo>
                <a:cubicBezTo>
                  <a:pt x="1382" y="125"/>
                  <a:pt x="1384" y="124"/>
                  <a:pt x="1386" y="124"/>
                </a:cubicBezTo>
                <a:cubicBezTo>
                  <a:pt x="1388" y="124"/>
                  <a:pt x="1389" y="125"/>
                  <a:pt x="1389" y="126"/>
                </a:cubicBezTo>
                <a:cubicBezTo>
                  <a:pt x="1390" y="127"/>
                  <a:pt x="1390" y="128"/>
                  <a:pt x="1390" y="130"/>
                </a:cubicBezTo>
                <a:cubicBezTo>
                  <a:pt x="1390" y="132"/>
                  <a:pt x="1390" y="134"/>
                  <a:pt x="1390" y="135"/>
                </a:cubicBezTo>
                <a:cubicBezTo>
                  <a:pt x="1390" y="137"/>
                  <a:pt x="1389" y="140"/>
                  <a:pt x="1389" y="142"/>
                </a:cubicBezTo>
                <a:cubicBezTo>
                  <a:pt x="1388" y="144"/>
                  <a:pt x="1388" y="144"/>
                  <a:pt x="1388" y="144"/>
                </a:cubicBezTo>
                <a:cubicBezTo>
                  <a:pt x="1388" y="147"/>
                  <a:pt x="1388" y="147"/>
                  <a:pt x="1388" y="147"/>
                </a:cubicBezTo>
                <a:cubicBezTo>
                  <a:pt x="1387" y="151"/>
                  <a:pt x="1387" y="154"/>
                  <a:pt x="1387" y="156"/>
                </a:cubicBezTo>
                <a:cubicBezTo>
                  <a:pt x="1387" y="159"/>
                  <a:pt x="1388" y="160"/>
                  <a:pt x="1391" y="160"/>
                </a:cubicBezTo>
                <a:cubicBezTo>
                  <a:pt x="1392" y="160"/>
                  <a:pt x="1394" y="160"/>
                  <a:pt x="1395" y="159"/>
                </a:cubicBezTo>
                <a:cubicBezTo>
                  <a:pt x="1396" y="159"/>
                  <a:pt x="1397" y="158"/>
                  <a:pt x="1397" y="157"/>
                </a:cubicBezTo>
                <a:cubicBezTo>
                  <a:pt x="1398" y="157"/>
                  <a:pt x="1399" y="156"/>
                  <a:pt x="1399" y="156"/>
                </a:cubicBezTo>
                <a:cubicBezTo>
                  <a:pt x="1398" y="154"/>
                  <a:pt x="1398" y="154"/>
                  <a:pt x="1398" y="154"/>
                </a:cubicBezTo>
                <a:cubicBezTo>
                  <a:pt x="1397" y="155"/>
                  <a:pt x="1396" y="156"/>
                  <a:pt x="1395" y="156"/>
                </a:cubicBezTo>
                <a:cubicBezTo>
                  <a:pt x="1394" y="156"/>
                  <a:pt x="1394" y="155"/>
                  <a:pt x="1394" y="154"/>
                </a:cubicBezTo>
                <a:cubicBezTo>
                  <a:pt x="1394" y="152"/>
                  <a:pt x="1394" y="149"/>
                  <a:pt x="1395" y="145"/>
                </a:cubicBezTo>
                <a:cubicBezTo>
                  <a:pt x="1395" y="142"/>
                  <a:pt x="1395" y="142"/>
                  <a:pt x="1395" y="142"/>
                </a:cubicBezTo>
                <a:cubicBezTo>
                  <a:pt x="1396" y="140"/>
                  <a:pt x="1396" y="140"/>
                  <a:pt x="1396" y="140"/>
                </a:cubicBezTo>
                <a:cubicBezTo>
                  <a:pt x="1397" y="135"/>
                  <a:pt x="1397" y="132"/>
                  <a:pt x="1397" y="130"/>
                </a:cubicBezTo>
                <a:cubicBezTo>
                  <a:pt x="1397" y="126"/>
                  <a:pt x="1397" y="123"/>
                  <a:pt x="1395" y="122"/>
                </a:cubicBezTo>
                <a:cubicBezTo>
                  <a:pt x="1394" y="120"/>
                  <a:pt x="1392" y="119"/>
                  <a:pt x="1389" y="119"/>
                </a:cubicBezTo>
                <a:cubicBezTo>
                  <a:pt x="1386" y="119"/>
                  <a:pt x="1384" y="120"/>
                  <a:pt x="1381" y="122"/>
                </a:cubicBezTo>
                <a:cubicBezTo>
                  <a:pt x="1379" y="124"/>
                  <a:pt x="1376" y="126"/>
                  <a:pt x="1374" y="129"/>
                </a:cubicBezTo>
                <a:close/>
                <a:moveTo>
                  <a:pt x="1433" y="162"/>
                </a:moveTo>
                <a:cubicBezTo>
                  <a:pt x="1440" y="119"/>
                  <a:pt x="1440" y="119"/>
                  <a:pt x="1440" y="119"/>
                </a:cubicBezTo>
                <a:cubicBezTo>
                  <a:pt x="1435" y="121"/>
                  <a:pt x="1435" y="121"/>
                  <a:pt x="1435" y="121"/>
                </a:cubicBezTo>
                <a:cubicBezTo>
                  <a:pt x="1434" y="121"/>
                  <a:pt x="1433" y="120"/>
                  <a:pt x="1432" y="120"/>
                </a:cubicBezTo>
                <a:cubicBezTo>
                  <a:pt x="1430" y="120"/>
                  <a:pt x="1429" y="119"/>
                  <a:pt x="1428" y="119"/>
                </a:cubicBezTo>
                <a:cubicBezTo>
                  <a:pt x="1423" y="119"/>
                  <a:pt x="1419" y="121"/>
                  <a:pt x="1416" y="123"/>
                </a:cubicBezTo>
                <a:cubicBezTo>
                  <a:pt x="1412" y="126"/>
                  <a:pt x="1410" y="129"/>
                  <a:pt x="1408" y="133"/>
                </a:cubicBezTo>
                <a:cubicBezTo>
                  <a:pt x="1406" y="137"/>
                  <a:pt x="1405" y="141"/>
                  <a:pt x="1405" y="145"/>
                </a:cubicBezTo>
                <a:cubicBezTo>
                  <a:pt x="1405" y="150"/>
                  <a:pt x="1406" y="153"/>
                  <a:pt x="1408" y="156"/>
                </a:cubicBezTo>
                <a:cubicBezTo>
                  <a:pt x="1410" y="159"/>
                  <a:pt x="1413" y="160"/>
                  <a:pt x="1417" y="160"/>
                </a:cubicBezTo>
                <a:cubicBezTo>
                  <a:pt x="1419" y="160"/>
                  <a:pt x="1421" y="159"/>
                  <a:pt x="1423" y="158"/>
                </a:cubicBezTo>
                <a:cubicBezTo>
                  <a:pt x="1425" y="157"/>
                  <a:pt x="1426" y="156"/>
                  <a:pt x="1428" y="155"/>
                </a:cubicBezTo>
                <a:cubicBezTo>
                  <a:pt x="1426" y="164"/>
                  <a:pt x="1426" y="164"/>
                  <a:pt x="1426" y="164"/>
                </a:cubicBezTo>
                <a:cubicBezTo>
                  <a:pt x="1426" y="167"/>
                  <a:pt x="1425" y="169"/>
                  <a:pt x="1424" y="170"/>
                </a:cubicBezTo>
                <a:cubicBezTo>
                  <a:pt x="1422" y="172"/>
                  <a:pt x="1420" y="172"/>
                  <a:pt x="1417" y="172"/>
                </a:cubicBezTo>
                <a:cubicBezTo>
                  <a:pt x="1415" y="172"/>
                  <a:pt x="1414" y="172"/>
                  <a:pt x="1412" y="171"/>
                </a:cubicBezTo>
                <a:cubicBezTo>
                  <a:pt x="1410" y="171"/>
                  <a:pt x="1409" y="170"/>
                  <a:pt x="1408" y="170"/>
                </a:cubicBezTo>
                <a:cubicBezTo>
                  <a:pt x="1406" y="175"/>
                  <a:pt x="1406" y="175"/>
                  <a:pt x="1406" y="175"/>
                </a:cubicBezTo>
                <a:cubicBezTo>
                  <a:pt x="1407" y="176"/>
                  <a:pt x="1408" y="176"/>
                  <a:pt x="1410" y="176"/>
                </a:cubicBezTo>
                <a:cubicBezTo>
                  <a:pt x="1411" y="177"/>
                  <a:pt x="1413" y="177"/>
                  <a:pt x="1414" y="177"/>
                </a:cubicBezTo>
                <a:cubicBezTo>
                  <a:pt x="1417" y="177"/>
                  <a:pt x="1420" y="176"/>
                  <a:pt x="1423" y="175"/>
                </a:cubicBezTo>
                <a:cubicBezTo>
                  <a:pt x="1425" y="174"/>
                  <a:pt x="1428" y="173"/>
                  <a:pt x="1430" y="170"/>
                </a:cubicBezTo>
                <a:cubicBezTo>
                  <a:pt x="1432" y="168"/>
                  <a:pt x="1433" y="165"/>
                  <a:pt x="1433" y="162"/>
                </a:cubicBezTo>
                <a:close/>
                <a:moveTo>
                  <a:pt x="1432" y="125"/>
                </a:moveTo>
                <a:cubicBezTo>
                  <a:pt x="1428" y="150"/>
                  <a:pt x="1428" y="150"/>
                  <a:pt x="1428" y="150"/>
                </a:cubicBezTo>
                <a:cubicBezTo>
                  <a:pt x="1427" y="151"/>
                  <a:pt x="1426" y="153"/>
                  <a:pt x="1424" y="154"/>
                </a:cubicBezTo>
                <a:cubicBezTo>
                  <a:pt x="1423" y="155"/>
                  <a:pt x="1421" y="155"/>
                  <a:pt x="1419" y="155"/>
                </a:cubicBezTo>
                <a:cubicBezTo>
                  <a:pt x="1417" y="155"/>
                  <a:pt x="1415" y="155"/>
                  <a:pt x="1414" y="153"/>
                </a:cubicBezTo>
                <a:cubicBezTo>
                  <a:pt x="1413" y="151"/>
                  <a:pt x="1412" y="148"/>
                  <a:pt x="1412" y="145"/>
                </a:cubicBezTo>
                <a:cubicBezTo>
                  <a:pt x="1412" y="142"/>
                  <a:pt x="1413" y="138"/>
                  <a:pt x="1414" y="135"/>
                </a:cubicBezTo>
                <a:cubicBezTo>
                  <a:pt x="1415" y="132"/>
                  <a:pt x="1417" y="129"/>
                  <a:pt x="1419" y="127"/>
                </a:cubicBezTo>
                <a:cubicBezTo>
                  <a:pt x="1421" y="124"/>
                  <a:pt x="1424" y="123"/>
                  <a:pt x="1427" y="123"/>
                </a:cubicBezTo>
                <a:cubicBezTo>
                  <a:pt x="1429" y="123"/>
                  <a:pt x="1431" y="124"/>
                  <a:pt x="1432" y="125"/>
                </a:cubicBezTo>
                <a:close/>
                <a:moveTo>
                  <a:pt x="1076" y="242"/>
                </a:moveTo>
                <a:cubicBezTo>
                  <a:pt x="1072" y="249"/>
                  <a:pt x="1072" y="249"/>
                  <a:pt x="1072" y="249"/>
                </a:cubicBezTo>
                <a:cubicBezTo>
                  <a:pt x="1072" y="242"/>
                  <a:pt x="1072" y="242"/>
                  <a:pt x="1072" y="242"/>
                </a:cubicBezTo>
                <a:cubicBezTo>
                  <a:pt x="1066" y="208"/>
                  <a:pt x="1066" y="208"/>
                  <a:pt x="1066" y="208"/>
                </a:cubicBezTo>
                <a:cubicBezTo>
                  <a:pt x="1050" y="208"/>
                  <a:pt x="1050" y="208"/>
                  <a:pt x="1050" y="208"/>
                </a:cubicBezTo>
                <a:cubicBezTo>
                  <a:pt x="1049" y="211"/>
                  <a:pt x="1049" y="211"/>
                  <a:pt x="1049" y="211"/>
                </a:cubicBezTo>
                <a:cubicBezTo>
                  <a:pt x="1056" y="212"/>
                  <a:pt x="1056" y="212"/>
                  <a:pt x="1056" y="212"/>
                </a:cubicBezTo>
                <a:cubicBezTo>
                  <a:pt x="1045" y="256"/>
                  <a:pt x="1045" y="256"/>
                  <a:pt x="1045" y="256"/>
                </a:cubicBezTo>
                <a:cubicBezTo>
                  <a:pt x="1039" y="257"/>
                  <a:pt x="1039" y="257"/>
                  <a:pt x="1039" y="257"/>
                </a:cubicBezTo>
                <a:cubicBezTo>
                  <a:pt x="1039" y="260"/>
                  <a:pt x="1039" y="260"/>
                  <a:pt x="1039" y="260"/>
                </a:cubicBezTo>
                <a:cubicBezTo>
                  <a:pt x="1057" y="260"/>
                  <a:pt x="1057" y="260"/>
                  <a:pt x="1057" y="260"/>
                </a:cubicBezTo>
                <a:cubicBezTo>
                  <a:pt x="1057" y="257"/>
                  <a:pt x="1057" y="257"/>
                  <a:pt x="1057" y="257"/>
                </a:cubicBezTo>
                <a:cubicBezTo>
                  <a:pt x="1050" y="256"/>
                  <a:pt x="1050" y="256"/>
                  <a:pt x="1050" y="256"/>
                </a:cubicBezTo>
                <a:cubicBezTo>
                  <a:pt x="1057" y="225"/>
                  <a:pt x="1057" y="225"/>
                  <a:pt x="1057" y="225"/>
                </a:cubicBezTo>
                <a:cubicBezTo>
                  <a:pt x="1060" y="211"/>
                  <a:pt x="1060" y="211"/>
                  <a:pt x="1060" y="211"/>
                </a:cubicBezTo>
                <a:cubicBezTo>
                  <a:pt x="1062" y="225"/>
                  <a:pt x="1062" y="225"/>
                  <a:pt x="1062" y="225"/>
                </a:cubicBezTo>
                <a:cubicBezTo>
                  <a:pt x="1068" y="261"/>
                  <a:pt x="1068" y="261"/>
                  <a:pt x="1068" y="261"/>
                </a:cubicBezTo>
                <a:cubicBezTo>
                  <a:pt x="1072" y="260"/>
                  <a:pt x="1072" y="260"/>
                  <a:pt x="1072" y="260"/>
                </a:cubicBezTo>
                <a:cubicBezTo>
                  <a:pt x="1088" y="224"/>
                  <a:pt x="1088" y="224"/>
                  <a:pt x="1088" y="224"/>
                </a:cubicBezTo>
                <a:cubicBezTo>
                  <a:pt x="1094" y="211"/>
                  <a:pt x="1094" y="211"/>
                  <a:pt x="1094" y="211"/>
                </a:cubicBezTo>
                <a:cubicBezTo>
                  <a:pt x="1093" y="225"/>
                  <a:pt x="1093" y="225"/>
                  <a:pt x="1093" y="225"/>
                </a:cubicBezTo>
                <a:cubicBezTo>
                  <a:pt x="1091" y="256"/>
                  <a:pt x="1091" y="256"/>
                  <a:pt x="1091" y="256"/>
                </a:cubicBezTo>
                <a:cubicBezTo>
                  <a:pt x="1085" y="257"/>
                  <a:pt x="1085" y="257"/>
                  <a:pt x="1085" y="257"/>
                </a:cubicBezTo>
                <a:cubicBezTo>
                  <a:pt x="1084" y="260"/>
                  <a:pt x="1084" y="260"/>
                  <a:pt x="1084" y="260"/>
                </a:cubicBezTo>
                <a:cubicBezTo>
                  <a:pt x="1104" y="260"/>
                  <a:pt x="1104" y="260"/>
                  <a:pt x="1104" y="260"/>
                </a:cubicBezTo>
                <a:cubicBezTo>
                  <a:pt x="1104" y="257"/>
                  <a:pt x="1104" y="257"/>
                  <a:pt x="1104" y="257"/>
                </a:cubicBezTo>
                <a:cubicBezTo>
                  <a:pt x="1098" y="256"/>
                  <a:pt x="1098" y="256"/>
                  <a:pt x="1098" y="256"/>
                </a:cubicBezTo>
                <a:cubicBezTo>
                  <a:pt x="1099" y="212"/>
                  <a:pt x="1099" y="212"/>
                  <a:pt x="1099" y="212"/>
                </a:cubicBezTo>
                <a:cubicBezTo>
                  <a:pt x="1106" y="211"/>
                  <a:pt x="1106" y="211"/>
                  <a:pt x="1106" y="211"/>
                </a:cubicBezTo>
                <a:cubicBezTo>
                  <a:pt x="1106" y="208"/>
                  <a:pt x="1106" y="208"/>
                  <a:pt x="1106" y="208"/>
                </a:cubicBezTo>
                <a:cubicBezTo>
                  <a:pt x="1091" y="208"/>
                  <a:pt x="1091" y="208"/>
                  <a:pt x="1091" y="208"/>
                </a:cubicBezTo>
                <a:cubicBezTo>
                  <a:pt x="1090" y="211"/>
                  <a:pt x="1087" y="217"/>
                  <a:pt x="1083" y="225"/>
                </a:cubicBezTo>
                <a:cubicBezTo>
                  <a:pt x="1079" y="233"/>
                  <a:pt x="1077" y="239"/>
                  <a:pt x="1076" y="242"/>
                </a:cubicBezTo>
                <a:close/>
                <a:moveTo>
                  <a:pt x="1138" y="253"/>
                </a:moveTo>
                <a:cubicBezTo>
                  <a:pt x="1136" y="251"/>
                  <a:pt x="1136" y="251"/>
                  <a:pt x="1136" y="251"/>
                </a:cubicBezTo>
                <a:cubicBezTo>
                  <a:pt x="1134" y="253"/>
                  <a:pt x="1133" y="254"/>
                  <a:pt x="1131" y="255"/>
                </a:cubicBezTo>
                <a:cubicBezTo>
                  <a:pt x="1129" y="256"/>
                  <a:pt x="1126" y="256"/>
                  <a:pt x="1124" y="256"/>
                </a:cubicBezTo>
                <a:cubicBezTo>
                  <a:pt x="1121" y="256"/>
                  <a:pt x="1119" y="255"/>
                  <a:pt x="1118" y="253"/>
                </a:cubicBezTo>
                <a:cubicBezTo>
                  <a:pt x="1117" y="250"/>
                  <a:pt x="1116" y="247"/>
                  <a:pt x="1116" y="244"/>
                </a:cubicBezTo>
                <a:cubicBezTo>
                  <a:pt x="1119" y="244"/>
                  <a:pt x="1123" y="244"/>
                  <a:pt x="1126" y="242"/>
                </a:cubicBezTo>
                <a:cubicBezTo>
                  <a:pt x="1130" y="241"/>
                  <a:pt x="1133" y="240"/>
                  <a:pt x="1136" y="237"/>
                </a:cubicBezTo>
                <a:cubicBezTo>
                  <a:pt x="1138" y="235"/>
                  <a:pt x="1140" y="232"/>
                  <a:pt x="1140" y="229"/>
                </a:cubicBezTo>
                <a:cubicBezTo>
                  <a:pt x="1140" y="226"/>
                  <a:pt x="1139" y="224"/>
                  <a:pt x="1137" y="223"/>
                </a:cubicBezTo>
                <a:cubicBezTo>
                  <a:pt x="1135" y="221"/>
                  <a:pt x="1133" y="220"/>
                  <a:pt x="1130" y="220"/>
                </a:cubicBezTo>
                <a:cubicBezTo>
                  <a:pt x="1126" y="220"/>
                  <a:pt x="1122" y="221"/>
                  <a:pt x="1119" y="224"/>
                </a:cubicBezTo>
                <a:cubicBezTo>
                  <a:pt x="1116" y="226"/>
                  <a:pt x="1114" y="229"/>
                  <a:pt x="1112" y="233"/>
                </a:cubicBezTo>
                <a:cubicBezTo>
                  <a:pt x="1110" y="237"/>
                  <a:pt x="1109" y="241"/>
                  <a:pt x="1109" y="246"/>
                </a:cubicBezTo>
                <a:cubicBezTo>
                  <a:pt x="1109" y="248"/>
                  <a:pt x="1110" y="251"/>
                  <a:pt x="1111" y="253"/>
                </a:cubicBezTo>
                <a:cubicBezTo>
                  <a:pt x="1111" y="255"/>
                  <a:pt x="1113" y="257"/>
                  <a:pt x="1115" y="259"/>
                </a:cubicBezTo>
                <a:cubicBezTo>
                  <a:pt x="1117" y="260"/>
                  <a:pt x="1120" y="261"/>
                  <a:pt x="1123" y="261"/>
                </a:cubicBezTo>
                <a:cubicBezTo>
                  <a:pt x="1126" y="261"/>
                  <a:pt x="1129" y="260"/>
                  <a:pt x="1132" y="258"/>
                </a:cubicBezTo>
                <a:cubicBezTo>
                  <a:pt x="1135" y="257"/>
                  <a:pt x="1136" y="255"/>
                  <a:pt x="1138" y="253"/>
                </a:cubicBezTo>
                <a:close/>
                <a:moveTo>
                  <a:pt x="1128" y="224"/>
                </a:moveTo>
                <a:cubicBezTo>
                  <a:pt x="1130" y="224"/>
                  <a:pt x="1131" y="224"/>
                  <a:pt x="1132" y="225"/>
                </a:cubicBezTo>
                <a:cubicBezTo>
                  <a:pt x="1132" y="226"/>
                  <a:pt x="1133" y="228"/>
                  <a:pt x="1133" y="229"/>
                </a:cubicBezTo>
                <a:cubicBezTo>
                  <a:pt x="1133" y="232"/>
                  <a:pt x="1132" y="234"/>
                  <a:pt x="1130" y="235"/>
                </a:cubicBezTo>
                <a:cubicBezTo>
                  <a:pt x="1129" y="237"/>
                  <a:pt x="1126" y="238"/>
                  <a:pt x="1124" y="239"/>
                </a:cubicBezTo>
                <a:cubicBezTo>
                  <a:pt x="1121" y="240"/>
                  <a:pt x="1119" y="241"/>
                  <a:pt x="1116" y="241"/>
                </a:cubicBezTo>
                <a:cubicBezTo>
                  <a:pt x="1117" y="238"/>
                  <a:pt x="1117" y="236"/>
                  <a:pt x="1118" y="233"/>
                </a:cubicBezTo>
                <a:cubicBezTo>
                  <a:pt x="1119" y="230"/>
                  <a:pt x="1121" y="228"/>
                  <a:pt x="1122" y="226"/>
                </a:cubicBezTo>
                <a:cubicBezTo>
                  <a:pt x="1124" y="225"/>
                  <a:pt x="1126" y="224"/>
                  <a:pt x="1128" y="224"/>
                </a:cubicBezTo>
                <a:close/>
                <a:moveTo>
                  <a:pt x="1175" y="254"/>
                </a:moveTo>
                <a:cubicBezTo>
                  <a:pt x="1182" y="204"/>
                  <a:pt x="1182" y="204"/>
                  <a:pt x="1182" y="204"/>
                </a:cubicBezTo>
                <a:cubicBezTo>
                  <a:pt x="1181" y="204"/>
                  <a:pt x="1181" y="204"/>
                  <a:pt x="1181" y="204"/>
                </a:cubicBezTo>
                <a:cubicBezTo>
                  <a:pt x="1171" y="205"/>
                  <a:pt x="1171" y="205"/>
                  <a:pt x="1171" y="205"/>
                </a:cubicBezTo>
                <a:cubicBezTo>
                  <a:pt x="1170" y="207"/>
                  <a:pt x="1170" y="207"/>
                  <a:pt x="1170" y="207"/>
                </a:cubicBezTo>
                <a:cubicBezTo>
                  <a:pt x="1175" y="208"/>
                  <a:pt x="1175" y="208"/>
                  <a:pt x="1175" y="208"/>
                </a:cubicBezTo>
                <a:cubicBezTo>
                  <a:pt x="1173" y="221"/>
                  <a:pt x="1173" y="221"/>
                  <a:pt x="1173" y="221"/>
                </a:cubicBezTo>
                <a:cubicBezTo>
                  <a:pt x="1171" y="220"/>
                  <a:pt x="1169" y="220"/>
                  <a:pt x="1168" y="220"/>
                </a:cubicBezTo>
                <a:cubicBezTo>
                  <a:pt x="1163" y="220"/>
                  <a:pt x="1159" y="222"/>
                  <a:pt x="1156" y="224"/>
                </a:cubicBezTo>
                <a:cubicBezTo>
                  <a:pt x="1152" y="227"/>
                  <a:pt x="1150" y="230"/>
                  <a:pt x="1148" y="234"/>
                </a:cubicBezTo>
                <a:cubicBezTo>
                  <a:pt x="1146" y="238"/>
                  <a:pt x="1145" y="242"/>
                  <a:pt x="1145" y="246"/>
                </a:cubicBezTo>
                <a:cubicBezTo>
                  <a:pt x="1145" y="250"/>
                  <a:pt x="1146" y="254"/>
                  <a:pt x="1148" y="257"/>
                </a:cubicBezTo>
                <a:cubicBezTo>
                  <a:pt x="1150" y="259"/>
                  <a:pt x="1153" y="261"/>
                  <a:pt x="1157" y="261"/>
                </a:cubicBezTo>
                <a:cubicBezTo>
                  <a:pt x="1159" y="261"/>
                  <a:pt x="1162" y="260"/>
                  <a:pt x="1163" y="259"/>
                </a:cubicBezTo>
                <a:cubicBezTo>
                  <a:pt x="1165" y="258"/>
                  <a:pt x="1167" y="256"/>
                  <a:pt x="1168" y="255"/>
                </a:cubicBezTo>
                <a:cubicBezTo>
                  <a:pt x="1168" y="256"/>
                  <a:pt x="1168" y="256"/>
                  <a:pt x="1168" y="256"/>
                </a:cubicBezTo>
                <a:cubicBezTo>
                  <a:pt x="1168" y="259"/>
                  <a:pt x="1170" y="261"/>
                  <a:pt x="1173" y="261"/>
                </a:cubicBezTo>
                <a:cubicBezTo>
                  <a:pt x="1174" y="261"/>
                  <a:pt x="1176" y="260"/>
                  <a:pt x="1177" y="259"/>
                </a:cubicBezTo>
                <a:cubicBezTo>
                  <a:pt x="1178" y="258"/>
                  <a:pt x="1179" y="257"/>
                  <a:pt x="1180" y="256"/>
                </a:cubicBezTo>
                <a:cubicBezTo>
                  <a:pt x="1179" y="255"/>
                  <a:pt x="1179" y="255"/>
                  <a:pt x="1179" y="255"/>
                </a:cubicBezTo>
                <a:cubicBezTo>
                  <a:pt x="1178" y="256"/>
                  <a:pt x="1177" y="256"/>
                  <a:pt x="1176" y="256"/>
                </a:cubicBezTo>
                <a:cubicBezTo>
                  <a:pt x="1175" y="256"/>
                  <a:pt x="1175" y="256"/>
                  <a:pt x="1175" y="255"/>
                </a:cubicBezTo>
                <a:cubicBezTo>
                  <a:pt x="1175" y="254"/>
                  <a:pt x="1175" y="254"/>
                  <a:pt x="1175" y="254"/>
                </a:cubicBezTo>
                <a:close/>
                <a:moveTo>
                  <a:pt x="1172" y="225"/>
                </a:moveTo>
                <a:cubicBezTo>
                  <a:pt x="1169" y="250"/>
                  <a:pt x="1169" y="250"/>
                  <a:pt x="1169" y="250"/>
                </a:cubicBezTo>
                <a:cubicBezTo>
                  <a:pt x="1168" y="252"/>
                  <a:pt x="1166" y="253"/>
                  <a:pt x="1164" y="254"/>
                </a:cubicBezTo>
                <a:cubicBezTo>
                  <a:pt x="1163" y="256"/>
                  <a:pt x="1161" y="256"/>
                  <a:pt x="1159" y="256"/>
                </a:cubicBezTo>
                <a:cubicBezTo>
                  <a:pt x="1157" y="256"/>
                  <a:pt x="1155" y="255"/>
                  <a:pt x="1154" y="253"/>
                </a:cubicBezTo>
                <a:cubicBezTo>
                  <a:pt x="1153" y="252"/>
                  <a:pt x="1153" y="249"/>
                  <a:pt x="1153" y="246"/>
                </a:cubicBezTo>
                <a:cubicBezTo>
                  <a:pt x="1153" y="242"/>
                  <a:pt x="1153" y="239"/>
                  <a:pt x="1154" y="236"/>
                </a:cubicBezTo>
                <a:cubicBezTo>
                  <a:pt x="1155" y="232"/>
                  <a:pt x="1157" y="230"/>
                  <a:pt x="1159" y="227"/>
                </a:cubicBezTo>
                <a:cubicBezTo>
                  <a:pt x="1161" y="225"/>
                  <a:pt x="1164" y="224"/>
                  <a:pt x="1167" y="224"/>
                </a:cubicBezTo>
                <a:cubicBezTo>
                  <a:pt x="1169" y="224"/>
                  <a:pt x="1171" y="224"/>
                  <a:pt x="1172" y="225"/>
                </a:cubicBezTo>
                <a:close/>
                <a:moveTo>
                  <a:pt x="1198" y="254"/>
                </a:moveTo>
                <a:cubicBezTo>
                  <a:pt x="1202" y="221"/>
                  <a:pt x="1202" y="221"/>
                  <a:pt x="1202" y="221"/>
                </a:cubicBezTo>
                <a:cubicBezTo>
                  <a:pt x="1201" y="220"/>
                  <a:pt x="1201" y="220"/>
                  <a:pt x="1201" y="220"/>
                </a:cubicBezTo>
                <a:cubicBezTo>
                  <a:pt x="1191" y="222"/>
                  <a:pt x="1191" y="222"/>
                  <a:pt x="1191" y="222"/>
                </a:cubicBezTo>
                <a:cubicBezTo>
                  <a:pt x="1190" y="224"/>
                  <a:pt x="1190" y="224"/>
                  <a:pt x="1190" y="224"/>
                </a:cubicBezTo>
                <a:cubicBezTo>
                  <a:pt x="1195" y="226"/>
                  <a:pt x="1195" y="226"/>
                  <a:pt x="1195" y="226"/>
                </a:cubicBezTo>
                <a:cubicBezTo>
                  <a:pt x="1194" y="233"/>
                  <a:pt x="1193" y="239"/>
                  <a:pt x="1192" y="243"/>
                </a:cubicBezTo>
                <a:cubicBezTo>
                  <a:pt x="1191" y="251"/>
                  <a:pt x="1191" y="255"/>
                  <a:pt x="1191" y="256"/>
                </a:cubicBezTo>
                <a:cubicBezTo>
                  <a:pt x="1190" y="258"/>
                  <a:pt x="1191" y="259"/>
                  <a:pt x="1192" y="260"/>
                </a:cubicBezTo>
                <a:cubicBezTo>
                  <a:pt x="1192" y="260"/>
                  <a:pt x="1194" y="261"/>
                  <a:pt x="1195" y="261"/>
                </a:cubicBezTo>
                <a:cubicBezTo>
                  <a:pt x="1197" y="261"/>
                  <a:pt x="1199" y="260"/>
                  <a:pt x="1200" y="259"/>
                </a:cubicBezTo>
                <a:cubicBezTo>
                  <a:pt x="1202" y="258"/>
                  <a:pt x="1203" y="257"/>
                  <a:pt x="1203" y="256"/>
                </a:cubicBezTo>
                <a:cubicBezTo>
                  <a:pt x="1202" y="254"/>
                  <a:pt x="1202" y="254"/>
                  <a:pt x="1202" y="254"/>
                </a:cubicBezTo>
                <a:cubicBezTo>
                  <a:pt x="1202" y="255"/>
                  <a:pt x="1201" y="256"/>
                  <a:pt x="1200" y="256"/>
                </a:cubicBezTo>
                <a:cubicBezTo>
                  <a:pt x="1200" y="256"/>
                  <a:pt x="1199" y="256"/>
                  <a:pt x="1199" y="256"/>
                </a:cubicBezTo>
                <a:cubicBezTo>
                  <a:pt x="1198" y="256"/>
                  <a:pt x="1198" y="256"/>
                  <a:pt x="1198" y="256"/>
                </a:cubicBezTo>
                <a:cubicBezTo>
                  <a:pt x="1198" y="256"/>
                  <a:pt x="1198" y="255"/>
                  <a:pt x="1198" y="255"/>
                </a:cubicBezTo>
                <a:lnTo>
                  <a:pt x="1198" y="254"/>
                </a:lnTo>
                <a:close/>
                <a:moveTo>
                  <a:pt x="1200" y="213"/>
                </a:moveTo>
                <a:cubicBezTo>
                  <a:pt x="1201" y="213"/>
                  <a:pt x="1202" y="212"/>
                  <a:pt x="1203" y="211"/>
                </a:cubicBezTo>
                <a:cubicBezTo>
                  <a:pt x="1204" y="210"/>
                  <a:pt x="1205" y="209"/>
                  <a:pt x="1205" y="207"/>
                </a:cubicBezTo>
                <a:cubicBezTo>
                  <a:pt x="1205" y="206"/>
                  <a:pt x="1204" y="206"/>
                  <a:pt x="1204" y="205"/>
                </a:cubicBezTo>
                <a:cubicBezTo>
                  <a:pt x="1203" y="204"/>
                  <a:pt x="1202" y="204"/>
                  <a:pt x="1201" y="204"/>
                </a:cubicBezTo>
                <a:cubicBezTo>
                  <a:pt x="1200" y="204"/>
                  <a:pt x="1198" y="204"/>
                  <a:pt x="1198" y="205"/>
                </a:cubicBezTo>
                <a:cubicBezTo>
                  <a:pt x="1197" y="206"/>
                  <a:pt x="1196" y="207"/>
                  <a:pt x="1196" y="209"/>
                </a:cubicBezTo>
                <a:cubicBezTo>
                  <a:pt x="1196" y="210"/>
                  <a:pt x="1197" y="211"/>
                  <a:pt x="1197" y="212"/>
                </a:cubicBezTo>
                <a:cubicBezTo>
                  <a:pt x="1198" y="212"/>
                  <a:pt x="1199" y="213"/>
                  <a:pt x="1200" y="213"/>
                </a:cubicBezTo>
                <a:close/>
                <a:moveTo>
                  <a:pt x="1237" y="228"/>
                </a:moveTo>
                <a:cubicBezTo>
                  <a:pt x="1238" y="229"/>
                  <a:pt x="1238" y="229"/>
                  <a:pt x="1238" y="229"/>
                </a:cubicBezTo>
                <a:cubicBezTo>
                  <a:pt x="1240" y="222"/>
                  <a:pt x="1240" y="222"/>
                  <a:pt x="1240" y="222"/>
                </a:cubicBezTo>
                <a:cubicBezTo>
                  <a:pt x="1239" y="221"/>
                  <a:pt x="1238" y="221"/>
                  <a:pt x="1237" y="221"/>
                </a:cubicBezTo>
                <a:cubicBezTo>
                  <a:pt x="1235" y="220"/>
                  <a:pt x="1234" y="220"/>
                  <a:pt x="1232" y="220"/>
                </a:cubicBezTo>
                <a:cubicBezTo>
                  <a:pt x="1228" y="220"/>
                  <a:pt x="1224" y="221"/>
                  <a:pt x="1221" y="224"/>
                </a:cubicBezTo>
                <a:cubicBezTo>
                  <a:pt x="1218" y="227"/>
                  <a:pt x="1216" y="230"/>
                  <a:pt x="1214" y="234"/>
                </a:cubicBezTo>
                <a:cubicBezTo>
                  <a:pt x="1213" y="237"/>
                  <a:pt x="1212" y="241"/>
                  <a:pt x="1212" y="245"/>
                </a:cubicBezTo>
                <a:cubicBezTo>
                  <a:pt x="1212" y="250"/>
                  <a:pt x="1213" y="254"/>
                  <a:pt x="1215" y="257"/>
                </a:cubicBezTo>
                <a:cubicBezTo>
                  <a:pt x="1217" y="259"/>
                  <a:pt x="1220" y="261"/>
                  <a:pt x="1224" y="261"/>
                </a:cubicBezTo>
                <a:cubicBezTo>
                  <a:pt x="1227" y="261"/>
                  <a:pt x="1230" y="260"/>
                  <a:pt x="1232" y="259"/>
                </a:cubicBezTo>
                <a:cubicBezTo>
                  <a:pt x="1235" y="257"/>
                  <a:pt x="1236" y="256"/>
                  <a:pt x="1238" y="254"/>
                </a:cubicBezTo>
                <a:cubicBezTo>
                  <a:pt x="1236" y="252"/>
                  <a:pt x="1236" y="252"/>
                  <a:pt x="1236" y="252"/>
                </a:cubicBezTo>
                <a:cubicBezTo>
                  <a:pt x="1235" y="253"/>
                  <a:pt x="1233" y="254"/>
                  <a:pt x="1232" y="255"/>
                </a:cubicBezTo>
                <a:cubicBezTo>
                  <a:pt x="1230" y="256"/>
                  <a:pt x="1229" y="256"/>
                  <a:pt x="1227" y="256"/>
                </a:cubicBezTo>
                <a:cubicBezTo>
                  <a:pt x="1224" y="256"/>
                  <a:pt x="1222" y="255"/>
                  <a:pt x="1221" y="253"/>
                </a:cubicBezTo>
                <a:cubicBezTo>
                  <a:pt x="1220" y="251"/>
                  <a:pt x="1219" y="248"/>
                  <a:pt x="1219" y="244"/>
                </a:cubicBezTo>
                <a:cubicBezTo>
                  <a:pt x="1219" y="240"/>
                  <a:pt x="1219" y="237"/>
                  <a:pt x="1221" y="234"/>
                </a:cubicBezTo>
                <a:cubicBezTo>
                  <a:pt x="1222" y="231"/>
                  <a:pt x="1223" y="229"/>
                  <a:pt x="1225" y="227"/>
                </a:cubicBezTo>
                <a:cubicBezTo>
                  <a:pt x="1227" y="225"/>
                  <a:pt x="1229" y="225"/>
                  <a:pt x="1231" y="225"/>
                </a:cubicBezTo>
                <a:cubicBezTo>
                  <a:pt x="1232" y="225"/>
                  <a:pt x="1235" y="226"/>
                  <a:pt x="1237" y="228"/>
                </a:cubicBezTo>
                <a:close/>
                <a:moveTo>
                  <a:pt x="1255" y="254"/>
                </a:moveTo>
                <a:cubicBezTo>
                  <a:pt x="1260" y="221"/>
                  <a:pt x="1260" y="221"/>
                  <a:pt x="1260" y="221"/>
                </a:cubicBezTo>
                <a:cubicBezTo>
                  <a:pt x="1259" y="220"/>
                  <a:pt x="1259" y="220"/>
                  <a:pt x="1259" y="220"/>
                </a:cubicBezTo>
                <a:cubicBezTo>
                  <a:pt x="1249" y="222"/>
                  <a:pt x="1249" y="222"/>
                  <a:pt x="1249" y="222"/>
                </a:cubicBezTo>
                <a:cubicBezTo>
                  <a:pt x="1248" y="224"/>
                  <a:pt x="1248" y="224"/>
                  <a:pt x="1248" y="224"/>
                </a:cubicBezTo>
                <a:cubicBezTo>
                  <a:pt x="1253" y="226"/>
                  <a:pt x="1253" y="226"/>
                  <a:pt x="1253" y="226"/>
                </a:cubicBezTo>
                <a:cubicBezTo>
                  <a:pt x="1252" y="233"/>
                  <a:pt x="1251" y="239"/>
                  <a:pt x="1250" y="243"/>
                </a:cubicBezTo>
                <a:cubicBezTo>
                  <a:pt x="1249" y="251"/>
                  <a:pt x="1248" y="255"/>
                  <a:pt x="1248" y="256"/>
                </a:cubicBezTo>
                <a:cubicBezTo>
                  <a:pt x="1248" y="258"/>
                  <a:pt x="1249" y="259"/>
                  <a:pt x="1249" y="260"/>
                </a:cubicBezTo>
                <a:cubicBezTo>
                  <a:pt x="1250" y="260"/>
                  <a:pt x="1251" y="261"/>
                  <a:pt x="1253" y="261"/>
                </a:cubicBezTo>
                <a:cubicBezTo>
                  <a:pt x="1255" y="261"/>
                  <a:pt x="1256" y="260"/>
                  <a:pt x="1258" y="259"/>
                </a:cubicBezTo>
                <a:cubicBezTo>
                  <a:pt x="1259" y="258"/>
                  <a:pt x="1260" y="257"/>
                  <a:pt x="1261" y="256"/>
                </a:cubicBezTo>
                <a:cubicBezTo>
                  <a:pt x="1260" y="254"/>
                  <a:pt x="1260" y="254"/>
                  <a:pt x="1260" y="254"/>
                </a:cubicBezTo>
                <a:cubicBezTo>
                  <a:pt x="1259" y="255"/>
                  <a:pt x="1259" y="256"/>
                  <a:pt x="1258" y="256"/>
                </a:cubicBezTo>
                <a:cubicBezTo>
                  <a:pt x="1258" y="256"/>
                  <a:pt x="1257" y="256"/>
                  <a:pt x="1256" y="256"/>
                </a:cubicBezTo>
                <a:cubicBezTo>
                  <a:pt x="1256" y="256"/>
                  <a:pt x="1256" y="256"/>
                  <a:pt x="1256" y="256"/>
                </a:cubicBezTo>
                <a:cubicBezTo>
                  <a:pt x="1255" y="256"/>
                  <a:pt x="1255" y="255"/>
                  <a:pt x="1255" y="255"/>
                </a:cubicBezTo>
                <a:lnTo>
                  <a:pt x="1255" y="254"/>
                </a:lnTo>
                <a:close/>
                <a:moveTo>
                  <a:pt x="1258" y="213"/>
                </a:moveTo>
                <a:cubicBezTo>
                  <a:pt x="1259" y="213"/>
                  <a:pt x="1260" y="212"/>
                  <a:pt x="1261" y="211"/>
                </a:cubicBezTo>
                <a:cubicBezTo>
                  <a:pt x="1262" y="210"/>
                  <a:pt x="1262" y="209"/>
                  <a:pt x="1262" y="207"/>
                </a:cubicBezTo>
                <a:cubicBezTo>
                  <a:pt x="1262" y="206"/>
                  <a:pt x="1262" y="206"/>
                  <a:pt x="1261" y="205"/>
                </a:cubicBezTo>
                <a:cubicBezTo>
                  <a:pt x="1261" y="204"/>
                  <a:pt x="1260" y="204"/>
                  <a:pt x="1259" y="204"/>
                </a:cubicBezTo>
                <a:cubicBezTo>
                  <a:pt x="1257" y="204"/>
                  <a:pt x="1256" y="204"/>
                  <a:pt x="1255" y="205"/>
                </a:cubicBezTo>
                <a:cubicBezTo>
                  <a:pt x="1254" y="206"/>
                  <a:pt x="1254" y="207"/>
                  <a:pt x="1254" y="209"/>
                </a:cubicBezTo>
                <a:cubicBezTo>
                  <a:pt x="1254" y="210"/>
                  <a:pt x="1254" y="211"/>
                  <a:pt x="1255" y="212"/>
                </a:cubicBezTo>
                <a:cubicBezTo>
                  <a:pt x="1256" y="212"/>
                  <a:pt x="1257" y="213"/>
                  <a:pt x="1258" y="213"/>
                </a:cubicBezTo>
                <a:close/>
                <a:moveTo>
                  <a:pt x="1282" y="229"/>
                </a:moveTo>
                <a:cubicBezTo>
                  <a:pt x="1283" y="221"/>
                  <a:pt x="1283" y="221"/>
                  <a:pt x="1283" y="221"/>
                </a:cubicBezTo>
                <a:cubicBezTo>
                  <a:pt x="1281" y="220"/>
                  <a:pt x="1281" y="220"/>
                  <a:pt x="1281" y="220"/>
                </a:cubicBezTo>
                <a:cubicBezTo>
                  <a:pt x="1273" y="222"/>
                  <a:pt x="1273" y="222"/>
                  <a:pt x="1273" y="222"/>
                </a:cubicBezTo>
                <a:cubicBezTo>
                  <a:pt x="1272" y="224"/>
                  <a:pt x="1272" y="224"/>
                  <a:pt x="1272" y="224"/>
                </a:cubicBezTo>
                <a:cubicBezTo>
                  <a:pt x="1275" y="226"/>
                  <a:pt x="1275" y="226"/>
                  <a:pt x="1275" y="226"/>
                </a:cubicBezTo>
                <a:cubicBezTo>
                  <a:pt x="1271" y="260"/>
                  <a:pt x="1271" y="260"/>
                  <a:pt x="1271" y="260"/>
                </a:cubicBezTo>
                <a:cubicBezTo>
                  <a:pt x="1278" y="260"/>
                  <a:pt x="1278" y="260"/>
                  <a:pt x="1278" y="260"/>
                </a:cubicBezTo>
                <a:cubicBezTo>
                  <a:pt x="1281" y="235"/>
                  <a:pt x="1281" y="235"/>
                  <a:pt x="1281" y="235"/>
                </a:cubicBezTo>
                <a:cubicBezTo>
                  <a:pt x="1283" y="232"/>
                  <a:pt x="1285" y="230"/>
                  <a:pt x="1287" y="228"/>
                </a:cubicBezTo>
                <a:cubicBezTo>
                  <a:pt x="1289" y="226"/>
                  <a:pt x="1291" y="225"/>
                  <a:pt x="1293" y="225"/>
                </a:cubicBezTo>
                <a:cubicBezTo>
                  <a:pt x="1295" y="225"/>
                  <a:pt x="1296" y="226"/>
                  <a:pt x="1297" y="226"/>
                </a:cubicBezTo>
                <a:cubicBezTo>
                  <a:pt x="1297" y="227"/>
                  <a:pt x="1298" y="229"/>
                  <a:pt x="1298" y="231"/>
                </a:cubicBezTo>
                <a:cubicBezTo>
                  <a:pt x="1298" y="233"/>
                  <a:pt x="1297" y="234"/>
                  <a:pt x="1297" y="236"/>
                </a:cubicBezTo>
                <a:cubicBezTo>
                  <a:pt x="1297" y="238"/>
                  <a:pt x="1297" y="240"/>
                  <a:pt x="1296" y="243"/>
                </a:cubicBezTo>
                <a:cubicBezTo>
                  <a:pt x="1296" y="245"/>
                  <a:pt x="1296" y="245"/>
                  <a:pt x="1296" y="245"/>
                </a:cubicBezTo>
                <a:cubicBezTo>
                  <a:pt x="1295" y="248"/>
                  <a:pt x="1295" y="248"/>
                  <a:pt x="1295" y="248"/>
                </a:cubicBezTo>
                <a:cubicBezTo>
                  <a:pt x="1294" y="252"/>
                  <a:pt x="1294" y="255"/>
                  <a:pt x="1294" y="256"/>
                </a:cubicBezTo>
                <a:cubicBezTo>
                  <a:pt x="1294" y="259"/>
                  <a:pt x="1295" y="261"/>
                  <a:pt x="1298" y="261"/>
                </a:cubicBezTo>
                <a:cubicBezTo>
                  <a:pt x="1300" y="261"/>
                  <a:pt x="1301" y="260"/>
                  <a:pt x="1302" y="260"/>
                </a:cubicBezTo>
                <a:cubicBezTo>
                  <a:pt x="1303" y="259"/>
                  <a:pt x="1304" y="259"/>
                  <a:pt x="1305" y="258"/>
                </a:cubicBezTo>
                <a:cubicBezTo>
                  <a:pt x="1305" y="258"/>
                  <a:pt x="1306" y="257"/>
                  <a:pt x="1306" y="257"/>
                </a:cubicBezTo>
                <a:cubicBezTo>
                  <a:pt x="1305" y="255"/>
                  <a:pt x="1305" y="255"/>
                  <a:pt x="1305" y="255"/>
                </a:cubicBezTo>
                <a:cubicBezTo>
                  <a:pt x="1304" y="256"/>
                  <a:pt x="1303" y="256"/>
                  <a:pt x="1302" y="256"/>
                </a:cubicBezTo>
                <a:cubicBezTo>
                  <a:pt x="1301" y="256"/>
                  <a:pt x="1301" y="256"/>
                  <a:pt x="1301" y="255"/>
                </a:cubicBezTo>
                <a:cubicBezTo>
                  <a:pt x="1301" y="253"/>
                  <a:pt x="1301" y="250"/>
                  <a:pt x="1302" y="246"/>
                </a:cubicBezTo>
                <a:cubicBezTo>
                  <a:pt x="1303" y="243"/>
                  <a:pt x="1303" y="243"/>
                  <a:pt x="1303" y="243"/>
                </a:cubicBezTo>
                <a:cubicBezTo>
                  <a:pt x="1303" y="241"/>
                  <a:pt x="1303" y="241"/>
                  <a:pt x="1303" y="241"/>
                </a:cubicBezTo>
                <a:cubicBezTo>
                  <a:pt x="1304" y="236"/>
                  <a:pt x="1305" y="232"/>
                  <a:pt x="1305" y="230"/>
                </a:cubicBezTo>
                <a:cubicBezTo>
                  <a:pt x="1305" y="227"/>
                  <a:pt x="1304" y="224"/>
                  <a:pt x="1302" y="223"/>
                </a:cubicBezTo>
                <a:cubicBezTo>
                  <a:pt x="1301" y="221"/>
                  <a:pt x="1299" y="220"/>
                  <a:pt x="1296" y="220"/>
                </a:cubicBezTo>
                <a:cubicBezTo>
                  <a:pt x="1294" y="220"/>
                  <a:pt x="1291" y="221"/>
                  <a:pt x="1289" y="223"/>
                </a:cubicBezTo>
                <a:cubicBezTo>
                  <a:pt x="1286" y="224"/>
                  <a:pt x="1284" y="227"/>
                  <a:pt x="1282" y="229"/>
                </a:cubicBezTo>
                <a:close/>
                <a:moveTo>
                  <a:pt x="1342" y="253"/>
                </a:moveTo>
                <a:cubicBezTo>
                  <a:pt x="1340" y="251"/>
                  <a:pt x="1340" y="251"/>
                  <a:pt x="1340" y="251"/>
                </a:cubicBezTo>
                <a:cubicBezTo>
                  <a:pt x="1339" y="253"/>
                  <a:pt x="1337" y="254"/>
                  <a:pt x="1335" y="255"/>
                </a:cubicBezTo>
                <a:cubicBezTo>
                  <a:pt x="1333" y="256"/>
                  <a:pt x="1331" y="256"/>
                  <a:pt x="1329" y="256"/>
                </a:cubicBezTo>
                <a:cubicBezTo>
                  <a:pt x="1326" y="256"/>
                  <a:pt x="1323" y="255"/>
                  <a:pt x="1322" y="253"/>
                </a:cubicBezTo>
                <a:cubicBezTo>
                  <a:pt x="1321" y="250"/>
                  <a:pt x="1320" y="247"/>
                  <a:pt x="1320" y="244"/>
                </a:cubicBezTo>
                <a:cubicBezTo>
                  <a:pt x="1323" y="244"/>
                  <a:pt x="1327" y="244"/>
                  <a:pt x="1330" y="242"/>
                </a:cubicBezTo>
                <a:cubicBezTo>
                  <a:pt x="1334" y="241"/>
                  <a:pt x="1337" y="240"/>
                  <a:pt x="1340" y="237"/>
                </a:cubicBezTo>
                <a:cubicBezTo>
                  <a:pt x="1342" y="235"/>
                  <a:pt x="1344" y="232"/>
                  <a:pt x="1344" y="229"/>
                </a:cubicBezTo>
                <a:cubicBezTo>
                  <a:pt x="1344" y="226"/>
                  <a:pt x="1343" y="224"/>
                  <a:pt x="1341" y="223"/>
                </a:cubicBezTo>
                <a:cubicBezTo>
                  <a:pt x="1340" y="221"/>
                  <a:pt x="1337" y="220"/>
                  <a:pt x="1334" y="220"/>
                </a:cubicBezTo>
                <a:cubicBezTo>
                  <a:pt x="1330" y="220"/>
                  <a:pt x="1326" y="221"/>
                  <a:pt x="1323" y="224"/>
                </a:cubicBezTo>
                <a:cubicBezTo>
                  <a:pt x="1320" y="226"/>
                  <a:pt x="1318" y="229"/>
                  <a:pt x="1316" y="233"/>
                </a:cubicBezTo>
                <a:cubicBezTo>
                  <a:pt x="1314" y="237"/>
                  <a:pt x="1313" y="241"/>
                  <a:pt x="1313" y="246"/>
                </a:cubicBezTo>
                <a:cubicBezTo>
                  <a:pt x="1313" y="248"/>
                  <a:pt x="1314" y="251"/>
                  <a:pt x="1315" y="253"/>
                </a:cubicBezTo>
                <a:cubicBezTo>
                  <a:pt x="1316" y="255"/>
                  <a:pt x="1317" y="257"/>
                  <a:pt x="1319" y="259"/>
                </a:cubicBezTo>
                <a:cubicBezTo>
                  <a:pt x="1321" y="260"/>
                  <a:pt x="1324" y="261"/>
                  <a:pt x="1327" y="261"/>
                </a:cubicBezTo>
                <a:cubicBezTo>
                  <a:pt x="1330" y="261"/>
                  <a:pt x="1333" y="260"/>
                  <a:pt x="1336" y="258"/>
                </a:cubicBezTo>
                <a:cubicBezTo>
                  <a:pt x="1339" y="257"/>
                  <a:pt x="1341" y="255"/>
                  <a:pt x="1342" y="253"/>
                </a:cubicBezTo>
                <a:close/>
                <a:moveTo>
                  <a:pt x="1332" y="224"/>
                </a:moveTo>
                <a:cubicBezTo>
                  <a:pt x="1334" y="224"/>
                  <a:pt x="1335" y="224"/>
                  <a:pt x="1336" y="225"/>
                </a:cubicBezTo>
                <a:cubicBezTo>
                  <a:pt x="1337" y="226"/>
                  <a:pt x="1337" y="228"/>
                  <a:pt x="1337" y="229"/>
                </a:cubicBezTo>
                <a:cubicBezTo>
                  <a:pt x="1337" y="232"/>
                  <a:pt x="1336" y="234"/>
                  <a:pt x="1334" y="235"/>
                </a:cubicBezTo>
                <a:cubicBezTo>
                  <a:pt x="1333" y="237"/>
                  <a:pt x="1331" y="238"/>
                  <a:pt x="1328" y="239"/>
                </a:cubicBezTo>
                <a:cubicBezTo>
                  <a:pt x="1325" y="240"/>
                  <a:pt x="1323" y="241"/>
                  <a:pt x="1321" y="241"/>
                </a:cubicBezTo>
                <a:cubicBezTo>
                  <a:pt x="1321" y="238"/>
                  <a:pt x="1321" y="236"/>
                  <a:pt x="1322" y="233"/>
                </a:cubicBezTo>
                <a:cubicBezTo>
                  <a:pt x="1323" y="230"/>
                  <a:pt x="1325" y="228"/>
                  <a:pt x="1326" y="226"/>
                </a:cubicBezTo>
                <a:cubicBezTo>
                  <a:pt x="1328" y="225"/>
                  <a:pt x="1330" y="224"/>
                  <a:pt x="1332" y="224"/>
                </a:cubicBezTo>
                <a:close/>
              </a:path>
            </a:pathLst>
          </a:custGeom>
          <a:solidFill>
            <a:schemeClr val="bg1"/>
          </a:solidFill>
          <a:ln>
            <a:noFill/>
          </a:ln>
        </p:spPr>
        <p:txBody>
          <a:bodyPr vert="horz" wrap="square" lIns="121920" tIns="60960" rIns="121920" bIns="60960" numCol="1" anchor="t" anchorCtr="0" compatLnSpc="1">
            <a:prstTxWarp prst="textNoShape">
              <a:avLst/>
            </a:prstTxWarp>
          </a:bodyPr>
          <a:lstStyle/>
          <a:p>
            <a:endParaRPr lang="en-US" sz="2400"/>
          </a:p>
        </p:txBody>
      </p:sp>
      <p:sp>
        <p:nvSpPr>
          <p:cNvPr id="17" name="Text Placeholder 16">
            <a:extLst>
              <a:ext uri="{FF2B5EF4-FFF2-40B4-BE49-F238E27FC236}">
                <a16:creationId xmlns:a16="http://schemas.microsoft.com/office/drawing/2014/main" id="{FCA018DF-7EFB-4D08-89D5-E61FB47F425E}"/>
              </a:ext>
            </a:extLst>
          </p:cNvPr>
          <p:cNvSpPr>
            <a:spLocks noGrp="1"/>
          </p:cNvSpPr>
          <p:nvPr>
            <p:ph type="body" sz="quarter" idx="12" hasCustomPrompt="1"/>
          </p:nvPr>
        </p:nvSpPr>
        <p:spPr>
          <a:xfrm>
            <a:off x="7995920" y="6515586"/>
            <a:ext cx="3222413" cy="169277"/>
          </a:xfrm>
        </p:spPr>
        <p:txBody>
          <a:bodyPr wrap="square">
            <a:spAutoFit/>
          </a:bodyPr>
          <a:lstStyle>
            <a:lvl1pPr marL="0" indent="0">
              <a:buNone/>
              <a:defRPr sz="1000" cap="all" spc="147" baseline="0">
                <a:solidFill>
                  <a:schemeClr val="tx2"/>
                </a:solidFill>
              </a:defRPr>
            </a:lvl1pPr>
          </a:lstStyle>
          <a:p>
            <a:pPr lvl="0"/>
            <a:r>
              <a:rPr lang="en-US"/>
              <a:t>CLICK TO EDIT MASTER TEXT</a:t>
            </a:r>
          </a:p>
        </p:txBody>
      </p:sp>
    </p:spTree>
    <p:extLst>
      <p:ext uri="{BB962C8B-B14F-4D97-AF65-F5344CB8AC3E}">
        <p14:creationId xmlns:p14="http://schemas.microsoft.com/office/powerpoint/2010/main" val="700889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p:cSld name="Title Slide - Light Gray">
    <p:spTree>
      <p:nvGrpSpPr>
        <p:cNvPr id="1" name=""/>
        <p:cNvGrpSpPr/>
        <p:nvPr/>
      </p:nvGrpSpPr>
      <p:grpSpPr>
        <a:xfrm>
          <a:off x="0" y="0"/>
          <a:ext cx="0" cy="0"/>
          <a:chOff x="0" y="0"/>
          <a:chExt cx="0" cy="0"/>
        </a:xfrm>
      </p:grpSpPr>
      <p:sp>
        <p:nvSpPr>
          <p:cNvPr id="15" name="Picture Placeholder 14">
            <a:extLst>
              <a:ext uri="{FF2B5EF4-FFF2-40B4-BE49-F238E27FC236}">
                <a16:creationId xmlns:a16="http://schemas.microsoft.com/office/drawing/2014/main" id="{42927F7C-53AC-400F-8DAD-235A2AF61FB8}"/>
              </a:ext>
            </a:extLst>
          </p:cNvPr>
          <p:cNvSpPr>
            <a:spLocks noGrp="1"/>
          </p:cNvSpPr>
          <p:nvPr>
            <p:ph type="pic" sz="quarter" idx="11"/>
          </p:nvPr>
        </p:nvSpPr>
        <p:spPr>
          <a:xfrm>
            <a:off x="0" y="1"/>
            <a:ext cx="12192000" cy="6280151"/>
          </a:xfrm>
          <a:solidFill>
            <a:schemeClr val="bg2">
              <a:lumMod val="90000"/>
            </a:schemeClr>
          </a:solidFill>
        </p:spPr>
        <p:txBody>
          <a:bodyPr/>
          <a:lstStyle/>
          <a:p>
            <a:r>
              <a:rPr lang="en-US"/>
              <a:t>Click icon to add picture</a:t>
            </a:r>
          </a:p>
        </p:txBody>
      </p:sp>
      <p:sp>
        <p:nvSpPr>
          <p:cNvPr id="13" name="Text Placeholder 12">
            <a:extLst>
              <a:ext uri="{FF2B5EF4-FFF2-40B4-BE49-F238E27FC236}">
                <a16:creationId xmlns:a16="http://schemas.microsoft.com/office/drawing/2014/main" id="{D2D74F39-96DB-4808-8693-9F55A9D7DB98}"/>
              </a:ext>
            </a:extLst>
          </p:cNvPr>
          <p:cNvSpPr>
            <a:spLocks noGrp="1"/>
          </p:cNvSpPr>
          <p:nvPr>
            <p:ph type="body" sz="quarter" idx="10"/>
          </p:nvPr>
        </p:nvSpPr>
        <p:spPr>
          <a:xfrm>
            <a:off x="2" y="1563078"/>
            <a:ext cx="7737229" cy="5294921"/>
          </a:xfrm>
          <a:solidFill>
            <a:schemeClr val="bg2"/>
          </a:solidFill>
        </p:spPr>
        <p:txBody>
          <a:bodyPr lIns="502920" tIns="274320" rIns="457200" bIns="457200"/>
          <a:lstStyle>
            <a:lvl1pPr marL="0" indent="0">
              <a:lnSpc>
                <a:spcPct val="100000"/>
              </a:lnSpc>
              <a:buNone/>
              <a:defRPr sz="4000">
                <a:solidFill>
                  <a:schemeClr val="tx2"/>
                </a:solidFill>
                <a:latin typeface="+mj-lt"/>
              </a:defRPr>
            </a:lvl1pPr>
            <a:lvl2pPr marL="0" indent="0">
              <a:spcBef>
                <a:spcPts val="1200"/>
              </a:spcBef>
              <a:buNone/>
              <a:defRPr sz="2000">
                <a:solidFill>
                  <a:schemeClr val="tx2"/>
                </a:solidFill>
                <a:latin typeface="+mj-lt"/>
              </a:defRPr>
            </a:lvl2pPr>
            <a:lvl3pPr marL="609585" indent="0">
              <a:buNone/>
              <a:defRPr>
                <a:solidFill>
                  <a:schemeClr val="bg1"/>
                </a:solidFill>
                <a:latin typeface="+mj-lt"/>
              </a:defRPr>
            </a:lvl3pPr>
            <a:lvl4pPr marL="922844" indent="0">
              <a:buNone/>
              <a:defRPr>
                <a:solidFill>
                  <a:schemeClr val="bg1"/>
                </a:solidFill>
                <a:latin typeface="+mj-lt"/>
              </a:defRPr>
            </a:lvl4pPr>
            <a:lvl5pPr marL="1219170" indent="0">
              <a:buNone/>
              <a:defRPr>
                <a:solidFill>
                  <a:schemeClr val="bg1"/>
                </a:solidFill>
                <a:latin typeface="+mj-lt"/>
              </a:defRPr>
            </a:lvl5pPr>
          </a:lstStyle>
          <a:p>
            <a:pPr lvl="0"/>
            <a:r>
              <a:rPr lang="en-US"/>
              <a:t>Edit Master text styles</a:t>
            </a:r>
          </a:p>
          <a:p>
            <a:pPr lvl="1"/>
            <a:r>
              <a:rPr lang="en-US"/>
              <a:t>Second level</a:t>
            </a:r>
          </a:p>
        </p:txBody>
      </p:sp>
      <p:sp>
        <p:nvSpPr>
          <p:cNvPr id="3" name="Subtitle 2"/>
          <p:cNvSpPr>
            <a:spLocks noGrp="1"/>
          </p:cNvSpPr>
          <p:nvPr>
            <p:ph type="subTitle" idx="1"/>
          </p:nvPr>
        </p:nvSpPr>
        <p:spPr>
          <a:xfrm>
            <a:off x="701040" y="4738102"/>
            <a:ext cx="6461760" cy="225639"/>
          </a:xfrm>
        </p:spPr>
        <p:txBody>
          <a:bodyPr anchor="b" anchorCtr="0">
            <a:spAutoFit/>
          </a:bodyPr>
          <a:lstStyle>
            <a:lvl1pPr marL="0" indent="0" algn="l">
              <a:buNone/>
              <a:defRPr sz="1333" i="1">
                <a:solidFill>
                  <a:schemeClr val="tx1"/>
                </a:solidFill>
                <a:latin typeface="+mj-l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
        <p:nvSpPr>
          <p:cNvPr id="9" name="Freeform 5">
            <a:extLst>
              <a:ext uri="{FF2B5EF4-FFF2-40B4-BE49-F238E27FC236}">
                <a16:creationId xmlns:a16="http://schemas.microsoft.com/office/drawing/2014/main" id="{6EF64205-A64B-4137-BA41-5E5CFE0F359E}"/>
              </a:ext>
            </a:extLst>
          </p:cNvPr>
          <p:cNvSpPr>
            <a:spLocks noEditPoints="1"/>
          </p:cNvSpPr>
          <p:nvPr/>
        </p:nvSpPr>
        <p:spPr bwMode="auto">
          <a:xfrm>
            <a:off x="643609" y="578451"/>
            <a:ext cx="2922943" cy="547357"/>
          </a:xfrm>
          <a:custGeom>
            <a:avLst/>
            <a:gdLst>
              <a:gd name="T0" fmla="*/ 225 w 1440"/>
              <a:gd name="T1" fmla="*/ 110 h 267"/>
              <a:gd name="T2" fmla="*/ 317 w 1440"/>
              <a:gd name="T3" fmla="*/ 7 h 267"/>
              <a:gd name="T4" fmla="*/ 475 w 1440"/>
              <a:gd name="T5" fmla="*/ 19 h 267"/>
              <a:gd name="T6" fmla="*/ 830 w 1440"/>
              <a:gd name="T7" fmla="*/ 7 h 267"/>
              <a:gd name="T8" fmla="*/ 130 w 1440"/>
              <a:gd name="T9" fmla="*/ 210 h 267"/>
              <a:gd name="T10" fmla="*/ 437 w 1440"/>
              <a:gd name="T11" fmla="*/ 209 h 267"/>
              <a:gd name="T12" fmla="*/ 493 w 1440"/>
              <a:gd name="T13" fmla="*/ 198 h 267"/>
              <a:gd name="T14" fmla="*/ 866 w 1440"/>
              <a:gd name="T15" fmla="*/ 171 h 267"/>
              <a:gd name="T16" fmla="*/ 737 w 1440"/>
              <a:gd name="T17" fmla="*/ 261 h 267"/>
              <a:gd name="T18" fmla="*/ 958 w 1440"/>
              <a:gd name="T19" fmla="*/ 172 h 267"/>
              <a:gd name="T20" fmla="*/ 906 w 1440"/>
              <a:gd name="T21" fmla="*/ 254 h 267"/>
              <a:gd name="T22" fmla="*/ 309 w 1440"/>
              <a:gd name="T23" fmla="*/ 260 h 267"/>
              <a:gd name="T24" fmla="*/ 1053 w 1440"/>
              <a:gd name="T25" fmla="*/ 31 h 267"/>
              <a:gd name="T26" fmla="*/ 1075 w 1440"/>
              <a:gd name="T27" fmla="*/ 44 h 267"/>
              <a:gd name="T28" fmla="*/ 1091 w 1440"/>
              <a:gd name="T29" fmla="*/ 22 h 267"/>
              <a:gd name="T30" fmla="*/ 1107 w 1440"/>
              <a:gd name="T31" fmla="*/ 27 h 267"/>
              <a:gd name="T32" fmla="*/ 1125 w 1440"/>
              <a:gd name="T33" fmla="*/ 55 h 267"/>
              <a:gd name="T34" fmla="*/ 1159 w 1440"/>
              <a:gd name="T35" fmla="*/ 53 h 267"/>
              <a:gd name="T36" fmla="*/ 1160 w 1440"/>
              <a:gd name="T37" fmla="*/ 57 h 267"/>
              <a:gd name="T38" fmla="*/ 1177 w 1440"/>
              <a:gd name="T39" fmla="*/ 23 h 267"/>
              <a:gd name="T40" fmla="*/ 1207 w 1440"/>
              <a:gd name="T41" fmla="*/ 58 h 267"/>
              <a:gd name="T42" fmla="*/ 1245 w 1440"/>
              <a:gd name="T43" fmla="*/ 27 h 267"/>
              <a:gd name="T44" fmla="*/ 1225 w 1440"/>
              <a:gd name="T45" fmla="*/ 43 h 267"/>
              <a:gd name="T46" fmla="*/ 1271 w 1440"/>
              <a:gd name="T47" fmla="*/ 19 h 267"/>
              <a:gd name="T48" fmla="*/ 1259 w 1440"/>
              <a:gd name="T49" fmla="*/ 32 h 267"/>
              <a:gd name="T50" fmla="*/ 1290 w 1440"/>
              <a:gd name="T51" fmla="*/ 54 h 267"/>
              <a:gd name="T52" fmla="*/ 1310 w 1440"/>
              <a:gd name="T53" fmla="*/ 25 h 267"/>
              <a:gd name="T54" fmla="*/ 1059 w 1440"/>
              <a:gd name="T55" fmla="*/ 110 h 267"/>
              <a:gd name="T56" fmla="*/ 1099 w 1440"/>
              <a:gd name="T57" fmla="*/ 134 h 267"/>
              <a:gd name="T58" fmla="*/ 1120 w 1440"/>
              <a:gd name="T59" fmla="*/ 156 h 267"/>
              <a:gd name="T60" fmla="*/ 1141 w 1440"/>
              <a:gd name="T61" fmla="*/ 123 h 267"/>
              <a:gd name="T62" fmla="*/ 1148 w 1440"/>
              <a:gd name="T63" fmla="*/ 175 h 267"/>
              <a:gd name="T64" fmla="*/ 1184 w 1440"/>
              <a:gd name="T65" fmla="*/ 119 h 267"/>
              <a:gd name="T66" fmla="*/ 1181 w 1440"/>
              <a:gd name="T67" fmla="*/ 153 h 267"/>
              <a:gd name="T68" fmla="*/ 1201 w 1440"/>
              <a:gd name="T69" fmla="*/ 125 h 267"/>
              <a:gd name="T70" fmla="*/ 1230 w 1440"/>
              <a:gd name="T71" fmla="*/ 157 h 267"/>
              <a:gd name="T72" fmla="*/ 1260 w 1440"/>
              <a:gd name="T73" fmla="*/ 154 h 267"/>
              <a:gd name="T74" fmla="*/ 1261 w 1440"/>
              <a:gd name="T75" fmla="*/ 158 h 267"/>
              <a:gd name="T76" fmla="*/ 1284 w 1440"/>
              <a:gd name="T77" fmla="*/ 152 h 267"/>
              <a:gd name="T78" fmla="*/ 1294 w 1440"/>
              <a:gd name="T79" fmla="*/ 123 h 267"/>
              <a:gd name="T80" fmla="*/ 1317 w 1440"/>
              <a:gd name="T81" fmla="*/ 125 h 267"/>
              <a:gd name="T82" fmla="*/ 1342 w 1440"/>
              <a:gd name="T83" fmla="*/ 121 h 267"/>
              <a:gd name="T84" fmla="*/ 1351 w 1440"/>
              <a:gd name="T85" fmla="*/ 112 h 267"/>
              <a:gd name="T86" fmla="*/ 1364 w 1440"/>
              <a:gd name="T87" fmla="*/ 159 h 267"/>
              <a:gd name="T88" fmla="*/ 1399 w 1440"/>
              <a:gd name="T89" fmla="*/ 156 h 267"/>
              <a:gd name="T90" fmla="*/ 1432 w 1440"/>
              <a:gd name="T91" fmla="*/ 120 h 267"/>
              <a:gd name="T92" fmla="*/ 1410 w 1440"/>
              <a:gd name="T93" fmla="*/ 176 h 267"/>
              <a:gd name="T94" fmla="*/ 1076 w 1440"/>
              <a:gd name="T95" fmla="*/ 242 h 267"/>
              <a:gd name="T96" fmla="*/ 1062 w 1440"/>
              <a:gd name="T97" fmla="*/ 225 h 267"/>
              <a:gd name="T98" fmla="*/ 1091 w 1440"/>
              <a:gd name="T99" fmla="*/ 208 h 267"/>
              <a:gd name="T100" fmla="*/ 1112 w 1440"/>
              <a:gd name="T101" fmla="*/ 233 h 267"/>
              <a:gd name="T102" fmla="*/ 1128 w 1440"/>
              <a:gd name="T103" fmla="*/ 224 h 267"/>
              <a:gd name="T104" fmla="*/ 1168 w 1440"/>
              <a:gd name="T105" fmla="*/ 255 h 267"/>
              <a:gd name="T106" fmla="*/ 1154 w 1440"/>
              <a:gd name="T107" fmla="*/ 236 h 267"/>
              <a:gd name="T108" fmla="*/ 1203 w 1440"/>
              <a:gd name="T109" fmla="*/ 256 h 267"/>
              <a:gd name="T110" fmla="*/ 1200 w 1440"/>
              <a:gd name="T111" fmla="*/ 213 h 267"/>
              <a:gd name="T112" fmla="*/ 1227 w 1440"/>
              <a:gd name="T113" fmla="*/ 256 h 267"/>
              <a:gd name="T114" fmla="*/ 1249 w 1440"/>
              <a:gd name="T115" fmla="*/ 260 h 267"/>
              <a:gd name="T116" fmla="*/ 1255 w 1440"/>
              <a:gd name="T117" fmla="*/ 205 h 267"/>
              <a:gd name="T118" fmla="*/ 1297 w 1440"/>
              <a:gd name="T119" fmla="*/ 226 h 267"/>
              <a:gd name="T120" fmla="*/ 1303 w 1440"/>
              <a:gd name="T121" fmla="*/ 243 h 267"/>
              <a:gd name="T122" fmla="*/ 1344 w 1440"/>
              <a:gd name="T123" fmla="*/ 229 h 267"/>
              <a:gd name="T124" fmla="*/ 1328 w 1440"/>
              <a:gd name="T125" fmla="*/ 239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440" h="267">
                <a:moveTo>
                  <a:pt x="17" y="110"/>
                </a:moveTo>
                <a:cubicBezTo>
                  <a:pt x="3" y="110"/>
                  <a:pt x="3" y="110"/>
                  <a:pt x="3" y="110"/>
                </a:cubicBezTo>
                <a:cubicBezTo>
                  <a:pt x="3" y="1"/>
                  <a:pt x="3" y="1"/>
                  <a:pt x="3" y="1"/>
                </a:cubicBezTo>
                <a:cubicBezTo>
                  <a:pt x="81" y="83"/>
                  <a:pt x="81" y="83"/>
                  <a:pt x="81" y="83"/>
                </a:cubicBezTo>
                <a:cubicBezTo>
                  <a:pt x="81" y="7"/>
                  <a:pt x="81" y="7"/>
                  <a:pt x="81" y="7"/>
                </a:cubicBezTo>
                <a:cubicBezTo>
                  <a:pt x="95" y="7"/>
                  <a:pt x="95" y="7"/>
                  <a:pt x="95" y="7"/>
                </a:cubicBezTo>
                <a:cubicBezTo>
                  <a:pt x="95" y="117"/>
                  <a:pt x="95" y="117"/>
                  <a:pt x="95" y="117"/>
                </a:cubicBezTo>
                <a:cubicBezTo>
                  <a:pt x="17" y="35"/>
                  <a:pt x="17" y="35"/>
                  <a:pt x="17" y="35"/>
                </a:cubicBezTo>
                <a:lnTo>
                  <a:pt x="17" y="110"/>
                </a:lnTo>
                <a:close/>
                <a:moveTo>
                  <a:pt x="130" y="110"/>
                </a:moveTo>
                <a:cubicBezTo>
                  <a:pt x="145" y="110"/>
                  <a:pt x="145" y="110"/>
                  <a:pt x="145" y="110"/>
                </a:cubicBezTo>
                <a:cubicBezTo>
                  <a:pt x="178" y="33"/>
                  <a:pt x="178" y="33"/>
                  <a:pt x="178" y="33"/>
                </a:cubicBezTo>
                <a:cubicBezTo>
                  <a:pt x="210" y="109"/>
                  <a:pt x="210" y="109"/>
                  <a:pt x="210" y="109"/>
                </a:cubicBezTo>
                <a:cubicBezTo>
                  <a:pt x="210" y="110"/>
                  <a:pt x="210" y="110"/>
                  <a:pt x="210" y="110"/>
                </a:cubicBezTo>
                <a:cubicBezTo>
                  <a:pt x="225" y="110"/>
                  <a:pt x="225" y="110"/>
                  <a:pt x="225" y="110"/>
                </a:cubicBezTo>
                <a:cubicBezTo>
                  <a:pt x="178" y="0"/>
                  <a:pt x="178" y="0"/>
                  <a:pt x="178" y="0"/>
                </a:cubicBezTo>
                <a:lnTo>
                  <a:pt x="130" y="110"/>
                </a:lnTo>
                <a:close/>
                <a:moveTo>
                  <a:pt x="700" y="110"/>
                </a:moveTo>
                <a:cubicBezTo>
                  <a:pt x="715" y="110"/>
                  <a:pt x="715" y="110"/>
                  <a:pt x="715" y="110"/>
                </a:cubicBezTo>
                <a:cubicBezTo>
                  <a:pt x="748" y="33"/>
                  <a:pt x="748" y="33"/>
                  <a:pt x="748" y="33"/>
                </a:cubicBezTo>
                <a:cubicBezTo>
                  <a:pt x="780" y="109"/>
                  <a:pt x="780" y="109"/>
                  <a:pt x="780" y="109"/>
                </a:cubicBezTo>
                <a:cubicBezTo>
                  <a:pt x="780" y="110"/>
                  <a:pt x="780" y="110"/>
                  <a:pt x="780" y="110"/>
                </a:cubicBezTo>
                <a:cubicBezTo>
                  <a:pt x="795" y="110"/>
                  <a:pt x="795" y="110"/>
                  <a:pt x="795" y="110"/>
                </a:cubicBezTo>
                <a:cubicBezTo>
                  <a:pt x="748" y="0"/>
                  <a:pt x="748" y="0"/>
                  <a:pt x="748" y="0"/>
                </a:cubicBezTo>
                <a:lnTo>
                  <a:pt x="700" y="110"/>
                </a:lnTo>
                <a:close/>
                <a:moveTo>
                  <a:pt x="273" y="110"/>
                </a:moveTo>
                <a:cubicBezTo>
                  <a:pt x="286" y="110"/>
                  <a:pt x="286" y="110"/>
                  <a:pt x="286" y="110"/>
                </a:cubicBezTo>
                <a:cubicBezTo>
                  <a:pt x="286" y="20"/>
                  <a:pt x="286" y="20"/>
                  <a:pt x="286" y="20"/>
                </a:cubicBezTo>
                <a:cubicBezTo>
                  <a:pt x="317" y="20"/>
                  <a:pt x="317" y="20"/>
                  <a:pt x="317" y="20"/>
                </a:cubicBezTo>
                <a:cubicBezTo>
                  <a:pt x="317" y="7"/>
                  <a:pt x="317" y="7"/>
                  <a:pt x="317" y="7"/>
                </a:cubicBezTo>
                <a:cubicBezTo>
                  <a:pt x="242" y="7"/>
                  <a:pt x="242" y="7"/>
                  <a:pt x="242" y="7"/>
                </a:cubicBezTo>
                <a:cubicBezTo>
                  <a:pt x="242" y="20"/>
                  <a:pt x="242" y="20"/>
                  <a:pt x="242" y="20"/>
                </a:cubicBezTo>
                <a:cubicBezTo>
                  <a:pt x="273" y="20"/>
                  <a:pt x="273" y="20"/>
                  <a:pt x="273" y="20"/>
                </a:cubicBezTo>
                <a:lnTo>
                  <a:pt x="273" y="110"/>
                </a:lnTo>
                <a:close/>
                <a:moveTo>
                  <a:pt x="374" y="7"/>
                </a:moveTo>
                <a:cubicBezTo>
                  <a:pt x="360" y="7"/>
                  <a:pt x="360" y="7"/>
                  <a:pt x="360" y="7"/>
                </a:cubicBezTo>
                <a:cubicBezTo>
                  <a:pt x="360" y="110"/>
                  <a:pt x="360" y="110"/>
                  <a:pt x="360" y="110"/>
                </a:cubicBezTo>
                <a:cubicBezTo>
                  <a:pt x="374" y="110"/>
                  <a:pt x="374" y="110"/>
                  <a:pt x="374" y="110"/>
                </a:cubicBezTo>
                <a:lnTo>
                  <a:pt x="374" y="7"/>
                </a:lnTo>
                <a:close/>
                <a:moveTo>
                  <a:pt x="475" y="112"/>
                </a:moveTo>
                <a:cubicBezTo>
                  <a:pt x="445" y="112"/>
                  <a:pt x="421" y="88"/>
                  <a:pt x="421" y="59"/>
                </a:cubicBezTo>
                <a:cubicBezTo>
                  <a:pt x="421" y="29"/>
                  <a:pt x="445" y="5"/>
                  <a:pt x="475" y="5"/>
                </a:cubicBezTo>
                <a:cubicBezTo>
                  <a:pt x="505" y="5"/>
                  <a:pt x="528" y="29"/>
                  <a:pt x="528" y="59"/>
                </a:cubicBezTo>
                <a:cubicBezTo>
                  <a:pt x="528" y="88"/>
                  <a:pt x="505" y="112"/>
                  <a:pt x="475" y="112"/>
                </a:cubicBezTo>
                <a:close/>
                <a:moveTo>
                  <a:pt x="475" y="19"/>
                </a:moveTo>
                <a:cubicBezTo>
                  <a:pt x="453" y="19"/>
                  <a:pt x="435" y="37"/>
                  <a:pt x="435" y="59"/>
                </a:cubicBezTo>
                <a:cubicBezTo>
                  <a:pt x="435" y="81"/>
                  <a:pt x="453" y="99"/>
                  <a:pt x="475" y="99"/>
                </a:cubicBezTo>
                <a:cubicBezTo>
                  <a:pt x="497" y="99"/>
                  <a:pt x="514" y="81"/>
                  <a:pt x="514" y="59"/>
                </a:cubicBezTo>
                <a:cubicBezTo>
                  <a:pt x="514" y="37"/>
                  <a:pt x="497" y="19"/>
                  <a:pt x="475" y="19"/>
                </a:cubicBezTo>
                <a:close/>
                <a:moveTo>
                  <a:pt x="586" y="35"/>
                </a:moveTo>
                <a:cubicBezTo>
                  <a:pt x="664" y="117"/>
                  <a:pt x="664" y="117"/>
                  <a:pt x="664" y="117"/>
                </a:cubicBezTo>
                <a:cubicBezTo>
                  <a:pt x="664" y="7"/>
                  <a:pt x="664" y="7"/>
                  <a:pt x="664" y="7"/>
                </a:cubicBezTo>
                <a:cubicBezTo>
                  <a:pt x="650" y="7"/>
                  <a:pt x="650" y="7"/>
                  <a:pt x="650" y="7"/>
                </a:cubicBezTo>
                <a:cubicBezTo>
                  <a:pt x="650" y="83"/>
                  <a:pt x="650" y="83"/>
                  <a:pt x="650" y="83"/>
                </a:cubicBezTo>
                <a:cubicBezTo>
                  <a:pt x="572" y="1"/>
                  <a:pt x="572" y="1"/>
                  <a:pt x="572" y="1"/>
                </a:cubicBezTo>
                <a:cubicBezTo>
                  <a:pt x="572" y="110"/>
                  <a:pt x="572" y="110"/>
                  <a:pt x="572" y="110"/>
                </a:cubicBezTo>
                <a:cubicBezTo>
                  <a:pt x="586" y="110"/>
                  <a:pt x="586" y="110"/>
                  <a:pt x="586" y="110"/>
                </a:cubicBezTo>
                <a:lnTo>
                  <a:pt x="586" y="35"/>
                </a:lnTo>
                <a:close/>
                <a:moveTo>
                  <a:pt x="843" y="7"/>
                </a:moveTo>
                <a:cubicBezTo>
                  <a:pt x="830" y="7"/>
                  <a:pt x="830" y="7"/>
                  <a:pt x="830" y="7"/>
                </a:cubicBezTo>
                <a:cubicBezTo>
                  <a:pt x="830" y="110"/>
                  <a:pt x="830" y="110"/>
                  <a:pt x="830" y="110"/>
                </a:cubicBezTo>
                <a:cubicBezTo>
                  <a:pt x="885" y="110"/>
                  <a:pt x="885" y="110"/>
                  <a:pt x="885" y="110"/>
                </a:cubicBezTo>
                <a:cubicBezTo>
                  <a:pt x="885" y="97"/>
                  <a:pt x="885" y="97"/>
                  <a:pt x="885" y="97"/>
                </a:cubicBezTo>
                <a:cubicBezTo>
                  <a:pt x="843" y="97"/>
                  <a:pt x="843" y="97"/>
                  <a:pt x="843" y="97"/>
                </a:cubicBezTo>
                <a:lnTo>
                  <a:pt x="843" y="7"/>
                </a:lnTo>
                <a:close/>
                <a:moveTo>
                  <a:pt x="169" y="156"/>
                </a:moveTo>
                <a:cubicBezTo>
                  <a:pt x="139" y="156"/>
                  <a:pt x="116" y="179"/>
                  <a:pt x="116" y="209"/>
                </a:cubicBezTo>
                <a:cubicBezTo>
                  <a:pt x="116" y="240"/>
                  <a:pt x="139" y="262"/>
                  <a:pt x="169" y="262"/>
                </a:cubicBezTo>
                <a:cubicBezTo>
                  <a:pt x="175" y="262"/>
                  <a:pt x="188" y="261"/>
                  <a:pt x="200" y="252"/>
                </a:cubicBezTo>
                <a:cubicBezTo>
                  <a:pt x="200" y="252"/>
                  <a:pt x="200" y="252"/>
                  <a:pt x="200" y="252"/>
                </a:cubicBezTo>
                <a:cubicBezTo>
                  <a:pt x="200" y="234"/>
                  <a:pt x="200" y="234"/>
                  <a:pt x="200" y="234"/>
                </a:cubicBezTo>
                <a:cubicBezTo>
                  <a:pt x="198" y="236"/>
                  <a:pt x="198" y="236"/>
                  <a:pt x="198" y="236"/>
                </a:cubicBezTo>
                <a:cubicBezTo>
                  <a:pt x="196" y="239"/>
                  <a:pt x="192" y="242"/>
                  <a:pt x="187" y="245"/>
                </a:cubicBezTo>
                <a:cubicBezTo>
                  <a:pt x="181" y="247"/>
                  <a:pt x="175" y="249"/>
                  <a:pt x="169" y="249"/>
                </a:cubicBezTo>
                <a:cubicBezTo>
                  <a:pt x="142" y="249"/>
                  <a:pt x="130" y="226"/>
                  <a:pt x="130" y="210"/>
                </a:cubicBezTo>
                <a:cubicBezTo>
                  <a:pt x="130" y="187"/>
                  <a:pt x="147" y="169"/>
                  <a:pt x="169" y="169"/>
                </a:cubicBezTo>
                <a:cubicBezTo>
                  <a:pt x="174" y="169"/>
                  <a:pt x="180" y="170"/>
                  <a:pt x="185" y="173"/>
                </a:cubicBezTo>
                <a:cubicBezTo>
                  <a:pt x="190" y="175"/>
                  <a:pt x="194" y="178"/>
                  <a:pt x="198" y="182"/>
                </a:cubicBezTo>
                <a:cubicBezTo>
                  <a:pt x="200" y="184"/>
                  <a:pt x="200" y="184"/>
                  <a:pt x="200" y="184"/>
                </a:cubicBezTo>
                <a:cubicBezTo>
                  <a:pt x="200" y="166"/>
                  <a:pt x="200" y="166"/>
                  <a:pt x="200" y="166"/>
                </a:cubicBezTo>
                <a:cubicBezTo>
                  <a:pt x="200" y="166"/>
                  <a:pt x="200" y="166"/>
                  <a:pt x="200" y="166"/>
                </a:cubicBezTo>
                <a:cubicBezTo>
                  <a:pt x="191" y="159"/>
                  <a:pt x="181" y="156"/>
                  <a:pt x="169" y="156"/>
                </a:cubicBezTo>
                <a:close/>
                <a:moveTo>
                  <a:pt x="437" y="209"/>
                </a:moveTo>
                <a:cubicBezTo>
                  <a:pt x="437" y="225"/>
                  <a:pt x="431" y="238"/>
                  <a:pt x="419" y="249"/>
                </a:cubicBezTo>
                <a:cubicBezTo>
                  <a:pt x="409" y="257"/>
                  <a:pt x="399" y="261"/>
                  <a:pt x="382" y="261"/>
                </a:cubicBezTo>
                <a:cubicBezTo>
                  <a:pt x="360" y="261"/>
                  <a:pt x="360" y="261"/>
                  <a:pt x="360" y="261"/>
                </a:cubicBezTo>
                <a:cubicBezTo>
                  <a:pt x="360" y="157"/>
                  <a:pt x="360" y="157"/>
                  <a:pt x="360" y="157"/>
                </a:cubicBezTo>
                <a:cubicBezTo>
                  <a:pt x="382" y="157"/>
                  <a:pt x="382" y="157"/>
                  <a:pt x="382" y="157"/>
                </a:cubicBezTo>
                <a:cubicBezTo>
                  <a:pt x="393" y="157"/>
                  <a:pt x="407" y="159"/>
                  <a:pt x="420" y="170"/>
                </a:cubicBezTo>
                <a:cubicBezTo>
                  <a:pt x="426" y="175"/>
                  <a:pt x="437" y="187"/>
                  <a:pt x="437" y="209"/>
                </a:cubicBezTo>
                <a:close/>
                <a:moveTo>
                  <a:pt x="423" y="209"/>
                </a:moveTo>
                <a:cubicBezTo>
                  <a:pt x="423" y="186"/>
                  <a:pt x="407" y="171"/>
                  <a:pt x="382" y="171"/>
                </a:cubicBezTo>
                <a:cubicBezTo>
                  <a:pt x="374" y="171"/>
                  <a:pt x="374" y="171"/>
                  <a:pt x="374" y="171"/>
                </a:cubicBezTo>
                <a:cubicBezTo>
                  <a:pt x="374" y="247"/>
                  <a:pt x="374" y="247"/>
                  <a:pt x="374" y="247"/>
                </a:cubicBezTo>
                <a:cubicBezTo>
                  <a:pt x="382" y="247"/>
                  <a:pt x="382" y="247"/>
                  <a:pt x="382" y="247"/>
                </a:cubicBezTo>
                <a:cubicBezTo>
                  <a:pt x="390" y="247"/>
                  <a:pt x="401" y="246"/>
                  <a:pt x="410" y="239"/>
                </a:cubicBezTo>
                <a:cubicBezTo>
                  <a:pt x="416" y="234"/>
                  <a:pt x="423" y="224"/>
                  <a:pt x="423" y="209"/>
                </a:cubicBezTo>
                <a:close/>
                <a:moveTo>
                  <a:pt x="479" y="261"/>
                </a:moveTo>
                <a:cubicBezTo>
                  <a:pt x="541" y="261"/>
                  <a:pt x="541" y="261"/>
                  <a:pt x="541" y="261"/>
                </a:cubicBezTo>
                <a:cubicBezTo>
                  <a:pt x="541" y="247"/>
                  <a:pt x="541" y="247"/>
                  <a:pt x="541" y="247"/>
                </a:cubicBezTo>
                <a:cubicBezTo>
                  <a:pt x="493" y="247"/>
                  <a:pt x="493" y="247"/>
                  <a:pt x="493" y="247"/>
                </a:cubicBezTo>
                <a:cubicBezTo>
                  <a:pt x="493" y="211"/>
                  <a:pt x="493" y="211"/>
                  <a:pt x="493" y="211"/>
                </a:cubicBezTo>
                <a:cubicBezTo>
                  <a:pt x="535" y="211"/>
                  <a:pt x="535" y="211"/>
                  <a:pt x="535" y="211"/>
                </a:cubicBezTo>
                <a:cubicBezTo>
                  <a:pt x="535" y="198"/>
                  <a:pt x="535" y="198"/>
                  <a:pt x="535" y="198"/>
                </a:cubicBezTo>
                <a:cubicBezTo>
                  <a:pt x="493" y="198"/>
                  <a:pt x="493" y="198"/>
                  <a:pt x="493" y="198"/>
                </a:cubicBezTo>
                <a:cubicBezTo>
                  <a:pt x="493" y="171"/>
                  <a:pt x="493" y="171"/>
                  <a:pt x="493" y="171"/>
                </a:cubicBezTo>
                <a:cubicBezTo>
                  <a:pt x="541" y="171"/>
                  <a:pt x="541" y="171"/>
                  <a:pt x="541" y="171"/>
                </a:cubicBezTo>
                <a:cubicBezTo>
                  <a:pt x="541" y="157"/>
                  <a:pt x="541" y="157"/>
                  <a:pt x="541" y="157"/>
                </a:cubicBezTo>
                <a:cubicBezTo>
                  <a:pt x="479" y="157"/>
                  <a:pt x="479" y="157"/>
                  <a:pt x="479" y="157"/>
                </a:cubicBezTo>
                <a:lnTo>
                  <a:pt x="479" y="261"/>
                </a:lnTo>
                <a:close/>
                <a:moveTo>
                  <a:pt x="805" y="261"/>
                </a:moveTo>
                <a:cubicBezTo>
                  <a:pt x="866" y="261"/>
                  <a:pt x="866" y="261"/>
                  <a:pt x="866" y="261"/>
                </a:cubicBezTo>
                <a:cubicBezTo>
                  <a:pt x="866" y="247"/>
                  <a:pt x="866" y="247"/>
                  <a:pt x="866" y="247"/>
                </a:cubicBezTo>
                <a:cubicBezTo>
                  <a:pt x="819" y="247"/>
                  <a:pt x="819" y="247"/>
                  <a:pt x="819" y="247"/>
                </a:cubicBezTo>
                <a:cubicBezTo>
                  <a:pt x="819" y="211"/>
                  <a:pt x="819" y="211"/>
                  <a:pt x="819" y="211"/>
                </a:cubicBezTo>
                <a:cubicBezTo>
                  <a:pt x="860" y="211"/>
                  <a:pt x="860" y="211"/>
                  <a:pt x="860" y="211"/>
                </a:cubicBezTo>
                <a:cubicBezTo>
                  <a:pt x="860" y="198"/>
                  <a:pt x="860" y="198"/>
                  <a:pt x="860" y="198"/>
                </a:cubicBezTo>
                <a:cubicBezTo>
                  <a:pt x="819" y="198"/>
                  <a:pt x="819" y="198"/>
                  <a:pt x="819" y="198"/>
                </a:cubicBezTo>
                <a:cubicBezTo>
                  <a:pt x="819" y="171"/>
                  <a:pt x="819" y="171"/>
                  <a:pt x="819" y="171"/>
                </a:cubicBezTo>
                <a:cubicBezTo>
                  <a:pt x="866" y="171"/>
                  <a:pt x="866" y="171"/>
                  <a:pt x="866" y="171"/>
                </a:cubicBezTo>
                <a:cubicBezTo>
                  <a:pt x="866" y="157"/>
                  <a:pt x="866" y="157"/>
                  <a:pt x="866" y="157"/>
                </a:cubicBezTo>
                <a:cubicBezTo>
                  <a:pt x="805" y="157"/>
                  <a:pt x="805" y="157"/>
                  <a:pt x="805" y="157"/>
                </a:cubicBezTo>
                <a:lnTo>
                  <a:pt x="805" y="261"/>
                </a:lnTo>
                <a:close/>
                <a:moveTo>
                  <a:pt x="634" y="235"/>
                </a:moveTo>
                <a:cubicBezTo>
                  <a:pt x="595" y="149"/>
                  <a:pt x="595" y="149"/>
                  <a:pt x="595" y="149"/>
                </a:cubicBezTo>
                <a:cubicBezTo>
                  <a:pt x="578" y="261"/>
                  <a:pt x="578" y="261"/>
                  <a:pt x="578" y="261"/>
                </a:cubicBezTo>
                <a:cubicBezTo>
                  <a:pt x="592" y="261"/>
                  <a:pt x="592" y="261"/>
                  <a:pt x="592" y="261"/>
                </a:cubicBezTo>
                <a:cubicBezTo>
                  <a:pt x="601" y="194"/>
                  <a:pt x="601" y="194"/>
                  <a:pt x="601" y="194"/>
                </a:cubicBezTo>
                <a:cubicBezTo>
                  <a:pt x="634" y="267"/>
                  <a:pt x="634" y="267"/>
                  <a:pt x="634" y="267"/>
                </a:cubicBezTo>
                <a:cubicBezTo>
                  <a:pt x="668" y="194"/>
                  <a:pt x="668" y="194"/>
                  <a:pt x="668" y="194"/>
                </a:cubicBezTo>
                <a:cubicBezTo>
                  <a:pt x="677" y="261"/>
                  <a:pt x="677" y="261"/>
                  <a:pt x="677" y="261"/>
                </a:cubicBezTo>
                <a:cubicBezTo>
                  <a:pt x="691" y="261"/>
                  <a:pt x="691" y="261"/>
                  <a:pt x="691" y="261"/>
                </a:cubicBezTo>
                <a:cubicBezTo>
                  <a:pt x="674" y="148"/>
                  <a:pt x="674" y="148"/>
                  <a:pt x="674" y="148"/>
                </a:cubicBezTo>
                <a:lnTo>
                  <a:pt x="634" y="235"/>
                </a:lnTo>
                <a:close/>
                <a:moveTo>
                  <a:pt x="737" y="261"/>
                </a:moveTo>
                <a:cubicBezTo>
                  <a:pt x="751" y="261"/>
                  <a:pt x="751" y="261"/>
                  <a:pt x="751" y="261"/>
                </a:cubicBezTo>
                <a:cubicBezTo>
                  <a:pt x="751" y="157"/>
                  <a:pt x="751" y="157"/>
                  <a:pt x="751" y="157"/>
                </a:cubicBezTo>
                <a:cubicBezTo>
                  <a:pt x="737" y="157"/>
                  <a:pt x="737" y="157"/>
                  <a:pt x="737" y="157"/>
                </a:cubicBezTo>
                <a:lnTo>
                  <a:pt x="737" y="261"/>
                </a:lnTo>
                <a:close/>
                <a:moveTo>
                  <a:pt x="955" y="211"/>
                </a:moveTo>
                <a:cubicBezTo>
                  <a:pt x="950" y="207"/>
                  <a:pt x="945" y="204"/>
                  <a:pt x="939" y="201"/>
                </a:cubicBezTo>
                <a:cubicBezTo>
                  <a:pt x="929" y="197"/>
                  <a:pt x="929" y="197"/>
                  <a:pt x="929" y="197"/>
                </a:cubicBezTo>
                <a:cubicBezTo>
                  <a:pt x="925" y="195"/>
                  <a:pt x="922" y="194"/>
                  <a:pt x="919" y="191"/>
                </a:cubicBezTo>
                <a:cubicBezTo>
                  <a:pt x="916" y="189"/>
                  <a:pt x="916" y="187"/>
                  <a:pt x="916" y="183"/>
                </a:cubicBezTo>
                <a:cubicBezTo>
                  <a:pt x="916" y="175"/>
                  <a:pt x="922" y="169"/>
                  <a:pt x="931" y="169"/>
                </a:cubicBezTo>
                <a:cubicBezTo>
                  <a:pt x="936" y="169"/>
                  <a:pt x="940" y="171"/>
                  <a:pt x="942" y="172"/>
                </a:cubicBezTo>
                <a:cubicBezTo>
                  <a:pt x="944" y="174"/>
                  <a:pt x="946" y="177"/>
                  <a:pt x="947" y="179"/>
                </a:cubicBezTo>
                <a:cubicBezTo>
                  <a:pt x="948" y="181"/>
                  <a:pt x="948" y="181"/>
                  <a:pt x="948" y="181"/>
                </a:cubicBezTo>
                <a:cubicBezTo>
                  <a:pt x="959" y="173"/>
                  <a:pt x="959" y="173"/>
                  <a:pt x="959" y="173"/>
                </a:cubicBezTo>
                <a:cubicBezTo>
                  <a:pt x="958" y="172"/>
                  <a:pt x="958" y="172"/>
                  <a:pt x="958" y="172"/>
                </a:cubicBezTo>
                <a:cubicBezTo>
                  <a:pt x="956" y="167"/>
                  <a:pt x="952" y="163"/>
                  <a:pt x="948" y="161"/>
                </a:cubicBezTo>
                <a:cubicBezTo>
                  <a:pt x="943" y="157"/>
                  <a:pt x="938" y="156"/>
                  <a:pt x="931" y="156"/>
                </a:cubicBezTo>
                <a:cubicBezTo>
                  <a:pt x="914" y="156"/>
                  <a:pt x="902" y="167"/>
                  <a:pt x="902" y="183"/>
                </a:cubicBezTo>
                <a:cubicBezTo>
                  <a:pt x="902" y="190"/>
                  <a:pt x="904" y="195"/>
                  <a:pt x="909" y="200"/>
                </a:cubicBezTo>
                <a:cubicBezTo>
                  <a:pt x="913" y="205"/>
                  <a:pt x="918" y="207"/>
                  <a:pt x="922" y="209"/>
                </a:cubicBezTo>
                <a:cubicBezTo>
                  <a:pt x="932" y="213"/>
                  <a:pt x="932" y="213"/>
                  <a:pt x="932" y="213"/>
                </a:cubicBezTo>
                <a:cubicBezTo>
                  <a:pt x="937" y="215"/>
                  <a:pt x="941" y="217"/>
                  <a:pt x="944" y="220"/>
                </a:cubicBezTo>
                <a:cubicBezTo>
                  <a:pt x="947" y="223"/>
                  <a:pt x="948" y="226"/>
                  <a:pt x="948" y="231"/>
                </a:cubicBezTo>
                <a:cubicBezTo>
                  <a:pt x="948" y="240"/>
                  <a:pt x="942" y="249"/>
                  <a:pt x="929" y="249"/>
                </a:cubicBezTo>
                <a:cubicBezTo>
                  <a:pt x="924" y="249"/>
                  <a:pt x="919" y="247"/>
                  <a:pt x="916" y="244"/>
                </a:cubicBezTo>
                <a:cubicBezTo>
                  <a:pt x="913" y="241"/>
                  <a:pt x="911" y="236"/>
                  <a:pt x="910" y="232"/>
                </a:cubicBezTo>
                <a:cubicBezTo>
                  <a:pt x="910" y="230"/>
                  <a:pt x="910" y="230"/>
                  <a:pt x="910" y="230"/>
                </a:cubicBezTo>
                <a:cubicBezTo>
                  <a:pt x="896" y="234"/>
                  <a:pt x="896" y="234"/>
                  <a:pt x="896" y="234"/>
                </a:cubicBezTo>
                <a:cubicBezTo>
                  <a:pt x="897" y="235"/>
                  <a:pt x="897" y="235"/>
                  <a:pt x="897" y="235"/>
                </a:cubicBezTo>
                <a:cubicBezTo>
                  <a:pt x="898" y="243"/>
                  <a:pt x="902" y="249"/>
                  <a:pt x="906" y="254"/>
                </a:cubicBezTo>
                <a:cubicBezTo>
                  <a:pt x="912" y="260"/>
                  <a:pt x="920" y="262"/>
                  <a:pt x="929" y="262"/>
                </a:cubicBezTo>
                <a:cubicBezTo>
                  <a:pt x="948" y="262"/>
                  <a:pt x="962" y="249"/>
                  <a:pt x="962" y="230"/>
                </a:cubicBezTo>
                <a:cubicBezTo>
                  <a:pt x="962" y="222"/>
                  <a:pt x="960" y="216"/>
                  <a:pt x="955" y="211"/>
                </a:cubicBezTo>
                <a:close/>
                <a:moveTo>
                  <a:pt x="0" y="261"/>
                </a:moveTo>
                <a:cubicBezTo>
                  <a:pt x="15" y="261"/>
                  <a:pt x="15" y="261"/>
                  <a:pt x="15" y="261"/>
                </a:cubicBezTo>
                <a:cubicBezTo>
                  <a:pt x="48" y="184"/>
                  <a:pt x="48" y="184"/>
                  <a:pt x="48" y="184"/>
                </a:cubicBezTo>
                <a:cubicBezTo>
                  <a:pt x="79" y="260"/>
                  <a:pt x="79" y="260"/>
                  <a:pt x="79" y="260"/>
                </a:cubicBezTo>
                <a:cubicBezTo>
                  <a:pt x="80" y="261"/>
                  <a:pt x="80" y="261"/>
                  <a:pt x="80" y="261"/>
                </a:cubicBezTo>
                <a:cubicBezTo>
                  <a:pt x="95" y="261"/>
                  <a:pt x="95" y="261"/>
                  <a:pt x="95" y="261"/>
                </a:cubicBezTo>
                <a:cubicBezTo>
                  <a:pt x="48" y="151"/>
                  <a:pt x="48" y="151"/>
                  <a:pt x="48" y="151"/>
                </a:cubicBezTo>
                <a:lnTo>
                  <a:pt x="0" y="261"/>
                </a:lnTo>
                <a:close/>
                <a:moveTo>
                  <a:pt x="229" y="261"/>
                </a:moveTo>
                <a:cubicBezTo>
                  <a:pt x="244" y="261"/>
                  <a:pt x="244" y="261"/>
                  <a:pt x="244" y="261"/>
                </a:cubicBezTo>
                <a:cubicBezTo>
                  <a:pt x="277" y="184"/>
                  <a:pt x="277" y="184"/>
                  <a:pt x="277" y="184"/>
                </a:cubicBezTo>
                <a:cubicBezTo>
                  <a:pt x="309" y="260"/>
                  <a:pt x="309" y="260"/>
                  <a:pt x="309" y="260"/>
                </a:cubicBezTo>
                <a:cubicBezTo>
                  <a:pt x="309" y="261"/>
                  <a:pt x="309" y="261"/>
                  <a:pt x="309" y="261"/>
                </a:cubicBezTo>
                <a:cubicBezTo>
                  <a:pt x="324" y="261"/>
                  <a:pt x="324" y="261"/>
                  <a:pt x="324" y="261"/>
                </a:cubicBezTo>
                <a:cubicBezTo>
                  <a:pt x="277" y="151"/>
                  <a:pt x="277" y="151"/>
                  <a:pt x="277" y="151"/>
                </a:cubicBezTo>
                <a:lnTo>
                  <a:pt x="229" y="261"/>
                </a:lnTo>
                <a:close/>
                <a:moveTo>
                  <a:pt x="1071" y="11"/>
                </a:moveTo>
                <a:cubicBezTo>
                  <a:pt x="1071" y="18"/>
                  <a:pt x="1071" y="18"/>
                  <a:pt x="1071" y="18"/>
                </a:cubicBezTo>
                <a:cubicBezTo>
                  <a:pt x="1075" y="18"/>
                  <a:pt x="1075" y="18"/>
                  <a:pt x="1075" y="18"/>
                </a:cubicBezTo>
                <a:cubicBezTo>
                  <a:pt x="1077" y="9"/>
                  <a:pt x="1077" y="9"/>
                  <a:pt x="1077" y="9"/>
                </a:cubicBezTo>
                <a:cubicBezTo>
                  <a:pt x="1076" y="8"/>
                  <a:pt x="1074" y="7"/>
                  <a:pt x="1072" y="6"/>
                </a:cubicBezTo>
                <a:cubicBezTo>
                  <a:pt x="1070" y="6"/>
                  <a:pt x="1067" y="6"/>
                  <a:pt x="1064" y="6"/>
                </a:cubicBezTo>
                <a:cubicBezTo>
                  <a:pt x="1061" y="6"/>
                  <a:pt x="1058" y="6"/>
                  <a:pt x="1056" y="7"/>
                </a:cubicBezTo>
                <a:cubicBezTo>
                  <a:pt x="1053" y="9"/>
                  <a:pt x="1051" y="10"/>
                  <a:pt x="1049" y="12"/>
                </a:cubicBezTo>
                <a:cubicBezTo>
                  <a:pt x="1048" y="14"/>
                  <a:pt x="1047" y="17"/>
                  <a:pt x="1047" y="20"/>
                </a:cubicBezTo>
                <a:cubicBezTo>
                  <a:pt x="1047" y="22"/>
                  <a:pt x="1048" y="24"/>
                  <a:pt x="1049" y="26"/>
                </a:cubicBezTo>
                <a:cubicBezTo>
                  <a:pt x="1050" y="28"/>
                  <a:pt x="1051" y="30"/>
                  <a:pt x="1053" y="31"/>
                </a:cubicBezTo>
                <a:cubicBezTo>
                  <a:pt x="1055" y="32"/>
                  <a:pt x="1057" y="34"/>
                  <a:pt x="1059" y="35"/>
                </a:cubicBezTo>
                <a:cubicBezTo>
                  <a:pt x="1062" y="37"/>
                  <a:pt x="1064" y="39"/>
                  <a:pt x="1066" y="40"/>
                </a:cubicBezTo>
                <a:cubicBezTo>
                  <a:pt x="1067" y="42"/>
                  <a:pt x="1068" y="44"/>
                  <a:pt x="1068" y="47"/>
                </a:cubicBezTo>
                <a:cubicBezTo>
                  <a:pt x="1068" y="49"/>
                  <a:pt x="1067" y="52"/>
                  <a:pt x="1065" y="53"/>
                </a:cubicBezTo>
                <a:cubicBezTo>
                  <a:pt x="1062" y="55"/>
                  <a:pt x="1060" y="56"/>
                  <a:pt x="1057" y="56"/>
                </a:cubicBezTo>
                <a:cubicBezTo>
                  <a:pt x="1055" y="56"/>
                  <a:pt x="1053" y="56"/>
                  <a:pt x="1052" y="55"/>
                </a:cubicBezTo>
                <a:cubicBezTo>
                  <a:pt x="1050" y="55"/>
                  <a:pt x="1049" y="54"/>
                  <a:pt x="1048" y="54"/>
                </a:cubicBezTo>
                <a:cubicBezTo>
                  <a:pt x="1048" y="46"/>
                  <a:pt x="1048" y="46"/>
                  <a:pt x="1048" y="46"/>
                </a:cubicBezTo>
                <a:cubicBezTo>
                  <a:pt x="1044" y="46"/>
                  <a:pt x="1044" y="46"/>
                  <a:pt x="1044" y="46"/>
                </a:cubicBezTo>
                <a:cubicBezTo>
                  <a:pt x="1042" y="56"/>
                  <a:pt x="1042" y="56"/>
                  <a:pt x="1042" y="56"/>
                </a:cubicBezTo>
                <a:cubicBezTo>
                  <a:pt x="1043" y="57"/>
                  <a:pt x="1045" y="58"/>
                  <a:pt x="1048" y="58"/>
                </a:cubicBezTo>
                <a:cubicBezTo>
                  <a:pt x="1051" y="59"/>
                  <a:pt x="1054" y="59"/>
                  <a:pt x="1057" y="59"/>
                </a:cubicBezTo>
                <a:cubicBezTo>
                  <a:pt x="1060" y="59"/>
                  <a:pt x="1063" y="59"/>
                  <a:pt x="1066" y="57"/>
                </a:cubicBezTo>
                <a:cubicBezTo>
                  <a:pt x="1069" y="56"/>
                  <a:pt x="1071" y="54"/>
                  <a:pt x="1073" y="52"/>
                </a:cubicBezTo>
                <a:cubicBezTo>
                  <a:pt x="1074" y="50"/>
                  <a:pt x="1075" y="47"/>
                  <a:pt x="1075" y="44"/>
                </a:cubicBezTo>
                <a:cubicBezTo>
                  <a:pt x="1075" y="42"/>
                  <a:pt x="1074" y="40"/>
                  <a:pt x="1073" y="38"/>
                </a:cubicBezTo>
                <a:cubicBezTo>
                  <a:pt x="1072" y="36"/>
                  <a:pt x="1071" y="35"/>
                  <a:pt x="1069" y="34"/>
                </a:cubicBezTo>
                <a:cubicBezTo>
                  <a:pt x="1068" y="32"/>
                  <a:pt x="1066" y="31"/>
                  <a:pt x="1064" y="29"/>
                </a:cubicBezTo>
                <a:cubicBezTo>
                  <a:pt x="1060" y="27"/>
                  <a:pt x="1058" y="25"/>
                  <a:pt x="1056" y="24"/>
                </a:cubicBezTo>
                <a:cubicBezTo>
                  <a:pt x="1055" y="22"/>
                  <a:pt x="1054" y="20"/>
                  <a:pt x="1054" y="17"/>
                </a:cubicBezTo>
                <a:cubicBezTo>
                  <a:pt x="1054" y="15"/>
                  <a:pt x="1055" y="13"/>
                  <a:pt x="1057" y="11"/>
                </a:cubicBezTo>
                <a:cubicBezTo>
                  <a:pt x="1059" y="10"/>
                  <a:pt x="1061" y="9"/>
                  <a:pt x="1064" y="9"/>
                </a:cubicBezTo>
                <a:cubicBezTo>
                  <a:pt x="1065" y="9"/>
                  <a:pt x="1067" y="9"/>
                  <a:pt x="1068" y="10"/>
                </a:cubicBezTo>
                <a:cubicBezTo>
                  <a:pt x="1069" y="10"/>
                  <a:pt x="1070" y="10"/>
                  <a:pt x="1071" y="11"/>
                </a:cubicBezTo>
                <a:close/>
                <a:moveTo>
                  <a:pt x="1107" y="27"/>
                </a:moveTo>
                <a:cubicBezTo>
                  <a:pt x="1108" y="27"/>
                  <a:pt x="1108" y="27"/>
                  <a:pt x="1108" y="27"/>
                </a:cubicBezTo>
                <a:cubicBezTo>
                  <a:pt x="1110" y="20"/>
                  <a:pt x="1110" y="20"/>
                  <a:pt x="1110" y="20"/>
                </a:cubicBezTo>
                <a:cubicBezTo>
                  <a:pt x="1109" y="20"/>
                  <a:pt x="1108" y="19"/>
                  <a:pt x="1107" y="19"/>
                </a:cubicBezTo>
                <a:cubicBezTo>
                  <a:pt x="1105" y="19"/>
                  <a:pt x="1104" y="19"/>
                  <a:pt x="1102" y="19"/>
                </a:cubicBezTo>
                <a:cubicBezTo>
                  <a:pt x="1098" y="19"/>
                  <a:pt x="1094" y="20"/>
                  <a:pt x="1091" y="22"/>
                </a:cubicBezTo>
                <a:cubicBezTo>
                  <a:pt x="1088" y="25"/>
                  <a:pt x="1086" y="28"/>
                  <a:pt x="1084" y="32"/>
                </a:cubicBezTo>
                <a:cubicBezTo>
                  <a:pt x="1083" y="36"/>
                  <a:pt x="1082" y="40"/>
                  <a:pt x="1082" y="43"/>
                </a:cubicBezTo>
                <a:cubicBezTo>
                  <a:pt x="1082" y="48"/>
                  <a:pt x="1083" y="52"/>
                  <a:pt x="1085" y="55"/>
                </a:cubicBezTo>
                <a:cubicBezTo>
                  <a:pt x="1087" y="58"/>
                  <a:pt x="1091" y="59"/>
                  <a:pt x="1094" y="59"/>
                </a:cubicBezTo>
                <a:cubicBezTo>
                  <a:pt x="1098" y="59"/>
                  <a:pt x="1100" y="59"/>
                  <a:pt x="1102" y="57"/>
                </a:cubicBezTo>
                <a:cubicBezTo>
                  <a:pt x="1105" y="56"/>
                  <a:pt x="1106" y="54"/>
                  <a:pt x="1108" y="53"/>
                </a:cubicBezTo>
                <a:cubicBezTo>
                  <a:pt x="1106" y="50"/>
                  <a:pt x="1106" y="50"/>
                  <a:pt x="1106" y="50"/>
                </a:cubicBezTo>
                <a:cubicBezTo>
                  <a:pt x="1105" y="52"/>
                  <a:pt x="1103" y="53"/>
                  <a:pt x="1102" y="54"/>
                </a:cubicBezTo>
                <a:cubicBezTo>
                  <a:pt x="1100" y="54"/>
                  <a:pt x="1099" y="55"/>
                  <a:pt x="1097" y="55"/>
                </a:cubicBezTo>
                <a:cubicBezTo>
                  <a:pt x="1094" y="55"/>
                  <a:pt x="1092" y="54"/>
                  <a:pt x="1091" y="52"/>
                </a:cubicBezTo>
                <a:cubicBezTo>
                  <a:pt x="1090" y="50"/>
                  <a:pt x="1089" y="47"/>
                  <a:pt x="1089" y="43"/>
                </a:cubicBezTo>
                <a:cubicBezTo>
                  <a:pt x="1089" y="39"/>
                  <a:pt x="1090" y="35"/>
                  <a:pt x="1091" y="32"/>
                </a:cubicBezTo>
                <a:cubicBezTo>
                  <a:pt x="1092" y="30"/>
                  <a:pt x="1093" y="27"/>
                  <a:pt x="1095" y="26"/>
                </a:cubicBezTo>
                <a:cubicBezTo>
                  <a:pt x="1097" y="24"/>
                  <a:pt x="1099" y="23"/>
                  <a:pt x="1101" y="23"/>
                </a:cubicBezTo>
                <a:cubicBezTo>
                  <a:pt x="1102" y="23"/>
                  <a:pt x="1105" y="24"/>
                  <a:pt x="1107" y="27"/>
                </a:cubicBezTo>
                <a:close/>
                <a:moveTo>
                  <a:pt x="1124" y="52"/>
                </a:moveTo>
                <a:cubicBezTo>
                  <a:pt x="1129" y="19"/>
                  <a:pt x="1129" y="19"/>
                  <a:pt x="1129" y="19"/>
                </a:cubicBezTo>
                <a:cubicBezTo>
                  <a:pt x="1128" y="19"/>
                  <a:pt x="1128" y="19"/>
                  <a:pt x="1128" y="19"/>
                </a:cubicBezTo>
                <a:cubicBezTo>
                  <a:pt x="1118" y="20"/>
                  <a:pt x="1118" y="20"/>
                  <a:pt x="1118" y="20"/>
                </a:cubicBezTo>
                <a:cubicBezTo>
                  <a:pt x="1117" y="23"/>
                  <a:pt x="1117" y="23"/>
                  <a:pt x="1117" y="23"/>
                </a:cubicBezTo>
                <a:cubicBezTo>
                  <a:pt x="1122" y="24"/>
                  <a:pt x="1122" y="24"/>
                  <a:pt x="1122" y="24"/>
                </a:cubicBezTo>
                <a:cubicBezTo>
                  <a:pt x="1121" y="31"/>
                  <a:pt x="1120" y="37"/>
                  <a:pt x="1119" y="41"/>
                </a:cubicBezTo>
                <a:cubicBezTo>
                  <a:pt x="1118" y="49"/>
                  <a:pt x="1117" y="54"/>
                  <a:pt x="1117" y="55"/>
                </a:cubicBezTo>
                <a:cubicBezTo>
                  <a:pt x="1117" y="56"/>
                  <a:pt x="1118" y="57"/>
                  <a:pt x="1118" y="58"/>
                </a:cubicBezTo>
                <a:cubicBezTo>
                  <a:pt x="1119" y="59"/>
                  <a:pt x="1120" y="59"/>
                  <a:pt x="1122" y="59"/>
                </a:cubicBezTo>
                <a:cubicBezTo>
                  <a:pt x="1124" y="59"/>
                  <a:pt x="1125" y="59"/>
                  <a:pt x="1127" y="58"/>
                </a:cubicBezTo>
                <a:cubicBezTo>
                  <a:pt x="1128" y="57"/>
                  <a:pt x="1129" y="55"/>
                  <a:pt x="1130" y="54"/>
                </a:cubicBezTo>
                <a:cubicBezTo>
                  <a:pt x="1129" y="53"/>
                  <a:pt x="1129" y="53"/>
                  <a:pt x="1129" y="53"/>
                </a:cubicBezTo>
                <a:cubicBezTo>
                  <a:pt x="1128" y="54"/>
                  <a:pt x="1128" y="54"/>
                  <a:pt x="1127" y="54"/>
                </a:cubicBezTo>
                <a:cubicBezTo>
                  <a:pt x="1126" y="55"/>
                  <a:pt x="1126" y="55"/>
                  <a:pt x="1125" y="55"/>
                </a:cubicBezTo>
                <a:cubicBezTo>
                  <a:pt x="1125" y="55"/>
                  <a:pt x="1125" y="55"/>
                  <a:pt x="1125" y="54"/>
                </a:cubicBezTo>
                <a:cubicBezTo>
                  <a:pt x="1124" y="54"/>
                  <a:pt x="1124" y="54"/>
                  <a:pt x="1124" y="53"/>
                </a:cubicBezTo>
                <a:lnTo>
                  <a:pt x="1124" y="52"/>
                </a:lnTo>
                <a:close/>
                <a:moveTo>
                  <a:pt x="1127" y="11"/>
                </a:moveTo>
                <a:cubicBezTo>
                  <a:pt x="1128" y="11"/>
                  <a:pt x="1129" y="11"/>
                  <a:pt x="1130" y="10"/>
                </a:cubicBezTo>
                <a:cubicBezTo>
                  <a:pt x="1131" y="9"/>
                  <a:pt x="1131" y="7"/>
                  <a:pt x="1131" y="6"/>
                </a:cubicBezTo>
                <a:cubicBezTo>
                  <a:pt x="1131" y="5"/>
                  <a:pt x="1131" y="4"/>
                  <a:pt x="1130" y="3"/>
                </a:cubicBezTo>
                <a:cubicBezTo>
                  <a:pt x="1130" y="3"/>
                  <a:pt x="1129" y="2"/>
                  <a:pt x="1128" y="2"/>
                </a:cubicBezTo>
                <a:cubicBezTo>
                  <a:pt x="1126" y="2"/>
                  <a:pt x="1125" y="3"/>
                  <a:pt x="1124" y="4"/>
                </a:cubicBezTo>
                <a:cubicBezTo>
                  <a:pt x="1123" y="5"/>
                  <a:pt x="1123" y="6"/>
                  <a:pt x="1123" y="7"/>
                </a:cubicBezTo>
                <a:cubicBezTo>
                  <a:pt x="1123" y="8"/>
                  <a:pt x="1123" y="9"/>
                  <a:pt x="1124" y="10"/>
                </a:cubicBezTo>
                <a:cubicBezTo>
                  <a:pt x="1125" y="11"/>
                  <a:pt x="1126" y="11"/>
                  <a:pt x="1127" y="11"/>
                </a:cubicBezTo>
                <a:close/>
                <a:moveTo>
                  <a:pt x="1166" y="52"/>
                </a:moveTo>
                <a:cubicBezTo>
                  <a:pt x="1165" y="49"/>
                  <a:pt x="1165" y="49"/>
                  <a:pt x="1165" y="49"/>
                </a:cubicBezTo>
                <a:cubicBezTo>
                  <a:pt x="1163" y="51"/>
                  <a:pt x="1161" y="52"/>
                  <a:pt x="1159" y="53"/>
                </a:cubicBezTo>
                <a:cubicBezTo>
                  <a:pt x="1157" y="54"/>
                  <a:pt x="1155" y="55"/>
                  <a:pt x="1153" y="55"/>
                </a:cubicBezTo>
                <a:cubicBezTo>
                  <a:pt x="1150" y="55"/>
                  <a:pt x="1148" y="54"/>
                  <a:pt x="1147" y="51"/>
                </a:cubicBezTo>
                <a:cubicBezTo>
                  <a:pt x="1145" y="49"/>
                  <a:pt x="1145" y="46"/>
                  <a:pt x="1145" y="43"/>
                </a:cubicBezTo>
                <a:cubicBezTo>
                  <a:pt x="1148" y="43"/>
                  <a:pt x="1151" y="42"/>
                  <a:pt x="1155" y="41"/>
                </a:cubicBezTo>
                <a:cubicBezTo>
                  <a:pt x="1158" y="40"/>
                  <a:pt x="1162" y="38"/>
                  <a:pt x="1164" y="36"/>
                </a:cubicBezTo>
                <a:cubicBezTo>
                  <a:pt x="1167" y="33"/>
                  <a:pt x="1168" y="31"/>
                  <a:pt x="1168" y="27"/>
                </a:cubicBezTo>
                <a:cubicBezTo>
                  <a:pt x="1168" y="25"/>
                  <a:pt x="1167" y="23"/>
                  <a:pt x="1166" y="21"/>
                </a:cubicBezTo>
                <a:cubicBezTo>
                  <a:pt x="1164" y="19"/>
                  <a:pt x="1162" y="19"/>
                  <a:pt x="1158" y="19"/>
                </a:cubicBezTo>
                <a:cubicBezTo>
                  <a:pt x="1154" y="19"/>
                  <a:pt x="1151" y="20"/>
                  <a:pt x="1148" y="22"/>
                </a:cubicBezTo>
                <a:cubicBezTo>
                  <a:pt x="1145" y="24"/>
                  <a:pt x="1142" y="28"/>
                  <a:pt x="1140" y="31"/>
                </a:cubicBezTo>
                <a:cubicBezTo>
                  <a:pt x="1138" y="35"/>
                  <a:pt x="1138" y="40"/>
                  <a:pt x="1138" y="44"/>
                </a:cubicBezTo>
                <a:cubicBezTo>
                  <a:pt x="1138" y="47"/>
                  <a:pt x="1138" y="49"/>
                  <a:pt x="1139" y="52"/>
                </a:cubicBezTo>
                <a:cubicBezTo>
                  <a:pt x="1140" y="54"/>
                  <a:pt x="1142" y="56"/>
                  <a:pt x="1144" y="57"/>
                </a:cubicBezTo>
                <a:cubicBezTo>
                  <a:pt x="1146" y="59"/>
                  <a:pt x="1148" y="59"/>
                  <a:pt x="1151" y="59"/>
                </a:cubicBezTo>
                <a:cubicBezTo>
                  <a:pt x="1155" y="59"/>
                  <a:pt x="1158" y="58"/>
                  <a:pt x="1160" y="57"/>
                </a:cubicBezTo>
                <a:cubicBezTo>
                  <a:pt x="1163" y="55"/>
                  <a:pt x="1165" y="54"/>
                  <a:pt x="1166" y="52"/>
                </a:cubicBezTo>
                <a:close/>
                <a:moveTo>
                  <a:pt x="1157" y="22"/>
                </a:moveTo>
                <a:cubicBezTo>
                  <a:pt x="1158" y="22"/>
                  <a:pt x="1159" y="23"/>
                  <a:pt x="1160" y="24"/>
                </a:cubicBezTo>
                <a:cubicBezTo>
                  <a:pt x="1161" y="25"/>
                  <a:pt x="1161" y="26"/>
                  <a:pt x="1161" y="28"/>
                </a:cubicBezTo>
                <a:cubicBezTo>
                  <a:pt x="1161" y="30"/>
                  <a:pt x="1161" y="32"/>
                  <a:pt x="1159" y="34"/>
                </a:cubicBezTo>
                <a:cubicBezTo>
                  <a:pt x="1157" y="35"/>
                  <a:pt x="1155" y="37"/>
                  <a:pt x="1152" y="38"/>
                </a:cubicBezTo>
                <a:cubicBezTo>
                  <a:pt x="1150" y="39"/>
                  <a:pt x="1147" y="39"/>
                  <a:pt x="1145" y="39"/>
                </a:cubicBezTo>
                <a:cubicBezTo>
                  <a:pt x="1145" y="37"/>
                  <a:pt x="1146" y="34"/>
                  <a:pt x="1147" y="32"/>
                </a:cubicBezTo>
                <a:cubicBezTo>
                  <a:pt x="1148" y="29"/>
                  <a:pt x="1149" y="27"/>
                  <a:pt x="1151" y="25"/>
                </a:cubicBezTo>
                <a:cubicBezTo>
                  <a:pt x="1152" y="23"/>
                  <a:pt x="1154" y="22"/>
                  <a:pt x="1157" y="22"/>
                </a:cubicBezTo>
                <a:close/>
                <a:moveTo>
                  <a:pt x="1187" y="28"/>
                </a:moveTo>
                <a:cubicBezTo>
                  <a:pt x="1188" y="19"/>
                  <a:pt x="1188" y="19"/>
                  <a:pt x="1188" y="19"/>
                </a:cubicBezTo>
                <a:cubicBezTo>
                  <a:pt x="1186" y="19"/>
                  <a:pt x="1186" y="19"/>
                  <a:pt x="1186" y="19"/>
                </a:cubicBezTo>
                <a:cubicBezTo>
                  <a:pt x="1178" y="20"/>
                  <a:pt x="1178" y="20"/>
                  <a:pt x="1178" y="20"/>
                </a:cubicBezTo>
                <a:cubicBezTo>
                  <a:pt x="1177" y="23"/>
                  <a:pt x="1177" y="23"/>
                  <a:pt x="1177" y="23"/>
                </a:cubicBezTo>
                <a:cubicBezTo>
                  <a:pt x="1180" y="25"/>
                  <a:pt x="1180" y="25"/>
                  <a:pt x="1180" y="25"/>
                </a:cubicBezTo>
                <a:cubicBezTo>
                  <a:pt x="1176" y="58"/>
                  <a:pt x="1176" y="58"/>
                  <a:pt x="1176" y="58"/>
                </a:cubicBezTo>
                <a:cubicBezTo>
                  <a:pt x="1183" y="58"/>
                  <a:pt x="1183" y="58"/>
                  <a:pt x="1183" y="58"/>
                </a:cubicBezTo>
                <a:cubicBezTo>
                  <a:pt x="1186" y="33"/>
                  <a:pt x="1186" y="33"/>
                  <a:pt x="1186" y="33"/>
                </a:cubicBezTo>
                <a:cubicBezTo>
                  <a:pt x="1188" y="31"/>
                  <a:pt x="1190" y="28"/>
                  <a:pt x="1192" y="26"/>
                </a:cubicBezTo>
                <a:cubicBezTo>
                  <a:pt x="1194" y="25"/>
                  <a:pt x="1196" y="24"/>
                  <a:pt x="1198" y="24"/>
                </a:cubicBezTo>
                <a:cubicBezTo>
                  <a:pt x="1200" y="24"/>
                  <a:pt x="1201" y="24"/>
                  <a:pt x="1202" y="25"/>
                </a:cubicBezTo>
                <a:cubicBezTo>
                  <a:pt x="1202" y="26"/>
                  <a:pt x="1203" y="27"/>
                  <a:pt x="1203" y="29"/>
                </a:cubicBezTo>
                <a:cubicBezTo>
                  <a:pt x="1203" y="31"/>
                  <a:pt x="1202" y="33"/>
                  <a:pt x="1202" y="35"/>
                </a:cubicBezTo>
                <a:cubicBezTo>
                  <a:pt x="1202" y="37"/>
                  <a:pt x="1201" y="39"/>
                  <a:pt x="1201" y="41"/>
                </a:cubicBezTo>
                <a:cubicBezTo>
                  <a:pt x="1201" y="43"/>
                  <a:pt x="1201" y="43"/>
                  <a:pt x="1201" y="43"/>
                </a:cubicBezTo>
                <a:cubicBezTo>
                  <a:pt x="1200" y="46"/>
                  <a:pt x="1200" y="46"/>
                  <a:pt x="1200" y="46"/>
                </a:cubicBezTo>
                <a:cubicBezTo>
                  <a:pt x="1199" y="51"/>
                  <a:pt x="1199" y="54"/>
                  <a:pt x="1199" y="55"/>
                </a:cubicBezTo>
                <a:cubicBezTo>
                  <a:pt x="1199" y="58"/>
                  <a:pt x="1200" y="59"/>
                  <a:pt x="1203" y="59"/>
                </a:cubicBezTo>
                <a:cubicBezTo>
                  <a:pt x="1205" y="59"/>
                  <a:pt x="1206" y="59"/>
                  <a:pt x="1207" y="58"/>
                </a:cubicBezTo>
                <a:cubicBezTo>
                  <a:pt x="1208" y="58"/>
                  <a:pt x="1209" y="57"/>
                  <a:pt x="1210" y="57"/>
                </a:cubicBezTo>
                <a:cubicBezTo>
                  <a:pt x="1210" y="56"/>
                  <a:pt x="1211" y="55"/>
                  <a:pt x="1211" y="55"/>
                </a:cubicBezTo>
                <a:cubicBezTo>
                  <a:pt x="1210" y="53"/>
                  <a:pt x="1210" y="53"/>
                  <a:pt x="1210" y="53"/>
                </a:cubicBezTo>
                <a:cubicBezTo>
                  <a:pt x="1209" y="54"/>
                  <a:pt x="1208" y="55"/>
                  <a:pt x="1207" y="55"/>
                </a:cubicBezTo>
                <a:cubicBezTo>
                  <a:pt x="1206" y="55"/>
                  <a:pt x="1206" y="54"/>
                  <a:pt x="1206" y="53"/>
                </a:cubicBezTo>
                <a:cubicBezTo>
                  <a:pt x="1206" y="51"/>
                  <a:pt x="1206" y="48"/>
                  <a:pt x="1207" y="45"/>
                </a:cubicBezTo>
                <a:cubicBezTo>
                  <a:pt x="1208" y="41"/>
                  <a:pt x="1208" y="41"/>
                  <a:pt x="1208" y="41"/>
                </a:cubicBezTo>
                <a:cubicBezTo>
                  <a:pt x="1208" y="40"/>
                  <a:pt x="1208" y="40"/>
                  <a:pt x="1208" y="40"/>
                </a:cubicBezTo>
                <a:cubicBezTo>
                  <a:pt x="1209" y="34"/>
                  <a:pt x="1210" y="31"/>
                  <a:pt x="1210" y="29"/>
                </a:cubicBezTo>
                <a:cubicBezTo>
                  <a:pt x="1210" y="25"/>
                  <a:pt x="1209" y="23"/>
                  <a:pt x="1207" y="21"/>
                </a:cubicBezTo>
                <a:cubicBezTo>
                  <a:pt x="1206" y="19"/>
                  <a:pt x="1204" y="19"/>
                  <a:pt x="1201" y="19"/>
                </a:cubicBezTo>
                <a:cubicBezTo>
                  <a:pt x="1199" y="19"/>
                  <a:pt x="1196" y="19"/>
                  <a:pt x="1193" y="21"/>
                </a:cubicBezTo>
                <a:cubicBezTo>
                  <a:pt x="1191" y="23"/>
                  <a:pt x="1189" y="25"/>
                  <a:pt x="1187" y="28"/>
                </a:cubicBezTo>
                <a:close/>
                <a:moveTo>
                  <a:pt x="1243" y="27"/>
                </a:moveTo>
                <a:cubicBezTo>
                  <a:pt x="1245" y="27"/>
                  <a:pt x="1245" y="27"/>
                  <a:pt x="1245" y="27"/>
                </a:cubicBezTo>
                <a:cubicBezTo>
                  <a:pt x="1247" y="20"/>
                  <a:pt x="1247" y="20"/>
                  <a:pt x="1247" y="20"/>
                </a:cubicBezTo>
                <a:cubicBezTo>
                  <a:pt x="1246" y="20"/>
                  <a:pt x="1244" y="19"/>
                  <a:pt x="1243" y="19"/>
                </a:cubicBezTo>
                <a:cubicBezTo>
                  <a:pt x="1241" y="19"/>
                  <a:pt x="1240" y="19"/>
                  <a:pt x="1239" y="19"/>
                </a:cubicBezTo>
                <a:cubicBezTo>
                  <a:pt x="1234" y="19"/>
                  <a:pt x="1231" y="20"/>
                  <a:pt x="1228" y="22"/>
                </a:cubicBezTo>
                <a:cubicBezTo>
                  <a:pt x="1224" y="25"/>
                  <a:pt x="1222" y="28"/>
                  <a:pt x="1220" y="32"/>
                </a:cubicBezTo>
                <a:cubicBezTo>
                  <a:pt x="1219" y="36"/>
                  <a:pt x="1218" y="40"/>
                  <a:pt x="1218" y="43"/>
                </a:cubicBezTo>
                <a:cubicBezTo>
                  <a:pt x="1218" y="48"/>
                  <a:pt x="1219" y="52"/>
                  <a:pt x="1221" y="55"/>
                </a:cubicBezTo>
                <a:cubicBezTo>
                  <a:pt x="1224" y="58"/>
                  <a:pt x="1227" y="59"/>
                  <a:pt x="1231" y="59"/>
                </a:cubicBezTo>
                <a:cubicBezTo>
                  <a:pt x="1234" y="59"/>
                  <a:pt x="1236" y="59"/>
                  <a:pt x="1239" y="57"/>
                </a:cubicBezTo>
                <a:cubicBezTo>
                  <a:pt x="1241" y="56"/>
                  <a:pt x="1243" y="54"/>
                  <a:pt x="1244" y="53"/>
                </a:cubicBezTo>
                <a:cubicBezTo>
                  <a:pt x="1242" y="50"/>
                  <a:pt x="1242" y="50"/>
                  <a:pt x="1242" y="50"/>
                </a:cubicBezTo>
                <a:cubicBezTo>
                  <a:pt x="1241" y="52"/>
                  <a:pt x="1239" y="53"/>
                  <a:pt x="1238" y="54"/>
                </a:cubicBezTo>
                <a:cubicBezTo>
                  <a:pt x="1236" y="54"/>
                  <a:pt x="1235" y="55"/>
                  <a:pt x="1233" y="55"/>
                </a:cubicBezTo>
                <a:cubicBezTo>
                  <a:pt x="1230" y="55"/>
                  <a:pt x="1228" y="54"/>
                  <a:pt x="1227" y="52"/>
                </a:cubicBezTo>
                <a:cubicBezTo>
                  <a:pt x="1226" y="50"/>
                  <a:pt x="1225" y="47"/>
                  <a:pt x="1225" y="43"/>
                </a:cubicBezTo>
                <a:cubicBezTo>
                  <a:pt x="1225" y="39"/>
                  <a:pt x="1226" y="35"/>
                  <a:pt x="1227" y="32"/>
                </a:cubicBezTo>
                <a:cubicBezTo>
                  <a:pt x="1228" y="30"/>
                  <a:pt x="1229" y="27"/>
                  <a:pt x="1231" y="26"/>
                </a:cubicBezTo>
                <a:cubicBezTo>
                  <a:pt x="1233" y="24"/>
                  <a:pt x="1235" y="23"/>
                  <a:pt x="1237" y="23"/>
                </a:cubicBezTo>
                <a:cubicBezTo>
                  <a:pt x="1239" y="23"/>
                  <a:pt x="1241" y="24"/>
                  <a:pt x="1243" y="27"/>
                </a:cubicBezTo>
                <a:close/>
                <a:moveTo>
                  <a:pt x="1279" y="52"/>
                </a:moveTo>
                <a:cubicBezTo>
                  <a:pt x="1277" y="49"/>
                  <a:pt x="1277" y="49"/>
                  <a:pt x="1277" y="49"/>
                </a:cubicBezTo>
                <a:cubicBezTo>
                  <a:pt x="1276" y="51"/>
                  <a:pt x="1274" y="52"/>
                  <a:pt x="1272" y="53"/>
                </a:cubicBezTo>
                <a:cubicBezTo>
                  <a:pt x="1270" y="54"/>
                  <a:pt x="1268" y="55"/>
                  <a:pt x="1266" y="55"/>
                </a:cubicBezTo>
                <a:cubicBezTo>
                  <a:pt x="1263" y="55"/>
                  <a:pt x="1261" y="54"/>
                  <a:pt x="1259" y="51"/>
                </a:cubicBezTo>
                <a:cubicBezTo>
                  <a:pt x="1258" y="49"/>
                  <a:pt x="1257" y="46"/>
                  <a:pt x="1258" y="43"/>
                </a:cubicBezTo>
                <a:cubicBezTo>
                  <a:pt x="1260" y="43"/>
                  <a:pt x="1264" y="42"/>
                  <a:pt x="1267" y="41"/>
                </a:cubicBezTo>
                <a:cubicBezTo>
                  <a:pt x="1271" y="40"/>
                  <a:pt x="1274" y="38"/>
                  <a:pt x="1277" y="36"/>
                </a:cubicBezTo>
                <a:cubicBezTo>
                  <a:pt x="1280" y="33"/>
                  <a:pt x="1281" y="31"/>
                  <a:pt x="1281" y="27"/>
                </a:cubicBezTo>
                <a:cubicBezTo>
                  <a:pt x="1281" y="25"/>
                  <a:pt x="1280" y="23"/>
                  <a:pt x="1278" y="21"/>
                </a:cubicBezTo>
                <a:cubicBezTo>
                  <a:pt x="1277" y="19"/>
                  <a:pt x="1274" y="19"/>
                  <a:pt x="1271" y="19"/>
                </a:cubicBezTo>
                <a:cubicBezTo>
                  <a:pt x="1267" y="19"/>
                  <a:pt x="1264" y="20"/>
                  <a:pt x="1260" y="22"/>
                </a:cubicBezTo>
                <a:cubicBezTo>
                  <a:pt x="1257" y="24"/>
                  <a:pt x="1255" y="28"/>
                  <a:pt x="1253" y="31"/>
                </a:cubicBezTo>
                <a:cubicBezTo>
                  <a:pt x="1251" y="35"/>
                  <a:pt x="1250" y="40"/>
                  <a:pt x="1250" y="44"/>
                </a:cubicBezTo>
                <a:cubicBezTo>
                  <a:pt x="1250" y="47"/>
                  <a:pt x="1251" y="49"/>
                  <a:pt x="1252" y="52"/>
                </a:cubicBezTo>
                <a:cubicBezTo>
                  <a:pt x="1253" y="54"/>
                  <a:pt x="1254" y="56"/>
                  <a:pt x="1256" y="57"/>
                </a:cubicBezTo>
                <a:cubicBezTo>
                  <a:pt x="1258" y="59"/>
                  <a:pt x="1261" y="59"/>
                  <a:pt x="1264" y="59"/>
                </a:cubicBezTo>
                <a:cubicBezTo>
                  <a:pt x="1267" y="59"/>
                  <a:pt x="1270" y="58"/>
                  <a:pt x="1273" y="57"/>
                </a:cubicBezTo>
                <a:cubicBezTo>
                  <a:pt x="1276" y="55"/>
                  <a:pt x="1278" y="54"/>
                  <a:pt x="1279" y="52"/>
                </a:cubicBezTo>
                <a:close/>
                <a:moveTo>
                  <a:pt x="1269" y="22"/>
                </a:moveTo>
                <a:cubicBezTo>
                  <a:pt x="1271" y="22"/>
                  <a:pt x="1272" y="23"/>
                  <a:pt x="1273" y="24"/>
                </a:cubicBezTo>
                <a:cubicBezTo>
                  <a:pt x="1274" y="25"/>
                  <a:pt x="1274" y="26"/>
                  <a:pt x="1274" y="28"/>
                </a:cubicBezTo>
                <a:cubicBezTo>
                  <a:pt x="1274" y="30"/>
                  <a:pt x="1273" y="32"/>
                  <a:pt x="1272" y="34"/>
                </a:cubicBezTo>
                <a:cubicBezTo>
                  <a:pt x="1270" y="35"/>
                  <a:pt x="1268" y="37"/>
                  <a:pt x="1265" y="38"/>
                </a:cubicBezTo>
                <a:cubicBezTo>
                  <a:pt x="1263" y="39"/>
                  <a:pt x="1260" y="39"/>
                  <a:pt x="1258" y="39"/>
                </a:cubicBezTo>
                <a:cubicBezTo>
                  <a:pt x="1258" y="37"/>
                  <a:pt x="1259" y="34"/>
                  <a:pt x="1259" y="32"/>
                </a:cubicBezTo>
                <a:cubicBezTo>
                  <a:pt x="1260" y="29"/>
                  <a:pt x="1262" y="27"/>
                  <a:pt x="1263" y="25"/>
                </a:cubicBezTo>
                <a:cubicBezTo>
                  <a:pt x="1265" y="23"/>
                  <a:pt x="1267" y="22"/>
                  <a:pt x="1269" y="22"/>
                </a:cubicBezTo>
                <a:close/>
                <a:moveTo>
                  <a:pt x="1310" y="25"/>
                </a:moveTo>
                <a:cubicBezTo>
                  <a:pt x="1311" y="20"/>
                  <a:pt x="1311" y="20"/>
                  <a:pt x="1311" y="20"/>
                </a:cubicBezTo>
                <a:cubicBezTo>
                  <a:pt x="1311" y="20"/>
                  <a:pt x="1309" y="19"/>
                  <a:pt x="1308" y="19"/>
                </a:cubicBezTo>
                <a:cubicBezTo>
                  <a:pt x="1306" y="19"/>
                  <a:pt x="1304" y="19"/>
                  <a:pt x="1303" y="19"/>
                </a:cubicBezTo>
                <a:cubicBezTo>
                  <a:pt x="1300" y="19"/>
                  <a:pt x="1298" y="19"/>
                  <a:pt x="1296" y="20"/>
                </a:cubicBezTo>
                <a:cubicBezTo>
                  <a:pt x="1293" y="21"/>
                  <a:pt x="1292" y="22"/>
                  <a:pt x="1291" y="24"/>
                </a:cubicBezTo>
                <a:cubicBezTo>
                  <a:pt x="1289" y="26"/>
                  <a:pt x="1289" y="27"/>
                  <a:pt x="1289" y="30"/>
                </a:cubicBezTo>
                <a:cubicBezTo>
                  <a:pt x="1289" y="34"/>
                  <a:pt x="1291" y="38"/>
                  <a:pt x="1296" y="41"/>
                </a:cubicBezTo>
                <a:cubicBezTo>
                  <a:pt x="1298" y="43"/>
                  <a:pt x="1300" y="44"/>
                  <a:pt x="1301" y="45"/>
                </a:cubicBezTo>
                <a:cubicBezTo>
                  <a:pt x="1302" y="46"/>
                  <a:pt x="1303" y="48"/>
                  <a:pt x="1303" y="50"/>
                </a:cubicBezTo>
                <a:cubicBezTo>
                  <a:pt x="1303" y="51"/>
                  <a:pt x="1302" y="53"/>
                  <a:pt x="1301" y="54"/>
                </a:cubicBezTo>
                <a:cubicBezTo>
                  <a:pt x="1299" y="55"/>
                  <a:pt x="1297" y="55"/>
                  <a:pt x="1295" y="55"/>
                </a:cubicBezTo>
                <a:cubicBezTo>
                  <a:pt x="1293" y="55"/>
                  <a:pt x="1292" y="55"/>
                  <a:pt x="1290" y="54"/>
                </a:cubicBezTo>
                <a:cubicBezTo>
                  <a:pt x="1288" y="53"/>
                  <a:pt x="1287" y="53"/>
                  <a:pt x="1286" y="52"/>
                </a:cubicBezTo>
                <a:cubicBezTo>
                  <a:pt x="1285" y="57"/>
                  <a:pt x="1285" y="57"/>
                  <a:pt x="1285" y="57"/>
                </a:cubicBezTo>
                <a:cubicBezTo>
                  <a:pt x="1285" y="58"/>
                  <a:pt x="1287" y="58"/>
                  <a:pt x="1289" y="58"/>
                </a:cubicBezTo>
                <a:cubicBezTo>
                  <a:pt x="1291" y="59"/>
                  <a:pt x="1293" y="59"/>
                  <a:pt x="1295" y="59"/>
                </a:cubicBezTo>
                <a:cubicBezTo>
                  <a:pt x="1299" y="59"/>
                  <a:pt x="1303" y="58"/>
                  <a:pt x="1305" y="56"/>
                </a:cubicBezTo>
                <a:cubicBezTo>
                  <a:pt x="1308" y="54"/>
                  <a:pt x="1309" y="52"/>
                  <a:pt x="1309" y="48"/>
                </a:cubicBezTo>
                <a:cubicBezTo>
                  <a:pt x="1309" y="46"/>
                  <a:pt x="1309" y="45"/>
                  <a:pt x="1308" y="43"/>
                </a:cubicBezTo>
                <a:cubicBezTo>
                  <a:pt x="1307" y="42"/>
                  <a:pt x="1306" y="41"/>
                  <a:pt x="1305" y="40"/>
                </a:cubicBezTo>
                <a:cubicBezTo>
                  <a:pt x="1304" y="39"/>
                  <a:pt x="1303" y="38"/>
                  <a:pt x="1301" y="36"/>
                </a:cubicBezTo>
                <a:cubicBezTo>
                  <a:pt x="1299" y="35"/>
                  <a:pt x="1298" y="34"/>
                  <a:pt x="1297" y="32"/>
                </a:cubicBezTo>
                <a:cubicBezTo>
                  <a:pt x="1296" y="31"/>
                  <a:pt x="1295" y="30"/>
                  <a:pt x="1295" y="28"/>
                </a:cubicBezTo>
                <a:cubicBezTo>
                  <a:pt x="1295" y="26"/>
                  <a:pt x="1296" y="25"/>
                  <a:pt x="1297" y="24"/>
                </a:cubicBezTo>
                <a:cubicBezTo>
                  <a:pt x="1299" y="23"/>
                  <a:pt x="1300" y="23"/>
                  <a:pt x="1303" y="23"/>
                </a:cubicBezTo>
                <a:cubicBezTo>
                  <a:pt x="1304" y="23"/>
                  <a:pt x="1306" y="23"/>
                  <a:pt x="1307" y="24"/>
                </a:cubicBezTo>
                <a:cubicBezTo>
                  <a:pt x="1309" y="24"/>
                  <a:pt x="1310" y="25"/>
                  <a:pt x="1310" y="25"/>
                </a:cubicBezTo>
                <a:close/>
                <a:moveTo>
                  <a:pt x="1047" y="110"/>
                </a:moveTo>
                <a:cubicBezTo>
                  <a:pt x="1052" y="111"/>
                  <a:pt x="1052" y="111"/>
                  <a:pt x="1052" y="111"/>
                </a:cubicBezTo>
                <a:cubicBezTo>
                  <a:pt x="1046" y="156"/>
                  <a:pt x="1046" y="156"/>
                  <a:pt x="1046" y="156"/>
                </a:cubicBezTo>
                <a:cubicBezTo>
                  <a:pt x="1041" y="157"/>
                  <a:pt x="1041" y="157"/>
                  <a:pt x="1041" y="157"/>
                </a:cubicBezTo>
                <a:cubicBezTo>
                  <a:pt x="1041" y="159"/>
                  <a:pt x="1041" y="159"/>
                  <a:pt x="1041" y="159"/>
                </a:cubicBezTo>
                <a:cubicBezTo>
                  <a:pt x="1078" y="159"/>
                  <a:pt x="1078" y="159"/>
                  <a:pt x="1078" y="159"/>
                </a:cubicBezTo>
                <a:cubicBezTo>
                  <a:pt x="1081" y="147"/>
                  <a:pt x="1081" y="147"/>
                  <a:pt x="1081" y="147"/>
                </a:cubicBezTo>
                <a:cubicBezTo>
                  <a:pt x="1077" y="146"/>
                  <a:pt x="1077" y="146"/>
                  <a:pt x="1077" y="146"/>
                </a:cubicBezTo>
                <a:cubicBezTo>
                  <a:pt x="1073" y="155"/>
                  <a:pt x="1073" y="155"/>
                  <a:pt x="1073" y="155"/>
                </a:cubicBezTo>
                <a:cubicBezTo>
                  <a:pt x="1053" y="156"/>
                  <a:pt x="1053" y="156"/>
                  <a:pt x="1053" y="156"/>
                </a:cubicBezTo>
                <a:cubicBezTo>
                  <a:pt x="1056" y="134"/>
                  <a:pt x="1056" y="134"/>
                  <a:pt x="1056" y="134"/>
                </a:cubicBezTo>
                <a:cubicBezTo>
                  <a:pt x="1072" y="135"/>
                  <a:pt x="1072" y="135"/>
                  <a:pt x="1072" y="135"/>
                </a:cubicBezTo>
                <a:cubicBezTo>
                  <a:pt x="1073" y="130"/>
                  <a:pt x="1073" y="130"/>
                  <a:pt x="1073" y="130"/>
                </a:cubicBezTo>
                <a:cubicBezTo>
                  <a:pt x="1057" y="130"/>
                  <a:pt x="1057" y="130"/>
                  <a:pt x="1057" y="130"/>
                </a:cubicBezTo>
                <a:cubicBezTo>
                  <a:pt x="1059" y="110"/>
                  <a:pt x="1059" y="110"/>
                  <a:pt x="1059" y="110"/>
                </a:cubicBezTo>
                <a:cubicBezTo>
                  <a:pt x="1075" y="111"/>
                  <a:pt x="1075" y="111"/>
                  <a:pt x="1075" y="111"/>
                </a:cubicBezTo>
                <a:cubicBezTo>
                  <a:pt x="1076" y="118"/>
                  <a:pt x="1076" y="118"/>
                  <a:pt x="1076" y="118"/>
                </a:cubicBezTo>
                <a:cubicBezTo>
                  <a:pt x="1080" y="118"/>
                  <a:pt x="1080" y="118"/>
                  <a:pt x="1080" y="118"/>
                </a:cubicBezTo>
                <a:cubicBezTo>
                  <a:pt x="1081" y="107"/>
                  <a:pt x="1081" y="107"/>
                  <a:pt x="1081" y="107"/>
                </a:cubicBezTo>
                <a:cubicBezTo>
                  <a:pt x="1048" y="107"/>
                  <a:pt x="1048" y="107"/>
                  <a:pt x="1048" y="107"/>
                </a:cubicBezTo>
                <a:lnTo>
                  <a:pt x="1047" y="110"/>
                </a:lnTo>
                <a:close/>
                <a:moveTo>
                  <a:pt x="1100" y="129"/>
                </a:moveTo>
                <a:cubicBezTo>
                  <a:pt x="1100" y="120"/>
                  <a:pt x="1100" y="120"/>
                  <a:pt x="1100" y="120"/>
                </a:cubicBezTo>
                <a:cubicBezTo>
                  <a:pt x="1099" y="119"/>
                  <a:pt x="1099" y="119"/>
                  <a:pt x="1099" y="119"/>
                </a:cubicBezTo>
                <a:cubicBezTo>
                  <a:pt x="1090" y="121"/>
                  <a:pt x="1090" y="121"/>
                  <a:pt x="1090" y="121"/>
                </a:cubicBezTo>
                <a:cubicBezTo>
                  <a:pt x="1090" y="124"/>
                  <a:pt x="1090" y="124"/>
                  <a:pt x="1090" y="124"/>
                </a:cubicBezTo>
                <a:cubicBezTo>
                  <a:pt x="1093" y="125"/>
                  <a:pt x="1093" y="125"/>
                  <a:pt x="1093" y="125"/>
                </a:cubicBezTo>
                <a:cubicBezTo>
                  <a:pt x="1089" y="159"/>
                  <a:pt x="1089" y="159"/>
                  <a:pt x="1089" y="159"/>
                </a:cubicBezTo>
                <a:cubicBezTo>
                  <a:pt x="1095" y="159"/>
                  <a:pt x="1095" y="159"/>
                  <a:pt x="1095" y="159"/>
                </a:cubicBezTo>
                <a:cubicBezTo>
                  <a:pt x="1099" y="134"/>
                  <a:pt x="1099" y="134"/>
                  <a:pt x="1099" y="134"/>
                </a:cubicBezTo>
                <a:cubicBezTo>
                  <a:pt x="1101" y="131"/>
                  <a:pt x="1103" y="129"/>
                  <a:pt x="1105" y="127"/>
                </a:cubicBezTo>
                <a:cubicBezTo>
                  <a:pt x="1107" y="125"/>
                  <a:pt x="1109" y="124"/>
                  <a:pt x="1111" y="124"/>
                </a:cubicBezTo>
                <a:cubicBezTo>
                  <a:pt x="1113" y="124"/>
                  <a:pt x="1114" y="125"/>
                  <a:pt x="1114" y="126"/>
                </a:cubicBezTo>
                <a:cubicBezTo>
                  <a:pt x="1115" y="127"/>
                  <a:pt x="1115" y="128"/>
                  <a:pt x="1115" y="130"/>
                </a:cubicBezTo>
                <a:cubicBezTo>
                  <a:pt x="1115" y="132"/>
                  <a:pt x="1115" y="134"/>
                  <a:pt x="1115" y="135"/>
                </a:cubicBezTo>
                <a:cubicBezTo>
                  <a:pt x="1115" y="137"/>
                  <a:pt x="1114" y="140"/>
                  <a:pt x="1114" y="142"/>
                </a:cubicBezTo>
                <a:cubicBezTo>
                  <a:pt x="1114" y="144"/>
                  <a:pt x="1114" y="144"/>
                  <a:pt x="1114" y="144"/>
                </a:cubicBezTo>
                <a:cubicBezTo>
                  <a:pt x="1113" y="147"/>
                  <a:pt x="1113" y="147"/>
                  <a:pt x="1113" y="147"/>
                </a:cubicBezTo>
                <a:cubicBezTo>
                  <a:pt x="1112" y="151"/>
                  <a:pt x="1112" y="154"/>
                  <a:pt x="1112" y="156"/>
                </a:cubicBezTo>
                <a:cubicBezTo>
                  <a:pt x="1112" y="159"/>
                  <a:pt x="1113" y="160"/>
                  <a:pt x="1116" y="160"/>
                </a:cubicBezTo>
                <a:cubicBezTo>
                  <a:pt x="1117" y="160"/>
                  <a:pt x="1119" y="160"/>
                  <a:pt x="1120" y="159"/>
                </a:cubicBezTo>
                <a:cubicBezTo>
                  <a:pt x="1121" y="159"/>
                  <a:pt x="1122" y="158"/>
                  <a:pt x="1123" y="157"/>
                </a:cubicBezTo>
                <a:cubicBezTo>
                  <a:pt x="1123" y="157"/>
                  <a:pt x="1124" y="156"/>
                  <a:pt x="1124" y="156"/>
                </a:cubicBezTo>
                <a:cubicBezTo>
                  <a:pt x="1123" y="154"/>
                  <a:pt x="1123" y="154"/>
                  <a:pt x="1123" y="154"/>
                </a:cubicBezTo>
                <a:cubicBezTo>
                  <a:pt x="1122" y="155"/>
                  <a:pt x="1121" y="156"/>
                  <a:pt x="1120" y="156"/>
                </a:cubicBezTo>
                <a:cubicBezTo>
                  <a:pt x="1119" y="156"/>
                  <a:pt x="1119" y="155"/>
                  <a:pt x="1119" y="154"/>
                </a:cubicBezTo>
                <a:cubicBezTo>
                  <a:pt x="1119" y="152"/>
                  <a:pt x="1119" y="149"/>
                  <a:pt x="1120" y="145"/>
                </a:cubicBezTo>
                <a:cubicBezTo>
                  <a:pt x="1121" y="142"/>
                  <a:pt x="1121" y="142"/>
                  <a:pt x="1121" y="142"/>
                </a:cubicBezTo>
                <a:cubicBezTo>
                  <a:pt x="1121" y="140"/>
                  <a:pt x="1121" y="140"/>
                  <a:pt x="1121" y="140"/>
                </a:cubicBezTo>
                <a:cubicBezTo>
                  <a:pt x="1122" y="135"/>
                  <a:pt x="1122" y="132"/>
                  <a:pt x="1122" y="130"/>
                </a:cubicBezTo>
                <a:cubicBezTo>
                  <a:pt x="1122" y="126"/>
                  <a:pt x="1122" y="123"/>
                  <a:pt x="1120" y="122"/>
                </a:cubicBezTo>
                <a:cubicBezTo>
                  <a:pt x="1119" y="120"/>
                  <a:pt x="1117" y="119"/>
                  <a:pt x="1114" y="119"/>
                </a:cubicBezTo>
                <a:cubicBezTo>
                  <a:pt x="1112" y="119"/>
                  <a:pt x="1109" y="120"/>
                  <a:pt x="1106" y="122"/>
                </a:cubicBezTo>
                <a:cubicBezTo>
                  <a:pt x="1104" y="124"/>
                  <a:pt x="1102" y="126"/>
                  <a:pt x="1100" y="129"/>
                </a:cubicBezTo>
                <a:close/>
                <a:moveTo>
                  <a:pt x="1159" y="162"/>
                </a:moveTo>
                <a:cubicBezTo>
                  <a:pt x="1165" y="119"/>
                  <a:pt x="1165" y="119"/>
                  <a:pt x="1165" y="119"/>
                </a:cubicBezTo>
                <a:cubicBezTo>
                  <a:pt x="1160" y="121"/>
                  <a:pt x="1160" y="121"/>
                  <a:pt x="1160" y="121"/>
                </a:cubicBezTo>
                <a:cubicBezTo>
                  <a:pt x="1159" y="121"/>
                  <a:pt x="1158" y="120"/>
                  <a:pt x="1157" y="120"/>
                </a:cubicBezTo>
                <a:cubicBezTo>
                  <a:pt x="1155" y="120"/>
                  <a:pt x="1154" y="119"/>
                  <a:pt x="1153" y="119"/>
                </a:cubicBezTo>
                <a:cubicBezTo>
                  <a:pt x="1148" y="119"/>
                  <a:pt x="1144" y="121"/>
                  <a:pt x="1141" y="123"/>
                </a:cubicBezTo>
                <a:cubicBezTo>
                  <a:pt x="1137" y="126"/>
                  <a:pt x="1135" y="129"/>
                  <a:pt x="1133" y="133"/>
                </a:cubicBezTo>
                <a:cubicBezTo>
                  <a:pt x="1131" y="137"/>
                  <a:pt x="1130" y="141"/>
                  <a:pt x="1130" y="145"/>
                </a:cubicBezTo>
                <a:cubicBezTo>
                  <a:pt x="1130" y="150"/>
                  <a:pt x="1131" y="153"/>
                  <a:pt x="1133" y="156"/>
                </a:cubicBezTo>
                <a:cubicBezTo>
                  <a:pt x="1135" y="159"/>
                  <a:pt x="1138" y="160"/>
                  <a:pt x="1142" y="160"/>
                </a:cubicBezTo>
                <a:cubicBezTo>
                  <a:pt x="1144" y="160"/>
                  <a:pt x="1146" y="159"/>
                  <a:pt x="1148" y="158"/>
                </a:cubicBezTo>
                <a:cubicBezTo>
                  <a:pt x="1150" y="157"/>
                  <a:pt x="1152" y="156"/>
                  <a:pt x="1153" y="155"/>
                </a:cubicBezTo>
                <a:cubicBezTo>
                  <a:pt x="1151" y="164"/>
                  <a:pt x="1151" y="164"/>
                  <a:pt x="1151" y="164"/>
                </a:cubicBezTo>
                <a:cubicBezTo>
                  <a:pt x="1151" y="167"/>
                  <a:pt x="1150" y="169"/>
                  <a:pt x="1149" y="170"/>
                </a:cubicBezTo>
                <a:cubicBezTo>
                  <a:pt x="1147" y="172"/>
                  <a:pt x="1145" y="172"/>
                  <a:pt x="1142" y="172"/>
                </a:cubicBezTo>
                <a:cubicBezTo>
                  <a:pt x="1140" y="172"/>
                  <a:pt x="1139" y="172"/>
                  <a:pt x="1137" y="171"/>
                </a:cubicBezTo>
                <a:cubicBezTo>
                  <a:pt x="1136" y="171"/>
                  <a:pt x="1134" y="170"/>
                  <a:pt x="1133" y="170"/>
                </a:cubicBezTo>
                <a:cubicBezTo>
                  <a:pt x="1132" y="175"/>
                  <a:pt x="1132" y="175"/>
                  <a:pt x="1132" y="175"/>
                </a:cubicBezTo>
                <a:cubicBezTo>
                  <a:pt x="1132" y="176"/>
                  <a:pt x="1134" y="176"/>
                  <a:pt x="1135" y="176"/>
                </a:cubicBezTo>
                <a:cubicBezTo>
                  <a:pt x="1137" y="177"/>
                  <a:pt x="1138" y="177"/>
                  <a:pt x="1140" y="177"/>
                </a:cubicBezTo>
                <a:cubicBezTo>
                  <a:pt x="1142" y="177"/>
                  <a:pt x="1145" y="176"/>
                  <a:pt x="1148" y="175"/>
                </a:cubicBezTo>
                <a:cubicBezTo>
                  <a:pt x="1150" y="174"/>
                  <a:pt x="1153" y="173"/>
                  <a:pt x="1155" y="170"/>
                </a:cubicBezTo>
                <a:cubicBezTo>
                  <a:pt x="1157" y="168"/>
                  <a:pt x="1158" y="165"/>
                  <a:pt x="1159" y="162"/>
                </a:cubicBezTo>
                <a:close/>
                <a:moveTo>
                  <a:pt x="1157" y="125"/>
                </a:moveTo>
                <a:cubicBezTo>
                  <a:pt x="1154" y="150"/>
                  <a:pt x="1154" y="150"/>
                  <a:pt x="1154" y="150"/>
                </a:cubicBezTo>
                <a:cubicBezTo>
                  <a:pt x="1152" y="151"/>
                  <a:pt x="1151" y="153"/>
                  <a:pt x="1149" y="154"/>
                </a:cubicBezTo>
                <a:cubicBezTo>
                  <a:pt x="1148" y="155"/>
                  <a:pt x="1146" y="155"/>
                  <a:pt x="1144" y="155"/>
                </a:cubicBezTo>
                <a:cubicBezTo>
                  <a:pt x="1142" y="155"/>
                  <a:pt x="1140" y="155"/>
                  <a:pt x="1139" y="153"/>
                </a:cubicBezTo>
                <a:cubicBezTo>
                  <a:pt x="1138" y="151"/>
                  <a:pt x="1138" y="148"/>
                  <a:pt x="1138" y="145"/>
                </a:cubicBezTo>
                <a:cubicBezTo>
                  <a:pt x="1138" y="142"/>
                  <a:pt x="1138" y="138"/>
                  <a:pt x="1139" y="135"/>
                </a:cubicBezTo>
                <a:cubicBezTo>
                  <a:pt x="1140" y="132"/>
                  <a:pt x="1142" y="129"/>
                  <a:pt x="1144" y="127"/>
                </a:cubicBezTo>
                <a:cubicBezTo>
                  <a:pt x="1146" y="124"/>
                  <a:pt x="1149" y="123"/>
                  <a:pt x="1152" y="123"/>
                </a:cubicBezTo>
                <a:cubicBezTo>
                  <a:pt x="1154" y="123"/>
                  <a:pt x="1156" y="124"/>
                  <a:pt x="1157" y="125"/>
                </a:cubicBezTo>
                <a:close/>
                <a:moveTo>
                  <a:pt x="1181" y="153"/>
                </a:moveTo>
                <a:cubicBezTo>
                  <a:pt x="1185" y="120"/>
                  <a:pt x="1185" y="120"/>
                  <a:pt x="1185" y="120"/>
                </a:cubicBezTo>
                <a:cubicBezTo>
                  <a:pt x="1184" y="119"/>
                  <a:pt x="1184" y="119"/>
                  <a:pt x="1184" y="119"/>
                </a:cubicBezTo>
                <a:cubicBezTo>
                  <a:pt x="1174" y="121"/>
                  <a:pt x="1174" y="121"/>
                  <a:pt x="1174" y="121"/>
                </a:cubicBezTo>
                <a:cubicBezTo>
                  <a:pt x="1173" y="123"/>
                  <a:pt x="1173" y="123"/>
                  <a:pt x="1173" y="123"/>
                </a:cubicBezTo>
                <a:cubicBezTo>
                  <a:pt x="1178" y="125"/>
                  <a:pt x="1178" y="125"/>
                  <a:pt x="1178" y="125"/>
                </a:cubicBezTo>
                <a:cubicBezTo>
                  <a:pt x="1177" y="132"/>
                  <a:pt x="1176" y="138"/>
                  <a:pt x="1175" y="142"/>
                </a:cubicBezTo>
                <a:cubicBezTo>
                  <a:pt x="1174" y="150"/>
                  <a:pt x="1174" y="154"/>
                  <a:pt x="1173" y="156"/>
                </a:cubicBezTo>
                <a:cubicBezTo>
                  <a:pt x="1173" y="157"/>
                  <a:pt x="1174" y="158"/>
                  <a:pt x="1174" y="159"/>
                </a:cubicBezTo>
                <a:cubicBezTo>
                  <a:pt x="1175" y="160"/>
                  <a:pt x="1176" y="160"/>
                  <a:pt x="1178" y="160"/>
                </a:cubicBezTo>
                <a:cubicBezTo>
                  <a:pt x="1180" y="160"/>
                  <a:pt x="1182" y="159"/>
                  <a:pt x="1183" y="158"/>
                </a:cubicBezTo>
                <a:cubicBezTo>
                  <a:pt x="1184" y="157"/>
                  <a:pt x="1185" y="156"/>
                  <a:pt x="1186" y="155"/>
                </a:cubicBezTo>
                <a:cubicBezTo>
                  <a:pt x="1185" y="154"/>
                  <a:pt x="1185" y="154"/>
                  <a:pt x="1185" y="154"/>
                </a:cubicBezTo>
                <a:cubicBezTo>
                  <a:pt x="1184" y="154"/>
                  <a:pt x="1184" y="155"/>
                  <a:pt x="1183" y="155"/>
                </a:cubicBezTo>
                <a:cubicBezTo>
                  <a:pt x="1183" y="156"/>
                  <a:pt x="1182" y="156"/>
                  <a:pt x="1182" y="156"/>
                </a:cubicBezTo>
                <a:cubicBezTo>
                  <a:pt x="1181" y="156"/>
                  <a:pt x="1181" y="156"/>
                  <a:pt x="1181" y="155"/>
                </a:cubicBezTo>
                <a:cubicBezTo>
                  <a:pt x="1181" y="155"/>
                  <a:pt x="1180" y="155"/>
                  <a:pt x="1180" y="154"/>
                </a:cubicBezTo>
                <a:lnTo>
                  <a:pt x="1181" y="153"/>
                </a:lnTo>
                <a:close/>
                <a:moveTo>
                  <a:pt x="1183" y="112"/>
                </a:moveTo>
                <a:cubicBezTo>
                  <a:pt x="1184" y="112"/>
                  <a:pt x="1185" y="111"/>
                  <a:pt x="1186" y="110"/>
                </a:cubicBezTo>
                <a:cubicBezTo>
                  <a:pt x="1187" y="109"/>
                  <a:pt x="1188" y="108"/>
                  <a:pt x="1188" y="107"/>
                </a:cubicBezTo>
                <a:cubicBezTo>
                  <a:pt x="1188" y="106"/>
                  <a:pt x="1187" y="105"/>
                  <a:pt x="1187" y="104"/>
                </a:cubicBezTo>
                <a:cubicBezTo>
                  <a:pt x="1186" y="103"/>
                  <a:pt x="1185" y="103"/>
                  <a:pt x="1184" y="103"/>
                </a:cubicBezTo>
                <a:cubicBezTo>
                  <a:pt x="1182" y="103"/>
                  <a:pt x="1181" y="103"/>
                  <a:pt x="1180" y="104"/>
                </a:cubicBezTo>
                <a:cubicBezTo>
                  <a:pt x="1180" y="105"/>
                  <a:pt x="1179" y="107"/>
                  <a:pt x="1179" y="108"/>
                </a:cubicBezTo>
                <a:cubicBezTo>
                  <a:pt x="1179" y="109"/>
                  <a:pt x="1179" y="110"/>
                  <a:pt x="1180" y="111"/>
                </a:cubicBezTo>
                <a:cubicBezTo>
                  <a:pt x="1181" y="111"/>
                  <a:pt x="1182" y="112"/>
                  <a:pt x="1183" y="112"/>
                </a:cubicBezTo>
                <a:close/>
                <a:moveTo>
                  <a:pt x="1207" y="129"/>
                </a:moveTo>
                <a:cubicBezTo>
                  <a:pt x="1208" y="120"/>
                  <a:pt x="1208" y="120"/>
                  <a:pt x="1208" y="120"/>
                </a:cubicBezTo>
                <a:cubicBezTo>
                  <a:pt x="1207" y="119"/>
                  <a:pt x="1207" y="119"/>
                  <a:pt x="1207" y="119"/>
                </a:cubicBezTo>
                <a:cubicBezTo>
                  <a:pt x="1198" y="121"/>
                  <a:pt x="1198" y="121"/>
                  <a:pt x="1198" y="121"/>
                </a:cubicBezTo>
                <a:cubicBezTo>
                  <a:pt x="1198" y="124"/>
                  <a:pt x="1198" y="124"/>
                  <a:pt x="1198" y="124"/>
                </a:cubicBezTo>
                <a:cubicBezTo>
                  <a:pt x="1201" y="125"/>
                  <a:pt x="1201" y="125"/>
                  <a:pt x="1201" y="125"/>
                </a:cubicBezTo>
                <a:cubicBezTo>
                  <a:pt x="1196" y="159"/>
                  <a:pt x="1196" y="159"/>
                  <a:pt x="1196" y="159"/>
                </a:cubicBezTo>
                <a:cubicBezTo>
                  <a:pt x="1203" y="159"/>
                  <a:pt x="1203" y="159"/>
                  <a:pt x="1203" y="159"/>
                </a:cubicBezTo>
                <a:cubicBezTo>
                  <a:pt x="1207" y="134"/>
                  <a:pt x="1207" y="134"/>
                  <a:pt x="1207" y="134"/>
                </a:cubicBezTo>
                <a:cubicBezTo>
                  <a:pt x="1208" y="131"/>
                  <a:pt x="1210" y="129"/>
                  <a:pt x="1213" y="127"/>
                </a:cubicBezTo>
                <a:cubicBezTo>
                  <a:pt x="1215" y="125"/>
                  <a:pt x="1217" y="124"/>
                  <a:pt x="1219" y="124"/>
                </a:cubicBezTo>
                <a:cubicBezTo>
                  <a:pt x="1220" y="124"/>
                  <a:pt x="1221" y="125"/>
                  <a:pt x="1222" y="126"/>
                </a:cubicBezTo>
                <a:cubicBezTo>
                  <a:pt x="1223" y="127"/>
                  <a:pt x="1223" y="128"/>
                  <a:pt x="1223" y="130"/>
                </a:cubicBezTo>
                <a:cubicBezTo>
                  <a:pt x="1223" y="132"/>
                  <a:pt x="1223" y="134"/>
                  <a:pt x="1223" y="135"/>
                </a:cubicBezTo>
                <a:cubicBezTo>
                  <a:pt x="1222" y="137"/>
                  <a:pt x="1222" y="140"/>
                  <a:pt x="1222" y="142"/>
                </a:cubicBezTo>
                <a:cubicBezTo>
                  <a:pt x="1221" y="144"/>
                  <a:pt x="1221" y="144"/>
                  <a:pt x="1221" y="144"/>
                </a:cubicBezTo>
                <a:cubicBezTo>
                  <a:pt x="1221" y="147"/>
                  <a:pt x="1221" y="147"/>
                  <a:pt x="1221" y="147"/>
                </a:cubicBezTo>
                <a:cubicBezTo>
                  <a:pt x="1220" y="151"/>
                  <a:pt x="1219" y="154"/>
                  <a:pt x="1219" y="156"/>
                </a:cubicBezTo>
                <a:cubicBezTo>
                  <a:pt x="1219" y="159"/>
                  <a:pt x="1221" y="160"/>
                  <a:pt x="1224" y="160"/>
                </a:cubicBezTo>
                <a:cubicBezTo>
                  <a:pt x="1225" y="160"/>
                  <a:pt x="1226" y="160"/>
                  <a:pt x="1227" y="159"/>
                </a:cubicBezTo>
                <a:cubicBezTo>
                  <a:pt x="1228" y="159"/>
                  <a:pt x="1229" y="158"/>
                  <a:pt x="1230" y="157"/>
                </a:cubicBezTo>
                <a:cubicBezTo>
                  <a:pt x="1231" y="157"/>
                  <a:pt x="1231" y="156"/>
                  <a:pt x="1232" y="156"/>
                </a:cubicBezTo>
                <a:cubicBezTo>
                  <a:pt x="1231" y="154"/>
                  <a:pt x="1231" y="154"/>
                  <a:pt x="1231" y="154"/>
                </a:cubicBezTo>
                <a:cubicBezTo>
                  <a:pt x="1229" y="155"/>
                  <a:pt x="1228" y="156"/>
                  <a:pt x="1227" y="156"/>
                </a:cubicBezTo>
                <a:cubicBezTo>
                  <a:pt x="1227" y="156"/>
                  <a:pt x="1227" y="155"/>
                  <a:pt x="1227" y="154"/>
                </a:cubicBezTo>
                <a:cubicBezTo>
                  <a:pt x="1227" y="152"/>
                  <a:pt x="1227" y="149"/>
                  <a:pt x="1228" y="145"/>
                </a:cubicBezTo>
                <a:cubicBezTo>
                  <a:pt x="1228" y="142"/>
                  <a:pt x="1228" y="142"/>
                  <a:pt x="1228" y="142"/>
                </a:cubicBezTo>
                <a:cubicBezTo>
                  <a:pt x="1229" y="140"/>
                  <a:pt x="1229" y="140"/>
                  <a:pt x="1229" y="140"/>
                </a:cubicBezTo>
                <a:cubicBezTo>
                  <a:pt x="1230" y="135"/>
                  <a:pt x="1230" y="132"/>
                  <a:pt x="1230" y="130"/>
                </a:cubicBezTo>
                <a:cubicBezTo>
                  <a:pt x="1230" y="126"/>
                  <a:pt x="1229" y="123"/>
                  <a:pt x="1228" y="122"/>
                </a:cubicBezTo>
                <a:cubicBezTo>
                  <a:pt x="1227" y="120"/>
                  <a:pt x="1225" y="119"/>
                  <a:pt x="1222" y="119"/>
                </a:cubicBezTo>
                <a:cubicBezTo>
                  <a:pt x="1219" y="119"/>
                  <a:pt x="1217" y="120"/>
                  <a:pt x="1214" y="122"/>
                </a:cubicBezTo>
                <a:cubicBezTo>
                  <a:pt x="1211" y="124"/>
                  <a:pt x="1209" y="126"/>
                  <a:pt x="1207" y="129"/>
                </a:cubicBezTo>
                <a:close/>
                <a:moveTo>
                  <a:pt x="1267" y="153"/>
                </a:moveTo>
                <a:cubicBezTo>
                  <a:pt x="1266" y="150"/>
                  <a:pt x="1266" y="150"/>
                  <a:pt x="1266" y="150"/>
                </a:cubicBezTo>
                <a:cubicBezTo>
                  <a:pt x="1264" y="152"/>
                  <a:pt x="1262" y="153"/>
                  <a:pt x="1260" y="154"/>
                </a:cubicBezTo>
                <a:cubicBezTo>
                  <a:pt x="1258" y="155"/>
                  <a:pt x="1256" y="156"/>
                  <a:pt x="1254" y="156"/>
                </a:cubicBezTo>
                <a:cubicBezTo>
                  <a:pt x="1251" y="156"/>
                  <a:pt x="1249" y="154"/>
                  <a:pt x="1248" y="152"/>
                </a:cubicBezTo>
                <a:cubicBezTo>
                  <a:pt x="1246" y="150"/>
                  <a:pt x="1246" y="147"/>
                  <a:pt x="1246" y="143"/>
                </a:cubicBezTo>
                <a:cubicBezTo>
                  <a:pt x="1249" y="143"/>
                  <a:pt x="1252" y="143"/>
                  <a:pt x="1256" y="142"/>
                </a:cubicBezTo>
                <a:cubicBezTo>
                  <a:pt x="1259" y="140"/>
                  <a:pt x="1263" y="139"/>
                  <a:pt x="1265" y="136"/>
                </a:cubicBezTo>
                <a:cubicBezTo>
                  <a:pt x="1268" y="134"/>
                  <a:pt x="1269" y="131"/>
                  <a:pt x="1269" y="128"/>
                </a:cubicBezTo>
                <a:cubicBezTo>
                  <a:pt x="1269" y="125"/>
                  <a:pt x="1268" y="123"/>
                  <a:pt x="1267" y="122"/>
                </a:cubicBezTo>
                <a:cubicBezTo>
                  <a:pt x="1265" y="120"/>
                  <a:pt x="1263" y="119"/>
                  <a:pt x="1259" y="119"/>
                </a:cubicBezTo>
                <a:cubicBezTo>
                  <a:pt x="1255" y="119"/>
                  <a:pt x="1252" y="121"/>
                  <a:pt x="1249" y="123"/>
                </a:cubicBezTo>
                <a:cubicBezTo>
                  <a:pt x="1246" y="125"/>
                  <a:pt x="1243" y="128"/>
                  <a:pt x="1241" y="132"/>
                </a:cubicBezTo>
                <a:cubicBezTo>
                  <a:pt x="1240" y="136"/>
                  <a:pt x="1239" y="140"/>
                  <a:pt x="1239" y="145"/>
                </a:cubicBezTo>
                <a:cubicBezTo>
                  <a:pt x="1239" y="147"/>
                  <a:pt x="1239" y="150"/>
                  <a:pt x="1240" y="152"/>
                </a:cubicBezTo>
                <a:cubicBezTo>
                  <a:pt x="1241" y="155"/>
                  <a:pt x="1243" y="156"/>
                  <a:pt x="1245" y="158"/>
                </a:cubicBezTo>
                <a:cubicBezTo>
                  <a:pt x="1247" y="159"/>
                  <a:pt x="1249" y="160"/>
                  <a:pt x="1253" y="160"/>
                </a:cubicBezTo>
                <a:cubicBezTo>
                  <a:pt x="1256" y="160"/>
                  <a:pt x="1259" y="159"/>
                  <a:pt x="1261" y="158"/>
                </a:cubicBezTo>
                <a:cubicBezTo>
                  <a:pt x="1264" y="156"/>
                  <a:pt x="1266" y="154"/>
                  <a:pt x="1267" y="153"/>
                </a:cubicBezTo>
                <a:close/>
                <a:moveTo>
                  <a:pt x="1258" y="123"/>
                </a:moveTo>
                <a:cubicBezTo>
                  <a:pt x="1259" y="123"/>
                  <a:pt x="1260" y="124"/>
                  <a:pt x="1261" y="125"/>
                </a:cubicBezTo>
                <a:cubicBezTo>
                  <a:pt x="1262" y="125"/>
                  <a:pt x="1263" y="127"/>
                  <a:pt x="1263" y="129"/>
                </a:cubicBezTo>
                <a:cubicBezTo>
                  <a:pt x="1263" y="131"/>
                  <a:pt x="1262" y="133"/>
                  <a:pt x="1260" y="135"/>
                </a:cubicBezTo>
                <a:cubicBezTo>
                  <a:pt x="1258" y="136"/>
                  <a:pt x="1256" y="138"/>
                  <a:pt x="1253" y="139"/>
                </a:cubicBezTo>
                <a:cubicBezTo>
                  <a:pt x="1251" y="139"/>
                  <a:pt x="1248" y="140"/>
                  <a:pt x="1246" y="140"/>
                </a:cubicBezTo>
                <a:cubicBezTo>
                  <a:pt x="1246" y="138"/>
                  <a:pt x="1247" y="135"/>
                  <a:pt x="1248" y="132"/>
                </a:cubicBezTo>
                <a:cubicBezTo>
                  <a:pt x="1249" y="130"/>
                  <a:pt x="1250" y="127"/>
                  <a:pt x="1252" y="126"/>
                </a:cubicBezTo>
                <a:cubicBezTo>
                  <a:pt x="1254" y="124"/>
                  <a:pt x="1255" y="123"/>
                  <a:pt x="1258" y="123"/>
                </a:cubicBezTo>
                <a:close/>
                <a:moveTo>
                  <a:pt x="1303" y="153"/>
                </a:moveTo>
                <a:cubicBezTo>
                  <a:pt x="1302" y="150"/>
                  <a:pt x="1302" y="150"/>
                  <a:pt x="1302" y="150"/>
                </a:cubicBezTo>
                <a:cubicBezTo>
                  <a:pt x="1300" y="152"/>
                  <a:pt x="1298" y="153"/>
                  <a:pt x="1296" y="154"/>
                </a:cubicBezTo>
                <a:cubicBezTo>
                  <a:pt x="1294" y="155"/>
                  <a:pt x="1292" y="156"/>
                  <a:pt x="1290" y="156"/>
                </a:cubicBezTo>
                <a:cubicBezTo>
                  <a:pt x="1287" y="156"/>
                  <a:pt x="1285" y="154"/>
                  <a:pt x="1284" y="152"/>
                </a:cubicBezTo>
                <a:cubicBezTo>
                  <a:pt x="1282" y="150"/>
                  <a:pt x="1282" y="147"/>
                  <a:pt x="1282" y="143"/>
                </a:cubicBezTo>
                <a:cubicBezTo>
                  <a:pt x="1285" y="143"/>
                  <a:pt x="1288" y="143"/>
                  <a:pt x="1292" y="142"/>
                </a:cubicBezTo>
                <a:cubicBezTo>
                  <a:pt x="1295" y="140"/>
                  <a:pt x="1299" y="139"/>
                  <a:pt x="1301" y="136"/>
                </a:cubicBezTo>
                <a:cubicBezTo>
                  <a:pt x="1304" y="134"/>
                  <a:pt x="1305" y="131"/>
                  <a:pt x="1305" y="128"/>
                </a:cubicBezTo>
                <a:cubicBezTo>
                  <a:pt x="1305" y="125"/>
                  <a:pt x="1304" y="123"/>
                  <a:pt x="1303" y="122"/>
                </a:cubicBezTo>
                <a:cubicBezTo>
                  <a:pt x="1301" y="120"/>
                  <a:pt x="1299" y="119"/>
                  <a:pt x="1295" y="119"/>
                </a:cubicBezTo>
                <a:cubicBezTo>
                  <a:pt x="1291" y="119"/>
                  <a:pt x="1288" y="121"/>
                  <a:pt x="1285" y="123"/>
                </a:cubicBezTo>
                <a:cubicBezTo>
                  <a:pt x="1282" y="125"/>
                  <a:pt x="1279" y="128"/>
                  <a:pt x="1277" y="132"/>
                </a:cubicBezTo>
                <a:cubicBezTo>
                  <a:pt x="1275" y="136"/>
                  <a:pt x="1275" y="140"/>
                  <a:pt x="1275" y="145"/>
                </a:cubicBezTo>
                <a:cubicBezTo>
                  <a:pt x="1275" y="147"/>
                  <a:pt x="1275" y="150"/>
                  <a:pt x="1276" y="152"/>
                </a:cubicBezTo>
                <a:cubicBezTo>
                  <a:pt x="1277" y="155"/>
                  <a:pt x="1279" y="156"/>
                  <a:pt x="1281" y="158"/>
                </a:cubicBezTo>
                <a:cubicBezTo>
                  <a:pt x="1283" y="159"/>
                  <a:pt x="1285" y="160"/>
                  <a:pt x="1288" y="160"/>
                </a:cubicBezTo>
                <a:cubicBezTo>
                  <a:pt x="1292" y="160"/>
                  <a:pt x="1295" y="159"/>
                  <a:pt x="1297" y="158"/>
                </a:cubicBezTo>
                <a:cubicBezTo>
                  <a:pt x="1300" y="156"/>
                  <a:pt x="1302" y="154"/>
                  <a:pt x="1303" y="153"/>
                </a:cubicBezTo>
                <a:close/>
                <a:moveTo>
                  <a:pt x="1294" y="123"/>
                </a:moveTo>
                <a:cubicBezTo>
                  <a:pt x="1295" y="123"/>
                  <a:pt x="1296" y="124"/>
                  <a:pt x="1297" y="125"/>
                </a:cubicBezTo>
                <a:cubicBezTo>
                  <a:pt x="1298" y="125"/>
                  <a:pt x="1298" y="127"/>
                  <a:pt x="1298" y="129"/>
                </a:cubicBezTo>
                <a:cubicBezTo>
                  <a:pt x="1298" y="131"/>
                  <a:pt x="1298" y="133"/>
                  <a:pt x="1296" y="135"/>
                </a:cubicBezTo>
                <a:cubicBezTo>
                  <a:pt x="1294" y="136"/>
                  <a:pt x="1292" y="138"/>
                  <a:pt x="1289" y="139"/>
                </a:cubicBezTo>
                <a:cubicBezTo>
                  <a:pt x="1287" y="139"/>
                  <a:pt x="1284" y="140"/>
                  <a:pt x="1282" y="140"/>
                </a:cubicBezTo>
                <a:cubicBezTo>
                  <a:pt x="1282" y="138"/>
                  <a:pt x="1283" y="135"/>
                  <a:pt x="1284" y="132"/>
                </a:cubicBezTo>
                <a:cubicBezTo>
                  <a:pt x="1285" y="130"/>
                  <a:pt x="1286" y="127"/>
                  <a:pt x="1288" y="126"/>
                </a:cubicBezTo>
                <a:cubicBezTo>
                  <a:pt x="1289" y="124"/>
                  <a:pt x="1291" y="123"/>
                  <a:pt x="1294" y="123"/>
                </a:cubicBezTo>
                <a:close/>
                <a:moveTo>
                  <a:pt x="1322" y="129"/>
                </a:moveTo>
                <a:cubicBezTo>
                  <a:pt x="1323" y="127"/>
                  <a:pt x="1323" y="127"/>
                  <a:pt x="1323" y="127"/>
                </a:cubicBezTo>
                <a:cubicBezTo>
                  <a:pt x="1323" y="120"/>
                  <a:pt x="1323" y="120"/>
                  <a:pt x="1323" y="120"/>
                </a:cubicBezTo>
                <a:cubicBezTo>
                  <a:pt x="1322" y="119"/>
                  <a:pt x="1322" y="119"/>
                  <a:pt x="1322" y="119"/>
                </a:cubicBezTo>
                <a:cubicBezTo>
                  <a:pt x="1314" y="121"/>
                  <a:pt x="1314" y="121"/>
                  <a:pt x="1314" y="121"/>
                </a:cubicBezTo>
                <a:cubicBezTo>
                  <a:pt x="1313" y="124"/>
                  <a:pt x="1313" y="124"/>
                  <a:pt x="1313" y="124"/>
                </a:cubicBezTo>
                <a:cubicBezTo>
                  <a:pt x="1317" y="125"/>
                  <a:pt x="1317" y="125"/>
                  <a:pt x="1317" y="125"/>
                </a:cubicBezTo>
                <a:cubicBezTo>
                  <a:pt x="1312" y="159"/>
                  <a:pt x="1312" y="159"/>
                  <a:pt x="1312" y="159"/>
                </a:cubicBezTo>
                <a:cubicBezTo>
                  <a:pt x="1319" y="159"/>
                  <a:pt x="1319" y="159"/>
                  <a:pt x="1319" y="159"/>
                </a:cubicBezTo>
                <a:cubicBezTo>
                  <a:pt x="1322" y="134"/>
                  <a:pt x="1322" y="134"/>
                  <a:pt x="1322" y="134"/>
                </a:cubicBezTo>
                <a:cubicBezTo>
                  <a:pt x="1323" y="132"/>
                  <a:pt x="1325" y="130"/>
                  <a:pt x="1327" y="129"/>
                </a:cubicBezTo>
                <a:cubicBezTo>
                  <a:pt x="1329" y="127"/>
                  <a:pt x="1331" y="127"/>
                  <a:pt x="1333" y="127"/>
                </a:cubicBezTo>
                <a:cubicBezTo>
                  <a:pt x="1334" y="127"/>
                  <a:pt x="1335" y="127"/>
                  <a:pt x="1336" y="127"/>
                </a:cubicBezTo>
                <a:cubicBezTo>
                  <a:pt x="1338" y="120"/>
                  <a:pt x="1338" y="120"/>
                  <a:pt x="1338" y="120"/>
                </a:cubicBezTo>
                <a:cubicBezTo>
                  <a:pt x="1337" y="120"/>
                  <a:pt x="1336" y="119"/>
                  <a:pt x="1335" y="119"/>
                </a:cubicBezTo>
                <a:cubicBezTo>
                  <a:pt x="1333" y="119"/>
                  <a:pt x="1331" y="120"/>
                  <a:pt x="1330" y="121"/>
                </a:cubicBezTo>
                <a:cubicBezTo>
                  <a:pt x="1328" y="122"/>
                  <a:pt x="1326" y="123"/>
                  <a:pt x="1325" y="125"/>
                </a:cubicBezTo>
                <a:cubicBezTo>
                  <a:pt x="1324" y="126"/>
                  <a:pt x="1323" y="128"/>
                  <a:pt x="1322" y="129"/>
                </a:cubicBezTo>
                <a:close/>
                <a:moveTo>
                  <a:pt x="1349" y="153"/>
                </a:moveTo>
                <a:cubicBezTo>
                  <a:pt x="1354" y="120"/>
                  <a:pt x="1354" y="120"/>
                  <a:pt x="1354" y="120"/>
                </a:cubicBezTo>
                <a:cubicBezTo>
                  <a:pt x="1352" y="119"/>
                  <a:pt x="1352" y="119"/>
                  <a:pt x="1352" y="119"/>
                </a:cubicBezTo>
                <a:cubicBezTo>
                  <a:pt x="1342" y="121"/>
                  <a:pt x="1342" y="121"/>
                  <a:pt x="1342" y="121"/>
                </a:cubicBezTo>
                <a:cubicBezTo>
                  <a:pt x="1342" y="123"/>
                  <a:pt x="1342" y="123"/>
                  <a:pt x="1342" y="123"/>
                </a:cubicBezTo>
                <a:cubicBezTo>
                  <a:pt x="1346" y="125"/>
                  <a:pt x="1346" y="125"/>
                  <a:pt x="1346" y="125"/>
                </a:cubicBezTo>
                <a:cubicBezTo>
                  <a:pt x="1345" y="132"/>
                  <a:pt x="1345" y="138"/>
                  <a:pt x="1344" y="142"/>
                </a:cubicBezTo>
                <a:cubicBezTo>
                  <a:pt x="1343" y="150"/>
                  <a:pt x="1342" y="154"/>
                  <a:pt x="1342" y="156"/>
                </a:cubicBezTo>
                <a:cubicBezTo>
                  <a:pt x="1342" y="157"/>
                  <a:pt x="1342" y="158"/>
                  <a:pt x="1343" y="159"/>
                </a:cubicBezTo>
                <a:cubicBezTo>
                  <a:pt x="1344" y="160"/>
                  <a:pt x="1345" y="160"/>
                  <a:pt x="1347" y="160"/>
                </a:cubicBezTo>
                <a:cubicBezTo>
                  <a:pt x="1349" y="160"/>
                  <a:pt x="1350" y="159"/>
                  <a:pt x="1352" y="158"/>
                </a:cubicBezTo>
                <a:cubicBezTo>
                  <a:pt x="1353" y="157"/>
                  <a:pt x="1354" y="156"/>
                  <a:pt x="1355" y="155"/>
                </a:cubicBezTo>
                <a:cubicBezTo>
                  <a:pt x="1354" y="154"/>
                  <a:pt x="1354" y="154"/>
                  <a:pt x="1354" y="154"/>
                </a:cubicBezTo>
                <a:cubicBezTo>
                  <a:pt x="1353" y="154"/>
                  <a:pt x="1352" y="155"/>
                  <a:pt x="1352" y="155"/>
                </a:cubicBezTo>
                <a:cubicBezTo>
                  <a:pt x="1351" y="156"/>
                  <a:pt x="1351" y="156"/>
                  <a:pt x="1350" y="156"/>
                </a:cubicBezTo>
                <a:cubicBezTo>
                  <a:pt x="1350" y="156"/>
                  <a:pt x="1350" y="156"/>
                  <a:pt x="1349" y="155"/>
                </a:cubicBezTo>
                <a:cubicBezTo>
                  <a:pt x="1349" y="155"/>
                  <a:pt x="1349" y="155"/>
                  <a:pt x="1349" y="154"/>
                </a:cubicBezTo>
                <a:lnTo>
                  <a:pt x="1349" y="153"/>
                </a:lnTo>
                <a:close/>
                <a:moveTo>
                  <a:pt x="1351" y="112"/>
                </a:moveTo>
                <a:cubicBezTo>
                  <a:pt x="1353" y="112"/>
                  <a:pt x="1354" y="111"/>
                  <a:pt x="1355" y="110"/>
                </a:cubicBezTo>
                <a:cubicBezTo>
                  <a:pt x="1356" y="109"/>
                  <a:pt x="1356" y="108"/>
                  <a:pt x="1356" y="107"/>
                </a:cubicBezTo>
                <a:cubicBezTo>
                  <a:pt x="1356" y="106"/>
                  <a:pt x="1356" y="105"/>
                  <a:pt x="1355" y="104"/>
                </a:cubicBezTo>
                <a:cubicBezTo>
                  <a:pt x="1354" y="103"/>
                  <a:pt x="1353" y="103"/>
                  <a:pt x="1352" y="103"/>
                </a:cubicBezTo>
                <a:cubicBezTo>
                  <a:pt x="1351" y="103"/>
                  <a:pt x="1350" y="103"/>
                  <a:pt x="1349" y="104"/>
                </a:cubicBezTo>
                <a:cubicBezTo>
                  <a:pt x="1348" y="105"/>
                  <a:pt x="1348" y="107"/>
                  <a:pt x="1348" y="108"/>
                </a:cubicBezTo>
                <a:cubicBezTo>
                  <a:pt x="1348" y="109"/>
                  <a:pt x="1348" y="110"/>
                  <a:pt x="1349" y="111"/>
                </a:cubicBezTo>
                <a:cubicBezTo>
                  <a:pt x="1350" y="111"/>
                  <a:pt x="1350" y="112"/>
                  <a:pt x="1351" y="112"/>
                </a:cubicBezTo>
                <a:close/>
                <a:moveTo>
                  <a:pt x="1374" y="129"/>
                </a:moveTo>
                <a:cubicBezTo>
                  <a:pt x="1375" y="120"/>
                  <a:pt x="1375" y="120"/>
                  <a:pt x="1375" y="120"/>
                </a:cubicBezTo>
                <a:cubicBezTo>
                  <a:pt x="1374" y="119"/>
                  <a:pt x="1374" y="119"/>
                  <a:pt x="1374" y="119"/>
                </a:cubicBezTo>
                <a:cubicBezTo>
                  <a:pt x="1365" y="121"/>
                  <a:pt x="1365" y="121"/>
                  <a:pt x="1365" y="121"/>
                </a:cubicBezTo>
                <a:cubicBezTo>
                  <a:pt x="1365" y="124"/>
                  <a:pt x="1365" y="124"/>
                  <a:pt x="1365" y="124"/>
                </a:cubicBezTo>
                <a:cubicBezTo>
                  <a:pt x="1368" y="125"/>
                  <a:pt x="1368" y="125"/>
                  <a:pt x="1368" y="125"/>
                </a:cubicBezTo>
                <a:cubicBezTo>
                  <a:pt x="1364" y="159"/>
                  <a:pt x="1364" y="159"/>
                  <a:pt x="1364" y="159"/>
                </a:cubicBezTo>
                <a:cubicBezTo>
                  <a:pt x="1370" y="159"/>
                  <a:pt x="1370" y="159"/>
                  <a:pt x="1370" y="159"/>
                </a:cubicBezTo>
                <a:cubicBezTo>
                  <a:pt x="1374" y="134"/>
                  <a:pt x="1374" y="134"/>
                  <a:pt x="1374" y="134"/>
                </a:cubicBezTo>
                <a:cubicBezTo>
                  <a:pt x="1375" y="131"/>
                  <a:pt x="1377" y="129"/>
                  <a:pt x="1380" y="127"/>
                </a:cubicBezTo>
                <a:cubicBezTo>
                  <a:pt x="1382" y="125"/>
                  <a:pt x="1384" y="124"/>
                  <a:pt x="1386" y="124"/>
                </a:cubicBezTo>
                <a:cubicBezTo>
                  <a:pt x="1388" y="124"/>
                  <a:pt x="1389" y="125"/>
                  <a:pt x="1389" y="126"/>
                </a:cubicBezTo>
                <a:cubicBezTo>
                  <a:pt x="1390" y="127"/>
                  <a:pt x="1390" y="128"/>
                  <a:pt x="1390" y="130"/>
                </a:cubicBezTo>
                <a:cubicBezTo>
                  <a:pt x="1390" y="132"/>
                  <a:pt x="1390" y="134"/>
                  <a:pt x="1390" y="135"/>
                </a:cubicBezTo>
                <a:cubicBezTo>
                  <a:pt x="1390" y="137"/>
                  <a:pt x="1389" y="140"/>
                  <a:pt x="1389" y="142"/>
                </a:cubicBezTo>
                <a:cubicBezTo>
                  <a:pt x="1388" y="144"/>
                  <a:pt x="1388" y="144"/>
                  <a:pt x="1388" y="144"/>
                </a:cubicBezTo>
                <a:cubicBezTo>
                  <a:pt x="1388" y="147"/>
                  <a:pt x="1388" y="147"/>
                  <a:pt x="1388" y="147"/>
                </a:cubicBezTo>
                <a:cubicBezTo>
                  <a:pt x="1387" y="151"/>
                  <a:pt x="1387" y="154"/>
                  <a:pt x="1387" y="156"/>
                </a:cubicBezTo>
                <a:cubicBezTo>
                  <a:pt x="1387" y="159"/>
                  <a:pt x="1388" y="160"/>
                  <a:pt x="1391" y="160"/>
                </a:cubicBezTo>
                <a:cubicBezTo>
                  <a:pt x="1392" y="160"/>
                  <a:pt x="1394" y="160"/>
                  <a:pt x="1395" y="159"/>
                </a:cubicBezTo>
                <a:cubicBezTo>
                  <a:pt x="1396" y="159"/>
                  <a:pt x="1397" y="158"/>
                  <a:pt x="1397" y="157"/>
                </a:cubicBezTo>
                <a:cubicBezTo>
                  <a:pt x="1398" y="157"/>
                  <a:pt x="1399" y="156"/>
                  <a:pt x="1399" y="156"/>
                </a:cubicBezTo>
                <a:cubicBezTo>
                  <a:pt x="1398" y="154"/>
                  <a:pt x="1398" y="154"/>
                  <a:pt x="1398" y="154"/>
                </a:cubicBezTo>
                <a:cubicBezTo>
                  <a:pt x="1397" y="155"/>
                  <a:pt x="1396" y="156"/>
                  <a:pt x="1395" y="156"/>
                </a:cubicBezTo>
                <a:cubicBezTo>
                  <a:pt x="1394" y="156"/>
                  <a:pt x="1394" y="155"/>
                  <a:pt x="1394" y="154"/>
                </a:cubicBezTo>
                <a:cubicBezTo>
                  <a:pt x="1394" y="152"/>
                  <a:pt x="1394" y="149"/>
                  <a:pt x="1395" y="145"/>
                </a:cubicBezTo>
                <a:cubicBezTo>
                  <a:pt x="1395" y="142"/>
                  <a:pt x="1395" y="142"/>
                  <a:pt x="1395" y="142"/>
                </a:cubicBezTo>
                <a:cubicBezTo>
                  <a:pt x="1396" y="140"/>
                  <a:pt x="1396" y="140"/>
                  <a:pt x="1396" y="140"/>
                </a:cubicBezTo>
                <a:cubicBezTo>
                  <a:pt x="1397" y="135"/>
                  <a:pt x="1397" y="132"/>
                  <a:pt x="1397" y="130"/>
                </a:cubicBezTo>
                <a:cubicBezTo>
                  <a:pt x="1397" y="126"/>
                  <a:pt x="1397" y="123"/>
                  <a:pt x="1395" y="122"/>
                </a:cubicBezTo>
                <a:cubicBezTo>
                  <a:pt x="1394" y="120"/>
                  <a:pt x="1392" y="119"/>
                  <a:pt x="1389" y="119"/>
                </a:cubicBezTo>
                <a:cubicBezTo>
                  <a:pt x="1386" y="119"/>
                  <a:pt x="1384" y="120"/>
                  <a:pt x="1381" y="122"/>
                </a:cubicBezTo>
                <a:cubicBezTo>
                  <a:pt x="1379" y="124"/>
                  <a:pt x="1376" y="126"/>
                  <a:pt x="1374" y="129"/>
                </a:cubicBezTo>
                <a:close/>
                <a:moveTo>
                  <a:pt x="1433" y="162"/>
                </a:moveTo>
                <a:cubicBezTo>
                  <a:pt x="1440" y="119"/>
                  <a:pt x="1440" y="119"/>
                  <a:pt x="1440" y="119"/>
                </a:cubicBezTo>
                <a:cubicBezTo>
                  <a:pt x="1435" y="121"/>
                  <a:pt x="1435" y="121"/>
                  <a:pt x="1435" y="121"/>
                </a:cubicBezTo>
                <a:cubicBezTo>
                  <a:pt x="1434" y="121"/>
                  <a:pt x="1433" y="120"/>
                  <a:pt x="1432" y="120"/>
                </a:cubicBezTo>
                <a:cubicBezTo>
                  <a:pt x="1430" y="120"/>
                  <a:pt x="1429" y="119"/>
                  <a:pt x="1428" y="119"/>
                </a:cubicBezTo>
                <a:cubicBezTo>
                  <a:pt x="1423" y="119"/>
                  <a:pt x="1419" y="121"/>
                  <a:pt x="1416" y="123"/>
                </a:cubicBezTo>
                <a:cubicBezTo>
                  <a:pt x="1412" y="126"/>
                  <a:pt x="1410" y="129"/>
                  <a:pt x="1408" y="133"/>
                </a:cubicBezTo>
                <a:cubicBezTo>
                  <a:pt x="1406" y="137"/>
                  <a:pt x="1405" y="141"/>
                  <a:pt x="1405" y="145"/>
                </a:cubicBezTo>
                <a:cubicBezTo>
                  <a:pt x="1405" y="150"/>
                  <a:pt x="1406" y="153"/>
                  <a:pt x="1408" y="156"/>
                </a:cubicBezTo>
                <a:cubicBezTo>
                  <a:pt x="1410" y="159"/>
                  <a:pt x="1413" y="160"/>
                  <a:pt x="1417" y="160"/>
                </a:cubicBezTo>
                <a:cubicBezTo>
                  <a:pt x="1419" y="160"/>
                  <a:pt x="1421" y="159"/>
                  <a:pt x="1423" y="158"/>
                </a:cubicBezTo>
                <a:cubicBezTo>
                  <a:pt x="1425" y="157"/>
                  <a:pt x="1426" y="156"/>
                  <a:pt x="1428" y="155"/>
                </a:cubicBezTo>
                <a:cubicBezTo>
                  <a:pt x="1426" y="164"/>
                  <a:pt x="1426" y="164"/>
                  <a:pt x="1426" y="164"/>
                </a:cubicBezTo>
                <a:cubicBezTo>
                  <a:pt x="1426" y="167"/>
                  <a:pt x="1425" y="169"/>
                  <a:pt x="1424" y="170"/>
                </a:cubicBezTo>
                <a:cubicBezTo>
                  <a:pt x="1422" y="172"/>
                  <a:pt x="1420" y="172"/>
                  <a:pt x="1417" y="172"/>
                </a:cubicBezTo>
                <a:cubicBezTo>
                  <a:pt x="1415" y="172"/>
                  <a:pt x="1414" y="172"/>
                  <a:pt x="1412" y="171"/>
                </a:cubicBezTo>
                <a:cubicBezTo>
                  <a:pt x="1410" y="171"/>
                  <a:pt x="1409" y="170"/>
                  <a:pt x="1408" y="170"/>
                </a:cubicBezTo>
                <a:cubicBezTo>
                  <a:pt x="1406" y="175"/>
                  <a:pt x="1406" y="175"/>
                  <a:pt x="1406" y="175"/>
                </a:cubicBezTo>
                <a:cubicBezTo>
                  <a:pt x="1407" y="176"/>
                  <a:pt x="1408" y="176"/>
                  <a:pt x="1410" y="176"/>
                </a:cubicBezTo>
                <a:cubicBezTo>
                  <a:pt x="1411" y="177"/>
                  <a:pt x="1413" y="177"/>
                  <a:pt x="1414" y="177"/>
                </a:cubicBezTo>
                <a:cubicBezTo>
                  <a:pt x="1417" y="177"/>
                  <a:pt x="1420" y="176"/>
                  <a:pt x="1423" y="175"/>
                </a:cubicBezTo>
                <a:cubicBezTo>
                  <a:pt x="1425" y="174"/>
                  <a:pt x="1428" y="173"/>
                  <a:pt x="1430" y="170"/>
                </a:cubicBezTo>
                <a:cubicBezTo>
                  <a:pt x="1432" y="168"/>
                  <a:pt x="1433" y="165"/>
                  <a:pt x="1433" y="162"/>
                </a:cubicBezTo>
                <a:close/>
                <a:moveTo>
                  <a:pt x="1432" y="125"/>
                </a:moveTo>
                <a:cubicBezTo>
                  <a:pt x="1428" y="150"/>
                  <a:pt x="1428" y="150"/>
                  <a:pt x="1428" y="150"/>
                </a:cubicBezTo>
                <a:cubicBezTo>
                  <a:pt x="1427" y="151"/>
                  <a:pt x="1426" y="153"/>
                  <a:pt x="1424" y="154"/>
                </a:cubicBezTo>
                <a:cubicBezTo>
                  <a:pt x="1423" y="155"/>
                  <a:pt x="1421" y="155"/>
                  <a:pt x="1419" y="155"/>
                </a:cubicBezTo>
                <a:cubicBezTo>
                  <a:pt x="1417" y="155"/>
                  <a:pt x="1415" y="155"/>
                  <a:pt x="1414" y="153"/>
                </a:cubicBezTo>
                <a:cubicBezTo>
                  <a:pt x="1413" y="151"/>
                  <a:pt x="1412" y="148"/>
                  <a:pt x="1412" y="145"/>
                </a:cubicBezTo>
                <a:cubicBezTo>
                  <a:pt x="1412" y="142"/>
                  <a:pt x="1413" y="138"/>
                  <a:pt x="1414" y="135"/>
                </a:cubicBezTo>
                <a:cubicBezTo>
                  <a:pt x="1415" y="132"/>
                  <a:pt x="1417" y="129"/>
                  <a:pt x="1419" y="127"/>
                </a:cubicBezTo>
                <a:cubicBezTo>
                  <a:pt x="1421" y="124"/>
                  <a:pt x="1424" y="123"/>
                  <a:pt x="1427" y="123"/>
                </a:cubicBezTo>
                <a:cubicBezTo>
                  <a:pt x="1429" y="123"/>
                  <a:pt x="1431" y="124"/>
                  <a:pt x="1432" y="125"/>
                </a:cubicBezTo>
                <a:close/>
                <a:moveTo>
                  <a:pt x="1076" y="242"/>
                </a:moveTo>
                <a:cubicBezTo>
                  <a:pt x="1072" y="249"/>
                  <a:pt x="1072" y="249"/>
                  <a:pt x="1072" y="249"/>
                </a:cubicBezTo>
                <a:cubicBezTo>
                  <a:pt x="1072" y="242"/>
                  <a:pt x="1072" y="242"/>
                  <a:pt x="1072" y="242"/>
                </a:cubicBezTo>
                <a:cubicBezTo>
                  <a:pt x="1066" y="208"/>
                  <a:pt x="1066" y="208"/>
                  <a:pt x="1066" y="208"/>
                </a:cubicBezTo>
                <a:cubicBezTo>
                  <a:pt x="1050" y="208"/>
                  <a:pt x="1050" y="208"/>
                  <a:pt x="1050" y="208"/>
                </a:cubicBezTo>
                <a:cubicBezTo>
                  <a:pt x="1049" y="211"/>
                  <a:pt x="1049" y="211"/>
                  <a:pt x="1049" y="211"/>
                </a:cubicBezTo>
                <a:cubicBezTo>
                  <a:pt x="1056" y="212"/>
                  <a:pt x="1056" y="212"/>
                  <a:pt x="1056" y="212"/>
                </a:cubicBezTo>
                <a:cubicBezTo>
                  <a:pt x="1045" y="256"/>
                  <a:pt x="1045" y="256"/>
                  <a:pt x="1045" y="256"/>
                </a:cubicBezTo>
                <a:cubicBezTo>
                  <a:pt x="1039" y="257"/>
                  <a:pt x="1039" y="257"/>
                  <a:pt x="1039" y="257"/>
                </a:cubicBezTo>
                <a:cubicBezTo>
                  <a:pt x="1039" y="260"/>
                  <a:pt x="1039" y="260"/>
                  <a:pt x="1039" y="260"/>
                </a:cubicBezTo>
                <a:cubicBezTo>
                  <a:pt x="1057" y="260"/>
                  <a:pt x="1057" y="260"/>
                  <a:pt x="1057" y="260"/>
                </a:cubicBezTo>
                <a:cubicBezTo>
                  <a:pt x="1057" y="257"/>
                  <a:pt x="1057" y="257"/>
                  <a:pt x="1057" y="257"/>
                </a:cubicBezTo>
                <a:cubicBezTo>
                  <a:pt x="1050" y="256"/>
                  <a:pt x="1050" y="256"/>
                  <a:pt x="1050" y="256"/>
                </a:cubicBezTo>
                <a:cubicBezTo>
                  <a:pt x="1057" y="225"/>
                  <a:pt x="1057" y="225"/>
                  <a:pt x="1057" y="225"/>
                </a:cubicBezTo>
                <a:cubicBezTo>
                  <a:pt x="1060" y="211"/>
                  <a:pt x="1060" y="211"/>
                  <a:pt x="1060" y="211"/>
                </a:cubicBezTo>
                <a:cubicBezTo>
                  <a:pt x="1062" y="225"/>
                  <a:pt x="1062" y="225"/>
                  <a:pt x="1062" y="225"/>
                </a:cubicBezTo>
                <a:cubicBezTo>
                  <a:pt x="1068" y="261"/>
                  <a:pt x="1068" y="261"/>
                  <a:pt x="1068" y="261"/>
                </a:cubicBezTo>
                <a:cubicBezTo>
                  <a:pt x="1072" y="260"/>
                  <a:pt x="1072" y="260"/>
                  <a:pt x="1072" y="260"/>
                </a:cubicBezTo>
                <a:cubicBezTo>
                  <a:pt x="1088" y="224"/>
                  <a:pt x="1088" y="224"/>
                  <a:pt x="1088" y="224"/>
                </a:cubicBezTo>
                <a:cubicBezTo>
                  <a:pt x="1094" y="211"/>
                  <a:pt x="1094" y="211"/>
                  <a:pt x="1094" y="211"/>
                </a:cubicBezTo>
                <a:cubicBezTo>
                  <a:pt x="1093" y="225"/>
                  <a:pt x="1093" y="225"/>
                  <a:pt x="1093" y="225"/>
                </a:cubicBezTo>
                <a:cubicBezTo>
                  <a:pt x="1091" y="256"/>
                  <a:pt x="1091" y="256"/>
                  <a:pt x="1091" y="256"/>
                </a:cubicBezTo>
                <a:cubicBezTo>
                  <a:pt x="1085" y="257"/>
                  <a:pt x="1085" y="257"/>
                  <a:pt x="1085" y="257"/>
                </a:cubicBezTo>
                <a:cubicBezTo>
                  <a:pt x="1084" y="260"/>
                  <a:pt x="1084" y="260"/>
                  <a:pt x="1084" y="260"/>
                </a:cubicBezTo>
                <a:cubicBezTo>
                  <a:pt x="1104" y="260"/>
                  <a:pt x="1104" y="260"/>
                  <a:pt x="1104" y="260"/>
                </a:cubicBezTo>
                <a:cubicBezTo>
                  <a:pt x="1104" y="257"/>
                  <a:pt x="1104" y="257"/>
                  <a:pt x="1104" y="257"/>
                </a:cubicBezTo>
                <a:cubicBezTo>
                  <a:pt x="1098" y="256"/>
                  <a:pt x="1098" y="256"/>
                  <a:pt x="1098" y="256"/>
                </a:cubicBezTo>
                <a:cubicBezTo>
                  <a:pt x="1099" y="212"/>
                  <a:pt x="1099" y="212"/>
                  <a:pt x="1099" y="212"/>
                </a:cubicBezTo>
                <a:cubicBezTo>
                  <a:pt x="1106" y="211"/>
                  <a:pt x="1106" y="211"/>
                  <a:pt x="1106" y="211"/>
                </a:cubicBezTo>
                <a:cubicBezTo>
                  <a:pt x="1106" y="208"/>
                  <a:pt x="1106" y="208"/>
                  <a:pt x="1106" y="208"/>
                </a:cubicBezTo>
                <a:cubicBezTo>
                  <a:pt x="1091" y="208"/>
                  <a:pt x="1091" y="208"/>
                  <a:pt x="1091" y="208"/>
                </a:cubicBezTo>
                <a:cubicBezTo>
                  <a:pt x="1090" y="211"/>
                  <a:pt x="1087" y="217"/>
                  <a:pt x="1083" y="225"/>
                </a:cubicBezTo>
                <a:cubicBezTo>
                  <a:pt x="1079" y="233"/>
                  <a:pt x="1077" y="239"/>
                  <a:pt x="1076" y="242"/>
                </a:cubicBezTo>
                <a:close/>
                <a:moveTo>
                  <a:pt x="1138" y="253"/>
                </a:moveTo>
                <a:cubicBezTo>
                  <a:pt x="1136" y="251"/>
                  <a:pt x="1136" y="251"/>
                  <a:pt x="1136" y="251"/>
                </a:cubicBezTo>
                <a:cubicBezTo>
                  <a:pt x="1134" y="253"/>
                  <a:pt x="1133" y="254"/>
                  <a:pt x="1131" y="255"/>
                </a:cubicBezTo>
                <a:cubicBezTo>
                  <a:pt x="1129" y="256"/>
                  <a:pt x="1126" y="256"/>
                  <a:pt x="1124" y="256"/>
                </a:cubicBezTo>
                <a:cubicBezTo>
                  <a:pt x="1121" y="256"/>
                  <a:pt x="1119" y="255"/>
                  <a:pt x="1118" y="253"/>
                </a:cubicBezTo>
                <a:cubicBezTo>
                  <a:pt x="1117" y="250"/>
                  <a:pt x="1116" y="247"/>
                  <a:pt x="1116" y="244"/>
                </a:cubicBezTo>
                <a:cubicBezTo>
                  <a:pt x="1119" y="244"/>
                  <a:pt x="1123" y="244"/>
                  <a:pt x="1126" y="242"/>
                </a:cubicBezTo>
                <a:cubicBezTo>
                  <a:pt x="1130" y="241"/>
                  <a:pt x="1133" y="240"/>
                  <a:pt x="1136" y="237"/>
                </a:cubicBezTo>
                <a:cubicBezTo>
                  <a:pt x="1138" y="235"/>
                  <a:pt x="1140" y="232"/>
                  <a:pt x="1140" y="229"/>
                </a:cubicBezTo>
                <a:cubicBezTo>
                  <a:pt x="1140" y="226"/>
                  <a:pt x="1139" y="224"/>
                  <a:pt x="1137" y="223"/>
                </a:cubicBezTo>
                <a:cubicBezTo>
                  <a:pt x="1135" y="221"/>
                  <a:pt x="1133" y="220"/>
                  <a:pt x="1130" y="220"/>
                </a:cubicBezTo>
                <a:cubicBezTo>
                  <a:pt x="1126" y="220"/>
                  <a:pt x="1122" y="221"/>
                  <a:pt x="1119" y="224"/>
                </a:cubicBezTo>
                <a:cubicBezTo>
                  <a:pt x="1116" y="226"/>
                  <a:pt x="1114" y="229"/>
                  <a:pt x="1112" y="233"/>
                </a:cubicBezTo>
                <a:cubicBezTo>
                  <a:pt x="1110" y="237"/>
                  <a:pt x="1109" y="241"/>
                  <a:pt x="1109" y="246"/>
                </a:cubicBezTo>
                <a:cubicBezTo>
                  <a:pt x="1109" y="248"/>
                  <a:pt x="1110" y="251"/>
                  <a:pt x="1111" y="253"/>
                </a:cubicBezTo>
                <a:cubicBezTo>
                  <a:pt x="1111" y="255"/>
                  <a:pt x="1113" y="257"/>
                  <a:pt x="1115" y="259"/>
                </a:cubicBezTo>
                <a:cubicBezTo>
                  <a:pt x="1117" y="260"/>
                  <a:pt x="1120" y="261"/>
                  <a:pt x="1123" y="261"/>
                </a:cubicBezTo>
                <a:cubicBezTo>
                  <a:pt x="1126" y="261"/>
                  <a:pt x="1129" y="260"/>
                  <a:pt x="1132" y="258"/>
                </a:cubicBezTo>
                <a:cubicBezTo>
                  <a:pt x="1135" y="257"/>
                  <a:pt x="1136" y="255"/>
                  <a:pt x="1138" y="253"/>
                </a:cubicBezTo>
                <a:close/>
                <a:moveTo>
                  <a:pt x="1128" y="224"/>
                </a:moveTo>
                <a:cubicBezTo>
                  <a:pt x="1130" y="224"/>
                  <a:pt x="1131" y="224"/>
                  <a:pt x="1132" y="225"/>
                </a:cubicBezTo>
                <a:cubicBezTo>
                  <a:pt x="1132" y="226"/>
                  <a:pt x="1133" y="228"/>
                  <a:pt x="1133" y="229"/>
                </a:cubicBezTo>
                <a:cubicBezTo>
                  <a:pt x="1133" y="232"/>
                  <a:pt x="1132" y="234"/>
                  <a:pt x="1130" y="235"/>
                </a:cubicBezTo>
                <a:cubicBezTo>
                  <a:pt x="1129" y="237"/>
                  <a:pt x="1126" y="238"/>
                  <a:pt x="1124" y="239"/>
                </a:cubicBezTo>
                <a:cubicBezTo>
                  <a:pt x="1121" y="240"/>
                  <a:pt x="1119" y="241"/>
                  <a:pt x="1116" y="241"/>
                </a:cubicBezTo>
                <a:cubicBezTo>
                  <a:pt x="1117" y="238"/>
                  <a:pt x="1117" y="236"/>
                  <a:pt x="1118" y="233"/>
                </a:cubicBezTo>
                <a:cubicBezTo>
                  <a:pt x="1119" y="230"/>
                  <a:pt x="1121" y="228"/>
                  <a:pt x="1122" y="226"/>
                </a:cubicBezTo>
                <a:cubicBezTo>
                  <a:pt x="1124" y="225"/>
                  <a:pt x="1126" y="224"/>
                  <a:pt x="1128" y="224"/>
                </a:cubicBezTo>
                <a:close/>
                <a:moveTo>
                  <a:pt x="1175" y="254"/>
                </a:moveTo>
                <a:cubicBezTo>
                  <a:pt x="1182" y="204"/>
                  <a:pt x="1182" y="204"/>
                  <a:pt x="1182" y="204"/>
                </a:cubicBezTo>
                <a:cubicBezTo>
                  <a:pt x="1181" y="204"/>
                  <a:pt x="1181" y="204"/>
                  <a:pt x="1181" y="204"/>
                </a:cubicBezTo>
                <a:cubicBezTo>
                  <a:pt x="1171" y="205"/>
                  <a:pt x="1171" y="205"/>
                  <a:pt x="1171" y="205"/>
                </a:cubicBezTo>
                <a:cubicBezTo>
                  <a:pt x="1170" y="207"/>
                  <a:pt x="1170" y="207"/>
                  <a:pt x="1170" y="207"/>
                </a:cubicBezTo>
                <a:cubicBezTo>
                  <a:pt x="1175" y="208"/>
                  <a:pt x="1175" y="208"/>
                  <a:pt x="1175" y="208"/>
                </a:cubicBezTo>
                <a:cubicBezTo>
                  <a:pt x="1173" y="221"/>
                  <a:pt x="1173" y="221"/>
                  <a:pt x="1173" y="221"/>
                </a:cubicBezTo>
                <a:cubicBezTo>
                  <a:pt x="1171" y="220"/>
                  <a:pt x="1169" y="220"/>
                  <a:pt x="1168" y="220"/>
                </a:cubicBezTo>
                <a:cubicBezTo>
                  <a:pt x="1163" y="220"/>
                  <a:pt x="1159" y="222"/>
                  <a:pt x="1156" y="224"/>
                </a:cubicBezTo>
                <a:cubicBezTo>
                  <a:pt x="1152" y="227"/>
                  <a:pt x="1150" y="230"/>
                  <a:pt x="1148" y="234"/>
                </a:cubicBezTo>
                <a:cubicBezTo>
                  <a:pt x="1146" y="238"/>
                  <a:pt x="1145" y="242"/>
                  <a:pt x="1145" y="246"/>
                </a:cubicBezTo>
                <a:cubicBezTo>
                  <a:pt x="1145" y="250"/>
                  <a:pt x="1146" y="254"/>
                  <a:pt x="1148" y="257"/>
                </a:cubicBezTo>
                <a:cubicBezTo>
                  <a:pt x="1150" y="259"/>
                  <a:pt x="1153" y="261"/>
                  <a:pt x="1157" y="261"/>
                </a:cubicBezTo>
                <a:cubicBezTo>
                  <a:pt x="1159" y="261"/>
                  <a:pt x="1162" y="260"/>
                  <a:pt x="1163" y="259"/>
                </a:cubicBezTo>
                <a:cubicBezTo>
                  <a:pt x="1165" y="258"/>
                  <a:pt x="1167" y="256"/>
                  <a:pt x="1168" y="255"/>
                </a:cubicBezTo>
                <a:cubicBezTo>
                  <a:pt x="1168" y="256"/>
                  <a:pt x="1168" y="256"/>
                  <a:pt x="1168" y="256"/>
                </a:cubicBezTo>
                <a:cubicBezTo>
                  <a:pt x="1168" y="259"/>
                  <a:pt x="1170" y="261"/>
                  <a:pt x="1173" y="261"/>
                </a:cubicBezTo>
                <a:cubicBezTo>
                  <a:pt x="1174" y="261"/>
                  <a:pt x="1176" y="260"/>
                  <a:pt x="1177" y="259"/>
                </a:cubicBezTo>
                <a:cubicBezTo>
                  <a:pt x="1178" y="258"/>
                  <a:pt x="1179" y="257"/>
                  <a:pt x="1180" y="256"/>
                </a:cubicBezTo>
                <a:cubicBezTo>
                  <a:pt x="1179" y="255"/>
                  <a:pt x="1179" y="255"/>
                  <a:pt x="1179" y="255"/>
                </a:cubicBezTo>
                <a:cubicBezTo>
                  <a:pt x="1178" y="256"/>
                  <a:pt x="1177" y="256"/>
                  <a:pt x="1176" y="256"/>
                </a:cubicBezTo>
                <a:cubicBezTo>
                  <a:pt x="1175" y="256"/>
                  <a:pt x="1175" y="256"/>
                  <a:pt x="1175" y="255"/>
                </a:cubicBezTo>
                <a:cubicBezTo>
                  <a:pt x="1175" y="254"/>
                  <a:pt x="1175" y="254"/>
                  <a:pt x="1175" y="254"/>
                </a:cubicBezTo>
                <a:close/>
                <a:moveTo>
                  <a:pt x="1172" y="225"/>
                </a:moveTo>
                <a:cubicBezTo>
                  <a:pt x="1169" y="250"/>
                  <a:pt x="1169" y="250"/>
                  <a:pt x="1169" y="250"/>
                </a:cubicBezTo>
                <a:cubicBezTo>
                  <a:pt x="1168" y="252"/>
                  <a:pt x="1166" y="253"/>
                  <a:pt x="1164" y="254"/>
                </a:cubicBezTo>
                <a:cubicBezTo>
                  <a:pt x="1163" y="256"/>
                  <a:pt x="1161" y="256"/>
                  <a:pt x="1159" y="256"/>
                </a:cubicBezTo>
                <a:cubicBezTo>
                  <a:pt x="1157" y="256"/>
                  <a:pt x="1155" y="255"/>
                  <a:pt x="1154" y="253"/>
                </a:cubicBezTo>
                <a:cubicBezTo>
                  <a:pt x="1153" y="252"/>
                  <a:pt x="1153" y="249"/>
                  <a:pt x="1153" y="246"/>
                </a:cubicBezTo>
                <a:cubicBezTo>
                  <a:pt x="1153" y="242"/>
                  <a:pt x="1153" y="239"/>
                  <a:pt x="1154" y="236"/>
                </a:cubicBezTo>
                <a:cubicBezTo>
                  <a:pt x="1155" y="232"/>
                  <a:pt x="1157" y="230"/>
                  <a:pt x="1159" y="227"/>
                </a:cubicBezTo>
                <a:cubicBezTo>
                  <a:pt x="1161" y="225"/>
                  <a:pt x="1164" y="224"/>
                  <a:pt x="1167" y="224"/>
                </a:cubicBezTo>
                <a:cubicBezTo>
                  <a:pt x="1169" y="224"/>
                  <a:pt x="1171" y="224"/>
                  <a:pt x="1172" y="225"/>
                </a:cubicBezTo>
                <a:close/>
                <a:moveTo>
                  <a:pt x="1198" y="254"/>
                </a:moveTo>
                <a:cubicBezTo>
                  <a:pt x="1202" y="221"/>
                  <a:pt x="1202" y="221"/>
                  <a:pt x="1202" y="221"/>
                </a:cubicBezTo>
                <a:cubicBezTo>
                  <a:pt x="1201" y="220"/>
                  <a:pt x="1201" y="220"/>
                  <a:pt x="1201" y="220"/>
                </a:cubicBezTo>
                <a:cubicBezTo>
                  <a:pt x="1191" y="222"/>
                  <a:pt x="1191" y="222"/>
                  <a:pt x="1191" y="222"/>
                </a:cubicBezTo>
                <a:cubicBezTo>
                  <a:pt x="1190" y="224"/>
                  <a:pt x="1190" y="224"/>
                  <a:pt x="1190" y="224"/>
                </a:cubicBezTo>
                <a:cubicBezTo>
                  <a:pt x="1195" y="226"/>
                  <a:pt x="1195" y="226"/>
                  <a:pt x="1195" y="226"/>
                </a:cubicBezTo>
                <a:cubicBezTo>
                  <a:pt x="1194" y="233"/>
                  <a:pt x="1193" y="239"/>
                  <a:pt x="1192" y="243"/>
                </a:cubicBezTo>
                <a:cubicBezTo>
                  <a:pt x="1191" y="251"/>
                  <a:pt x="1191" y="255"/>
                  <a:pt x="1191" y="256"/>
                </a:cubicBezTo>
                <a:cubicBezTo>
                  <a:pt x="1190" y="258"/>
                  <a:pt x="1191" y="259"/>
                  <a:pt x="1192" y="260"/>
                </a:cubicBezTo>
                <a:cubicBezTo>
                  <a:pt x="1192" y="260"/>
                  <a:pt x="1194" y="261"/>
                  <a:pt x="1195" y="261"/>
                </a:cubicBezTo>
                <a:cubicBezTo>
                  <a:pt x="1197" y="261"/>
                  <a:pt x="1199" y="260"/>
                  <a:pt x="1200" y="259"/>
                </a:cubicBezTo>
                <a:cubicBezTo>
                  <a:pt x="1202" y="258"/>
                  <a:pt x="1203" y="257"/>
                  <a:pt x="1203" y="256"/>
                </a:cubicBezTo>
                <a:cubicBezTo>
                  <a:pt x="1202" y="254"/>
                  <a:pt x="1202" y="254"/>
                  <a:pt x="1202" y="254"/>
                </a:cubicBezTo>
                <a:cubicBezTo>
                  <a:pt x="1202" y="255"/>
                  <a:pt x="1201" y="256"/>
                  <a:pt x="1200" y="256"/>
                </a:cubicBezTo>
                <a:cubicBezTo>
                  <a:pt x="1200" y="256"/>
                  <a:pt x="1199" y="256"/>
                  <a:pt x="1199" y="256"/>
                </a:cubicBezTo>
                <a:cubicBezTo>
                  <a:pt x="1198" y="256"/>
                  <a:pt x="1198" y="256"/>
                  <a:pt x="1198" y="256"/>
                </a:cubicBezTo>
                <a:cubicBezTo>
                  <a:pt x="1198" y="256"/>
                  <a:pt x="1198" y="255"/>
                  <a:pt x="1198" y="255"/>
                </a:cubicBezTo>
                <a:lnTo>
                  <a:pt x="1198" y="254"/>
                </a:lnTo>
                <a:close/>
                <a:moveTo>
                  <a:pt x="1200" y="213"/>
                </a:moveTo>
                <a:cubicBezTo>
                  <a:pt x="1201" y="213"/>
                  <a:pt x="1202" y="212"/>
                  <a:pt x="1203" y="211"/>
                </a:cubicBezTo>
                <a:cubicBezTo>
                  <a:pt x="1204" y="210"/>
                  <a:pt x="1205" y="209"/>
                  <a:pt x="1205" y="207"/>
                </a:cubicBezTo>
                <a:cubicBezTo>
                  <a:pt x="1205" y="206"/>
                  <a:pt x="1204" y="206"/>
                  <a:pt x="1204" y="205"/>
                </a:cubicBezTo>
                <a:cubicBezTo>
                  <a:pt x="1203" y="204"/>
                  <a:pt x="1202" y="204"/>
                  <a:pt x="1201" y="204"/>
                </a:cubicBezTo>
                <a:cubicBezTo>
                  <a:pt x="1200" y="204"/>
                  <a:pt x="1198" y="204"/>
                  <a:pt x="1198" y="205"/>
                </a:cubicBezTo>
                <a:cubicBezTo>
                  <a:pt x="1197" y="206"/>
                  <a:pt x="1196" y="207"/>
                  <a:pt x="1196" y="209"/>
                </a:cubicBezTo>
                <a:cubicBezTo>
                  <a:pt x="1196" y="210"/>
                  <a:pt x="1197" y="211"/>
                  <a:pt x="1197" y="212"/>
                </a:cubicBezTo>
                <a:cubicBezTo>
                  <a:pt x="1198" y="212"/>
                  <a:pt x="1199" y="213"/>
                  <a:pt x="1200" y="213"/>
                </a:cubicBezTo>
                <a:close/>
                <a:moveTo>
                  <a:pt x="1237" y="228"/>
                </a:moveTo>
                <a:cubicBezTo>
                  <a:pt x="1238" y="229"/>
                  <a:pt x="1238" y="229"/>
                  <a:pt x="1238" y="229"/>
                </a:cubicBezTo>
                <a:cubicBezTo>
                  <a:pt x="1240" y="222"/>
                  <a:pt x="1240" y="222"/>
                  <a:pt x="1240" y="222"/>
                </a:cubicBezTo>
                <a:cubicBezTo>
                  <a:pt x="1239" y="221"/>
                  <a:pt x="1238" y="221"/>
                  <a:pt x="1237" y="221"/>
                </a:cubicBezTo>
                <a:cubicBezTo>
                  <a:pt x="1235" y="220"/>
                  <a:pt x="1234" y="220"/>
                  <a:pt x="1232" y="220"/>
                </a:cubicBezTo>
                <a:cubicBezTo>
                  <a:pt x="1228" y="220"/>
                  <a:pt x="1224" y="221"/>
                  <a:pt x="1221" y="224"/>
                </a:cubicBezTo>
                <a:cubicBezTo>
                  <a:pt x="1218" y="227"/>
                  <a:pt x="1216" y="230"/>
                  <a:pt x="1214" y="234"/>
                </a:cubicBezTo>
                <a:cubicBezTo>
                  <a:pt x="1213" y="237"/>
                  <a:pt x="1212" y="241"/>
                  <a:pt x="1212" y="245"/>
                </a:cubicBezTo>
                <a:cubicBezTo>
                  <a:pt x="1212" y="250"/>
                  <a:pt x="1213" y="254"/>
                  <a:pt x="1215" y="257"/>
                </a:cubicBezTo>
                <a:cubicBezTo>
                  <a:pt x="1217" y="259"/>
                  <a:pt x="1220" y="261"/>
                  <a:pt x="1224" y="261"/>
                </a:cubicBezTo>
                <a:cubicBezTo>
                  <a:pt x="1227" y="261"/>
                  <a:pt x="1230" y="260"/>
                  <a:pt x="1232" y="259"/>
                </a:cubicBezTo>
                <a:cubicBezTo>
                  <a:pt x="1235" y="257"/>
                  <a:pt x="1236" y="256"/>
                  <a:pt x="1238" y="254"/>
                </a:cubicBezTo>
                <a:cubicBezTo>
                  <a:pt x="1236" y="252"/>
                  <a:pt x="1236" y="252"/>
                  <a:pt x="1236" y="252"/>
                </a:cubicBezTo>
                <a:cubicBezTo>
                  <a:pt x="1235" y="253"/>
                  <a:pt x="1233" y="254"/>
                  <a:pt x="1232" y="255"/>
                </a:cubicBezTo>
                <a:cubicBezTo>
                  <a:pt x="1230" y="256"/>
                  <a:pt x="1229" y="256"/>
                  <a:pt x="1227" y="256"/>
                </a:cubicBezTo>
                <a:cubicBezTo>
                  <a:pt x="1224" y="256"/>
                  <a:pt x="1222" y="255"/>
                  <a:pt x="1221" y="253"/>
                </a:cubicBezTo>
                <a:cubicBezTo>
                  <a:pt x="1220" y="251"/>
                  <a:pt x="1219" y="248"/>
                  <a:pt x="1219" y="244"/>
                </a:cubicBezTo>
                <a:cubicBezTo>
                  <a:pt x="1219" y="240"/>
                  <a:pt x="1219" y="237"/>
                  <a:pt x="1221" y="234"/>
                </a:cubicBezTo>
                <a:cubicBezTo>
                  <a:pt x="1222" y="231"/>
                  <a:pt x="1223" y="229"/>
                  <a:pt x="1225" y="227"/>
                </a:cubicBezTo>
                <a:cubicBezTo>
                  <a:pt x="1227" y="225"/>
                  <a:pt x="1229" y="225"/>
                  <a:pt x="1231" y="225"/>
                </a:cubicBezTo>
                <a:cubicBezTo>
                  <a:pt x="1232" y="225"/>
                  <a:pt x="1235" y="226"/>
                  <a:pt x="1237" y="228"/>
                </a:cubicBezTo>
                <a:close/>
                <a:moveTo>
                  <a:pt x="1255" y="254"/>
                </a:moveTo>
                <a:cubicBezTo>
                  <a:pt x="1260" y="221"/>
                  <a:pt x="1260" y="221"/>
                  <a:pt x="1260" y="221"/>
                </a:cubicBezTo>
                <a:cubicBezTo>
                  <a:pt x="1259" y="220"/>
                  <a:pt x="1259" y="220"/>
                  <a:pt x="1259" y="220"/>
                </a:cubicBezTo>
                <a:cubicBezTo>
                  <a:pt x="1249" y="222"/>
                  <a:pt x="1249" y="222"/>
                  <a:pt x="1249" y="222"/>
                </a:cubicBezTo>
                <a:cubicBezTo>
                  <a:pt x="1248" y="224"/>
                  <a:pt x="1248" y="224"/>
                  <a:pt x="1248" y="224"/>
                </a:cubicBezTo>
                <a:cubicBezTo>
                  <a:pt x="1253" y="226"/>
                  <a:pt x="1253" y="226"/>
                  <a:pt x="1253" y="226"/>
                </a:cubicBezTo>
                <a:cubicBezTo>
                  <a:pt x="1252" y="233"/>
                  <a:pt x="1251" y="239"/>
                  <a:pt x="1250" y="243"/>
                </a:cubicBezTo>
                <a:cubicBezTo>
                  <a:pt x="1249" y="251"/>
                  <a:pt x="1248" y="255"/>
                  <a:pt x="1248" y="256"/>
                </a:cubicBezTo>
                <a:cubicBezTo>
                  <a:pt x="1248" y="258"/>
                  <a:pt x="1249" y="259"/>
                  <a:pt x="1249" y="260"/>
                </a:cubicBezTo>
                <a:cubicBezTo>
                  <a:pt x="1250" y="260"/>
                  <a:pt x="1251" y="261"/>
                  <a:pt x="1253" y="261"/>
                </a:cubicBezTo>
                <a:cubicBezTo>
                  <a:pt x="1255" y="261"/>
                  <a:pt x="1256" y="260"/>
                  <a:pt x="1258" y="259"/>
                </a:cubicBezTo>
                <a:cubicBezTo>
                  <a:pt x="1259" y="258"/>
                  <a:pt x="1260" y="257"/>
                  <a:pt x="1261" y="256"/>
                </a:cubicBezTo>
                <a:cubicBezTo>
                  <a:pt x="1260" y="254"/>
                  <a:pt x="1260" y="254"/>
                  <a:pt x="1260" y="254"/>
                </a:cubicBezTo>
                <a:cubicBezTo>
                  <a:pt x="1259" y="255"/>
                  <a:pt x="1259" y="256"/>
                  <a:pt x="1258" y="256"/>
                </a:cubicBezTo>
                <a:cubicBezTo>
                  <a:pt x="1258" y="256"/>
                  <a:pt x="1257" y="256"/>
                  <a:pt x="1256" y="256"/>
                </a:cubicBezTo>
                <a:cubicBezTo>
                  <a:pt x="1256" y="256"/>
                  <a:pt x="1256" y="256"/>
                  <a:pt x="1256" y="256"/>
                </a:cubicBezTo>
                <a:cubicBezTo>
                  <a:pt x="1255" y="256"/>
                  <a:pt x="1255" y="255"/>
                  <a:pt x="1255" y="255"/>
                </a:cubicBezTo>
                <a:lnTo>
                  <a:pt x="1255" y="254"/>
                </a:lnTo>
                <a:close/>
                <a:moveTo>
                  <a:pt x="1258" y="213"/>
                </a:moveTo>
                <a:cubicBezTo>
                  <a:pt x="1259" y="213"/>
                  <a:pt x="1260" y="212"/>
                  <a:pt x="1261" y="211"/>
                </a:cubicBezTo>
                <a:cubicBezTo>
                  <a:pt x="1262" y="210"/>
                  <a:pt x="1262" y="209"/>
                  <a:pt x="1262" y="207"/>
                </a:cubicBezTo>
                <a:cubicBezTo>
                  <a:pt x="1262" y="206"/>
                  <a:pt x="1262" y="206"/>
                  <a:pt x="1261" y="205"/>
                </a:cubicBezTo>
                <a:cubicBezTo>
                  <a:pt x="1261" y="204"/>
                  <a:pt x="1260" y="204"/>
                  <a:pt x="1259" y="204"/>
                </a:cubicBezTo>
                <a:cubicBezTo>
                  <a:pt x="1257" y="204"/>
                  <a:pt x="1256" y="204"/>
                  <a:pt x="1255" y="205"/>
                </a:cubicBezTo>
                <a:cubicBezTo>
                  <a:pt x="1254" y="206"/>
                  <a:pt x="1254" y="207"/>
                  <a:pt x="1254" y="209"/>
                </a:cubicBezTo>
                <a:cubicBezTo>
                  <a:pt x="1254" y="210"/>
                  <a:pt x="1254" y="211"/>
                  <a:pt x="1255" y="212"/>
                </a:cubicBezTo>
                <a:cubicBezTo>
                  <a:pt x="1256" y="212"/>
                  <a:pt x="1257" y="213"/>
                  <a:pt x="1258" y="213"/>
                </a:cubicBezTo>
                <a:close/>
                <a:moveTo>
                  <a:pt x="1282" y="229"/>
                </a:moveTo>
                <a:cubicBezTo>
                  <a:pt x="1283" y="221"/>
                  <a:pt x="1283" y="221"/>
                  <a:pt x="1283" y="221"/>
                </a:cubicBezTo>
                <a:cubicBezTo>
                  <a:pt x="1281" y="220"/>
                  <a:pt x="1281" y="220"/>
                  <a:pt x="1281" y="220"/>
                </a:cubicBezTo>
                <a:cubicBezTo>
                  <a:pt x="1273" y="222"/>
                  <a:pt x="1273" y="222"/>
                  <a:pt x="1273" y="222"/>
                </a:cubicBezTo>
                <a:cubicBezTo>
                  <a:pt x="1272" y="224"/>
                  <a:pt x="1272" y="224"/>
                  <a:pt x="1272" y="224"/>
                </a:cubicBezTo>
                <a:cubicBezTo>
                  <a:pt x="1275" y="226"/>
                  <a:pt x="1275" y="226"/>
                  <a:pt x="1275" y="226"/>
                </a:cubicBezTo>
                <a:cubicBezTo>
                  <a:pt x="1271" y="260"/>
                  <a:pt x="1271" y="260"/>
                  <a:pt x="1271" y="260"/>
                </a:cubicBezTo>
                <a:cubicBezTo>
                  <a:pt x="1278" y="260"/>
                  <a:pt x="1278" y="260"/>
                  <a:pt x="1278" y="260"/>
                </a:cubicBezTo>
                <a:cubicBezTo>
                  <a:pt x="1281" y="235"/>
                  <a:pt x="1281" y="235"/>
                  <a:pt x="1281" y="235"/>
                </a:cubicBezTo>
                <a:cubicBezTo>
                  <a:pt x="1283" y="232"/>
                  <a:pt x="1285" y="230"/>
                  <a:pt x="1287" y="228"/>
                </a:cubicBezTo>
                <a:cubicBezTo>
                  <a:pt x="1289" y="226"/>
                  <a:pt x="1291" y="225"/>
                  <a:pt x="1293" y="225"/>
                </a:cubicBezTo>
                <a:cubicBezTo>
                  <a:pt x="1295" y="225"/>
                  <a:pt x="1296" y="226"/>
                  <a:pt x="1297" y="226"/>
                </a:cubicBezTo>
                <a:cubicBezTo>
                  <a:pt x="1297" y="227"/>
                  <a:pt x="1298" y="229"/>
                  <a:pt x="1298" y="231"/>
                </a:cubicBezTo>
                <a:cubicBezTo>
                  <a:pt x="1298" y="233"/>
                  <a:pt x="1297" y="234"/>
                  <a:pt x="1297" y="236"/>
                </a:cubicBezTo>
                <a:cubicBezTo>
                  <a:pt x="1297" y="238"/>
                  <a:pt x="1297" y="240"/>
                  <a:pt x="1296" y="243"/>
                </a:cubicBezTo>
                <a:cubicBezTo>
                  <a:pt x="1296" y="245"/>
                  <a:pt x="1296" y="245"/>
                  <a:pt x="1296" y="245"/>
                </a:cubicBezTo>
                <a:cubicBezTo>
                  <a:pt x="1295" y="248"/>
                  <a:pt x="1295" y="248"/>
                  <a:pt x="1295" y="248"/>
                </a:cubicBezTo>
                <a:cubicBezTo>
                  <a:pt x="1294" y="252"/>
                  <a:pt x="1294" y="255"/>
                  <a:pt x="1294" y="256"/>
                </a:cubicBezTo>
                <a:cubicBezTo>
                  <a:pt x="1294" y="259"/>
                  <a:pt x="1295" y="261"/>
                  <a:pt x="1298" y="261"/>
                </a:cubicBezTo>
                <a:cubicBezTo>
                  <a:pt x="1300" y="261"/>
                  <a:pt x="1301" y="260"/>
                  <a:pt x="1302" y="260"/>
                </a:cubicBezTo>
                <a:cubicBezTo>
                  <a:pt x="1303" y="259"/>
                  <a:pt x="1304" y="259"/>
                  <a:pt x="1305" y="258"/>
                </a:cubicBezTo>
                <a:cubicBezTo>
                  <a:pt x="1305" y="258"/>
                  <a:pt x="1306" y="257"/>
                  <a:pt x="1306" y="257"/>
                </a:cubicBezTo>
                <a:cubicBezTo>
                  <a:pt x="1305" y="255"/>
                  <a:pt x="1305" y="255"/>
                  <a:pt x="1305" y="255"/>
                </a:cubicBezTo>
                <a:cubicBezTo>
                  <a:pt x="1304" y="256"/>
                  <a:pt x="1303" y="256"/>
                  <a:pt x="1302" y="256"/>
                </a:cubicBezTo>
                <a:cubicBezTo>
                  <a:pt x="1301" y="256"/>
                  <a:pt x="1301" y="256"/>
                  <a:pt x="1301" y="255"/>
                </a:cubicBezTo>
                <a:cubicBezTo>
                  <a:pt x="1301" y="253"/>
                  <a:pt x="1301" y="250"/>
                  <a:pt x="1302" y="246"/>
                </a:cubicBezTo>
                <a:cubicBezTo>
                  <a:pt x="1303" y="243"/>
                  <a:pt x="1303" y="243"/>
                  <a:pt x="1303" y="243"/>
                </a:cubicBezTo>
                <a:cubicBezTo>
                  <a:pt x="1303" y="241"/>
                  <a:pt x="1303" y="241"/>
                  <a:pt x="1303" y="241"/>
                </a:cubicBezTo>
                <a:cubicBezTo>
                  <a:pt x="1304" y="236"/>
                  <a:pt x="1305" y="232"/>
                  <a:pt x="1305" y="230"/>
                </a:cubicBezTo>
                <a:cubicBezTo>
                  <a:pt x="1305" y="227"/>
                  <a:pt x="1304" y="224"/>
                  <a:pt x="1302" y="223"/>
                </a:cubicBezTo>
                <a:cubicBezTo>
                  <a:pt x="1301" y="221"/>
                  <a:pt x="1299" y="220"/>
                  <a:pt x="1296" y="220"/>
                </a:cubicBezTo>
                <a:cubicBezTo>
                  <a:pt x="1294" y="220"/>
                  <a:pt x="1291" y="221"/>
                  <a:pt x="1289" y="223"/>
                </a:cubicBezTo>
                <a:cubicBezTo>
                  <a:pt x="1286" y="224"/>
                  <a:pt x="1284" y="227"/>
                  <a:pt x="1282" y="229"/>
                </a:cubicBezTo>
                <a:close/>
                <a:moveTo>
                  <a:pt x="1342" y="253"/>
                </a:moveTo>
                <a:cubicBezTo>
                  <a:pt x="1340" y="251"/>
                  <a:pt x="1340" y="251"/>
                  <a:pt x="1340" y="251"/>
                </a:cubicBezTo>
                <a:cubicBezTo>
                  <a:pt x="1339" y="253"/>
                  <a:pt x="1337" y="254"/>
                  <a:pt x="1335" y="255"/>
                </a:cubicBezTo>
                <a:cubicBezTo>
                  <a:pt x="1333" y="256"/>
                  <a:pt x="1331" y="256"/>
                  <a:pt x="1329" y="256"/>
                </a:cubicBezTo>
                <a:cubicBezTo>
                  <a:pt x="1326" y="256"/>
                  <a:pt x="1323" y="255"/>
                  <a:pt x="1322" y="253"/>
                </a:cubicBezTo>
                <a:cubicBezTo>
                  <a:pt x="1321" y="250"/>
                  <a:pt x="1320" y="247"/>
                  <a:pt x="1320" y="244"/>
                </a:cubicBezTo>
                <a:cubicBezTo>
                  <a:pt x="1323" y="244"/>
                  <a:pt x="1327" y="244"/>
                  <a:pt x="1330" y="242"/>
                </a:cubicBezTo>
                <a:cubicBezTo>
                  <a:pt x="1334" y="241"/>
                  <a:pt x="1337" y="240"/>
                  <a:pt x="1340" y="237"/>
                </a:cubicBezTo>
                <a:cubicBezTo>
                  <a:pt x="1342" y="235"/>
                  <a:pt x="1344" y="232"/>
                  <a:pt x="1344" y="229"/>
                </a:cubicBezTo>
                <a:cubicBezTo>
                  <a:pt x="1344" y="226"/>
                  <a:pt x="1343" y="224"/>
                  <a:pt x="1341" y="223"/>
                </a:cubicBezTo>
                <a:cubicBezTo>
                  <a:pt x="1340" y="221"/>
                  <a:pt x="1337" y="220"/>
                  <a:pt x="1334" y="220"/>
                </a:cubicBezTo>
                <a:cubicBezTo>
                  <a:pt x="1330" y="220"/>
                  <a:pt x="1326" y="221"/>
                  <a:pt x="1323" y="224"/>
                </a:cubicBezTo>
                <a:cubicBezTo>
                  <a:pt x="1320" y="226"/>
                  <a:pt x="1318" y="229"/>
                  <a:pt x="1316" y="233"/>
                </a:cubicBezTo>
                <a:cubicBezTo>
                  <a:pt x="1314" y="237"/>
                  <a:pt x="1313" y="241"/>
                  <a:pt x="1313" y="246"/>
                </a:cubicBezTo>
                <a:cubicBezTo>
                  <a:pt x="1313" y="248"/>
                  <a:pt x="1314" y="251"/>
                  <a:pt x="1315" y="253"/>
                </a:cubicBezTo>
                <a:cubicBezTo>
                  <a:pt x="1316" y="255"/>
                  <a:pt x="1317" y="257"/>
                  <a:pt x="1319" y="259"/>
                </a:cubicBezTo>
                <a:cubicBezTo>
                  <a:pt x="1321" y="260"/>
                  <a:pt x="1324" y="261"/>
                  <a:pt x="1327" y="261"/>
                </a:cubicBezTo>
                <a:cubicBezTo>
                  <a:pt x="1330" y="261"/>
                  <a:pt x="1333" y="260"/>
                  <a:pt x="1336" y="258"/>
                </a:cubicBezTo>
                <a:cubicBezTo>
                  <a:pt x="1339" y="257"/>
                  <a:pt x="1341" y="255"/>
                  <a:pt x="1342" y="253"/>
                </a:cubicBezTo>
                <a:close/>
                <a:moveTo>
                  <a:pt x="1332" y="224"/>
                </a:moveTo>
                <a:cubicBezTo>
                  <a:pt x="1334" y="224"/>
                  <a:pt x="1335" y="224"/>
                  <a:pt x="1336" y="225"/>
                </a:cubicBezTo>
                <a:cubicBezTo>
                  <a:pt x="1337" y="226"/>
                  <a:pt x="1337" y="228"/>
                  <a:pt x="1337" y="229"/>
                </a:cubicBezTo>
                <a:cubicBezTo>
                  <a:pt x="1337" y="232"/>
                  <a:pt x="1336" y="234"/>
                  <a:pt x="1334" y="235"/>
                </a:cubicBezTo>
                <a:cubicBezTo>
                  <a:pt x="1333" y="237"/>
                  <a:pt x="1331" y="238"/>
                  <a:pt x="1328" y="239"/>
                </a:cubicBezTo>
                <a:cubicBezTo>
                  <a:pt x="1325" y="240"/>
                  <a:pt x="1323" y="241"/>
                  <a:pt x="1321" y="241"/>
                </a:cubicBezTo>
                <a:cubicBezTo>
                  <a:pt x="1321" y="238"/>
                  <a:pt x="1321" y="236"/>
                  <a:pt x="1322" y="233"/>
                </a:cubicBezTo>
                <a:cubicBezTo>
                  <a:pt x="1323" y="230"/>
                  <a:pt x="1325" y="228"/>
                  <a:pt x="1326" y="226"/>
                </a:cubicBezTo>
                <a:cubicBezTo>
                  <a:pt x="1328" y="225"/>
                  <a:pt x="1330" y="224"/>
                  <a:pt x="1332" y="224"/>
                </a:cubicBezTo>
                <a:close/>
              </a:path>
            </a:pathLst>
          </a:custGeom>
          <a:solidFill>
            <a:schemeClr val="bg1"/>
          </a:solidFill>
          <a:ln>
            <a:noFill/>
          </a:ln>
        </p:spPr>
        <p:txBody>
          <a:bodyPr vert="horz" wrap="square" lIns="121920" tIns="60960" rIns="121920" bIns="60960" numCol="1" anchor="t" anchorCtr="0" compatLnSpc="1">
            <a:prstTxWarp prst="textNoShape">
              <a:avLst/>
            </a:prstTxWarp>
          </a:bodyPr>
          <a:lstStyle/>
          <a:p>
            <a:endParaRPr lang="en-US" sz="2400"/>
          </a:p>
        </p:txBody>
      </p:sp>
      <p:sp>
        <p:nvSpPr>
          <p:cNvPr id="17" name="Text Placeholder 16">
            <a:extLst>
              <a:ext uri="{FF2B5EF4-FFF2-40B4-BE49-F238E27FC236}">
                <a16:creationId xmlns:a16="http://schemas.microsoft.com/office/drawing/2014/main" id="{FCA018DF-7EFB-4D08-89D5-E61FB47F425E}"/>
              </a:ext>
            </a:extLst>
          </p:cNvPr>
          <p:cNvSpPr>
            <a:spLocks noGrp="1"/>
          </p:cNvSpPr>
          <p:nvPr>
            <p:ph type="body" sz="quarter" idx="12" hasCustomPrompt="1"/>
          </p:nvPr>
        </p:nvSpPr>
        <p:spPr>
          <a:xfrm>
            <a:off x="7995920" y="6515586"/>
            <a:ext cx="3222413" cy="169277"/>
          </a:xfrm>
        </p:spPr>
        <p:txBody>
          <a:bodyPr wrap="square">
            <a:spAutoFit/>
          </a:bodyPr>
          <a:lstStyle>
            <a:lvl1pPr marL="0" indent="0">
              <a:buNone/>
              <a:defRPr sz="1000" cap="all" spc="147" baseline="0">
                <a:solidFill>
                  <a:schemeClr val="tx2"/>
                </a:solidFill>
              </a:defRPr>
            </a:lvl1pPr>
          </a:lstStyle>
          <a:p>
            <a:pPr lvl="0"/>
            <a:r>
              <a:rPr lang="en-US"/>
              <a:t>CLICK TO EDIT MASTER TEXT</a:t>
            </a:r>
          </a:p>
        </p:txBody>
      </p:sp>
    </p:spTree>
    <p:extLst>
      <p:ext uri="{BB962C8B-B14F-4D97-AF65-F5344CB8AC3E}">
        <p14:creationId xmlns:p14="http://schemas.microsoft.com/office/powerpoint/2010/main" val="415657572"/>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p:cSld name="Title Slide - Light Ruby">
    <p:spTree>
      <p:nvGrpSpPr>
        <p:cNvPr id="1" name=""/>
        <p:cNvGrpSpPr/>
        <p:nvPr/>
      </p:nvGrpSpPr>
      <p:grpSpPr>
        <a:xfrm>
          <a:off x="0" y="0"/>
          <a:ext cx="0" cy="0"/>
          <a:chOff x="0" y="0"/>
          <a:chExt cx="0" cy="0"/>
        </a:xfrm>
      </p:grpSpPr>
      <p:sp>
        <p:nvSpPr>
          <p:cNvPr id="15" name="Picture Placeholder 14">
            <a:extLst>
              <a:ext uri="{FF2B5EF4-FFF2-40B4-BE49-F238E27FC236}">
                <a16:creationId xmlns:a16="http://schemas.microsoft.com/office/drawing/2014/main" id="{42927F7C-53AC-400F-8DAD-235A2AF61FB8}"/>
              </a:ext>
            </a:extLst>
          </p:cNvPr>
          <p:cNvSpPr>
            <a:spLocks noGrp="1"/>
          </p:cNvSpPr>
          <p:nvPr>
            <p:ph type="pic" sz="quarter" idx="11"/>
          </p:nvPr>
        </p:nvSpPr>
        <p:spPr>
          <a:xfrm>
            <a:off x="0" y="1"/>
            <a:ext cx="12192000" cy="6280151"/>
          </a:xfrm>
          <a:solidFill>
            <a:schemeClr val="bg2">
              <a:lumMod val="90000"/>
            </a:schemeClr>
          </a:solidFill>
        </p:spPr>
        <p:txBody>
          <a:bodyPr/>
          <a:lstStyle/>
          <a:p>
            <a:r>
              <a:rPr lang="en-US"/>
              <a:t>Click icon to add picture</a:t>
            </a:r>
          </a:p>
        </p:txBody>
      </p:sp>
      <p:sp>
        <p:nvSpPr>
          <p:cNvPr id="13" name="Text Placeholder 12">
            <a:extLst>
              <a:ext uri="{FF2B5EF4-FFF2-40B4-BE49-F238E27FC236}">
                <a16:creationId xmlns:a16="http://schemas.microsoft.com/office/drawing/2014/main" id="{D2D74F39-96DB-4808-8693-9F55A9D7DB98}"/>
              </a:ext>
            </a:extLst>
          </p:cNvPr>
          <p:cNvSpPr>
            <a:spLocks noGrp="1"/>
          </p:cNvSpPr>
          <p:nvPr>
            <p:ph type="body" sz="quarter" idx="10"/>
          </p:nvPr>
        </p:nvSpPr>
        <p:spPr>
          <a:xfrm>
            <a:off x="2" y="1563078"/>
            <a:ext cx="7737229" cy="5294921"/>
          </a:xfrm>
          <a:solidFill>
            <a:srgbClr val="ECE0E0"/>
          </a:solidFill>
        </p:spPr>
        <p:txBody>
          <a:bodyPr lIns="502920" tIns="274320" rIns="457200" bIns="457200"/>
          <a:lstStyle>
            <a:lvl1pPr marL="0" indent="0">
              <a:lnSpc>
                <a:spcPct val="100000"/>
              </a:lnSpc>
              <a:buNone/>
              <a:defRPr sz="4000">
                <a:solidFill>
                  <a:schemeClr val="tx2"/>
                </a:solidFill>
                <a:latin typeface="+mj-lt"/>
              </a:defRPr>
            </a:lvl1pPr>
            <a:lvl2pPr marL="0" indent="0">
              <a:spcBef>
                <a:spcPts val="1200"/>
              </a:spcBef>
              <a:buNone/>
              <a:defRPr sz="2000">
                <a:solidFill>
                  <a:schemeClr val="tx2"/>
                </a:solidFill>
                <a:latin typeface="+mj-lt"/>
              </a:defRPr>
            </a:lvl2pPr>
            <a:lvl3pPr marL="609585" indent="0">
              <a:buNone/>
              <a:defRPr>
                <a:solidFill>
                  <a:schemeClr val="bg1"/>
                </a:solidFill>
                <a:latin typeface="+mj-lt"/>
              </a:defRPr>
            </a:lvl3pPr>
            <a:lvl4pPr marL="922844" indent="0">
              <a:buNone/>
              <a:defRPr>
                <a:solidFill>
                  <a:schemeClr val="bg1"/>
                </a:solidFill>
                <a:latin typeface="+mj-lt"/>
              </a:defRPr>
            </a:lvl4pPr>
            <a:lvl5pPr marL="1219170" indent="0">
              <a:buNone/>
              <a:defRPr>
                <a:solidFill>
                  <a:schemeClr val="bg1"/>
                </a:solidFill>
                <a:latin typeface="+mj-lt"/>
              </a:defRPr>
            </a:lvl5pPr>
          </a:lstStyle>
          <a:p>
            <a:pPr lvl="0"/>
            <a:r>
              <a:rPr lang="en-US"/>
              <a:t>Edit Master text styles</a:t>
            </a:r>
          </a:p>
          <a:p>
            <a:pPr lvl="1"/>
            <a:r>
              <a:rPr lang="en-US"/>
              <a:t>Second level</a:t>
            </a:r>
          </a:p>
        </p:txBody>
      </p:sp>
      <p:sp>
        <p:nvSpPr>
          <p:cNvPr id="3" name="Subtitle 2"/>
          <p:cNvSpPr>
            <a:spLocks noGrp="1"/>
          </p:cNvSpPr>
          <p:nvPr>
            <p:ph type="subTitle" idx="1"/>
          </p:nvPr>
        </p:nvSpPr>
        <p:spPr>
          <a:xfrm>
            <a:off x="701040" y="4738102"/>
            <a:ext cx="6461760" cy="225639"/>
          </a:xfrm>
        </p:spPr>
        <p:txBody>
          <a:bodyPr anchor="b" anchorCtr="0">
            <a:spAutoFit/>
          </a:bodyPr>
          <a:lstStyle>
            <a:lvl1pPr marL="0" indent="0" algn="l">
              <a:buNone/>
              <a:defRPr sz="1333" i="1">
                <a:solidFill>
                  <a:schemeClr val="tx1"/>
                </a:solidFill>
                <a:latin typeface="+mj-l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
        <p:nvSpPr>
          <p:cNvPr id="9" name="Freeform 5">
            <a:extLst>
              <a:ext uri="{FF2B5EF4-FFF2-40B4-BE49-F238E27FC236}">
                <a16:creationId xmlns:a16="http://schemas.microsoft.com/office/drawing/2014/main" id="{6EF64205-A64B-4137-BA41-5E5CFE0F359E}"/>
              </a:ext>
            </a:extLst>
          </p:cNvPr>
          <p:cNvSpPr>
            <a:spLocks noEditPoints="1"/>
          </p:cNvSpPr>
          <p:nvPr/>
        </p:nvSpPr>
        <p:spPr bwMode="auto">
          <a:xfrm>
            <a:off x="643609" y="578451"/>
            <a:ext cx="2922943" cy="547357"/>
          </a:xfrm>
          <a:custGeom>
            <a:avLst/>
            <a:gdLst>
              <a:gd name="T0" fmla="*/ 225 w 1440"/>
              <a:gd name="T1" fmla="*/ 110 h 267"/>
              <a:gd name="T2" fmla="*/ 317 w 1440"/>
              <a:gd name="T3" fmla="*/ 7 h 267"/>
              <a:gd name="T4" fmla="*/ 475 w 1440"/>
              <a:gd name="T5" fmla="*/ 19 h 267"/>
              <a:gd name="T6" fmla="*/ 830 w 1440"/>
              <a:gd name="T7" fmla="*/ 7 h 267"/>
              <a:gd name="T8" fmla="*/ 130 w 1440"/>
              <a:gd name="T9" fmla="*/ 210 h 267"/>
              <a:gd name="T10" fmla="*/ 437 w 1440"/>
              <a:gd name="T11" fmla="*/ 209 h 267"/>
              <a:gd name="T12" fmla="*/ 493 w 1440"/>
              <a:gd name="T13" fmla="*/ 198 h 267"/>
              <a:gd name="T14" fmla="*/ 866 w 1440"/>
              <a:gd name="T15" fmla="*/ 171 h 267"/>
              <a:gd name="T16" fmla="*/ 737 w 1440"/>
              <a:gd name="T17" fmla="*/ 261 h 267"/>
              <a:gd name="T18" fmla="*/ 958 w 1440"/>
              <a:gd name="T19" fmla="*/ 172 h 267"/>
              <a:gd name="T20" fmla="*/ 906 w 1440"/>
              <a:gd name="T21" fmla="*/ 254 h 267"/>
              <a:gd name="T22" fmla="*/ 309 w 1440"/>
              <a:gd name="T23" fmla="*/ 260 h 267"/>
              <a:gd name="T24" fmla="*/ 1053 w 1440"/>
              <a:gd name="T25" fmla="*/ 31 h 267"/>
              <a:gd name="T26" fmla="*/ 1075 w 1440"/>
              <a:gd name="T27" fmla="*/ 44 h 267"/>
              <a:gd name="T28" fmla="*/ 1091 w 1440"/>
              <a:gd name="T29" fmla="*/ 22 h 267"/>
              <a:gd name="T30" fmla="*/ 1107 w 1440"/>
              <a:gd name="T31" fmla="*/ 27 h 267"/>
              <a:gd name="T32" fmla="*/ 1125 w 1440"/>
              <a:gd name="T33" fmla="*/ 55 h 267"/>
              <a:gd name="T34" fmla="*/ 1159 w 1440"/>
              <a:gd name="T35" fmla="*/ 53 h 267"/>
              <a:gd name="T36" fmla="*/ 1160 w 1440"/>
              <a:gd name="T37" fmla="*/ 57 h 267"/>
              <a:gd name="T38" fmla="*/ 1177 w 1440"/>
              <a:gd name="T39" fmla="*/ 23 h 267"/>
              <a:gd name="T40" fmla="*/ 1207 w 1440"/>
              <a:gd name="T41" fmla="*/ 58 h 267"/>
              <a:gd name="T42" fmla="*/ 1245 w 1440"/>
              <a:gd name="T43" fmla="*/ 27 h 267"/>
              <a:gd name="T44" fmla="*/ 1225 w 1440"/>
              <a:gd name="T45" fmla="*/ 43 h 267"/>
              <a:gd name="T46" fmla="*/ 1271 w 1440"/>
              <a:gd name="T47" fmla="*/ 19 h 267"/>
              <a:gd name="T48" fmla="*/ 1259 w 1440"/>
              <a:gd name="T49" fmla="*/ 32 h 267"/>
              <a:gd name="T50" fmla="*/ 1290 w 1440"/>
              <a:gd name="T51" fmla="*/ 54 h 267"/>
              <a:gd name="T52" fmla="*/ 1310 w 1440"/>
              <a:gd name="T53" fmla="*/ 25 h 267"/>
              <a:gd name="T54" fmla="*/ 1059 w 1440"/>
              <a:gd name="T55" fmla="*/ 110 h 267"/>
              <a:gd name="T56" fmla="*/ 1099 w 1440"/>
              <a:gd name="T57" fmla="*/ 134 h 267"/>
              <a:gd name="T58" fmla="*/ 1120 w 1440"/>
              <a:gd name="T59" fmla="*/ 156 h 267"/>
              <a:gd name="T60" fmla="*/ 1141 w 1440"/>
              <a:gd name="T61" fmla="*/ 123 h 267"/>
              <a:gd name="T62" fmla="*/ 1148 w 1440"/>
              <a:gd name="T63" fmla="*/ 175 h 267"/>
              <a:gd name="T64" fmla="*/ 1184 w 1440"/>
              <a:gd name="T65" fmla="*/ 119 h 267"/>
              <a:gd name="T66" fmla="*/ 1181 w 1440"/>
              <a:gd name="T67" fmla="*/ 153 h 267"/>
              <a:gd name="T68" fmla="*/ 1201 w 1440"/>
              <a:gd name="T69" fmla="*/ 125 h 267"/>
              <a:gd name="T70" fmla="*/ 1230 w 1440"/>
              <a:gd name="T71" fmla="*/ 157 h 267"/>
              <a:gd name="T72" fmla="*/ 1260 w 1440"/>
              <a:gd name="T73" fmla="*/ 154 h 267"/>
              <a:gd name="T74" fmla="*/ 1261 w 1440"/>
              <a:gd name="T75" fmla="*/ 158 h 267"/>
              <a:gd name="T76" fmla="*/ 1284 w 1440"/>
              <a:gd name="T77" fmla="*/ 152 h 267"/>
              <a:gd name="T78" fmla="*/ 1294 w 1440"/>
              <a:gd name="T79" fmla="*/ 123 h 267"/>
              <a:gd name="T80" fmla="*/ 1317 w 1440"/>
              <a:gd name="T81" fmla="*/ 125 h 267"/>
              <a:gd name="T82" fmla="*/ 1342 w 1440"/>
              <a:gd name="T83" fmla="*/ 121 h 267"/>
              <a:gd name="T84" fmla="*/ 1351 w 1440"/>
              <a:gd name="T85" fmla="*/ 112 h 267"/>
              <a:gd name="T86" fmla="*/ 1364 w 1440"/>
              <a:gd name="T87" fmla="*/ 159 h 267"/>
              <a:gd name="T88" fmla="*/ 1399 w 1440"/>
              <a:gd name="T89" fmla="*/ 156 h 267"/>
              <a:gd name="T90" fmla="*/ 1432 w 1440"/>
              <a:gd name="T91" fmla="*/ 120 h 267"/>
              <a:gd name="T92" fmla="*/ 1410 w 1440"/>
              <a:gd name="T93" fmla="*/ 176 h 267"/>
              <a:gd name="T94" fmla="*/ 1076 w 1440"/>
              <a:gd name="T95" fmla="*/ 242 h 267"/>
              <a:gd name="T96" fmla="*/ 1062 w 1440"/>
              <a:gd name="T97" fmla="*/ 225 h 267"/>
              <a:gd name="T98" fmla="*/ 1091 w 1440"/>
              <a:gd name="T99" fmla="*/ 208 h 267"/>
              <a:gd name="T100" fmla="*/ 1112 w 1440"/>
              <a:gd name="T101" fmla="*/ 233 h 267"/>
              <a:gd name="T102" fmla="*/ 1128 w 1440"/>
              <a:gd name="T103" fmla="*/ 224 h 267"/>
              <a:gd name="T104" fmla="*/ 1168 w 1440"/>
              <a:gd name="T105" fmla="*/ 255 h 267"/>
              <a:gd name="T106" fmla="*/ 1154 w 1440"/>
              <a:gd name="T107" fmla="*/ 236 h 267"/>
              <a:gd name="T108" fmla="*/ 1203 w 1440"/>
              <a:gd name="T109" fmla="*/ 256 h 267"/>
              <a:gd name="T110" fmla="*/ 1200 w 1440"/>
              <a:gd name="T111" fmla="*/ 213 h 267"/>
              <a:gd name="T112" fmla="*/ 1227 w 1440"/>
              <a:gd name="T113" fmla="*/ 256 h 267"/>
              <a:gd name="T114" fmla="*/ 1249 w 1440"/>
              <a:gd name="T115" fmla="*/ 260 h 267"/>
              <a:gd name="T116" fmla="*/ 1255 w 1440"/>
              <a:gd name="T117" fmla="*/ 205 h 267"/>
              <a:gd name="T118" fmla="*/ 1297 w 1440"/>
              <a:gd name="T119" fmla="*/ 226 h 267"/>
              <a:gd name="T120" fmla="*/ 1303 w 1440"/>
              <a:gd name="T121" fmla="*/ 243 h 267"/>
              <a:gd name="T122" fmla="*/ 1344 w 1440"/>
              <a:gd name="T123" fmla="*/ 229 h 267"/>
              <a:gd name="T124" fmla="*/ 1328 w 1440"/>
              <a:gd name="T125" fmla="*/ 239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440" h="267">
                <a:moveTo>
                  <a:pt x="17" y="110"/>
                </a:moveTo>
                <a:cubicBezTo>
                  <a:pt x="3" y="110"/>
                  <a:pt x="3" y="110"/>
                  <a:pt x="3" y="110"/>
                </a:cubicBezTo>
                <a:cubicBezTo>
                  <a:pt x="3" y="1"/>
                  <a:pt x="3" y="1"/>
                  <a:pt x="3" y="1"/>
                </a:cubicBezTo>
                <a:cubicBezTo>
                  <a:pt x="81" y="83"/>
                  <a:pt x="81" y="83"/>
                  <a:pt x="81" y="83"/>
                </a:cubicBezTo>
                <a:cubicBezTo>
                  <a:pt x="81" y="7"/>
                  <a:pt x="81" y="7"/>
                  <a:pt x="81" y="7"/>
                </a:cubicBezTo>
                <a:cubicBezTo>
                  <a:pt x="95" y="7"/>
                  <a:pt x="95" y="7"/>
                  <a:pt x="95" y="7"/>
                </a:cubicBezTo>
                <a:cubicBezTo>
                  <a:pt x="95" y="117"/>
                  <a:pt x="95" y="117"/>
                  <a:pt x="95" y="117"/>
                </a:cubicBezTo>
                <a:cubicBezTo>
                  <a:pt x="17" y="35"/>
                  <a:pt x="17" y="35"/>
                  <a:pt x="17" y="35"/>
                </a:cubicBezTo>
                <a:lnTo>
                  <a:pt x="17" y="110"/>
                </a:lnTo>
                <a:close/>
                <a:moveTo>
                  <a:pt x="130" y="110"/>
                </a:moveTo>
                <a:cubicBezTo>
                  <a:pt x="145" y="110"/>
                  <a:pt x="145" y="110"/>
                  <a:pt x="145" y="110"/>
                </a:cubicBezTo>
                <a:cubicBezTo>
                  <a:pt x="178" y="33"/>
                  <a:pt x="178" y="33"/>
                  <a:pt x="178" y="33"/>
                </a:cubicBezTo>
                <a:cubicBezTo>
                  <a:pt x="210" y="109"/>
                  <a:pt x="210" y="109"/>
                  <a:pt x="210" y="109"/>
                </a:cubicBezTo>
                <a:cubicBezTo>
                  <a:pt x="210" y="110"/>
                  <a:pt x="210" y="110"/>
                  <a:pt x="210" y="110"/>
                </a:cubicBezTo>
                <a:cubicBezTo>
                  <a:pt x="225" y="110"/>
                  <a:pt x="225" y="110"/>
                  <a:pt x="225" y="110"/>
                </a:cubicBezTo>
                <a:cubicBezTo>
                  <a:pt x="178" y="0"/>
                  <a:pt x="178" y="0"/>
                  <a:pt x="178" y="0"/>
                </a:cubicBezTo>
                <a:lnTo>
                  <a:pt x="130" y="110"/>
                </a:lnTo>
                <a:close/>
                <a:moveTo>
                  <a:pt x="700" y="110"/>
                </a:moveTo>
                <a:cubicBezTo>
                  <a:pt x="715" y="110"/>
                  <a:pt x="715" y="110"/>
                  <a:pt x="715" y="110"/>
                </a:cubicBezTo>
                <a:cubicBezTo>
                  <a:pt x="748" y="33"/>
                  <a:pt x="748" y="33"/>
                  <a:pt x="748" y="33"/>
                </a:cubicBezTo>
                <a:cubicBezTo>
                  <a:pt x="780" y="109"/>
                  <a:pt x="780" y="109"/>
                  <a:pt x="780" y="109"/>
                </a:cubicBezTo>
                <a:cubicBezTo>
                  <a:pt x="780" y="110"/>
                  <a:pt x="780" y="110"/>
                  <a:pt x="780" y="110"/>
                </a:cubicBezTo>
                <a:cubicBezTo>
                  <a:pt x="795" y="110"/>
                  <a:pt x="795" y="110"/>
                  <a:pt x="795" y="110"/>
                </a:cubicBezTo>
                <a:cubicBezTo>
                  <a:pt x="748" y="0"/>
                  <a:pt x="748" y="0"/>
                  <a:pt x="748" y="0"/>
                </a:cubicBezTo>
                <a:lnTo>
                  <a:pt x="700" y="110"/>
                </a:lnTo>
                <a:close/>
                <a:moveTo>
                  <a:pt x="273" y="110"/>
                </a:moveTo>
                <a:cubicBezTo>
                  <a:pt x="286" y="110"/>
                  <a:pt x="286" y="110"/>
                  <a:pt x="286" y="110"/>
                </a:cubicBezTo>
                <a:cubicBezTo>
                  <a:pt x="286" y="20"/>
                  <a:pt x="286" y="20"/>
                  <a:pt x="286" y="20"/>
                </a:cubicBezTo>
                <a:cubicBezTo>
                  <a:pt x="317" y="20"/>
                  <a:pt x="317" y="20"/>
                  <a:pt x="317" y="20"/>
                </a:cubicBezTo>
                <a:cubicBezTo>
                  <a:pt x="317" y="7"/>
                  <a:pt x="317" y="7"/>
                  <a:pt x="317" y="7"/>
                </a:cubicBezTo>
                <a:cubicBezTo>
                  <a:pt x="242" y="7"/>
                  <a:pt x="242" y="7"/>
                  <a:pt x="242" y="7"/>
                </a:cubicBezTo>
                <a:cubicBezTo>
                  <a:pt x="242" y="20"/>
                  <a:pt x="242" y="20"/>
                  <a:pt x="242" y="20"/>
                </a:cubicBezTo>
                <a:cubicBezTo>
                  <a:pt x="273" y="20"/>
                  <a:pt x="273" y="20"/>
                  <a:pt x="273" y="20"/>
                </a:cubicBezTo>
                <a:lnTo>
                  <a:pt x="273" y="110"/>
                </a:lnTo>
                <a:close/>
                <a:moveTo>
                  <a:pt x="374" y="7"/>
                </a:moveTo>
                <a:cubicBezTo>
                  <a:pt x="360" y="7"/>
                  <a:pt x="360" y="7"/>
                  <a:pt x="360" y="7"/>
                </a:cubicBezTo>
                <a:cubicBezTo>
                  <a:pt x="360" y="110"/>
                  <a:pt x="360" y="110"/>
                  <a:pt x="360" y="110"/>
                </a:cubicBezTo>
                <a:cubicBezTo>
                  <a:pt x="374" y="110"/>
                  <a:pt x="374" y="110"/>
                  <a:pt x="374" y="110"/>
                </a:cubicBezTo>
                <a:lnTo>
                  <a:pt x="374" y="7"/>
                </a:lnTo>
                <a:close/>
                <a:moveTo>
                  <a:pt x="475" y="112"/>
                </a:moveTo>
                <a:cubicBezTo>
                  <a:pt x="445" y="112"/>
                  <a:pt x="421" y="88"/>
                  <a:pt x="421" y="59"/>
                </a:cubicBezTo>
                <a:cubicBezTo>
                  <a:pt x="421" y="29"/>
                  <a:pt x="445" y="5"/>
                  <a:pt x="475" y="5"/>
                </a:cubicBezTo>
                <a:cubicBezTo>
                  <a:pt x="505" y="5"/>
                  <a:pt x="528" y="29"/>
                  <a:pt x="528" y="59"/>
                </a:cubicBezTo>
                <a:cubicBezTo>
                  <a:pt x="528" y="88"/>
                  <a:pt x="505" y="112"/>
                  <a:pt x="475" y="112"/>
                </a:cubicBezTo>
                <a:close/>
                <a:moveTo>
                  <a:pt x="475" y="19"/>
                </a:moveTo>
                <a:cubicBezTo>
                  <a:pt x="453" y="19"/>
                  <a:pt x="435" y="37"/>
                  <a:pt x="435" y="59"/>
                </a:cubicBezTo>
                <a:cubicBezTo>
                  <a:pt x="435" y="81"/>
                  <a:pt x="453" y="99"/>
                  <a:pt x="475" y="99"/>
                </a:cubicBezTo>
                <a:cubicBezTo>
                  <a:pt x="497" y="99"/>
                  <a:pt x="514" y="81"/>
                  <a:pt x="514" y="59"/>
                </a:cubicBezTo>
                <a:cubicBezTo>
                  <a:pt x="514" y="37"/>
                  <a:pt x="497" y="19"/>
                  <a:pt x="475" y="19"/>
                </a:cubicBezTo>
                <a:close/>
                <a:moveTo>
                  <a:pt x="586" y="35"/>
                </a:moveTo>
                <a:cubicBezTo>
                  <a:pt x="664" y="117"/>
                  <a:pt x="664" y="117"/>
                  <a:pt x="664" y="117"/>
                </a:cubicBezTo>
                <a:cubicBezTo>
                  <a:pt x="664" y="7"/>
                  <a:pt x="664" y="7"/>
                  <a:pt x="664" y="7"/>
                </a:cubicBezTo>
                <a:cubicBezTo>
                  <a:pt x="650" y="7"/>
                  <a:pt x="650" y="7"/>
                  <a:pt x="650" y="7"/>
                </a:cubicBezTo>
                <a:cubicBezTo>
                  <a:pt x="650" y="83"/>
                  <a:pt x="650" y="83"/>
                  <a:pt x="650" y="83"/>
                </a:cubicBezTo>
                <a:cubicBezTo>
                  <a:pt x="572" y="1"/>
                  <a:pt x="572" y="1"/>
                  <a:pt x="572" y="1"/>
                </a:cubicBezTo>
                <a:cubicBezTo>
                  <a:pt x="572" y="110"/>
                  <a:pt x="572" y="110"/>
                  <a:pt x="572" y="110"/>
                </a:cubicBezTo>
                <a:cubicBezTo>
                  <a:pt x="586" y="110"/>
                  <a:pt x="586" y="110"/>
                  <a:pt x="586" y="110"/>
                </a:cubicBezTo>
                <a:lnTo>
                  <a:pt x="586" y="35"/>
                </a:lnTo>
                <a:close/>
                <a:moveTo>
                  <a:pt x="843" y="7"/>
                </a:moveTo>
                <a:cubicBezTo>
                  <a:pt x="830" y="7"/>
                  <a:pt x="830" y="7"/>
                  <a:pt x="830" y="7"/>
                </a:cubicBezTo>
                <a:cubicBezTo>
                  <a:pt x="830" y="110"/>
                  <a:pt x="830" y="110"/>
                  <a:pt x="830" y="110"/>
                </a:cubicBezTo>
                <a:cubicBezTo>
                  <a:pt x="885" y="110"/>
                  <a:pt x="885" y="110"/>
                  <a:pt x="885" y="110"/>
                </a:cubicBezTo>
                <a:cubicBezTo>
                  <a:pt x="885" y="97"/>
                  <a:pt x="885" y="97"/>
                  <a:pt x="885" y="97"/>
                </a:cubicBezTo>
                <a:cubicBezTo>
                  <a:pt x="843" y="97"/>
                  <a:pt x="843" y="97"/>
                  <a:pt x="843" y="97"/>
                </a:cubicBezTo>
                <a:lnTo>
                  <a:pt x="843" y="7"/>
                </a:lnTo>
                <a:close/>
                <a:moveTo>
                  <a:pt x="169" y="156"/>
                </a:moveTo>
                <a:cubicBezTo>
                  <a:pt x="139" y="156"/>
                  <a:pt x="116" y="179"/>
                  <a:pt x="116" y="209"/>
                </a:cubicBezTo>
                <a:cubicBezTo>
                  <a:pt x="116" y="240"/>
                  <a:pt x="139" y="262"/>
                  <a:pt x="169" y="262"/>
                </a:cubicBezTo>
                <a:cubicBezTo>
                  <a:pt x="175" y="262"/>
                  <a:pt x="188" y="261"/>
                  <a:pt x="200" y="252"/>
                </a:cubicBezTo>
                <a:cubicBezTo>
                  <a:pt x="200" y="252"/>
                  <a:pt x="200" y="252"/>
                  <a:pt x="200" y="252"/>
                </a:cubicBezTo>
                <a:cubicBezTo>
                  <a:pt x="200" y="234"/>
                  <a:pt x="200" y="234"/>
                  <a:pt x="200" y="234"/>
                </a:cubicBezTo>
                <a:cubicBezTo>
                  <a:pt x="198" y="236"/>
                  <a:pt x="198" y="236"/>
                  <a:pt x="198" y="236"/>
                </a:cubicBezTo>
                <a:cubicBezTo>
                  <a:pt x="196" y="239"/>
                  <a:pt x="192" y="242"/>
                  <a:pt x="187" y="245"/>
                </a:cubicBezTo>
                <a:cubicBezTo>
                  <a:pt x="181" y="247"/>
                  <a:pt x="175" y="249"/>
                  <a:pt x="169" y="249"/>
                </a:cubicBezTo>
                <a:cubicBezTo>
                  <a:pt x="142" y="249"/>
                  <a:pt x="130" y="226"/>
                  <a:pt x="130" y="210"/>
                </a:cubicBezTo>
                <a:cubicBezTo>
                  <a:pt x="130" y="187"/>
                  <a:pt x="147" y="169"/>
                  <a:pt x="169" y="169"/>
                </a:cubicBezTo>
                <a:cubicBezTo>
                  <a:pt x="174" y="169"/>
                  <a:pt x="180" y="170"/>
                  <a:pt x="185" y="173"/>
                </a:cubicBezTo>
                <a:cubicBezTo>
                  <a:pt x="190" y="175"/>
                  <a:pt x="194" y="178"/>
                  <a:pt x="198" y="182"/>
                </a:cubicBezTo>
                <a:cubicBezTo>
                  <a:pt x="200" y="184"/>
                  <a:pt x="200" y="184"/>
                  <a:pt x="200" y="184"/>
                </a:cubicBezTo>
                <a:cubicBezTo>
                  <a:pt x="200" y="166"/>
                  <a:pt x="200" y="166"/>
                  <a:pt x="200" y="166"/>
                </a:cubicBezTo>
                <a:cubicBezTo>
                  <a:pt x="200" y="166"/>
                  <a:pt x="200" y="166"/>
                  <a:pt x="200" y="166"/>
                </a:cubicBezTo>
                <a:cubicBezTo>
                  <a:pt x="191" y="159"/>
                  <a:pt x="181" y="156"/>
                  <a:pt x="169" y="156"/>
                </a:cubicBezTo>
                <a:close/>
                <a:moveTo>
                  <a:pt x="437" y="209"/>
                </a:moveTo>
                <a:cubicBezTo>
                  <a:pt x="437" y="225"/>
                  <a:pt x="431" y="238"/>
                  <a:pt x="419" y="249"/>
                </a:cubicBezTo>
                <a:cubicBezTo>
                  <a:pt x="409" y="257"/>
                  <a:pt x="399" y="261"/>
                  <a:pt x="382" y="261"/>
                </a:cubicBezTo>
                <a:cubicBezTo>
                  <a:pt x="360" y="261"/>
                  <a:pt x="360" y="261"/>
                  <a:pt x="360" y="261"/>
                </a:cubicBezTo>
                <a:cubicBezTo>
                  <a:pt x="360" y="157"/>
                  <a:pt x="360" y="157"/>
                  <a:pt x="360" y="157"/>
                </a:cubicBezTo>
                <a:cubicBezTo>
                  <a:pt x="382" y="157"/>
                  <a:pt x="382" y="157"/>
                  <a:pt x="382" y="157"/>
                </a:cubicBezTo>
                <a:cubicBezTo>
                  <a:pt x="393" y="157"/>
                  <a:pt x="407" y="159"/>
                  <a:pt x="420" y="170"/>
                </a:cubicBezTo>
                <a:cubicBezTo>
                  <a:pt x="426" y="175"/>
                  <a:pt x="437" y="187"/>
                  <a:pt x="437" y="209"/>
                </a:cubicBezTo>
                <a:close/>
                <a:moveTo>
                  <a:pt x="423" y="209"/>
                </a:moveTo>
                <a:cubicBezTo>
                  <a:pt x="423" y="186"/>
                  <a:pt x="407" y="171"/>
                  <a:pt x="382" y="171"/>
                </a:cubicBezTo>
                <a:cubicBezTo>
                  <a:pt x="374" y="171"/>
                  <a:pt x="374" y="171"/>
                  <a:pt x="374" y="171"/>
                </a:cubicBezTo>
                <a:cubicBezTo>
                  <a:pt x="374" y="247"/>
                  <a:pt x="374" y="247"/>
                  <a:pt x="374" y="247"/>
                </a:cubicBezTo>
                <a:cubicBezTo>
                  <a:pt x="382" y="247"/>
                  <a:pt x="382" y="247"/>
                  <a:pt x="382" y="247"/>
                </a:cubicBezTo>
                <a:cubicBezTo>
                  <a:pt x="390" y="247"/>
                  <a:pt x="401" y="246"/>
                  <a:pt x="410" y="239"/>
                </a:cubicBezTo>
                <a:cubicBezTo>
                  <a:pt x="416" y="234"/>
                  <a:pt x="423" y="224"/>
                  <a:pt x="423" y="209"/>
                </a:cubicBezTo>
                <a:close/>
                <a:moveTo>
                  <a:pt x="479" y="261"/>
                </a:moveTo>
                <a:cubicBezTo>
                  <a:pt x="541" y="261"/>
                  <a:pt x="541" y="261"/>
                  <a:pt x="541" y="261"/>
                </a:cubicBezTo>
                <a:cubicBezTo>
                  <a:pt x="541" y="247"/>
                  <a:pt x="541" y="247"/>
                  <a:pt x="541" y="247"/>
                </a:cubicBezTo>
                <a:cubicBezTo>
                  <a:pt x="493" y="247"/>
                  <a:pt x="493" y="247"/>
                  <a:pt x="493" y="247"/>
                </a:cubicBezTo>
                <a:cubicBezTo>
                  <a:pt x="493" y="211"/>
                  <a:pt x="493" y="211"/>
                  <a:pt x="493" y="211"/>
                </a:cubicBezTo>
                <a:cubicBezTo>
                  <a:pt x="535" y="211"/>
                  <a:pt x="535" y="211"/>
                  <a:pt x="535" y="211"/>
                </a:cubicBezTo>
                <a:cubicBezTo>
                  <a:pt x="535" y="198"/>
                  <a:pt x="535" y="198"/>
                  <a:pt x="535" y="198"/>
                </a:cubicBezTo>
                <a:cubicBezTo>
                  <a:pt x="493" y="198"/>
                  <a:pt x="493" y="198"/>
                  <a:pt x="493" y="198"/>
                </a:cubicBezTo>
                <a:cubicBezTo>
                  <a:pt x="493" y="171"/>
                  <a:pt x="493" y="171"/>
                  <a:pt x="493" y="171"/>
                </a:cubicBezTo>
                <a:cubicBezTo>
                  <a:pt x="541" y="171"/>
                  <a:pt x="541" y="171"/>
                  <a:pt x="541" y="171"/>
                </a:cubicBezTo>
                <a:cubicBezTo>
                  <a:pt x="541" y="157"/>
                  <a:pt x="541" y="157"/>
                  <a:pt x="541" y="157"/>
                </a:cubicBezTo>
                <a:cubicBezTo>
                  <a:pt x="479" y="157"/>
                  <a:pt x="479" y="157"/>
                  <a:pt x="479" y="157"/>
                </a:cubicBezTo>
                <a:lnTo>
                  <a:pt x="479" y="261"/>
                </a:lnTo>
                <a:close/>
                <a:moveTo>
                  <a:pt x="805" y="261"/>
                </a:moveTo>
                <a:cubicBezTo>
                  <a:pt x="866" y="261"/>
                  <a:pt x="866" y="261"/>
                  <a:pt x="866" y="261"/>
                </a:cubicBezTo>
                <a:cubicBezTo>
                  <a:pt x="866" y="247"/>
                  <a:pt x="866" y="247"/>
                  <a:pt x="866" y="247"/>
                </a:cubicBezTo>
                <a:cubicBezTo>
                  <a:pt x="819" y="247"/>
                  <a:pt x="819" y="247"/>
                  <a:pt x="819" y="247"/>
                </a:cubicBezTo>
                <a:cubicBezTo>
                  <a:pt x="819" y="211"/>
                  <a:pt x="819" y="211"/>
                  <a:pt x="819" y="211"/>
                </a:cubicBezTo>
                <a:cubicBezTo>
                  <a:pt x="860" y="211"/>
                  <a:pt x="860" y="211"/>
                  <a:pt x="860" y="211"/>
                </a:cubicBezTo>
                <a:cubicBezTo>
                  <a:pt x="860" y="198"/>
                  <a:pt x="860" y="198"/>
                  <a:pt x="860" y="198"/>
                </a:cubicBezTo>
                <a:cubicBezTo>
                  <a:pt x="819" y="198"/>
                  <a:pt x="819" y="198"/>
                  <a:pt x="819" y="198"/>
                </a:cubicBezTo>
                <a:cubicBezTo>
                  <a:pt x="819" y="171"/>
                  <a:pt x="819" y="171"/>
                  <a:pt x="819" y="171"/>
                </a:cubicBezTo>
                <a:cubicBezTo>
                  <a:pt x="866" y="171"/>
                  <a:pt x="866" y="171"/>
                  <a:pt x="866" y="171"/>
                </a:cubicBezTo>
                <a:cubicBezTo>
                  <a:pt x="866" y="157"/>
                  <a:pt x="866" y="157"/>
                  <a:pt x="866" y="157"/>
                </a:cubicBezTo>
                <a:cubicBezTo>
                  <a:pt x="805" y="157"/>
                  <a:pt x="805" y="157"/>
                  <a:pt x="805" y="157"/>
                </a:cubicBezTo>
                <a:lnTo>
                  <a:pt x="805" y="261"/>
                </a:lnTo>
                <a:close/>
                <a:moveTo>
                  <a:pt x="634" y="235"/>
                </a:moveTo>
                <a:cubicBezTo>
                  <a:pt x="595" y="149"/>
                  <a:pt x="595" y="149"/>
                  <a:pt x="595" y="149"/>
                </a:cubicBezTo>
                <a:cubicBezTo>
                  <a:pt x="578" y="261"/>
                  <a:pt x="578" y="261"/>
                  <a:pt x="578" y="261"/>
                </a:cubicBezTo>
                <a:cubicBezTo>
                  <a:pt x="592" y="261"/>
                  <a:pt x="592" y="261"/>
                  <a:pt x="592" y="261"/>
                </a:cubicBezTo>
                <a:cubicBezTo>
                  <a:pt x="601" y="194"/>
                  <a:pt x="601" y="194"/>
                  <a:pt x="601" y="194"/>
                </a:cubicBezTo>
                <a:cubicBezTo>
                  <a:pt x="634" y="267"/>
                  <a:pt x="634" y="267"/>
                  <a:pt x="634" y="267"/>
                </a:cubicBezTo>
                <a:cubicBezTo>
                  <a:pt x="668" y="194"/>
                  <a:pt x="668" y="194"/>
                  <a:pt x="668" y="194"/>
                </a:cubicBezTo>
                <a:cubicBezTo>
                  <a:pt x="677" y="261"/>
                  <a:pt x="677" y="261"/>
                  <a:pt x="677" y="261"/>
                </a:cubicBezTo>
                <a:cubicBezTo>
                  <a:pt x="691" y="261"/>
                  <a:pt x="691" y="261"/>
                  <a:pt x="691" y="261"/>
                </a:cubicBezTo>
                <a:cubicBezTo>
                  <a:pt x="674" y="148"/>
                  <a:pt x="674" y="148"/>
                  <a:pt x="674" y="148"/>
                </a:cubicBezTo>
                <a:lnTo>
                  <a:pt x="634" y="235"/>
                </a:lnTo>
                <a:close/>
                <a:moveTo>
                  <a:pt x="737" y="261"/>
                </a:moveTo>
                <a:cubicBezTo>
                  <a:pt x="751" y="261"/>
                  <a:pt x="751" y="261"/>
                  <a:pt x="751" y="261"/>
                </a:cubicBezTo>
                <a:cubicBezTo>
                  <a:pt x="751" y="157"/>
                  <a:pt x="751" y="157"/>
                  <a:pt x="751" y="157"/>
                </a:cubicBezTo>
                <a:cubicBezTo>
                  <a:pt x="737" y="157"/>
                  <a:pt x="737" y="157"/>
                  <a:pt x="737" y="157"/>
                </a:cubicBezTo>
                <a:lnTo>
                  <a:pt x="737" y="261"/>
                </a:lnTo>
                <a:close/>
                <a:moveTo>
                  <a:pt x="955" y="211"/>
                </a:moveTo>
                <a:cubicBezTo>
                  <a:pt x="950" y="207"/>
                  <a:pt x="945" y="204"/>
                  <a:pt x="939" y="201"/>
                </a:cubicBezTo>
                <a:cubicBezTo>
                  <a:pt x="929" y="197"/>
                  <a:pt x="929" y="197"/>
                  <a:pt x="929" y="197"/>
                </a:cubicBezTo>
                <a:cubicBezTo>
                  <a:pt x="925" y="195"/>
                  <a:pt x="922" y="194"/>
                  <a:pt x="919" y="191"/>
                </a:cubicBezTo>
                <a:cubicBezTo>
                  <a:pt x="916" y="189"/>
                  <a:pt x="916" y="187"/>
                  <a:pt x="916" y="183"/>
                </a:cubicBezTo>
                <a:cubicBezTo>
                  <a:pt x="916" y="175"/>
                  <a:pt x="922" y="169"/>
                  <a:pt x="931" y="169"/>
                </a:cubicBezTo>
                <a:cubicBezTo>
                  <a:pt x="936" y="169"/>
                  <a:pt x="940" y="171"/>
                  <a:pt x="942" y="172"/>
                </a:cubicBezTo>
                <a:cubicBezTo>
                  <a:pt x="944" y="174"/>
                  <a:pt x="946" y="177"/>
                  <a:pt x="947" y="179"/>
                </a:cubicBezTo>
                <a:cubicBezTo>
                  <a:pt x="948" y="181"/>
                  <a:pt x="948" y="181"/>
                  <a:pt x="948" y="181"/>
                </a:cubicBezTo>
                <a:cubicBezTo>
                  <a:pt x="959" y="173"/>
                  <a:pt x="959" y="173"/>
                  <a:pt x="959" y="173"/>
                </a:cubicBezTo>
                <a:cubicBezTo>
                  <a:pt x="958" y="172"/>
                  <a:pt x="958" y="172"/>
                  <a:pt x="958" y="172"/>
                </a:cubicBezTo>
                <a:cubicBezTo>
                  <a:pt x="956" y="167"/>
                  <a:pt x="952" y="163"/>
                  <a:pt x="948" y="161"/>
                </a:cubicBezTo>
                <a:cubicBezTo>
                  <a:pt x="943" y="157"/>
                  <a:pt x="938" y="156"/>
                  <a:pt x="931" y="156"/>
                </a:cubicBezTo>
                <a:cubicBezTo>
                  <a:pt x="914" y="156"/>
                  <a:pt x="902" y="167"/>
                  <a:pt x="902" y="183"/>
                </a:cubicBezTo>
                <a:cubicBezTo>
                  <a:pt x="902" y="190"/>
                  <a:pt x="904" y="195"/>
                  <a:pt x="909" y="200"/>
                </a:cubicBezTo>
                <a:cubicBezTo>
                  <a:pt x="913" y="205"/>
                  <a:pt x="918" y="207"/>
                  <a:pt x="922" y="209"/>
                </a:cubicBezTo>
                <a:cubicBezTo>
                  <a:pt x="932" y="213"/>
                  <a:pt x="932" y="213"/>
                  <a:pt x="932" y="213"/>
                </a:cubicBezTo>
                <a:cubicBezTo>
                  <a:pt x="937" y="215"/>
                  <a:pt x="941" y="217"/>
                  <a:pt x="944" y="220"/>
                </a:cubicBezTo>
                <a:cubicBezTo>
                  <a:pt x="947" y="223"/>
                  <a:pt x="948" y="226"/>
                  <a:pt x="948" y="231"/>
                </a:cubicBezTo>
                <a:cubicBezTo>
                  <a:pt x="948" y="240"/>
                  <a:pt x="942" y="249"/>
                  <a:pt x="929" y="249"/>
                </a:cubicBezTo>
                <a:cubicBezTo>
                  <a:pt x="924" y="249"/>
                  <a:pt x="919" y="247"/>
                  <a:pt x="916" y="244"/>
                </a:cubicBezTo>
                <a:cubicBezTo>
                  <a:pt x="913" y="241"/>
                  <a:pt x="911" y="236"/>
                  <a:pt x="910" y="232"/>
                </a:cubicBezTo>
                <a:cubicBezTo>
                  <a:pt x="910" y="230"/>
                  <a:pt x="910" y="230"/>
                  <a:pt x="910" y="230"/>
                </a:cubicBezTo>
                <a:cubicBezTo>
                  <a:pt x="896" y="234"/>
                  <a:pt x="896" y="234"/>
                  <a:pt x="896" y="234"/>
                </a:cubicBezTo>
                <a:cubicBezTo>
                  <a:pt x="897" y="235"/>
                  <a:pt x="897" y="235"/>
                  <a:pt x="897" y="235"/>
                </a:cubicBezTo>
                <a:cubicBezTo>
                  <a:pt x="898" y="243"/>
                  <a:pt x="902" y="249"/>
                  <a:pt x="906" y="254"/>
                </a:cubicBezTo>
                <a:cubicBezTo>
                  <a:pt x="912" y="260"/>
                  <a:pt x="920" y="262"/>
                  <a:pt x="929" y="262"/>
                </a:cubicBezTo>
                <a:cubicBezTo>
                  <a:pt x="948" y="262"/>
                  <a:pt x="962" y="249"/>
                  <a:pt x="962" y="230"/>
                </a:cubicBezTo>
                <a:cubicBezTo>
                  <a:pt x="962" y="222"/>
                  <a:pt x="960" y="216"/>
                  <a:pt x="955" y="211"/>
                </a:cubicBezTo>
                <a:close/>
                <a:moveTo>
                  <a:pt x="0" y="261"/>
                </a:moveTo>
                <a:cubicBezTo>
                  <a:pt x="15" y="261"/>
                  <a:pt x="15" y="261"/>
                  <a:pt x="15" y="261"/>
                </a:cubicBezTo>
                <a:cubicBezTo>
                  <a:pt x="48" y="184"/>
                  <a:pt x="48" y="184"/>
                  <a:pt x="48" y="184"/>
                </a:cubicBezTo>
                <a:cubicBezTo>
                  <a:pt x="79" y="260"/>
                  <a:pt x="79" y="260"/>
                  <a:pt x="79" y="260"/>
                </a:cubicBezTo>
                <a:cubicBezTo>
                  <a:pt x="80" y="261"/>
                  <a:pt x="80" y="261"/>
                  <a:pt x="80" y="261"/>
                </a:cubicBezTo>
                <a:cubicBezTo>
                  <a:pt x="95" y="261"/>
                  <a:pt x="95" y="261"/>
                  <a:pt x="95" y="261"/>
                </a:cubicBezTo>
                <a:cubicBezTo>
                  <a:pt x="48" y="151"/>
                  <a:pt x="48" y="151"/>
                  <a:pt x="48" y="151"/>
                </a:cubicBezTo>
                <a:lnTo>
                  <a:pt x="0" y="261"/>
                </a:lnTo>
                <a:close/>
                <a:moveTo>
                  <a:pt x="229" y="261"/>
                </a:moveTo>
                <a:cubicBezTo>
                  <a:pt x="244" y="261"/>
                  <a:pt x="244" y="261"/>
                  <a:pt x="244" y="261"/>
                </a:cubicBezTo>
                <a:cubicBezTo>
                  <a:pt x="277" y="184"/>
                  <a:pt x="277" y="184"/>
                  <a:pt x="277" y="184"/>
                </a:cubicBezTo>
                <a:cubicBezTo>
                  <a:pt x="309" y="260"/>
                  <a:pt x="309" y="260"/>
                  <a:pt x="309" y="260"/>
                </a:cubicBezTo>
                <a:cubicBezTo>
                  <a:pt x="309" y="261"/>
                  <a:pt x="309" y="261"/>
                  <a:pt x="309" y="261"/>
                </a:cubicBezTo>
                <a:cubicBezTo>
                  <a:pt x="324" y="261"/>
                  <a:pt x="324" y="261"/>
                  <a:pt x="324" y="261"/>
                </a:cubicBezTo>
                <a:cubicBezTo>
                  <a:pt x="277" y="151"/>
                  <a:pt x="277" y="151"/>
                  <a:pt x="277" y="151"/>
                </a:cubicBezTo>
                <a:lnTo>
                  <a:pt x="229" y="261"/>
                </a:lnTo>
                <a:close/>
                <a:moveTo>
                  <a:pt x="1071" y="11"/>
                </a:moveTo>
                <a:cubicBezTo>
                  <a:pt x="1071" y="18"/>
                  <a:pt x="1071" y="18"/>
                  <a:pt x="1071" y="18"/>
                </a:cubicBezTo>
                <a:cubicBezTo>
                  <a:pt x="1075" y="18"/>
                  <a:pt x="1075" y="18"/>
                  <a:pt x="1075" y="18"/>
                </a:cubicBezTo>
                <a:cubicBezTo>
                  <a:pt x="1077" y="9"/>
                  <a:pt x="1077" y="9"/>
                  <a:pt x="1077" y="9"/>
                </a:cubicBezTo>
                <a:cubicBezTo>
                  <a:pt x="1076" y="8"/>
                  <a:pt x="1074" y="7"/>
                  <a:pt x="1072" y="6"/>
                </a:cubicBezTo>
                <a:cubicBezTo>
                  <a:pt x="1070" y="6"/>
                  <a:pt x="1067" y="6"/>
                  <a:pt x="1064" y="6"/>
                </a:cubicBezTo>
                <a:cubicBezTo>
                  <a:pt x="1061" y="6"/>
                  <a:pt x="1058" y="6"/>
                  <a:pt x="1056" y="7"/>
                </a:cubicBezTo>
                <a:cubicBezTo>
                  <a:pt x="1053" y="9"/>
                  <a:pt x="1051" y="10"/>
                  <a:pt x="1049" y="12"/>
                </a:cubicBezTo>
                <a:cubicBezTo>
                  <a:pt x="1048" y="14"/>
                  <a:pt x="1047" y="17"/>
                  <a:pt x="1047" y="20"/>
                </a:cubicBezTo>
                <a:cubicBezTo>
                  <a:pt x="1047" y="22"/>
                  <a:pt x="1048" y="24"/>
                  <a:pt x="1049" y="26"/>
                </a:cubicBezTo>
                <a:cubicBezTo>
                  <a:pt x="1050" y="28"/>
                  <a:pt x="1051" y="30"/>
                  <a:pt x="1053" y="31"/>
                </a:cubicBezTo>
                <a:cubicBezTo>
                  <a:pt x="1055" y="32"/>
                  <a:pt x="1057" y="34"/>
                  <a:pt x="1059" y="35"/>
                </a:cubicBezTo>
                <a:cubicBezTo>
                  <a:pt x="1062" y="37"/>
                  <a:pt x="1064" y="39"/>
                  <a:pt x="1066" y="40"/>
                </a:cubicBezTo>
                <a:cubicBezTo>
                  <a:pt x="1067" y="42"/>
                  <a:pt x="1068" y="44"/>
                  <a:pt x="1068" y="47"/>
                </a:cubicBezTo>
                <a:cubicBezTo>
                  <a:pt x="1068" y="49"/>
                  <a:pt x="1067" y="52"/>
                  <a:pt x="1065" y="53"/>
                </a:cubicBezTo>
                <a:cubicBezTo>
                  <a:pt x="1062" y="55"/>
                  <a:pt x="1060" y="56"/>
                  <a:pt x="1057" y="56"/>
                </a:cubicBezTo>
                <a:cubicBezTo>
                  <a:pt x="1055" y="56"/>
                  <a:pt x="1053" y="56"/>
                  <a:pt x="1052" y="55"/>
                </a:cubicBezTo>
                <a:cubicBezTo>
                  <a:pt x="1050" y="55"/>
                  <a:pt x="1049" y="54"/>
                  <a:pt x="1048" y="54"/>
                </a:cubicBezTo>
                <a:cubicBezTo>
                  <a:pt x="1048" y="46"/>
                  <a:pt x="1048" y="46"/>
                  <a:pt x="1048" y="46"/>
                </a:cubicBezTo>
                <a:cubicBezTo>
                  <a:pt x="1044" y="46"/>
                  <a:pt x="1044" y="46"/>
                  <a:pt x="1044" y="46"/>
                </a:cubicBezTo>
                <a:cubicBezTo>
                  <a:pt x="1042" y="56"/>
                  <a:pt x="1042" y="56"/>
                  <a:pt x="1042" y="56"/>
                </a:cubicBezTo>
                <a:cubicBezTo>
                  <a:pt x="1043" y="57"/>
                  <a:pt x="1045" y="58"/>
                  <a:pt x="1048" y="58"/>
                </a:cubicBezTo>
                <a:cubicBezTo>
                  <a:pt x="1051" y="59"/>
                  <a:pt x="1054" y="59"/>
                  <a:pt x="1057" y="59"/>
                </a:cubicBezTo>
                <a:cubicBezTo>
                  <a:pt x="1060" y="59"/>
                  <a:pt x="1063" y="59"/>
                  <a:pt x="1066" y="57"/>
                </a:cubicBezTo>
                <a:cubicBezTo>
                  <a:pt x="1069" y="56"/>
                  <a:pt x="1071" y="54"/>
                  <a:pt x="1073" y="52"/>
                </a:cubicBezTo>
                <a:cubicBezTo>
                  <a:pt x="1074" y="50"/>
                  <a:pt x="1075" y="47"/>
                  <a:pt x="1075" y="44"/>
                </a:cubicBezTo>
                <a:cubicBezTo>
                  <a:pt x="1075" y="42"/>
                  <a:pt x="1074" y="40"/>
                  <a:pt x="1073" y="38"/>
                </a:cubicBezTo>
                <a:cubicBezTo>
                  <a:pt x="1072" y="36"/>
                  <a:pt x="1071" y="35"/>
                  <a:pt x="1069" y="34"/>
                </a:cubicBezTo>
                <a:cubicBezTo>
                  <a:pt x="1068" y="32"/>
                  <a:pt x="1066" y="31"/>
                  <a:pt x="1064" y="29"/>
                </a:cubicBezTo>
                <a:cubicBezTo>
                  <a:pt x="1060" y="27"/>
                  <a:pt x="1058" y="25"/>
                  <a:pt x="1056" y="24"/>
                </a:cubicBezTo>
                <a:cubicBezTo>
                  <a:pt x="1055" y="22"/>
                  <a:pt x="1054" y="20"/>
                  <a:pt x="1054" y="17"/>
                </a:cubicBezTo>
                <a:cubicBezTo>
                  <a:pt x="1054" y="15"/>
                  <a:pt x="1055" y="13"/>
                  <a:pt x="1057" y="11"/>
                </a:cubicBezTo>
                <a:cubicBezTo>
                  <a:pt x="1059" y="10"/>
                  <a:pt x="1061" y="9"/>
                  <a:pt x="1064" y="9"/>
                </a:cubicBezTo>
                <a:cubicBezTo>
                  <a:pt x="1065" y="9"/>
                  <a:pt x="1067" y="9"/>
                  <a:pt x="1068" y="10"/>
                </a:cubicBezTo>
                <a:cubicBezTo>
                  <a:pt x="1069" y="10"/>
                  <a:pt x="1070" y="10"/>
                  <a:pt x="1071" y="11"/>
                </a:cubicBezTo>
                <a:close/>
                <a:moveTo>
                  <a:pt x="1107" y="27"/>
                </a:moveTo>
                <a:cubicBezTo>
                  <a:pt x="1108" y="27"/>
                  <a:pt x="1108" y="27"/>
                  <a:pt x="1108" y="27"/>
                </a:cubicBezTo>
                <a:cubicBezTo>
                  <a:pt x="1110" y="20"/>
                  <a:pt x="1110" y="20"/>
                  <a:pt x="1110" y="20"/>
                </a:cubicBezTo>
                <a:cubicBezTo>
                  <a:pt x="1109" y="20"/>
                  <a:pt x="1108" y="19"/>
                  <a:pt x="1107" y="19"/>
                </a:cubicBezTo>
                <a:cubicBezTo>
                  <a:pt x="1105" y="19"/>
                  <a:pt x="1104" y="19"/>
                  <a:pt x="1102" y="19"/>
                </a:cubicBezTo>
                <a:cubicBezTo>
                  <a:pt x="1098" y="19"/>
                  <a:pt x="1094" y="20"/>
                  <a:pt x="1091" y="22"/>
                </a:cubicBezTo>
                <a:cubicBezTo>
                  <a:pt x="1088" y="25"/>
                  <a:pt x="1086" y="28"/>
                  <a:pt x="1084" y="32"/>
                </a:cubicBezTo>
                <a:cubicBezTo>
                  <a:pt x="1083" y="36"/>
                  <a:pt x="1082" y="40"/>
                  <a:pt x="1082" y="43"/>
                </a:cubicBezTo>
                <a:cubicBezTo>
                  <a:pt x="1082" y="48"/>
                  <a:pt x="1083" y="52"/>
                  <a:pt x="1085" y="55"/>
                </a:cubicBezTo>
                <a:cubicBezTo>
                  <a:pt x="1087" y="58"/>
                  <a:pt x="1091" y="59"/>
                  <a:pt x="1094" y="59"/>
                </a:cubicBezTo>
                <a:cubicBezTo>
                  <a:pt x="1098" y="59"/>
                  <a:pt x="1100" y="59"/>
                  <a:pt x="1102" y="57"/>
                </a:cubicBezTo>
                <a:cubicBezTo>
                  <a:pt x="1105" y="56"/>
                  <a:pt x="1106" y="54"/>
                  <a:pt x="1108" y="53"/>
                </a:cubicBezTo>
                <a:cubicBezTo>
                  <a:pt x="1106" y="50"/>
                  <a:pt x="1106" y="50"/>
                  <a:pt x="1106" y="50"/>
                </a:cubicBezTo>
                <a:cubicBezTo>
                  <a:pt x="1105" y="52"/>
                  <a:pt x="1103" y="53"/>
                  <a:pt x="1102" y="54"/>
                </a:cubicBezTo>
                <a:cubicBezTo>
                  <a:pt x="1100" y="54"/>
                  <a:pt x="1099" y="55"/>
                  <a:pt x="1097" y="55"/>
                </a:cubicBezTo>
                <a:cubicBezTo>
                  <a:pt x="1094" y="55"/>
                  <a:pt x="1092" y="54"/>
                  <a:pt x="1091" y="52"/>
                </a:cubicBezTo>
                <a:cubicBezTo>
                  <a:pt x="1090" y="50"/>
                  <a:pt x="1089" y="47"/>
                  <a:pt x="1089" y="43"/>
                </a:cubicBezTo>
                <a:cubicBezTo>
                  <a:pt x="1089" y="39"/>
                  <a:pt x="1090" y="35"/>
                  <a:pt x="1091" y="32"/>
                </a:cubicBezTo>
                <a:cubicBezTo>
                  <a:pt x="1092" y="30"/>
                  <a:pt x="1093" y="27"/>
                  <a:pt x="1095" y="26"/>
                </a:cubicBezTo>
                <a:cubicBezTo>
                  <a:pt x="1097" y="24"/>
                  <a:pt x="1099" y="23"/>
                  <a:pt x="1101" y="23"/>
                </a:cubicBezTo>
                <a:cubicBezTo>
                  <a:pt x="1102" y="23"/>
                  <a:pt x="1105" y="24"/>
                  <a:pt x="1107" y="27"/>
                </a:cubicBezTo>
                <a:close/>
                <a:moveTo>
                  <a:pt x="1124" y="52"/>
                </a:moveTo>
                <a:cubicBezTo>
                  <a:pt x="1129" y="19"/>
                  <a:pt x="1129" y="19"/>
                  <a:pt x="1129" y="19"/>
                </a:cubicBezTo>
                <a:cubicBezTo>
                  <a:pt x="1128" y="19"/>
                  <a:pt x="1128" y="19"/>
                  <a:pt x="1128" y="19"/>
                </a:cubicBezTo>
                <a:cubicBezTo>
                  <a:pt x="1118" y="20"/>
                  <a:pt x="1118" y="20"/>
                  <a:pt x="1118" y="20"/>
                </a:cubicBezTo>
                <a:cubicBezTo>
                  <a:pt x="1117" y="23"/>
                  <a:pt x="1117" y="23"/>
                  <a:pt x="1117" y="23"/>
                </a:cubicBezTo>
                <a:cubicBezTo>
                  <a:pt x="1122" y="24"/>
                  <a:pt x="1122" y="24"/>
                  <a:pt x="1122" y="24"/>
                </a:cubicBezTo>
                <a:cubicBezTo>
                  <a:pt x="1121" y="31"/>
                  <a:pt x="1120" y="37"/>
                  <a:pt x="1119" y="41"/>
                </a:cubicBezTo>
                <a:cubicBezTo>
                  <a:pt x="1118" y="49"/>
                  <a:pt x="1117" y="54"/>
                  <a:pt x="1117" y="55"/>
                </a:cubicBezTo>
                <a:cubicBezTo>
                  <a:pt x="1117" y="56"/>
                  <a:pt x="1118" y="57"/>
                  <a:pt x="1118" y="58"/>
                </a:cubicBezTo>
                <a:cubicBezTo>
                  <a:pt x="1119" y="59"/>
                  <a:pt x="1120" y="59"/>
                  <a:pt x="1122" y="59"/>
                </a:cubicBezTo>
                <a:cubicBezTo>
                  <a:pt x="1124" y="59"/>
                  <a:pt x="1125" y="59"/>
                  <a:pt x="1127" y="58"/>
                </a:cubicBezTo>
                <a:cubicBezTo>
                  <a:pt x="1128" y="57"/>
                  <a:pt x="1129" y="55"/>
                  <a:pt x="1130" y="54"/>
                </a:cubicBezTo>
                <a:cubicBezTo>
                  <a:pt x="1129" y="53"/>
                  <a:pt x="1129" y="53"/>
                  <a:pt x="1129" y="53"/>
                </a:cubicBezTo>
                <a:cubicBezTo>
                  <a:pt x="1128" y="54"/>
                  <a:pt x="1128" y="54"/>
                  <a:pt x="1127" y="54"/>
                </a:cubicBezTo>
                <a:cubicBezTo>
                  <a:pt x="1126" y="55"/>
                  <a:pt x="1126" y="55"/>
                  <a:pt x="1125" y="55"/>
                </a:cubicBezTo>
                <a:cubicBezTo>
                  <a:pt x="1125" y="55"/>
                  <a:pt x="1125" y="55"/>
                  <a:pt x="1125" y="54"/>
                </a:cubicBezTo>
                <a:cubicBezTo>
                  <a:pt x="1124" y="54"/>
                  <a:pt x="1124" y="54"/>
                  <a:pt x="1124" y="53"/>
                </a:cubicBezTo>
                <a:lnTo>
                  <a:pt x="1124" y="52"/>
                </a:lnTo>
                <a:close/>
                <a:moveTo>
                  <a:pt x="1127" y="11"/>
                </a:moveTo>
                <a:cubicBezTo>
                  <a:pt x="1128" y="11"/>
                  <a:pt x="1129" y="11"/>
                  <a:pt x="1130" y="10"/>
                </a:cubicBezTo>
                <a:cubicBezTo>
                  <a:pt x="1131" y="9"/>
                  <a:pt x="1131" y="7"/>
                  <a:pt x="1131" y="6"/>
                </a:cubicBezTo>
                <a:cubicBezTo>
                  <a:pt x="1131" y="5"/>
                  <a:pt x="1131" y="4"/>
                  <a:pt x="1130" y="3"/>
                </a:cubicBezTo>
                <a:cubicBezTo>
                  <a:pt x="1130" y="3"/>
                  <a:pt x="1129" y="2"/>
                  <a:pt x="1128" y="2"/>
                </a:cubicBezTo>
                <a:cubicBezTo>
                  <a:pt x="1126" y="2"/>
                  <a:pt x="1125" y="3"/>
                  <a:pt x="1124" y="4"/>
                </a:cubicBezTo>
                <a:cubicBezTo>
                  <a:pt x="1123" y="5"/>
                  <a:pt x="1123" y="6"/>
                  <a:pt x="1123" y="7"/>
                </a:cubicBezTo>
                <a:cubicBezTo>
                  <a:pt x="1123" y="8"/>
                  <a:pt x="1123" y="9"/>
                  <a:pt x="1124" y="10"/>
                </a:cubicBezTo>
                <a:cubicBezTo>
                  <a:pt x="1125" y="11"/>
                  <a:pt x="1126" y="11"/>
                  <a:pt x="1127" y="11"/>
                </a:cubicBezTo>
                <a:close/>
                <a:moveTo>
                  <a:pt x="1166" y="52"/>
                </a:moveTo>
                <a:cubicBezTo>
                  <a:pt x="1165" y="49"/>
                  <a:pt x="1165" y="49"/>
                  <a:pt x="1165" y="49"/>
                </a:cubicBezTo>
                <a:cubicBezTo>
                  <a:pt x="1163" y="51"/>
                  <a:pt x="1161" y="52"/>
                  <a:pt x="1159" y="53"/>
                </a:cubicBezTo>
                <a:cubicBezTo>
                  <a:pt x="1157" y="54"/>
                  <a:pt x="1155" y="55"/>
                  <a:pt x="1153" y="55"/>
                </a:cubicBezTo>
                <a:cubicBezTo>
                  <a:pt x="1150" y="55"/>
                  <a:pt x="1148" y="54"/>
                  <a:pt x="1147" y="51"/>
                </a:cubicBezTo>
                <a:cubicBezTo>
                  <a:pt x="1145" y="49"/>
                  <a:pt x="1145" y="46"/>
                  <a:pt x="1145" y="43"/>
                </a:cubicBezTo>
                <a:cubicBezTo>
                  <a:pt x="1148" y="43"/>
                  <a:pt x="1151" y="42"/>
                  <a:pt x="1155" y="41"/>
                </a:cubicBezTo>
                <a:cubicBezTo>
                  <a:pt x="1158" y="40"/>
                  <a:pt x="1162" y="38"/>
                  <a:pt x="1164" y="36"/>
                </a:cubicBezTo>
                <a:cubicBezTo>
                  <a:pt x="1167" y="33"/>
                  <a:pt x="1168" y="31"/>
                  <a:pt x="1168" y="27"/>
                </a:cubicBezTo>
                <a:cubicBezTo>
                  <a:pt x="1168" y="25"/>
                  <a:pt x="1167" y="23"/>
                  <a:pt x="1166" y="21"/>
                </a:cubicBezTo>
                <a:cubicBezTo>
                  <a:pt x="1164" y="19"/>
                  <a:pt x="1162" y="19"/>
                  <a:pt x="1158" y="19"/>
                </a:cubicBezTo>
                <a:cubicBezTo>
                  <a:pt x="1154" y="19"/>
                  <a:pt x="1151" y="20"/>
                  <a:pt x="1148" y="22"/>
                </a:cubicBezTo>
                <a:cubicBezTo>
                  <a:pt x="1145" y="24"/>
                  <a:pt x="1142" y="28"/>
                  <a:pt x="1140" y="31"/>
                </a:cubicBezTo>
                <a:cubicBezTo>
                  <a:pt x="1138" y="35"/>
                  <a:pt x="1138" y="40"/>
                  <a:pt x="1138" y="44"/>
                </a:cubicBezTo>
                <a:cubicBezTo>
                  <a:pt x="1138" y="47"/>
                  <a:pt x="1138" y="49"/>
                  <a:pt x="1139" y="52"/>
                </a:cubicBezTo>
                <a:cubicBezTo>
                  <a:pt x="1140" y="54"/>
                  <a:pt x="1142" y="56"/>
                  <a:pt x="1144" y="57"/>
                </a:cubicBezTo>
                <a:cubicBezTo>
                  <a:pt x="1146" y="59"/>
                  <a:pt x="1148" y="59"/>
                  <a:pt x="1151" y="59"/>
                </a:cubicBezTo>
                <a:cubicBezTo>
                  <a:pt x="1155" y="59"/>
                  <a:pt x="1158" y="58"/>
                  <a:pt x="1160" y="57"/>
                </a:cubicBezTo>
                <a:cubicBezTo>
                  <a:pt x="1163" y="55"/>
                  <a:pt x="1165" y="54"/>
                  <a:pt x="1166" y="52"/>
                </a:cubicBezTo>
                <a:close/>
                <a:moveTo>
                  <a:pt x="1157" y="22"/>
                </a:moveTo>
                <a:cubicBezTo>
                  <a:pt x="1158" y="22"/>
                  <a:pt x="1159" y="23"/>
                  <a:pt x="1160" y="24"/>
                </a:cubicBezTo>
                <a:cubicBezTo>
                  <a:pt x="1161" y="25"/>
                  <a:pt x="1161" y="26"/>
                  <a:pt x="1161" y="28"/>
                </a:cubicBezTo>
                <a:cubicBezTo>
                  <a:pt x="1161" y="30"/>
                  <a:pt x="1161" y="32"/>
                  <a:pt x="1159" y="34"/>
                </a:cubicBezTo>
                <a:cubicBezTo>
                  <a:pt x="1157" y="35"/>
                  <a:pt x="1155" y="37"/>
                  <a:pt x="1152" y="38"/>
                </a:cubicBezTo>
                <a:cubicBezTo>
                  <a:pt x="1150" y="39"/>
                  <a:pt x="1147" y="39"/>
                  <a:pt x="1145" y="39"/>
                </a:cubicBezTo>
                <a:cubicBezTo>
                  <a:pt x="1145" y="37"/>
                  <a:pt x="1146" y="34"/>
                  <a:pt x="1147" y="32"/>
                </a:cubicBezTo>
                <a:cubicBezTo>
                  <a:pt x="1148" y="29"/>
                  <a:pt x="1149" y="27"/>
                  <a:pt x="1151" y="25"/>
                </a:cubicBezTo>
                <a:cubicBezTo>
                  <a:pt x="1152" y="23"/>
                  <a:pt x="1154" y="22"/>
                  <a:pt x="1157" y="22"/>
                </a:cubicBezTo>
                <a:close/>
                <a:moveTo>
                  <a:pt x="1187" y="28"/>
                </a:moveTo>
                <a:cubicBezTo>
                  <a:pt x="1188" y="19"/>
                  <a:pt x="1188" y="19"/>
                  <a:pt x="1188" y="19"/>
                </a:cubicBezTo>
                <a:cubicBezTo>
                  <a:pt x="1186" y="19"/>
                  <a:pt x="1186" y="19"/>
                  <a:pt x="1186" y="19"/>
                </a:cubicBezTo>
                <a:cubicBezTo>
                  <a:pt x="1178" y="20"/>
                  <a:pt x="1178" y="20"/>
                  <a:pt x="1178" y="20"/>
                </a:cubicBezTo>
                <a:cubicBezTo>
                  <a:pt x="1177" y="23"/>
                  <a:pt x="1177" y="23"/>
                  <a:pt x="1177" y="23"/>
                </a:cubicBezTo>
                <a:cubicBezTo>
                  <a:pt x="1180" y="25"/>
                  <a:pt x="1180" y="25"/>
                  <a:pt x="1180" y="25"/>
                </a:cubicBezTo>
                <a:cubicBezTo>
                  <a:pt x="1176" y="58"/>
                  <a:pt x="1176" y="58"/>
                  <a:pt x="1176" y="58"/>
                </a:cubicBezTo>
                <a:cubicBezTo>
                  <a:pt x="1183" y="58"/>
                  <a:pt x="1183" y="58"/>
                  <a:pt x="1183" y="58"/>
                </a:cubicBezTo>
                <a:cubicBezTo>
                  <a:pt x="1186" y="33"/>
                  <a:pt x="1186" y="33"/>
                  <a:pt x="1186" y="33"/>
                </a:cubicBezTo>
                <a:cubicBezTo>
                  <a:pt x="1188" y="31"/>
                  <a:pt x="1190" y="28"/>
                  <a:pt x="1192" y="26"/>
                </a:cubicBezTo>
                <a:cubicBezTo>
                  <a:pt x="1194" y="25"/>
                  <a:pt x="1196" y="24"/>
                  <a:pt x="1198" y="24"/>
                </a:cubicBezTo>
                <a:cubicBezTo>
                  <a:pt x="1200" y="24"/>
                  <a:pt x="1201" y="24"/>
                  <a:pt x="1202" y="25"/>
                </a:cubicBezTo>
                <a:cubicBezTo>
                  <a:pt x="1202" y="26"/>
                  <a:pt x="1203" y="27"/>
                  <a:pt x="1203" y="29"/>
                </a:cubicBezTo>
                <a:cubicBezTo>
                  <a:pt x="1203" y="31"/>
                  <a:pt x="1202" y="33"/>
                  <a:pt x="1202" y="35"/>
                </a:cubicBezTo>
                <a:cubicBezTo>
                  <a:pt x="1202" y="37"/>
                  <a:pt x="1201" y="39"/>
                  <a:pt x="1201" y="41"/>
                </a:cubicBezTo>
                <a:cubicBezTo>
                  <a:pt x="1201" y="43"/>
                  <a:pt x="1201" y="43"/>
                  <a:pt x="1201" y="43"/>
                </a:cubicBezTo>
                <a:cubicBezTo>
                  <a:pt x="1200" y="46"/>
                  <a:pt x="1200" y="46"/>
                  <a:pt x="1200" y="46"/>
                </a:cubicBezTo>
                <a:cubicBezTo>
                  <a:pt x="1199" y="51"/>
                  <a:pt x="1199" y="54"/>
                  <a:pt x="1199" y="55"/>
                </a:cubicBezTo>
                <a:cubicBezTo>
                  <a:pt x="1199" y="58"/>
                  <a:pt x="1200" y="59"/>
                  <a:pt x="1203" y="59"/>
                </a:cubicBezTo>
                <a:cubicBezTo>
                  <a:pt x="1205" y="59"/>
                  <a:pt x="1206" y="59"/>
                  <a:pt x="1207" y="58"/>
                </a:cubicBezTo>
                <a:cubicBezTo>
                  <a:pt x="1208" y="58"/>
                  <a:pt x="1209" y="57"/>
                  <a:pt x="1210" y="57"/>
                </a:cubicBezTo>
                <a:cubicBezTo>
                  <a:pt x="1210" y="56"/>
                  <a:pt x="1211" y="55"/>
                  <a:pt x="1211" y="55"/>
                </a:cubicBezTo>
                <a:cubicBezTo>
                  <a:pt x="1210" y="53"/>
                  <a:pt x="1210" y="53"/>
                  <a:pt x="1210" y="53"/>
                </a:cubicBezTo>
                <a:cubicBezTo>
                  <a:pt x="1209" y="54"/>
                  <a:pt x="1208" y="55"/>
                  <a:pt x="1207" y="55"/>
                </a:cubicBezTo>
                <a:cubicBezTo>
                  <a:pt x="1206" y="55"/>
                  <a:pt x="1206" y="54"/>
                  <a:pt x="1206" y="53"/>
                </a:cubicBezTo>
                <a:cubicBezTo>
                  <a:pt x="1206" y="51"/>
                  <a:pt x="1206" y="48"/>
                  <a:pt x="1207" y="45"/>
                </a:cubicBezTo>
                <a:cubicBezTo>
                  <a:pt x="1208" y="41"/>
                  <a:pt x="1208" y="41"/>
                  <a:pt x="1208" y="41"/>
                </a:cubicBezTo>
                <a:cubicBezTo>
                  <a:pt x="1208" y="40"/>
                  <a:pt x="1208" y="40"/>
                  <a:pt x="1208" y="40"/>
                </a:cubicBezTo>
                <a:cubicBezTo>
                  <a:pt x="1209" y="34"/>
                  <a:pt x="1210" y="31"/>
                  <a:pt x="1210" y="29"/>
                </a:cubicBezTo>
                <a:cubicBezTo>
                  <a:pt x="1210" y="25"/>
                  <a:pt x="1209" y="23"/>
                  <a:pt x="1207" y="21"/>
                </a:cubicBezTo>
                <a:cubicBezTo>
                  <a:pt x="1206" y="19"/>
                  <a:pt x="1204" y="19"/>
                  <a:pt x="1201" y="19"/>
                </a:cubicBezTo>
                <a:cubicBezTo>
                  <a:pt x="1199" y="19"/>
                  <a:pt x="1196" y="19"/>
                  <a:pt x="1193" y="21"/>
                </a:cubicBezTo>
                <a:cubicBezTo>
                  <a:pt x="1191" y="23"/>
                  <a:pt x="1189" y="25"/>
                  <a:pt x="1187" y="28"/>
                </a:cubicBezTo>
                <a:close/>
                <a:moveTo>
                  <a:pt x="1243" y="27"/>
                </a:moveTo>
                <a:cubicBezTo>
                  <a:pt x="1245" y="27"/>
                  <a:pt x="1245" y="27"/>
                  <a:pt x="1245" y="27"/>
                </a:cubicBezTo>
                <a:cubicBezTo>
                  <a:pt x="1247" y="20"/>
                  <a:pt x="1247" y="20"/>
                  <a:pt x="1247" y="20"/>
                </a:cubicBezTo>
                <a:cubicBezTo>
                  <a:pt x="1246" y="20"/>
                  <a:pt x="1244" y="19"/>
                  <a:pt x="1243" y="19"/>
                </a:cubicBezTo>
                <a:cubicBezTo>
                  <a:pt x="1241" y="19"/>
                  <a:pt x="1240" y="19"/>
                  <a:pt x="1239" y="19"/>
                </a:cubicBezTo>
                <a:cubicBezTo>
                  <a:pt x="1234" y="19"/>
                  <a:pt x="1231" y="20"/>
                  <a:pt x="1228" y="22"/>
                </a:cubicBezTo>
                <a:cubicBezTo>
                  <a:pt x="1224" y="25"/>
                  <a:pt x="1222" y="28"/>
                  <a:pt x="1220" y="32"/>
                </a:cubicBezTo>
                <a:cubicBezTo>
                  <a:pt x="1219" y="36"/>
                  <a:pt x="1218" y="40"/>
                  <a:pt x="1218" y="43"/>
                </a:cubicBezTo>
                <a:cubicBezTo>
                  <a:pt x="1218" y="48"/>
                  <a:pt x="1219" y="52"/>
                  <a:pt x="1221" y="55"/>
                </a:cubicBezTo>
                <a:cubicBezTo>
                  <a:pt x="1224" y="58"/>
                  <a:pt x="1227" y="59"/>
                  <a:pt x="1231" y="59"/>
                </a:cubicBezTo>
                <a:cubicBezTo>
                  <a:pt x="1234" y="59"/>
                  <a:pt x="1236" y="59"/>
                  <a:pt x="1239" y="57"/>
                </a:cubicBezTo>
                <a:cubicBezTo>
                  <a:pt x="1241" y="56"/>
                  <a:pt x="1243" y="54"/>
                  <a:pt x="1244" y="53"/>
                </a:cubicBezTo>
                <a:cubicBezTo>
                  <a:pt x="1242" y="50"/>
                  <a:pt x="1242" y="50"/>
                  <a:pt x="1242" y="50"/>
                </a:cubicBezTo>
                <a:cubicBezTo>
                  <a:pt x="1241" y="52"/>
                  <a:pt x="1239" y="53"/>
                  <a:pt x="1238" y="54"/>
                </a:cubicBezTo>
                <a:cubicBezTo>
                  <a:pt x="1236" y="54"/>
                  <a:pt x="1235" y="55"/>
                  <a:pt x="1233" y="55"/>
                </a:cubicBezTo>
                <a:cubicBezTo>
                  <a:pt x="1230" y="55"/>
                  <a:pt x="1228" y="54"/>
                  <a:pt x="1227" y="52"/>
                </a:cubicBezTo>
                <a:cubicBezTo>
                  <a:pt x="1226" y="50"/>
                  <a:pt x="1225" y="47"/>
                  <a:pt x="1225" y="43"/>
                </a:cubicBezTo>
                <a:cubicBezTo>
                  <a:pt x="1225" y="39"/>
                  <a:pt x="1226" y="35"/>
                  <a:pt x="1227" y="32"/>
                </a:cubicBezTo>
                <a:cubicBezTo>
                  <a:pt x="1228" y="30"/>
                  <a:pt x="1229" y="27"/>
                  <a:pt x="1231" y="26"/>
                </a:cubicBezTo>
                <a:cubicBezTo>
                  <a:pt x="1233" y="24"/>
                  <a:pt x="1235" y="23"/>
                  <a:pt x="1237" y="23"/>
                </a:cubicBezTo>
                <a:cubicBezTo>
                  <a:pt x="1239" y="23"/>
                  <a:pt x="1241" y="24"/>
                  <a:pt x="1243" y="27"/>
                </a:cubicBezTo>
                <a:close/>
                <a:moveTo>
                  <a:pt x="1279" y="52"/>
                </a:moveTo>
                <a:cubicBezTo>
                  <a:pt x="1277" y="49"/>
                  <a:pt x="1277" y="49"/>
                  <a:pt x="1277" y="49"/>
                </a:cubicBezTo>
                <a:cubicBezTo>
                  <a:pt x="1276" y="51"/>
                  <a:pt x="1274" y="52"/>
                  <a:pt x="1272" y="53"/>
                </a:cubicBezTo>
                <a:cubicBezTo>
                  <a:pt x="1270" y="54"/>
                  <a:pt x="1268" y="55"/>
                  <a:pt x="1266" y="55"/>
                </a:cubicBezTo>
                <a:cubicBezTo>
                  <a:pt x="1263" y="55"/>
                  <a:pt x="1261" y="54"/>
                  <a:pt x="1259" y="51"/>
                </a:cubicBezTo>
                <a:cubicBezTo>
                  <a:pt x="1258" y="49"/>
                  <a:pt x="1257" y="46"/>
                  <a:pt x="1258" y="43"/>
                </a:cubicBezTo>
                <a:cubicBezTo>
                  <a:pt x="1260" y="43"/>
                  <a:pt x="1264" y="42"/>
                  <a:pt x="1267" y="41"/>
                </a:cubicBezTo>
                <a:cubicBezTo>
                  <a:pt x="1271" y="40"/>
                  <a:pt x="1274" y="38"/>
                  <a:pt x="1277" y="36"/>
                </a:cubicBezTo>
                <a:cubicBezTo>
                  <a:pt x="1280" y="33"/>
                  <a:pt x="1281" y="31"/>
                  <a:pt x="1281" y="27"/>
                </a:cubicBezTo>
                <a:cubicBezTo>
                  <a:pt x="1281" y="25"/>
                  <a:pt x="1280" y="23"/>
                  <a:pt x="1278" y="21"/>
                </a:cubicBezTo>
                <a:cubicBezTo>
                  <a:pt x="1277" y="19"/>
                  <a:pt x="1274" y="19"/>
                  <a:pt x="1271" y="19"/>
                </a:cubicBezTo>
                <a:cubicBezTo>
                  <a:pt x="1267" y="19"/>
                  <a:pt x="1264" y="20"/>
                  <a:pt x="1260" y="22"/>
                </a:cubicBezTo>
                <a:cubicBezTo>
                  <a:pt x="1257" y="24"/>
                  <a:pt x="1255" y="28"/>
                  <a:pt x="1253" y="31"/>
                </a:cubicBezTo>
                <a:cubicBezTo>
                  <a:pt x="1251" y="35"/>
                  <a:pt x="1250" y="40"/>
                  <a:pt x="1250" y="44"/>
                </a:cubicBezTo>
                <a:cubicBezTo>
                  <a:pt x="1250" y="47"/>
                  <a:pt x="1251" y="49"/>
                  <a:pt x="1252" y="52"/>
                </a:cubicBezTo>
                <a:cubicBezTo>
                  <a:pt x="1253" y="54"/>
                  <a:pt x="1254" y="56"/>
                  <a:pt x="1256" y="57"/>
                </a:cubicBezTo>
                <a:cubicBezTo>
                  <a:pt x="1258" y="59"/>
                  <a:pt x="1261" y="59"/>
                  <a:pt x="1264" y="59"/>
                </a:cubicBezTo>
                <a:cubicBezTo>
                  <a:pt x="1267" y="59"/>
                  <a:pt x="1270" y="58"/>
                  <a:pt x="1273" y="57"/>
                </a:cubicBezTo>
                <a:cubicBezTo>
                  <a:pt x="1276" y="55"/>
                  <a:pt x="1278" y="54"/>
                  <a:pt x="1279" y="52"/>
                </a:cubicBezTo>
                <a:close/>
                <a:moveTo>
                  <a:pt x="1269" y="22"/>
                </a:moveTo>
                <a:cubicBezTo>
                  <a:pt x="1271" y="22"/>
                  <a:pt x="1272" y="23"/>
                  <a:pt x="1273" y="24"/>
                </a:cubicBezTo>
                <a:cubicBezTo>
                  <a:pt x="1274" y="25"/>
                  <a:pt x="1274" y="26"/>
                  <a:pt x="1274" y="28"/>
                </a:cubicBezTo>
                <a:cubicBezTo>
                  <a:pt x="1274" y="30"/>
                  <a:pt x="1273" y="32"/>
                  <a:pt x="1272" y="34"/>
                </a:cubicBezTo>
                <a:cubicBezTo>
                  <a:pt x="1270" y="35"/>
                  <a:pt x="1268" y="37"/>
                  <a:pt x="1265" y="38"/>
                </a:cubicBezTo>
                <a:cubicBezTo>
                  <a:pt x="1263" y="39"/>
                  <a:pt x="1260" y="39"/>
                  <a:pt x="1258" y="39"/>
                </a:cubicBezTo>
                <a:cubicBezTo>
                  <a:pt x="1258" y="37"/>
                  <a:pt x="1259" y="34"/>
                  <a:pt x="1259" y="32"/>
                </a:cubicBezTo>
                <a:cubicBezTo>
                  <a:pt x="1260" y="29"/>
                  <a:pt x="1262" y="27"/>
                  <a:pt x="1263" y="25"/>
                </a:cubicBezTo>
                <a:cubicBezTo>
                  <a:pt x="1265" y="23"/>
                  <a:pt x="1267" y="22"/>
                  <a:pt x="1269" y="22"/>
                </a:cubicBezTo>
                <a:close/>
                <a:moveTo>
                  <a:pt x="1310" y="25"/>
                </a:moveTo>
                <a:cubicBezTo>
                  <a:pt x="1311" y="20"/>
                  <a:pt x="1311" y="20"/>
                  <a:pt x="1311" y="20"/>
                </a:cubicBezTo>
                <a:cubicBezTo>
                  <a:pt x="1311" y="20"/>
                  <a:pt x="1309" y="19"/>
                  <a:pt x="1308" y="19"/>
                </a:cubicBezTo>
                <a:cubicBezTo>
                  <a:pt x="1306" y="19"/>
                  <a:pt x="1304" y="19"/>
                  <a:pt x="1303" y="19"/>
                </a:cubicBezTo>
                <a:cubicBezTo>
                  <a:pt x="1300" y="19"/>
                  <a:pt x="1298" y="19"/>
                  <a:pt x="1296" y="20"/>
                </a:cubicBezTo>
                <a:cubicBezTo>
                  <a:pt x="1293" y="21"/>
                  <a:pt x="1292" y="22"/>
                  <a:pt x="1291" y="24"/>
                </a:cubicBezTo>
                <a:cubicBezTo>
                  <a:pt x="1289" y="26"/>
                  <a:pt x="1289" y="27"/>
                  <a:pt x="1289" y="30"/>
                </a:cubicBezTo>
                <a:cubicBezTo>
                  <a:pt x="1289" y="34"/>
                  <a:pt x="1291" y="38"/>
                  <a:pt x="1296" y="41"/>
                </a:cubicBezTo>
                <a:cubicBezTo>
                  <a:pt x="1298" y="43"/>
                  <a:pt x="1300" y="44"/>
                  <a:pt x="1301" y="45"/>
                </a:cubicBezTo>
                <a:cubicBezTo>
                  <a:pt x="1302" y="46"/>
                  <a:pt x="1303" y="48"/>
                  <a:pt x="1303" y="50"/>
                </a:cubicBezTo>
                <a:cubicBezTo>
                  <a:pt x="1303" y="51"/>
                  <a:pt x="1302" y="53"/>
                  <a:pt x="1301" y="54"/>
                </a:cubicBezTo>
                <a:cubicBezTo>
                  <a:pt x="1299" y="55"/>
                  <a:pt x="1297" y="55"/>
                  <a:pt x="1295" y="55"/>
                </a:cubicBezTo>
                <a:cubicBezTo>
                  <a:pt x="1293" y="55"/>
                  <a:pt x="1292" y="55"/>
                  <a:pt x="1290" y="54"/>
                </a:cubicBezTo>
                <a:cubicBezTo>
                  <a:pt x="1288" y="53"/>
                  <a:pt x="1287" y="53"/>
                  <a:pt x="1286" y="52"/>
                </a:cubicBezTo>
                <a:cubicBezTo>
                  <a:pt x="1285" y="57"/>
                  <a:pt x="1285" y="57"/>
                  <a:pt x="1285" y="57"/>
                </a:cubicBezTo>
                <a:cubicBezTo>
                  <a:pt x="1285" y="58"/>
                  <a:pt x="1287" y="58"/>
                  <a:pt x="1289" y="58"/>
                </a:cubicBezTo>
                <a:cubicBezTo>
                  <a:pt x="1291" y="59"/>
                  <a:pt x="1293" y="59"/>
                  <a:pt x="1295" y="59"/>
                </a:cubicBezTo>
                <a:cubicBezTo>
                  <a:pt x="1299" y="59"/>
                  <a:pt x="1303" y="58"/>
                  <a:pt x="1305" y="56"/>
                </a:cubicBezTo>
                <a:cubicBezTo>
                  <a:pt x="1308" y="54"/>
                  <a:pt x="1309" y="52"/>
                  <a:pt x="1309" y="48"/>
                </a:cubicBezTo>
                <a:cubicBezTo>
                  <a:pt x="1309" y="46"/>
                  <a:pt x="1309" y="45"/>
                  <a:pt x="1308" y="43"/>
                </a:cubicBezTo>
                <a:cubicBezTo>
                  <a:pt x="1307" y="42"/>
                  <a:pt x="1306" y="41"/>
                  <a:pt x="1305" y="40"/>
                </a:cubicBezTo>
                <a:cubicBezTo>
                  <a:pt x="1304" y="39"/>
                  <a:pt x="1303" y="38"/>
                  <a:pt x="1301" y="36"/>
                </a:cubicBezTo>
                <a:cubicBezTo>
                  <a:pt x="1299" y="35"/>
                  <a:pt x="1298" y="34"/>
                  <a:pt x="1297" y="32"/>
                </a:cubicBezTo>
                <a:cubicBezTo>
                  <a:pt x="1296" y="31"/>
                  <a:pt x="1295" y="30"/>
                  <a:pt x="1295" y="28"/>
                </a:cubicBezTo>
                <a:cubicBezTo>
                  <a:pt x="1295" y="26"/>
                  <a:pt x="1296" y="25"/>
                  <a:pt x="1297" y="24"/>
                </a:cubicBezTo>
                <a:cubicBezTo>
                  <a:pt x="1299" y="23"/>
                  <a:pt x="1300" y="23"/>
                  <a:pt x="1303" y="23"/>
                </a:cubicBezTo>
                <a:cubicBezTo>
                  <a:pt x="1304" y="23"/>
                  <a:pt x="1306" y="23"/>
                  <a:pt x="1307" y="24"/>
                </a:cubicBezTo>
                <a:cubicBezTo>
                  <a:pt x="1309" y="24"/>
                  <a:pt x="1310" y="25"/>
                  <a:pt x="1310" y="25"/>
                </a:cubicBezTo>
                <a:close/>
                <a:moveTo>
                  <a:pt x="1047" y="110"/>
                </a:moveTo>
                <a:cubicBezTo>
                  <a:pt x="1052" y="111"/>
                  <a:pt x="1052" y="111"/>
                  <a:pt x="1052" y="111"/>
                </a:cubicBezTo>
                <a:cubicBezTo>
                  <a:pt x="1046" y="156"/>
                  <a:pt x="1046" y="156"/>
                  <a:pt x="1046" y="156"/>
                </a:cubicBezTo>
                <a:cubicBezTo>
                  <a:pt x="1041" y="157"/>
                  <a:pt x="1041" y="157"/>
                  <a:pt x="1041" y="157"/>
                </a:cubicBezTo>
                <a:cubicBezTo>
                  <a:pt x="1041" y="159"/>
                  <a:pt x="1041" y="159"/>
                  <a:pt x="1041" y="159"/>
                </a:cubicBezTo>
                <a:cubicBezTo>
                  <a:pt x="1078" y="159"/>
                  <a:pt x="1078" y="159"/>
                  <a:pt x="1078" y="159"/>
                </a:cubicBezTo>
                <a:cubicBezTo>
                  <a:pt x="1081" y="147"/>
                  <a:pt x="1081" y="147"/>
                  <a:pt x="1081" y="147"/>
                </a:cubicBezTo>
                <a:cubicBezTo>
                  <a:pt x="1077" y="146"/>
                  <a:pt x="1077" y="146"/>
                  <a:pt x="1077" y="146"/>
                </a:cubicBezTo>
                <a:cubicBezTo>
                  <a:pt x="1073" y="155"/>
                  <a:pt x="1073" y="155"/>
                  <a:pt x="1073" y="155"/>
                </a:cubicBezTo>
                <a:cubicBezTo>
                  <a:pt x="1053" y="156"/>
                  <a:pt x="1053" y="156"/>
                  <a:pt x="1053" y="156"/>
                </a:cubicBezTo>
                <a:cubicBezTo>
                  <a:pt x="1056" y="134"/>
                  <a:pt x="1056" y="134"/>
                  <a:pt x="1056" y="134"/>
                </a:cubicBezTo>
                <a:cubicBezTo>
                  <a:pt x="1072" y="135"/>
                  <a:pt x="1072" y="135"/>
                  <a:pt x="1072" y="135"/>
                </a:cubicBezTo>
                <a:cubicBezTo>
                  <a:pt x="1073" y="130"/>
                  <a:pt x="1073" y="130"/>
                  <a:pt x="1073" y="130"/>
                </a:cubicBezTo>
                <a:cubicBezTo>
                  <a:pt x="1057" y="130"/>
                  <a:pt x="1057" y="130"/>
                  <a:pt x="1057" y="130"/>
                </a:cubicBezTo>
                <a:cubicBezTo>
                  <a:pt x="1059" y="110"/>
                  <a:pt x="1059" y="110"/>
                  <a:pt x="1059" y="110"/>
                </a:cubicBezTo>
                <a:cubicBezTo>
                  <a:pt x="1075" y="111"/>
                  <a:pt x="1075" y="111"/>
                  <a:pt x="1075" y="111"/>
                </a:cubicBezTo>
                <a:cubicBezTo>
                  <a:pt x="1076" y="118"/>
                  <a:pt x="1076" y="118"/>
                  <a:pt x="1076" y="118"/>
                </a:cubicBezTo>
                <a:cubicBezTo>
                  <a:pt x="1080" y="118"/>
                  <a:pt x="1080" y="118"/>
                  <a:pt x="1080" y="118"/>
                </a:cubicBezTo>
                <a:cubicBezTo>
                  <a:pt x="1081" y="107"/>
                  <a:pt x="1081" y="107"/>
                  <a:pt x="1081" y="107"/>
                </a:cubicBezTo>
                <a:cubicBezTo>
                  <a:pt x="1048" y="107"/>
                  <a:pt x="1048" y="107"/>
                  <a:pt x="1048" y="107"/>
                </a:cubicBezTo>
                <a:lnTo>
                  <a:pt x="1047" y="110"/>
                </a:lnTo>
                <a:close/>
                <a:moveTo>
                  <a:pt x="1100" y="129"/>
                </a:moveTo>
                <a:cubicBezTo>
                  <a:pt x="1100" y="120"/>
                  <a:pt x="1100" y="120"/>
                  <a:pt x="1100" y="120"/>
                </a:cubicBezTo>
                <a:cubicBezTo>
                  <a:pt x="1099" y="119"/>
                  <a:pt x="1099" y="119"/>
                  <a:pt x="1099" y="119"/>
                </a:cubicBezTo>
                <a:cubicBezTo>
                  <a:pt x="1090" y="121"/>
                  <a:pt x="1090" y="121"/>
                  <a:pt x="1090" y="121"/>
                </a:cubicBezTo>
                <a:cubicBezTo>
                  <a:pt x="1090" y="124"/>
                  <a:pt x="1090" y="124"/>
                  <a:pt x="1090" y="124"/>
                </a:cubicBezTo>
                <a:cubicBezTo>
                  <a:pt x="1093" y="125"/>
                  <a:pt x="1093" y="125"/>
                  <a:pt x="1093" y="125"/>
                </a:cubicBezTo>
                <a:cubicBezTo>
                  <a:pt x="1089" y="159"/>
                  <a:pt x="1089" y="159"/>
                  <a:pt x="1089" y="159"/>
                </a:cubicBezTo>
                <a:cubicBezTo>
                  <a:pt x="1095" y="159"/>
                  <a:pt x="1095" y="159"/>
                  <a:pt x="1095" y="159"/>
                </a:cubicBezTo>
                <a:cubicBezTo>
                  <a:pt x="1099" y="134"/>
                  <a:pt x="1099" y="134"/>
                  <a:pt x="1099" y="134"/>
                </a:cubicBezTo>
                <a:cubicBezTo>
                  <a:pt x="1101" y="131"/>
                  <a:pt x="1103" y="129"/>
                  <a:pt x="1105" y="127"/>
                </a:cubicBezTo>
                <a:cubicBezTo>
                  <a:pt x="1107" y="125"/>
                  <a:pt x="1109" y="124"/>
                  <a:pt x="1111" y="124"/>
                </a:cubicBezTo>
                <a:cubicBezTo>
                  <a:pt x="1113" y="124"/>
                  <a:pt x="1114" y="125"/>
                  <a:pt x="1114" y="126"/>
                </a:cubicBezTo>
                <a:cubicBezTo>
                  <a:pt x="1115" y="127"/>
                  <a:pt x="1115" y="128"/>
                  <a:pt x="1115" y="130"/>
                </a:cubicBezTo>
                <a:cubicBezTo>
                  <a:pt x="1115" y="132"/>
                  <a:pt x="1115" y="134"/>
                  <a:pt x="1115" y="135"/>
                </a:cubicBezTo>
                <a:cubicBezTo>
                  <a:pt x="1115" y="137"/>
                  <a:pt x="1114" y="140"/>
                  <a:pt x="1114" y="142"/>
                </a:cubicBezTo>
                <a:cubicBezTo>
                  <a:pt x="1114" y="144"/>
                  <a:pt x="1114" y="144"/>
                  <a:pt x="1114" y="144"/>
                </a:cubicBezTo>
                <a:cubicBezTo>
                  <a:pt x="1113" y="147"/>
                  <a:pt x="1113" y="147"/>
                  <a:pt x="1113" y="147"/>
                </a:cubicBezTo>
                <a:cubicBezTo>
                  <a:pt x="1112" y="151"/>
                  <a:pt x="1112" y="154"/>
                  <a:pt x="1112" y="156"/>
                </a:cubicBezTo>
                <a:cubicBezTo>
                  <a:pt x="1112" y="159"/>
                  <a:pt x="1113" y="160"/>
                  <a:pt x="1116" y="160"/>
                </a:cubicBezTo>
                <a:cubicBezTo>
                  <a:pt x="1117" y="160"/>
                  <a:pt x="1119" y="160"/>
                  <a:pt x="1120" y="159"/>
                </a:cubicBezTo>
                <a:cubicBezTo>
                  <a:pt x="1121" y="159"/>
                  <a:pt x="1122" y="158"/>
                  <a:pt x="1123" y="157"/>
                </a:cubicBezTo>
                <a:cubicBezTo>
                  <a:pt x="1123" y="157"/>
                  <a:pt x="1124" y="156"/>
                  <a:pt x="1124" y="156"/>
                </a:cubicBezTo>
                <a:cubicBezTo>
                  <a:pt x="1123" y="154"/>
                  <a:pt x="1123" y="154"/>
                  <a:pt x="1123" y="154"/>
                </a:cubicBezTo>
                <a:cubicBezTo>
                  <a:pt x="1122" y="155"/>
                  <a:pt x="1121" y="156"/>
                  <a:pt x="1120" y="156"/>
                </a:cubicBezTo>
                <a:cubicBezTo>
                  <a:pt x="1119" y="156"/>
                  <a:pt x="1119" y="155"/>
                  <a:pt x="1119" y="154"/>
                </a:cubicBezTo>
                <a:cubicBezTo>
                  <a:pt x="1119" y="152"/>
                  <a:pt x="1119" y="149"/>
                  <a:pt x="1120" y="145"/>
                </a:cubicBezTo>
                <a:cubicBezTo>
                  <a:pt x="1121" y="142"/>
                  <a:pt x="1121" y="142"/>
                  <a:pt x="1121" y="142"/>
                </a:cubicBezTo>
                <a:cubicBezTo>
                  <a:pt x="1121" y="140"/>
                  <a:pt x="1121" y="140"/>
                  <a:pt x="1121" y="140"/>
                </a:cubicBezTo>
                <a:cubicBezTo>
                  <a:pt x="1122" y="135"/>
                  <a:pt x="1122" y="132"/>
                  <a:pt x="1122" y="130"/>
                </a:cubicBezTo>
                <a:cubicBezTo>
                  <a:pt x="1122" y="126"/>
                  <a:pt x="1122" y="123"/>
                  <a:pt x="1120" y="122"/>
                </a:cubicBezTo>
                <a:cubicBezTo>
                  <a:pt x="1119" y="120"/>
                  <a:pt x="1117" y="119"/>
                  <a:pt x="1114" y="119"/>
                </a:cubicBezTo>
                <a:cubicBezTo>
                  <a:pt x="1112" y="119"/>
                  <a:pt x="1109" y="120"/>
                  <a:pt x="1106" y="122"/>
                </a:cubicBezTo>
                <a:cubicBezTo>
                  <a:pt x="1104" y="124"/>
                  <a:pt x="1102" y="126"/>
                  <a:pt x="1100" y="129"/>
                </a:cubicBezTo>
                <a:close/>
                <a:moveTo>
                  <a:pt x="1159" y="162"/>
                </a:moveTo>
                <a:cubicBezTo>
                  <a:pt x="1165" y="119"/>
                  <a:pt x="1165" y="119"/>
                  <a:pt x="1165" y="119"/>
                </a:cubicBezTo>
                <a:cubicBezTo>
                  <a:pt x="1160" y="121"/>
                  <a:pt x="1160" y="121"/>
                  <a:pt x="1160" y="121"/>
                </a:cubicBezTo>
                <a:cubicBezTo>
                  <a:pt x="1159" y="121"/>
                  <a:pt x="1158" y="120"/>
                  <a:pt x="1157" y="120"/>
                </a:cubicBezTo>
                <a:cubicBezTo>
                  <a:pt x="1155" y="120"/>
                  <a:pt x="1154" y="119"/>
                  <a:pt x="1153" y="119"/>
                </a:cubicBezTo>
                <a:cubicBezTo>
                  <a:pt x="1148" y="119"/>
                  <a:pt x="1144" y="121"/>
                  <a:pt x="1141" y="123"/>
                </a:cubicBezTo>
                <a:cubicBezTo>
                  <a:pt x="1137" y="126"/>
                  <a:pt x="1135" y="129"/>
                  <a:pt x="1133" y="133"/>
                </a:cubicBezTo>
                <a:cubicBezTo>
                  <a:pt x="1131" y="137"/>
                  <a:pt x="1130" y="141"/>
                  <a:pt x="1130" y="145"/>
                </a:cubicBezTo>
                <a:cubicBezTo>
                  <a:pt x="1130" y="150"/>
                  <a:pt x="1131" y="153"/>
                  <a:pt x="1133" y="156"/>
                </a:cubicBezTo>
                <a:cubicBezTo>
                  <a:pt x="1135" y="159"/>
                  <a:pt x="1138" y="160"/>
                  <a:pt x="1142" y="160"/>
                </a:cubicBezTo>
                <a:cubicBezTo>
                  <a:pt x="1144" y="160"/>
                  <a:pt x="1146" y="159"/>
                  <a:pt x="1148" y="158"/>
                </a:cubicBezTo>
                <a:cubicBezTo>
                  <a:pt x="1150" y="157"/>
                  <a:pt x="1152" y="156"/>
                  <a:pt x="1153" y="155"/>
                </a:cubicBezTo>
                <a:cubicBezTo>
                  <a:pt x="1151" y="164"/>
                  <a:pt x="1151" y="164"/>
                  <a:pt x="1151" y="164"/>
                </a:cubicBezTo>
                <a:cubicBezTo>
                  <a:pt x="1151" y="167"/>
                  <a:pt x="1150" y="169"/>
                  <a:pt x="1149" y="170"/>
                </a:cubicBezTo>
                <a:cubicBezTo>
                  <a:pt x="1147" y="172"/>
                  <a:pt x="1145" y="172"/>
                  <a:pt x="1142" y="172"/>
                </a:cubicBezTo>
                <a:cubicBezTo>
                  <a:pt x="1140" y="172"/>
                  <a:pt x="1139" y="172"/>
                  <a:pt x="1137" y="171"/>
                </a:cubicBezTo>
                <a:cubicBezTo>
                  <a:pt x="1136" y="171"/>
                  <a:pt x="1134" y="170"/>
                  <a:pt x="1133" y="170"/>
                </a:cubicBezTo>
                <a:cubicBezTo>
                  <a:pt x="1132" y="175"/>
                  <a:pt x="1132" y="175"/>
                  <a:pt x="1132" y="175"/>
                </a:cubicBezTo>
                <a:cubicBezTo>
                  <a:pt x="1132" y="176"/>
                  <a:pt x="1134" y="176"/>
                  <a:pt x="1135" y="176"/>
                </a:cubicBezTo>
                <a:cubicBezTo>
                  <a:pt x="1137" y="177"/>
                  <a:pt x="1138" y="177"/>
                  <a:pt x="1140" y="177"/>
                </a:cubicBezTo>
                <a:cubicBezTo>
                  <a:pt x="1142" y="177"/>
                  <a:pt x="1145" y="176"/>
                  <a:pt x="1148" y="175"/>
                </a:cubicBezTo>
                <a:cubicBezTo>
                  <a:pt x="1150" y="174"/>
                  <a:pt x="1153" y="173"/>
                  <a:pt x="1155" y="170"/>
                </a:cubicBezTo>
                <a:cubicBezTo>
                  <a:pt x="1157" y="168"/>
                  <a:pt x="1158" y="165"/>
                  <a:pt x="1159" y="162"/>
                </a:cubicBezTo>
                <a:close/>
                <a:moveTo>
                  <a:pt x="1157" y="125"/>
                </a:moveTo>
                <a:cubicBezTo>
                  <a:pt x="1154" y="150"/>
                  <a:pt x="1154" y="150"/>
                  <a:pt x="1154" y="150"/>
                </a:cubicBezTo>
                <a:cubicBezTo>
                  <a:pt x="1152" y="151"/>
                  <a:pt x="1151" y="153"/>
                  <a:pt x="1149" y="154"/>
                </a:cubicBezTo>
                <a:cubicBezTo>
                  <a:pt x="1148" y="155"/>
                  <a:pt x="1146" y="155"/>
                  <a:pt x="1144" y="155"/>
                </a:cubicBezTo>
                <a:cubicBezTo>
                  <a:pt x="1142" y="155"/>
                  <a:pt x="1140" y="155"/>
                  <a:pt x="1139" y="153"/>
                </a:cubicBezTo>
                <a:cubicBezTo>
                  <a:pt x="1138" y="151"/>
                  <a:pt x="1138" y="148"/>
                  <a:pt x="1138" y="145"/>
                </a:cubicBezTo>
                <a:cubicBezTo>
                  <a:pt x="1138" y="142"/>
                  <a:pt x="1138" y="138"/>
                  <a:pt x="1139" y="135"/>
                </a:cubicBezTo>
                <a:cubicBezTo>
                  <a:pt x="1140" y="132"/>
                  <a:pt x="1142" y="129"/>
                  <a:pt x="1144" y="127"/>
                </a:cubicBezTo>
                <a:cubicBezTo>
                  <a:pt x="1146" y="124"/>
                  <a:pt x="1149" y="123"/>
                  <a:pt x="1152" y="123"/>
                </a:cubicBezTo>
                <a:cubicBezTo>
                  <a:pt x="1154" y="123"/>
                  <a:pt x="1156" y="124"/>
                  <a:pt x="1157" y="125"/>
                </a:cubicBezTo>
                <a:close/>
                <a:moveTo>
                  <a:pt x="1181" y="153"/>
                </a:moveTo>
                <a:cubicBezTo>
                  <a:pt x="1185" y="120"/>
                  <a:pt x="1185" y="120"/>
                  <a:pt x="1185" y="120"/>
                </a:cubicBezTo>
                <a:cubicBezTo>
                  <a:pt x="1184" y="119"/>
                  <a:pt x="1184" y="119"/>
                  <a:pt x="1184" y="119"/>
                </a:cubicBezTo>
                <a:cubicBezTo>
                  <a:pt x="1174" y="121"/>
                  <a:pt x="1174" y="121"/>
                  <a:pt x="1174" y="121"/>
                </a:cubicBezTo>
                <a:cubicBezTo>
                  <a:pt x="1173" y="123"/>
                  <a:pt x="1173" y="123"/>
                  <a:pt x="1173" y="123"/>
                </a:cubicBezTo>
                <a:cubicBezTo>
                  <a:pt x="1178" y="125"/>
                  <a:pt x="1178" y="125"/>
                  <a:pt x="1178" y="125"/>
                </a:cubicBezTo>
                <a:cubicBezTo>
                  <a:pt x="1177" y="132"/>
                  <a:pt x="1176" y="138"/>
                  <a:pt x="1175" y="142"/>
                </a:cubicBezTo>
                <a:cubicBezTo>
                  <a:pt x="1174" y="150"/>
                  <a:pt x="1174" y="154"/>
                  <a:pt x="1173" y="156"/>
                </a:cubicBezTo>
                <a:cubicBezTo>
                  <a:pt x="1173" y="157"/>
                  <a:pt x="1174" y="158"/>
                  <a:pt x="1174" y="159"/>
                </a:cubicBezTo>
                <a:cubicBezTo>
                  <a:pt x="1175" y="160"/>
                  <a:pt x="1176" y="160"/>
                  <a:pt x="1178" y="160"/>
                </a:cubicBezTo>
                <a:cubicBezTo>
                  <a:pt x="1180" y="160"/>
                  <a:pt x="1182" y="159"/>
                  <a:pt x="1183" y="158"/>
                </a:cubicBezTo>
                <a:cubicBezTo>
                  <a:pt x="1184" y="157"/>
                  <a:pt x="1185" y="156"/>
                  <a:pt x="1186" y="155"/>
                </a:cubicBezTo>
                <a:cubicBezTo>
                  <a:pt x="1185" y="154"/>
                  <a:pt x="1185" y="154"/>
                  <a:pt x="1185" y="154"/>
                </a:cubicBezTo>
                <a:cubicBezTo>
                  <a:pt x="1184" y="154"/>
                  <a:pt x="1184" y="155"/>
                  <a:pt x="1183" y="155"/>
                </a:cubicBezTo>
                <a:cubicBezTo>
                  <a:pt x="1183" y="156"/>
                  <a:pt x="1182" y="156"/>
                  <a:pt x="1182" y="156"/>
                </a:cubicBezTo>
                <a:cubicBezTo>
                  <a:pt x="1181" y="156"/>
                  <a:pt x="1181" y="156"/>
                  <a:pt x="1181" y="155"/>
                </a:cubicBezTo>
                <a:cubicBezTo>
                  <a:pt x="1181" y="155"/>
                  <a:pt x="1180" y="155"/>
                  <a:pt x="1180" y="154"/>
                </a:cubicBezTo>
                <a:lnTo>
                  <a:pt x="1181" y="153"/>
                </a:lnTo>
                <a:close/>
                <a:moveTo>
                  <a:pt x="1183" y="112"/>
                </a:moveTo>
                <a:cubicBezTo>
                  <a:pt x="1184" y="112"/>
                  <a:pt x="1185" y="111"/>
                  <a:pt x="1186" y="110"/>
                </a:cubicBezTo>
                <a:cubicBezTo>
                  <a:pt x="1187" y="109"/>
                  <a:pt x="1188" y="108"/>
                  <a:pt x="1188" y="107"/>
                </a:cubicBezTo>
                <a:cubicBezTo>
                  <a:pt x="1188" y="106"/>
                  <a:pt x="1187" y="105"/>
                  <a:pt x="1187" y="104"/>
                </a:cubicBezTo>
                <a:cubicBezTo>
                  <a:pt x="1186" y="103"/>
                  <a:pt x="1185" y="103"/>
                  <a:pt x="1184" y="103"/>
                </a:cubicBezTo>
                <a:cubicBezTo>
                  <a:pt x="1182" y="103"/>
                  <a:pt x="1181" y="103"/>
                  <a:pt x="1180" y="104"/>
                </a:cubicBezTo>
                <a:cubicBezTo>
                  <a:pt x="1180" y="105"/>
                  <a:pt x="1179" y="107"/>
                  <a:pt x="1179" y="108"/>
                </a:cubicBezTo>
                <a:cubicBezTo>
                  <a:pt x="1179" y="109"/>
                  <a:pt x="1179" y="110"/>
                  <a:pt x="1180" y="111"/>
                </a:cubicBezTo>
                <a:cubicBezTo>
                  <a:pt x="1181" y="111"/>
                  <a:pt x="1182" y="112"/>
                  <a:pt x="1183" y="112"/>
                </a:cubicBezTo>
                <a:close/>
                <a:moveTo>
                  <a:pt x="1207" y="129"/>
                </a:moveTo>
                <a:cubicBezTo>
                  <a:pt x="1208" y="120"/>
                  <a:pt x="1208" y="120"/>
                  <a:pt x="1208" y="120"/>
                </a:cubicBezTo>
                <a:cubicBezTo>
                  <a:pt x="1207" y="119"/>
                  <a:pt x="1207" y="119"/>
                  <a:pt x="1207" y="119"/>
                </a:cubicBezTo>
                <a:cubicBezTo>
                  <a:pt x="1198" y="121"/>
                  <a:pt x="1198" y="121"/>
                  <a:pt x="1198" y="121"/>
                </a:cubicBezTo>
                <a:cubicBezTo>
                  <a:pt x="1198" y="124"/>
                  <a:pt x="1198" y="124"/>
                  <a:pt x="1198" y="124"/>
                </a:cubicBezTo>
                <a:cubicBezTo>
                  <a:pt x="1201" y="125"/>
                  <a:pt x="1201" y="125"/>
                  <a:pt x="1201" y="125"/>
                </a:cubicBezTo>
                <a:cubicBezTo>
                  <a:pt x="1196" y="159"/>
                  <a:pt x="1196" y="159"/>
                  <a:pt x="1196" y="159"/>
                </a:cubicBezTo>
                <a:cubicBezTo>
                  <a:pt x="1203" y="159"/>
                  <a:pt x="1203" y="159"/>
                  <a:pt x="1203" y="159"/>
                </a:cubicBezTo>
                <a:cubicBezTo>
                  <a:pt x="1207" y="134"/>
                  <a:pt x="1207" y="134"/>
                  <a:pt x="1207" y="134"/>
                </a:cubicBezTo>
                <a:cubicBezTo>
                  <a:pt x="1208" y="131"/>
                  <a:pt x="1210" y="129"/>
                  <a:pt x="1213" y="127"/>
                </a:cubicBezTo>
                <a:cubicBezTo>
                  <a:pt x="1215" y="125"/>
                  <a:pt x="1217" y="124"/>
                  <a:pt x="1219" y="124"/>
                </a:cubicBezTo>
                <a:cubicBezTo>
                  <a:pt x="1220" y="124"/>
                  <a:pt x="1221" y="125"/>
                  <a:pt x="1222" y="126"/>
                </a:cubicBezTo>
                <a:cubicBezTo>
                  <a:pt x="1223" y="127"/>
                  <a:pt x="1223" y="128"/>
                  <a:pt x="1223" y="130"/>
                </a:cubicBezTo>
                <a:cubicBezTo>
                  <a:pt x="1223" y="132"/>
                  <a:pt x="1223" y="134"/>
                  <a:pt x="1223" y="135"/>
                </a:cubicBezTo>
                <a:cubicBezTo>
                  <a:pt x="1222" y="137"/>
                  <a:pt x="1222" y="140"/>
                  <a:pt x="1222" y="142"/>
                </a:cubicBezTo>
                <a:cubicBezTo>
                  <a:pt x="1221" y="144"/>
                  <a:pt x="1221" y="144"/>
                  <a:pt x="1221" y="144"/>
                </a:cubicBezTo>
                <a:cubicBezTo>
                  <a:pt x="1221" y="147"/>
                  <a:pt x="1221" y="147"/>
                  <a:pt x="1221" y="147"/>
                </a:cubicBezTo>
                <a:cubicBezTo>
                  <a:pt x="1220" y="151"/>
                  <a:pt x="1219" y="154"/>
                  <a:pt x="1219" y="156"/>
                </a:cubicBezTo>
                <a:cubicBezTo>
                  <a:pt x="1219" y="159"/>
                  <a:pt x="1221" y="160"/>
                  <a:pt x="1224" y="160"/>
                </a:cubicBezTo>
                <a:cubicBezTo>
                  <a:pt x="1225" y="160"/>
                  <a:pt x="1226" y="160"/>
                  <a:pt x="1227" y="159"/>
                </a:cubicBezTo>
                <a:cubicBezTo>
                  <a:pt x="1228" y="159"/>
                  <a:pt x="1229" y="158"/>
                  <a:pt x="1230" y="157"/>
                </a:cubicBezTo>
                <a:cubicBezTo>
                  <a:pt x="1231" y="157"/>
                  <a:pt x="1231" y="156"/>
                  <a:pt x="1232" y="156"/>
                </a:cubicBezTo>
                <a:cubicBezTo>
                  <a:pt x="1231" y="154"/>
                  <a:pt x="1231" y="154"/>
                  <a:pt x="1231" y="154"/>
                </a:cubicBezTo>
                <a:cubicBezTo>
                  <a:pt x="1229" y="155"/>
                  <a:pt x="1228" y="156"/>
                  <a:pt x="1227" y="156"/>
                </a:cubicBezTo>
                <a:cubicBezTo>
                  <a:pt x="1227" y="156"/>
                  <a:pt x="1227" y="155"/>
                  <a:pt x="1227" y="154"/>
                </a:cubicBezTo>
                <a:cubicBezTo>
                  <a:pt x="1227" y="152"/>
                  <a:pt x="1227" y="149"/>
                  <a:pt x="1228" y="145"/>
                </a:cubicBezTo>
                <a:cubicBezTo>
                  <a:pt x="1228" y="142"/>
                  <a:pt x="1228" y="142"/>
                  <a:pt x="1228" y="142"/>
                </a:cubicBezTo>
                <a:cubicBezTo>
                  <a:pt x="1229" y="140"/>
                  <a:pt x="1229" y="140"/>
                  <a:pt x="1229" y="140"/>
                </a:cubicBezTo>
                <a:cubicBezTo>
                  <a:pt x="1230" y="135"/>
                  <a:pt x="1230" y="132"/>
                  <a:pt x="1230" y="130"/>
                </a:cubicBezTo>
                <a:cubicBezTo>
                  <a:pt x="1230" y="126"/>
                  <a:pt x="1229" y="123"/>
                  <a:pt x="1228" y="122"/>
                </a:cubicBezTo>
                <a:cubicBezTo>
                  <a:pt x="1227" y="120"/>
                  <a:pt x="1225" y="119"/>
                  <a:pt x="1222" y="119"/>
                </a:cubicBezTo>
                <a:cubicBezTo>
                  <a:pt x="1219" y="119"/>
                  <a:pt x="1217" y="120"/>
                  <a:pt x="1214" y="122"/>
                </a:cubicBezTo>
                <a:cubicBezTo>
                  <a:pt x="1211" y="124"/>
                  <a:pt x="1209" y="126"/>
                  <a:pt x="1207" y="129"/>
                </a:cubicBezTo>
                <a:close/>
                <a:moveTo>
                  <a:pt x="1267" y="153"/>
                </a:moveTo>
                <a:cubicBezTo>
                  <a:pt x="1266" y="150"/>
                  <a:pt x="1266" y="150"/>
                  <a:pt x="1266" y="150"/>
                </a:cubicBezTo>
                <a:cubicBezTo>
                  <a:pt x="1264" y="152"/>
                  <a:pt x="1262" y="153"/>
                  <a:pt x="1260" y="154"/>
                </a:cubicBezTo>
                <a:cubicBezTo>
                  <a:pt x="1258" y="155"/>
                  <a:pt x="1256" y="156"/>
                  <a:pt x="1254" y="156"/>
                </a:cubicBezTo>
                <a:cubicBezTo>
                  <a:pt x="1251" y="156"/>
                  <a:pt x="1249" y="154"/>
                  <a:pt x="1248" y="152"/>
                </a:cubicBezTo>
                <a:cubicBezTo>
                  <a:pt x="1246" y="150"/>
                  <a:pt x="1246" y="147"/>
                  <a:pt x="1246" y="143"/>
                </a:cubicBezTo>
                <a:cubicBezTo>
                  <a:pt x="1249" y="143"/>
                  <a:pt x="1252" y="143"/>
                  <a:pt x="1256" y="142"/>
                </a:cubicBezTo>
                <a:cubicBezTo>
                  <a:pt x="1259" y="140"/>
                  <a:pt x="1263" y="139"/>
                  <a:pt x="1265" y="136"/>
                </a:cubicBezTo>
                <a:cubicBezTo>
                  <a:pt x="1268" y="134"/>
                  <a:pt x="1269" y="131"/>
                  <a:pt x="1269" y="128"/>
                </a:cubicBezTo>
                <a:cubicBezTo>
                  <a:pt x="1269" y="125"/>
                  <a:pt x="1268" y="123"/>
                  <a:pt x="1267" y="122"/>
                </a:cubicBezTo>
                <a:cubicBezTo>
                  <a:pt x="1265" y="120"/>
                  <a:pt x="1263" y="119"/>
                  <a:pt x="1259" y="119"/>
                </a:cubicBezTo>
                <a:cubicBezTo>
                  <a:pt x="1255" y="119"/>
                  <a:pt x="1252" y="121"/>
                  <a:pt x="1249" y="123"/>
                </a:cubicBezTo>
                <a:cubicBezTo>
                  <a:pt x="1246" y="125"/>
                  <a:pt x="1243" y="128"/>
                  <a:pt x="1241" y="132"/>
                </a:cubicBezTo>
                <a:cubicBezTo>
                  <a:pt x="1240" y="136"/>
                  <a:pt x="1239" y="140"/>
                  <a:pt x="1239" y="145"/>
                </a:cubicBezTo>
                <a:cubicBezTo>
                  <a:pt x="1239" y="147"/>
                  <a:pt x="1239" y="150"/>
                  <a:pt x="1240" y="152"/>
                </a:cubicBezTo>
                <a:cubicBezTo>
                  <a:pt x="1241" y="155"/>
                  <a:pt x="1243" y="156"/>
                  <a:pt x="1245" y="158"/>
                </a:cubicBezTo>
                <a:cubicBezTo>
                  <a:pt x="1247" y="159"/>
                  <a:pt x="1249" y="160"/>
                  <a:pt x="1253" y="160"/>
                </a:cubicBezTo>
                <a:cubicBezTo>
                  <a:pt x="1256" y="160"/>
                  <a:pt x="1259" y="159"/>
                  <a:pt x="1261" y="158"/>
                </a:cubicBezTo>
                <a:cubicBezTo>
                  <a:pt x="1264" y="156"/>
                  <a:pt x="1266" y="154"/>
                  <a:pt x="1267" y="153"/>
                </a:cubicBezTo>
                <a:close/>
                <a:moveTo>
                  <a:pt x="1258" y="123"/>
                </a:moveTo>
                <a:cubicBezTo>
                  <a:pt x="1259" y="123"/>
                  <a:pt x="1260" y="124"/>
                  <a:pt x="1261" y="125"/>
                </a:cubicBezTo>
                <a:cubicBezTo>
                  <a:pt x="1262" y="125"/>
                  <a:pt x="1263" y="127"/>
                  <a:pt x="1263" y="129"/>
                </a:cubicBezTo>
                <a:cubicBezTo>
                  <a:pt x="1263" y="131"/>
                  <a:pt x="1262" y="133"/>
                  <a:pt x="1260" y="135"/>
                </a:cubicBezTo>
                <a:cubicBezTo>
                  <a:pt x="1258" y="136"/>
                  <a:pt x="1256" y="138"/>
                  <a:pt x="1253" y="139"/>
                </a:cubicBezTo>
                <a:cubicBezTo>
                  <a:pt x="1251" y="139"/>
                  <a:pt x="1248" y="140"/>
                  <a:pt x="1246" y="140"/>
                </a:cubicBezTo>
                <a:cubicBezTo>
                  <a:pt x="1246" y="138"/>
                  <a:pt x="1247" y="135"/>
                  <a:pt x="1248" y="132"/>
                </a:cubicBezTo>
                <a:cubicBezTo>
                  <a:pt x="1249" y="130"/>
                  <a:pt x="1250" y="127"/>
                  <a:pt x="1252" y="126"/>
                </a:cubicBezTo>
                <a:cubicBezTo>
                  <a:pt x="1254" y="124"/>
                  <a:pt x="1255" y="123"/>
                  <a:pt x="1258" y="123"/>
                </a:cubicBezTo>
                <a:close/>
                <a:moveTo>
                  <a:pt x="1303" y="153"/>
                </a:moveTo>
                <a:cubicBezTo>
                  <a:pt x="1302" y="150"/>
                  <a:pt x="1302" y="150"/>
                  <a:pt x="1302" y="150"/>
                </a:cubicBezTo>
                <a:cubicBezTo>
                  <a:pt x="1300" y="152"/>
                  <a:pt x="1298" y="153"/>
                  <a:pt x="1296" y="154"/>
                </a:cubicBezTo>
                <a:cubicBezTo>
                  <a:pt x="1294" y="155"/>
                  <a:pt x="1292" y="156"/>
                  <a:pt x="1290" y="156"/>
                </a:cubicBezTo>
                <a:cubicBezTo>
                  <a:pt x="1287" y="156"/>
                  <a:pt x="1285" y="154"/>
                  <a:pt x="1284" y="152"/>
                </a:cubicBezTo>
                <a:cubicBezTo>
                  <a:pt x="1282" y="150"/>
                  <a:pt x="1282" y="147"/>
                  <a:pt x="1282" y="143"/>
                </a:cubicBezTo>
                <a:cubicBezTo>
                  <a:pt x="1285" y="143"/>
                  <a:pt x="1288" y="143"/>
                  <a:pt x="1292" y="142"/>
                </a:cubicBezTo>
                <a:cubicBezTo>
                  <a:pt x="1295" y="140"/>
                  <a:pt x="1299" y="139"/>
                  <a:pt x="1301" y="136"/>
                </a:cubicBezTo>
                <a:cubicBezTo>
                  <a:pt x="1304" y="134"/>
                  <a:pt x="1305" y="131"/>
                  <a:pt x="1305" y="128"/>
                </a:cubicBezTo>
                <a:cubicBezTo>
                  <a:pt x="1305" y="125"/>
                  <a:pt x="1304" y="123"/>
                  <a:pt x="1303" y="122"/>
                </a:cubicBezTo>
                <a:cubicBezTo>
                  <a:pt x="1301" y="120"/>
                  <a:pt x="1299" y="119"/>
                  <a:pt x="1295" y="119"/>
                </a:cubicBezTo>
                <a:cubicBezTo>
                  <a:pt x="1291" y="119"/>
                  <a:pt x="1288" y="121"/>
                  <a:pt x="1285" y="123"/>
                </a:cubicBezTo>
                <a:cubicBezTo>
                  <a:pt x="1282" y="125"/>
                  <a:pt x="1279" y="128"/>
                  <a:pt x="1277" y="132"/>
                </a:cubicBezTo>
                <a:cubicBezTo>
                  <a:pt x="1275" y="136"/>
                  <a:pt x="1275" y="140"/>
                  <a:pt x="1275" y="145"/>
                </a:cubicBezTo>
                <a:cubicBezTo>
                  <a:pt x="1275" y="147"/>
                  <a:pt x="1275" y="150"/>
                  <a:pt x="1276" y="152"/>
                </a:cubicBezTo>
                <a:cubicBezTo>
                  <a:pt x="1277" y="155"/>
                  <a:pt x="1279" y="156"/>
                  <a:pt x="1281" y="158"/>
                </a:cubicBezTo>
                <a:cubicBezTo>
                  <a:pt x="1283" y="159"/>
                  <a:pt x="1285" y="160"/>
                  <a:pt x="1288" y="160"/>
                </a:cubicBezTo>
                <a:cubicBezTo>
                  <a:pt x="1292" y="160"/>
                  <a:pt x="1295" y="159"/>
                  <a:pt x="1297" y="158"/>
                </a:cubicBezTo>
                <a:cubicBezTo>
                  <a:pt x="1300" y="156"/>
                  <a:pt x="1302" y="154"/>
                  <a:pt x="1303" y="153"/>
                </a:cubicBezTo>
                <a:close/>
                <a:moveTo>
                  <a:pt x="1294" y="123"/>
                </a:moveTo>
                <a:cubicBezTo>
                  <a:pt x="1295" y="123"/>
                  <a:pt x="1296" y="124"/>
                  <a:pt x="1297" y="125"/>
                </a:cubicBezTo>
                <a:cubicBezTo>
                  <a:pt x="1298" y="125"/>
                  <a:pt x="1298" y="127"/>
                  <a:pt x="1298" y="129"/>
                </a:cubicBezTo>
                <a:cubicBezTo>
                  <a:pt x="1298" y="131"/>
                  <a:pt x="1298" y="133"/>
                  <a:pt x="1296" y="135"/>
                </a:cubicBezTo>
                <a:cubicBezTo>
                  <a:pt x="1294" y="136"/>
                  <a:pt x="1292" y="138"/>
                  <a:pt x="1289" y="139"/>
                </a:cubicBezTo>
                <a:cubicBezTo>
                  <a:pt x="1287" y="139"/>
                  <a:pt x="1284" y="140"/>
                  <a:pt x="1282" y="140"/>
                </a:cubicBezTo>
                <a:cubicBezTo>
                  <a:pt x="1282" y="138"/>
                  <a:pt x="1283" y="135"/>
                  <a:pt x="1284" y="132"/>
                </a:cubicBezTo>
                <a:cubicBezTo>
                  <a:pt x="1285" y="130"/>
                  <a:pt x="1286" y="127"/>
                  <a:pt x="1288" y="126"/>
                </a:cubicBezTo>
                <a:cubicBezTo>
                  <a:pt x="1289" y="124"/>
                  <a:pt x="1291" y="123"/>
                  <a:pt x="1294" y="123"/>
                </a:cubicBezTo>
                <a:close/>
                <a:moveTo>
                  <a:pt x="1322" y="129"/>
                </a:moveTo>
                <a:cubicBezTo>
                  <a:pt x="1323" y="127"/>
                  <a:pt x="1323" y="127"/>
                  <a:pt x="1323" y="127"/>
                </a:cubicBezTo>
                <a:cubicBezTo>
                  <a:pt x="1323" y="120"/>
                  <a:pt x="1323" y="120"/>
                  <a:pt x="1323" y="120"/>
                </a:cubicBezTo>
                <a:cubicBezTo>
                  <a:pt x="1322" y="119"/>
                  <a:pt x="1322" y="119"/>
                  <a:pt x="1322" y="119"/>
                </a:cubicBezTo>
                <a:cubicBezTo>
                  <a:pt x="1314" y="121"/>
                  <a:pt x="1314" y="121"/>
                  <a:pt x="1314" y="121"/>
                </a:cubicBezTo>
                <a:cubicBezTo>
                  <a:pt x="1313" y="124"/>
                  <a:pt x="1313" y="124"/>
                  <a:pt x="1313" y="124"/>
                </a:cubicBezTo>
                <a:cubicBezTo>
                  <a:pt x="1317" y="125"/>
                  <a:pt x="1317" y="125"/>
                  <a:pt x="1317" y="125"/>
                </a:cubicBezTo>
                <a:cubicBezTo>
                  <a:pt x="1312" y="159"/>
                  <a:pt x="1312" y="159"/>
                  <a:pt x="1312" y="159"/>
                </a:cubicBezTo>
                <a:cubicBezTo>
                  <a:pt x="1319" y="159"/>
                  <a:pt x="1319" y="159"/>
                  <a:pt x="1319" y="159"/>
                </a:cubicBezTo>
                <a:cubicBezTo>
                  <a:pt x="1322" y="134"/>
                  <a:pt x="1322" y="134"/>
                  <a:pt x="1322" y="134"/>
                </a:cubicBezTo>
                <a:cubicBezTo>
                  <a:pt x="1323" y="132"/>
                  <a:pt x="1325" y="130"/>
                  <a:pt x="1327" y="129"/>
                </a:cubicBezTo>
                <a:cubicBezTo>
                  <a:pt x="1329" y="127"/>
                  <a:pt x="1331" y="127"/>
                  <a:pt x="1333" y="127"/>
                </a:cubicBezTo>
                <a:cubicBezTo>
                  <a:pt x="1334" y="127"/>
                  <a:pt x="1335" y="127"/>
                  <a:pt x="1336" y="127"/>
                </a:cubicBezTo>
                <a:cubicBezTo>
                  <a:pt x="1338" y="120"/>
                  <a:pt x="1338" y="120"/>
                  <a:pt x="1338" y="120"/>
                </a:cubicBezTo>
                <a:cubicBezTo>
                  <a:pt x="1337" y="120"/>
                  <a:pt x="1336" y="119"/>
                  <a:pt x="1335" y="119"/>
                </a:cubicBezTo>
                <a:cubicBezTo>
                  <a:pt x="1333" y="119"/>
                  <a:pt x="1331" y="120"/>
                  <a:pt x="1330" y="121"/>
                </a:cubicBezTo>
                <a:cubicBezTo>
                  <a:pt x="1328" y="122"/>
                  <a:pt x="1326" y="123"/>
                  <a:pt x="1325" y="125"/>
                </a:cubicBezTo>
                <a:cubicBezTo>
                  <a:pt x="1324" y="126"/>
                  <a:pt x="1323" y="128"/>
                  <a:pt x="1322" y="129"/>
                </a:cubicBezTo>
                <a:close/>
                <a:moveTo>
                  <a:pt x="1349" y="153"/>
                </a:moveTo>
                <a:cubicBezTo>
                  <a:pt x="1354" y="120"/>
                  <a:pt x="1354" y="120"/>
                  <a:pt x="1354" y="120"/>
                </a:cubicBezTo>
                <a:cubicBezTo>
                  <a:pt x="1352" y="119"/>
                  <a:pt x="1352" y="119"/>
                  <a:pt x="1352" y="119"/>
                </a:cubicBezTo>
                <a:cubicBezTo>
                  <a:pt x="1342" y="121"/>
                  <a:pt x="1342" y="121"/>
                  <a:pt x="1342" y="121"/>
                </a:cubicBezTo>
                <a:cubicBezTo>
                  <a:pt x="1342" y="123"/>
                  <a:pt x="1342" y="123"/>
                  <a:pt x="1342" y="123"/>
                </a:cubicBezTo>
                <a:cubicBezTo>
                  <a:pt x="1346" y="125"/>
                  <a:pt x="1346" y="125"/>
                  <a:pt x="1346" y="125"/>
                </a:cubicBezTo>
                <a:cubicBezTo>
                  <a:pt x="1345" y="132"/>
                  <a:pt x="1345" y="138"/>
                  <a:pt x="1344" y="142"/>
                </a:cubicBezTo>
                <a:cubicBezTo>
                  <a:pt x="1343" y="150"/>
                  <a:pt x="1342" y="154"/>
                  <a:pt x="1342" y="156"/>
                </a:cubicBezTo>
                <a:cubicBezTo>
                  <a:pt x="1342" y="157"/>
                  <a:pt x="1342" y="158"/>
                  <a:pt x="1343" y="159"/>
                </a:cubicBezTo>
                <a:cubicBezTo>
                  <a:pt x="1344" y="160"/>
                  <a:pt x="1345" y="160"/>
                  <a:pt x="1347" y="160"/>
                </a:cubicBezTo>
                <a:cubicBezTo>
                  <a:pt x="1349" y="160"/>
                  <a:pt x="1350" y="159"/>
                  <a:pt x="1352" y="158"/>
                </a:cubicBezTo>
                <a:cubicBezTo>
                  <a:pt x="1353" y="157"/>
                  <a:pt x="1354" y="156"/>
                  <a:pt x="1355" y="155"/>
                </a:cubicBezTo>
                <a:cubicBezTo>
                  <a:pt x="1354" y="154"/>
                  <a:pt x="1354" y="154"/>
                  <a:pt x="1354" y="154"/>
                </a:cubicBezTo>
                <a:cubicBezTo>
                  <a:pt x="1353" y="154"/>
                  <a:pt x="1352" y="155"/>
                  <a:pt x="1352" y="155"/>
                </a:cubicBezTo>
                <a:cubicBezTo>
                  <a:pt x="1351" y="156"/>
                  <a:pt x="1351" y="156"/>
                  <a:pt x="1350" y="156"/>
                </a:cubicBezTo>
                <a:cubicBezTo>
                  <a:pt x="1350" y="156"/>
                  <a:pt x="1350" y="156"/>
                  <a:pt x="1349" y="155"/>
                </a:cubicBezTo>
                <a:cubicBezTo>
                  <a:pt x="1349" y="155"/>
                  <a:pt x="1349" y="155"/>
                  <a:pt x="1349" y="154"/>
                </a:cubicBezTo>
                <a:lnTo>
                  <a:pt x="1349" y="153"/>
                </a:lnTo>
                <a:close/>
                <a:moveTo>
                  <a:pt x="1351" y="112"/>
                </a:moveTo>
                <a:cubicBezTo>
                  <a:pt x="1353" y="112"/>
                  <a:pt x="1354" y="111"/>
                  <a:pt x="1355" y="110"/>
                </a:cubicBezTo>
                <a:cubicBezTo>
                  <a:pt x="1356" y="109"/>
                  <a:pt x="1356" y="108"/>
                  <a:pt x="1356" y="107"/>
                </a:cubicBezTo>
                <a:cubicBezTo>
                  <a:pt x="1356" y="106"/>
                  <a:pt x="1356" y="105"/>
                  <a:pt x="1355" y="104"/>
                </a:cubicBezTo>
                <a:cubicBezTo>
                  <a:pt x="1354" y="103"/>
                  <a:pt x="1353" y="103"/>
                  <a:pt x="1352" y="103"/>
                </a:cubicBezTo>
                <a:cubicBezTo>
                  <a:pt x="1351" y="103"/>
                  <a:pt x="1350" y="103"/>
                  <a:pt x="1349" y="104"/>
                </a:cubicBezTo>
                <a:cubicBezTo>
                  <a:pt x="1348" y="105"/>
                  <a:pt x="1348" y="107"/>
                  <a:pt x="1348" y="108"/>
                </a:cubicBezTo>
                <a:cubicBezTo>
                  <a:pt x="1348" y="109"/>
                  <a:pt x="1348" y="110"/>
                  <a:pt x="1349" y="111"/>
                </a:cubicBezTo>
                <a:cubicBezTo>
                  <a:pt x="1350" y="111"/>
                  <a:pt x="1350" y="112"/>
                  <a:pt x="1351" y="112"/>
                </a:cubicBezTo>
                <a:close/>
                <a:moveTo>
                  <a:pt x="1374" y="129"/>
                </a:moveTo>
                <a:cubicBezTo>
                  <a:pt x="1375" y="120"/>
                  <a:pt x="1375" y="120"/>
                  <a:pt x="1375" y="120"/>
                </a:cubicBezTo>
                <a:cubicBezTo>
                  <a:pt x="1374" y="119"/>
                  <a:pt x="1374" y="119"/>
                  <a:pt x="1374" y="119"/>
                </a:cubicBezTo>
                <a:cubicBezTo>
                  <a:pt x="1365" y="121"/>
                  <a:pt x="1365" y="121"/>
                  <a:pt x="1365" y="121"/>
                </a:cubicBezTo>
                <a:cubicBezTo>
                  <a:pt x="1365" y="124"/>
                  <a:pt x="1365" y="124"/>
                  <a:pt x="1365" y="124"/>
                </a:cubicBezTo>
                <a:cubicBezTo>
                  <a:pt x="1368" y="125"/>
                  <a:pt x="1368" y="125"/>
                  <a:pt x="1368" y="125"/>
                </a:cubicBezTo>
                <a:cubicBezTo>
                  <a:pt x="1364" y="159"/>
                  <a:pt x="1364" y="159"/>
                  <a:pt x="1364" y="159"/>
                </a:cubicBezTo>
                <a:cubicBezTo>
                  <a:pt x="1370" y="159"/>
                  <a:pt x="1370" y="159"/>
                  <a:pt x="1370" y="159"/>
                </a:cubicBezTo>
                <a:cubicBezTo>
                  <a:pt x="1374" y="134"/>
                  <a:pt x="1374" y="134"/>
                  <a:pt x="1374" y="134"/>
                </a:cubicBezTo>
                <a:cubicBezTo>
                  <a:pt x="1375" y="131"/>
                  <a:pt x="1377" y="129"/>
                  <a:pt x="1380" y="127"/>
                </a:cubicBezTo>
                <a:cubicBezTo>
                  <a:pt x="1382" y="125"/>
                  <a:pt x="1384" y="124"/>
                  <a:pt x="1386" y="124"/>
                </a:cubicBezTo>
                <a:cubicBezTo>
                  <a:pt x="1388" y="124"/>
                  <a:pt x="1389" y="125"/>
                  <a:pt x="1389" y="126"/>
                </a:cubicBezTo>
                <a:cubicBezTo>
                  <a:pt x="1390" y="127"/>
                  <a:pt x="1390" y="128"/>
                  <a:pt x="1390" y="130"/>
                </a:cubicBezTo>
                <a:cubicBezTo>
                  <a:pt x="1390" y="132"/>
                  <a:pt x="1390" y="134"/>
                  <a:pt x="1390" y="135"/>
                </a:cubicBezTo>
                <a:cubicBezTo>
                  <a:pt x="1390" y="137"/>
                  <a:pt x="1389" y="140"/>
                  <a:pt x="1389" y="142"/>
                </a:cubicBezTo>
                <a:cubicBezTo>
                  <a:pt x="1388" y="144"/>
                  <a:pt x="1388" y="144"/>
                  <a:pt x="1388" y="144"/>
                </a:cubicBezTo>
                <a:cubicBezTo>
                  <a:pt x="1388" y="147"/>
                  <a:pt x="1388" y="147"/>
                  <a:pt x="1388" y="147"/>
                </a:cubicBezTo>
                <a:cubicBezTo>
                  <a:pt x="1387" y="151"/>
                  <a:pt x="1387" y="154"/>
                  <a:pt x="1387" y="156"/>
                </a:cubicBezTo>
                <a:cubicBezTo>
                  <a:pt x="1387" y="159"/>
                  <a:pt x="1388" y="160"/>
                  <a:pt x="1391" y="160"/>
                </a:cubicBezTo>
                <a:cubicBezTo>
                  <a:pt x="1392" y="160"/>
                  <a:pt x="1394" y="160"/>
                  <a:pt x="1395" y="159"/>
                </a:cubicBezTo>
                <a:cubicBezTo>
                  <a:pt x="1396" y="159"/>
                  <a:pt x="1397" y="158"/>
                  <a:pt x="1397" y="157"/>
                </a:cubicBezTo>
                <a:cubicBezTo>
                  <a:pt x="1398" y="157"/>
                  <a:pt x="1399" y="156"/>
                  <a:pt x="1399" y="156"/>
                </a:cubicBezTo>
                <a:cubicBezTo>
                  <a:pt x="1398" y="154"/>
                  <a:pt x="1398" y="154"/>
                  <a:pt x="1398" y="154"/>
                </a:cubicBezTo>
                <a:cubicBezTo>
                  <a:pt x="1397" y="155"/>
                  <a:pt x="1396" y="156"/>
                  <a:pt x="1395" y="156"/>
                </a:cubicBezTo>
                <a:cubicBezTo>
                  <a:pt x="1394" y="156"/>
                  <a:pt x="1394" y="155"/>
                  <a:pt x="1394" y="154"/>
                </a:cubicBezTo>
                <a:cubicBezTo>
                  <a:pt x="1394" y="152"/>
                  <a:pt x="1394" y="149"/>
                  <a:pt x="1395" y="145"/>
                </a:cubicBezTo>
                <a:cubicBezTo>
                  <a:pt x="1395" y="142"/>
                  <a:pt x="1395" y="142"/>
                  <a:pt x="1395" y="142"/>
                </a:cubicBezTo>
                <a:cubicBezTo>
                  <a:pt x="1396" y="140"/>
                  <a:pt x="1396" y="140"/>
                  <a:pt x="1396" y="140"/>
                </a:cubicBezTo>
                <a:cubicBezTo>
                  <a:pt x="1397" y="135"/>
                  <a:pt x="1397" y="132"/>
                  <a:pt x="1397" y="130"/>
                </a:cubicBezTo>
                <a:cubicBezTo>
                  <a:pt x="1397" y="126"/>
                  <a:pt x="1397" y="123"/>
                  <a:pt x="1395" y="122"/>
                </a:cubicBezTo>
                <a:cubicBezTo>
                  <a:pt x="1394" y="120"/>
                  <a:pt x="1392" y="119"/>
                  <a:pt x="1389" y="119"/>
                </a:cubicBezTo>
                <a:cubicBezTo>
                  <a:pt x="1386" y="119"/>
                  <a:pt x="1384" y="120"/>
                  <a:pt x="1381" y="122"/>
                </a:cubicBezTo>
                <a:cubicBezTo>
                  <a:pt x="1379" y="124"/>
                  <a:pt x="1376" y="126"/>
                  <a:pt x="1374" y="129"/>
                </a:cubicBezTo>
                <a:close/>
                <a:moveTo>
                  <a:pt x="1433" y="162"/>
                </a:moveTo>
                <a:cubicBezTo>
                  <a:pt x="1440" y="119"/>
                  <a:pt x="1440" y="119"/>
                  <a:pt x="1440" y="119"/>
                </a:cubicBezTo>
                <a:cubicBezTo>
                  <a:pt x="1435" y="121"/>
                  <a:pt x="1435" y="121"/>
                  <a:pt x="1435" y="121"/>
                </a:cubicBezTo>
                <a:cubicBezTo>
                  <a:pt x="1434" y="121"/>
                  <a:pt x="1433" y="120"/>
                  <a:pt x="1432" y="120"/>
                </a:cubicBezTo>
                <a:cubicBezTo>
                  <a:pt x="1430" y="120"/>
                  <a:pt x="1429" y="119"/>
                  <a:pt x="1428" y="119"/>
                </a:cubicBezTo>
                <a:cubicBezTo>
                  <a:pt x="1423" y="119"/>
                  <a:pt x="1419" y="121"/>
                  <a:pt x="1416" y="123"/>
                </a:cubicBezTo>
                <a:cubicBezTo>
                  <a:pt x="1412" y="126"/>
                  <a:pt x="1410" y="129"/>
                  <a:pt x="1408" y="133"/>
                </a:cubicBezTo>
                <a:cubicBezTo>
                  <a:pt x="1406" y="137"/>
                  <a:pt x="1405" y="141"/>
                  <a:pt x="1405" y="145"/>
                </a:cubicBezTo>
                <a:cubicBezTo>
                  <a:pt x="1405" y="150"/>
                  <a:pt x="1406" y="153"/>
                  <a:pt x="1408" y="156"/>
                </a:cubicBezTo>
                <a:cubicBezTo>
                  <a:pt x="1410" y="159"/>
                  <a:pt x="1413" y="160"/>
                  <a:pt x="1417" y="160"/>
                </a:cubicBezTo>
                <a:cubicBezTo>
                  <a:pt x="1419" y="160"/>
                  <a:pt x="1421" y="159"/>
                  <a:pt x="1423" y="158"/>
                </a:cubicBezTo>
                <a:cubicBezTo>
                  <a:pt x="1425" y="157"/>
                  <a:pt x="1426" y="156"/>
                  <a:pt x="1428" y="155"/>
                </a:cubicBezTo>
                <a:cubicBezTo>
                  <a:pt x="1426" y="164"/>
                  <a:pt x="1426" y="164"/>
                  <a:pt x="1426" y="164"/>
                </a:cubicBezTo>
                <a:cubicBezTo>
                  <a:pt x="1426" y="167"/>
                  <a:pt x="1425" y="169"/>
                  <a:pt x="1424" y="170"/>
                </a:cubicBezTo>
                <a:cubicBezTo>
                  <a:pt x="1422" y="172"/>
                  <a:pt x="1420" y="172"/>
                  <a:pt x="1417" y="172"/>
                </a:cubicBezTo>
                <a:cubicBezTo>
                  <a:pt x="1415" y="172"/>
                  <a:pt x="1414" y="172"/>
                  <a:pt x="1412" y="171"/>
                </a:cubicBezTo>
                <a:cubicBezTo>
                  <a:pt x="1410" y="171"/>
                  <a:pt x="1409" y="170"/>
                  <a:pt x="1408" y="170"/>
                </a:cubicBezTo>
                <a:cubicBezTo>
                  <a:pt x="1406" y="175"/>
                  <a:pt x="1406" y="175"/>
                  <a:pt x="1406" y="175"/>
                </a:cubicBezTo>
                <a:cubicBezTo>
                  <a:pt x="1407" y="176"/>
                  <a:pt x="1408" y="176"/>
                  <a:pt x="1410" y="176"/>
                </a:cubicBezTo>
                <a:cubicBezTo>
                  <a:pt x="1411" y="177"/>
                  <a:pt x="1413" y="177"/>
                  <a:pt x="1414" y="177"/>
                </a:cubicBezTo>
                <a:cubicBezTo>
                  <a:pt x="1417" y="177"/>
                  <a:pt x="1420" y="176"/>
                  <a:pt x="1423" y="175"/>
                </a:cubicBezTo>
                <a:cubicBezTo>
                  <a:pt x="1425" y="174"/>
                  <a:pt x="1428" y="173"/>
                  <a:pt x="1430" y="170"/>
                </a:cubicBezTo>
                <a:cubicBezTo>
                  <a:pt x="1432" y="168"/>
                  <a:pt x="1433" y="165"/>
                  <a:pt x="1433" y="162"/>
                </a:cubicBezTo>
                <a:close/>
                <a:moveTo>
                  <a:pt x="1432" y="125"/>
                </a:moveTo>
                <a:cubicBezTo>
                  <a:pt x="1428" y="150"/>
                  <a:pt x="1428" y="150"/>
                  <a:pt x="1428" y="150"/>
                </a:cubicBezTo>
                <a:cubicBezTo>
                  <a:pt x="1427" y="151"/>
                  <a:pt x="1426" y="153"/>
                  <a:pt x="1424" y="154"/>
                </a:cubicBezTo>
                <a:cubicBezTo>
                  <a:pt x="1423" y="155"/>
                  <a:pt x="1421" y="155"/>
                  <a:pt x="1419" y="155"/>
                </a:cubicBezTo>
                <a:cubicBezTo>
                  <a:pt x="1417" y="155"/>
                  <a:pt x="1415" y="155"/>
                  <a:pt x="1414" y="153"/>
                </a:cubicBezTo>
                <a:cubicBezTo>
                  <a:pt x="1413" y="151"/>
                  <a:pt x="1412" y="148"/>
                  <a:pt x="1412" y="145"/>
                </a:cubicBezTo>
                <a:cubicBezTo>
                  <a:pt x="1412" y="142"/>
                  <a:pt x="1413" y="138"/>
                  <a:pt x="1414" y="135"/>
                </a:cubicBezTo>
                <a:cubicBezTo>
                  <a:pt x="1415" y="132"/>
                  <a:pt x="1417" y="129"/>
                  <a:pt x="1419" y="127"/>
                </a:cubicBezTo>
                <a:cubicBezTo>
                  <a:pt x="1421" y="124"/>
                  <a:pt x="1424" y="123"/>
                  <a:pt x="1427" y="123"/>
                </a:cubicBezTo>
                <a:cubicBezTo>
                  <a:pt x="1429" y="123"/>
                  <a:pt x="1431" y="124"/>
                  <a:pt x="1432" y="125"/>
                </a:cubicBezTo>
                <a:close/>
                <a:moveTo>
                  <a:pt x="1076" y="242"/>
                </a:moveTo>
                <a:cubicBezTo>
                  <a:pt x="1072" y="249"/>
                  <a:pt x="1072" y="249"/>
                  <a:pt x="1072" y="249"/>
                </a:cubicBezTo>
                <a:cubicBezTo>
                  <a:pt x="1072" y="242"/>
                  <a:pt x="1072" y="242"/>
                  <a:pt x="1072" y="242"/>
                </a:cubicBezTo>
                <a:cubicBezTo>
                  <a:pt x="1066" y="208"/>
                  <a:pt x="1066" y="208"/>
                  <a:pt x="1066" y="208"/>
                </a:cubicBezTo>
                <a:cubicBezTo>
                  <a:pt x="1050" y="208"/>
                  <a:pt x="1050" y="208"/>
                  <a:pt x="1050" y="208"/>
                </a:cubicBezTo>
                <a:cubicBezTo>
                  <a:pt x="1049" y="211"/>
                  <a:pt x="1049" y="211"/>
                  <a:pt x="1049" y="211"/>
                </a:cubicBezTo>
                <a:cubicBezTo>
                  <a:pt x="1056" y="212"/>
                  <a:pt x="1056" y="212"/>
                  <a:pt x="1056" y="212"/>
                </a:cubicBezTo>
                <a:cubicBezTo>
                  <a:pt x="1045" y="256"/>
                  <a:pt x="1045" y="256"/>
                  <a:pt x="1045" y="256"/>
                </a:cubicBezTo>
                <a:cubicBezTo>
                  <a:pt x="1039" y="257"/>
                  <a:pt x="1039" y="257"/>
                  <a:pt x="1039" y="257"/>
                </a:cubicBezTo>
                <a:cubicBezTo>
                  <a:pt x="1039" y="260"/>
                  <a:pt x="1039" y="260"/>
                  <a:pt x="1039" y="260"/>
                </a:cubicBezTo>
                <a:cubicBezTo>
                  <a:pt x="1057" y="260"/>
                  <a:pt x="1057" y="260"/>
                  <a:pt x="1057" y="260"/>
                </a:cubicBezTo>
                <a:cubicBezTo>
                  <a:pt x="1057" y="257"/>
                  <a:pt x="1057" y="257"/>
                  <a:pt x="1057" y="257"/>
                </a:cubicBezTo>
                <a:cubicBezTo>
                  <a:pt x="1050" y="256"/>
                  <a:pt x="1050" y="256"/>
                  <a:pt x="1050" y="256"/>
                </a:cubicBezTo>
                <a:cubicBezTo>
                  <a:pt x="1057" y="225"/>
                  <a:pt x="1057" y="225"/>
                  <a:pt x="1057" y="225"/>
                </a:cubicBezTo>
                <a:cubicBezTo>
                  <a:pt x="1060" y="211"/>
                  <a:pt x="1060" y="211"/>
                  <a:pt x="1060" y="211"/>
                </a:cubicBezTo>
                <a:cubicBezTo>
                  <a:pt x="1062" y="225"/>
                  <a:pt x="1062" y="225"/>
                  <a:pt x="1062" y="225"/>
                </a:cubicBezTo>
                <a:cubicBezTo>
                  <a:pt x="1068" y="261"/>
                  <a:pt x="1068" y="261"/>
                  <a:pt x="1068" y="261"/>
                </a:cubicBezTo>
                <a:cubicBezTo>
                  <a:pt x="1072" y="260"/>
                  <a:pt x="1072" y="260"/>
                  <a:pt x="1072" y="260"/>
                </a:cubicBezTo>
                <a:cubicBezTo>
                  <a:pt x="1088" y="224"/>
                  <a:pt x="1088" y="224"/>
                  <a:pt x="1088" y="224"/>
                </a:cubicBezTo>
                <a:cubicBezTo>
                  <a:pt x="1094" y="211"/>
                  <a:pt x="1094" y="211"/>
                  <a:pt x="1094" y="211"/>
                </a:cubicBezTo>
                <a:cubicBezTo>
                  <a:pt x="1093" y="225"/>
                  <a:pt x="1093" y="225"/>
                  <a:pt x="1093" y="225"/>
                </a:cubicBezTo>
                <a:cubicBezTo>
                  <a:pt x="1091" y="256"/>
                  <a:pt x="1091" y="256"/>
                  <a:pt x="1091" y="256"/>
                </a:cubicBezTo>
                <a:cubicBezTo>
                  <a:pt x="1085" y="257"/>
                  <a:pt x="1085" y="257"/>
                  <a:pt x="1085" y="257"/>
                </a:cubicBezTo>
                <a:cubicBezTo>
                  <a:pt x="1084" y="260"/>
                  <a:pt x="1084" y="260"/>
                  <a:pt x="1084" y="260"/>
                </a:cubicBezTo>
                <a:cubicBezTo>
                  <a:pt x="1104" y="260"/>
                  <a:pt x="1104" y="260"/>
                  <a:pt x="1104" y="260"/>
                </a:cubicBezTo>
                <a:cubicBezTo>
                  <a:pt x="1104" y="257"/>
                  <a:pt x="1104" y="257"/>
                  <a:pt x="1104" y="257"/>
                </a:cubicBezTo>
                <a:cubicBezTo>
                  <a:pt x="1098" y="256"/>
                  <a:pt x="1098" y="256"/>
                  <a:pt x="1098" y="256"/>
                </a:cubicBezTo>
                <a:cubicBezTo>
                  <a:pt x="1099" y="212"/>
                  <a:pt x="1099" y="212"/>
                  <a:pt x="1099" y="212"/>
                </a:cubicBezTo>
                <a:cubicBezTo>
                  <a:pt x="1106" y="211"/>
                  <a:pt x="1106" y="211"/>
                  <a:pt x="1106" y="211"/>
                </a:cubicBezTo>
                <a:cubicBezTo>
                  <a:pt x="1106" y="208"/>
                  <a:pt x="1106" y="208"/>
                  <a:pt x="1106" y="208"/>
                </a:cubicBezTo>
                <a:cubicBezTo>
                  <a:pt x="1091" y="208"/>
                  <a:pt x="1091" y="208"/>
                  <a:pt x="1091" y="208"/>
                </a:cubicBezTo>
                <a:cubicBezTo>
                  <a:pt x="1090" y="211"/>
                  <a:pt x="1087" y="217"/>
                  <a:pt x="1083" y="225"/>
                </a:cubicBezTo>
                <a:cubicBezTo>
                  <a:pt x="1079" y="233"/>
                  <a:pt x="1077" y="239"/>
                  <a:pt x="1076" y="242"/>
                </a:cubicBezTo>
                <a:close/>
                <a:moveTo>
                  <a:pt x="1138" y="253"/>
                </a:moveTo>
                <a:cubicBezTo>
                  <a:pt x="1136" y="251"/>
                  <a:pt x="1136" y="251"/>
                  <a:pt x="1136" y="251"/>
                </a:cubicBezTo>
                <a:cubicBezTo>
                  <a:pt x="1134" y="253"/>
                  <a:pt x="1133" y="254"/>
                  <a:pt x="1131" y="255"/>
                </a:cubicBezTo>
                <a:cubicBezTo>
                  <a:pt x="1129" y="256"/>
                  <a:pt x="1126" y="256"/>
                  <a:pt x="1124" y="256"/>
                </a:cubicBezTo>
                <a:cubicBezTo>
                  <a:pt x="1121" y="256"/>
                  <a:pt x="1119" y="255"/>
                  <a:pt x="1118" y="253"/>
                </a:cubicBezTo>
                <a:cubicBezTo>
                  <a:pt x="1117" y="250"/>
                  <a:pt x="1116" y="247"/>
                  <a:pt x="1116" y="244"/>
                </a:cubicBezTo>
                <a:cubicBezTo>
                  <a:pt x="1119" y="244"/>
                  <a:pt x="1123" y="244"/>
                  <a:pt x="1126" y="242"/>
                </a:cubicBezTo>
                <a:cubicBezTo>
                  <a:pt x="1130" y="241"/>
                  <a:pt x="1133" y="240"/>
                  <a:pt x="1136" y="237"/>
                </a:cubicBezTo>
                <a:cubicBezTo>
                  <a:pt x="1138" y="235"/>
                  <a:pt x="1140" y="232"/>
                  <a:pt x="1140" y="229"/>
                </a:cubicBezTo>
                <a:cubicBezTo>
                  <a:pt x="1140" y="226"/>
                  <a:pt x="1139" y="224"/>
                  <a:pt x="1137" y="223"/>
                </a:cubicBezTo>
                <a:cubicBezTo>
                  <a:pt x="1135" y="221"/>
                  <a:pt x="1133" y="220"/>
                  <a:pt x="1130" y="220"/>
                </a:cubicBezTo>
                <a:cubicBezTo>
                  <a:pt x="1126" y="220"/>
                  <a:pt x="1122" y="221"/>
                  <a:pt x="1119" y="224"/>
                </a:cubicBezTo>
                <a:cubicBezTo>
                  <a:pt x="1116" y="226"/>
                  <a:pt x="1114" y="229"/>
                  <a:pt x="1112" y="233"/>
                </a:cubicBezTo>
                <a:cubicBezTo>
                  <a:pt x="1110" y="237"/>
                  <a:pt x="1109" y="241"/>
                  <a:pt x="1109" y="246"/>
                </a:cubicBezTo>
                <a:cubicBezTo>
                  <a:pt x="1109" y="248"/>
                  <a:pt x="1110" y="251"/>
                  <a:pt x="1111" y="253"/>
                </a:cubicBezTo>
                <a:cubicBezTo>
                  <a:pt x="1111" y="255"/>
                  <a:pt x="1113" y="257"/>
                  <a:pt x="1115" y="259"/>
                </a:cubicBezTo>
                <a:cubicBezTo>
                  <a:pt x="1117" y="260"/>
                  <a:pt x="1120" y="261"/>
                  <a:pt x="1123" y="261"/>
                </a:cubicBezTo>
                <a:cubicBezTo>
                  <a:pt x="1126" y="261"/>
                  <a:pt x="1129" y="260"/>
                  <a:pt x="1132" y="258"/>
                </a:cubicBezTo>
                <a:cubicBezTo>
                  <a:pt x="1135" y="257"/>
                  <a:pt x="1136" y="255"/>
                  <a:pt x="1138" y="253"/>
                </a:cubicBezTo>
                <a:close/>
                <a:moveTo>
                  <a:pt x="1128" y="224"/>
                </a:moveTo>
                <a:cubicBezTo>
                  <a:pt x="1130" y="224"/>
                  <a:pt x="1131" y="224"/>
                  <a:pt x="1132" y="225"/>
                </a:cubicBezTo>
                <a:cubicBezTo>
                  <a:pt x="1132" y="226"/>
                  <a:pt x="1133" y="228"/>
                  <a:pt x="1133" y="229"/>
                </a:cubicBezTo>
                <a:cubicBezTo>
                  <a:pt x="1133" y="232"/>
                  <a:pt x="1132" y="234"/>
                  <a:pt x="1130" y="235"/>
                </a:cubicBezTo>
                <a:cubicBezTo>
                  <a:pt x="1129" y="237"/>
                  <a:pt x="1126" y="238"/>
                  <a:pt x="1124" y="239"/>
                </a:cubicBezTo>
                <a:cubicBezTo>
                  <a:pt x="1121" y="240"/>
                  <a:pt x="1119" y="241"/>
                  <a:pt x="1116" y="241"/>
                </a:cubicBezTo>
                <a:cubicBezTo>
                  <a:pt x="1117" y="238"/>
                  <a:pt x="1117" y="236"/>
                  <a:pt x="1118" y="233"/>
                </a:cubicBezTo>
                <a:cubicBezTo>
                  <a:pt x="1119" y="230"/>
                  <a:pt x="1121" y="228"/>
                  <a:pt x="1122" y="226"/>
                </a:cubicBezTo>
                <a:cubicBezTo>
                  <a:pt x="1124" y="225"/>
                  <a:pt x="1126" y="224"/>
                  <a:pt x="1128" y="224"/>
                </a:cubicBezTo>
                <a:close/>
                <a:moveTo>
                  <a:pt x="1175" y="254"/>
                </a:moveTo>
                <a:cubicBezTo>
                  <a:pt x="1182" y="204"/>
                  <a:pt x="1182" y="204"/>
                  <a:pt x="1182" y="204"/>
                </a:cubicBezTo>
                <a:cubicBezTo>
                  <a:pt x="1181" y="204"/>
                  <a:pt x="1181" y="204"/>
                  <a:pt x="1181" y="204"/>
                </a:cubicBezTo>
                <a:cubicBezTo>
                  <a:pt x="1171" y="205"/>
                  <a:pt x="1171" y="205"/>
                  <a:pt x="1171" y="205"/>
                </a:cubicBezTo>
                <a:cubicBezTo>
                  <a:pt x="1170" y="207"/>
                  <a:pt x="1170" y="207"/>
                  <a:pt x="1170" y="207"/>
                </a:cubicBezTo>
                <a:cubicBezTo>
                  <a:pt x="1175" y="208"/>
                  <a:pt x="1175" y="208"/>
                  <a:pt x="1175" y="208"/>
                </a:cubicBezTo>
                <a:cubicBezTo>
                  <a:pt x="1173" y="221"/>
                  <a:pt x="1173" y="221"/>
                  <a:pt x="1173" y="221"/>
                </a:cubicBezTo>
                <a:cubicBezTo>
                  <a:pt x="1171" y="220"/>
                  <a:pt x="1169" y="220"/>
                  <a:pt x="1168" y="220"/>
                </a:cubicBezTo>
                <a:cubicBezTo>
                  <a:pt x="1163" y="220"/>
                  <a:pt x="1159" y="222"/>
                  <a:pt x="1156" y="224"/>
                </a:cubicBezTo>
                <a:cubicBezTo>
                  <a:pt x="1152" y="227"/>
                  <a:pt x="1150" y="230"/>
                  <a:pt x="1148" y="234"/>
                </a:cubicBezTo>
                <a:cubicBezTo>
                  <a:pt x="1146" y="238"/>
                  <a:pt x="1145" y="242"/>
                  <a:pt x="1145" y="246"/>
                </a:cubicBezTo>
                <a:cubicBezTo>
                  <a:pt x="1145" y="250"/>
                  <a:pt x="1146" y="254"/>
                  <a:pt x="1148" y="257"/>
                </a:cubicBezTo>
                <a:cubicBezTo>
                  <a:pt x="1150" y="259"/>
                  <a:pt x="1153" y="261"/>
                  <a:pt x="1157" y="261"/>
                </a:cubicBezTo>
                <a:cubicBezTo>
                  <a:pt x="1159" y="261"/>
                  <a:pt x="1162" y="260"/>
                  <a:pt x="1163" y="259"/>
                </a:cubicBezTo>
                <a:cubicBezTo>
                  <a:pt x="1165" y="258"/>
                  <a:pt x="1167" y="256"/>
                  <a:pt x="1168" y="255"/>
                </a:cubicBezTo>
                <a:cubicBezTo>
                  <a:pt x="1168" y="256"/>
                  <a:pt x="1168" y="256"/>
                  <a:pt x="1168" y="256"/>
                </a:cubicBezTo>
                <a:cubicBezTo>
                  <a:pt x="1168" y="259"/>
                  <a:pt x="1170" y="261"/>
                  <a:pt x="1173" y="261"/>
                </a:cubicBezTo>
                <a:cubicBezTo>
                  <a:pt x="1174" y="261"/>
                  <a:pt x="1176" y="260"/>
                  <a:pt x="1177" y="259"/>
                </a:cubicBezTo>
                <a:cubicBezTo>
                  <a:pt x="1178" y="258"/>
                  <a:pt x="1179" y="257"/>
                  <a:pt x="1180" y="256"/>
                </a:cubicBezTo>
                <a:cubicBezTo>
                  <a:pt x="1179" y="255"/>
                  <a:pt x="1179" y="255"/>
                  <a:pt x="1179" y="255"/>
                </a:cubicBezTo>
                <a:cubicBezTo>
                  <a:pt x="1178" y="256"/>
                  <a:pt x="1177" y="256"/>
                  <a:pt x="1176" y="256"/>
                </a:cubicBezTo>
                <a:cubicBezTo>
                  <a:pt x="1175" y="256"/>
                  <a:pt x="1175" y="256"/>
                  <a:pt x="1175" y="255"/>
                </a:cubicBezTo>
                <a:cubicBezTo>
                  <a:pt x="1175" y="254"/>
                  <a:pt x="1175" y="254"/>
                  <a:pt x="1175" y="254"/>
                </a:cubicBezTo>
                <a:close/>
                <a:moveTo>
                  <a:pt x="1172" y="225"/>
                </a:moveTo>
                <a:cubicBezTo>
                  <a:pt x="1169" y="250"/>
                  <a:pt x="1169" y="250"/>
                  <a:pt x="1169" y="250"/>
                </a:cubicBezTo>
                <a:cubicBezTo>
                  <a:pt x="1168" y="252"/>
                  <a:pt x="1166" y="253"/>
                  <a:pt x="1164" y="254"/>
                </a:cubicBezTo>
                <a:cubicBezTo>
                  <a:pt x="1163" y="256"/>
                  <a:pt x="1161" y="256"/>
                  <a:pt x="1159" y="256"/>
                </a:cubicBezTo>
                <a:cubicBezTo>
                  <a:pt x="1157" y="256"/>
                  <a:pt x="1155" y="255"/>
                  <a:pt x="1154" y="253"/>
                </a:cubicBezTo>
                <a:cubicBezTo>
                  <a:pt x="1153" y="252"/>
                  <a:pt x="1153" y="249"/>
                  <a:pt x="1153" y="246"/>
                </a:cubicBezTo>
                <a:cubicBezTo>
                  <a:pt x="1153" y="242"/>
                  <a:pt x="1153" y="239"/>
                  <a:pt x="1154" y="236"/>
                </a:cubicBezTo>
                <a:cubicBezTo>
                  <a:pt x="1155" y="232"/>
                  <a:pt x="1157" y="230"/>
                  <a:pt x="1159" y="227"/>
                </a:cubicBezTo>
                <a:cubicBezTo>
                  <a:pt x="1161" y="225"/>
                  <a:pt x="1164" y="224"/>
                  <a:pt x="1167" y="224"/>
                </a:cubicBezTo>
                <a:cubicBezTo>
                  <a:pt x="1169" y="224"/>
                  <a:pt x="1171" y="224"/>
                  <a:pt x="1172" y="225"/>
                </a:cubicBezTo>
                <a:close/>
                <a:moveTo>
                  <a:pt x="1198" y="254"/>
                </a:moveTo>
                <a:cubicBezTo>
                  <a:pt x="1202" y="221"/>
                  <a:pt x="1202" y="221"/>
                  <a:pt x="1202" y="221"/>
                </a:cubicBezTo>
                <a:cubicBezTo>
                  <a:pt x="1201" y="220"/>
                  <a:pt x="1201" y="220"/>
                  <a:pt x="1201" y="220"/>
                </a:cubicBezTo>
                <a:cubicBezTo>
                  <a:pt x="1191" y="222"/>
                  <a:pt x="1191" y="222"/>
                  <a:pt x="1191" y="222"/>
                </a:cubicBezTo>
                <a:cubicBezTo>
                  <a:pt x="1190" y="224"/>
                  <a:pt x="1190" y="224"/>
                  <a:pt x="1190" y="224"/>
                </a:cubicBezTo>
                <a:cubicBezTo>
                  <a:pt x="1195" y="226"/>
                  <a:pt x="1195" y="226"/>
                  <a:pt x="1195" y="226"/>
                </a:cubicBezTo>
                <a:cubicBezTo>
                  <a:pt x="1194" y="233"/>
                  <a:pt x="1193" y="239"/>
                  <a:pt x="1192" y="243"/>
                </a:cubicBezTo>
                <a:cubicBezTo>
                  <a:pt x="1191" y="251"/>
                  <a:pt x="1191" y="255"/>
                  <a:pt x="1191" y="256"/>
                </a:cubicBezTo>
                <a:cubicBezTo>
                  <a:pt x="1190" y="258"/>
                  <a:pt x="1191" y="259"/>
                  <a:pt x="1192" y="260"/>
                </a:cubicBezTo>
                <a:cubicBezTo>
                  <a:pt x="1192" y="260"/>
                  <a:pt x="1194" y="261"/>
                  <a:pt x="1195" y="261"/>
                </a:cubicBezTo>
                <a:cubicBezTo>
                  <a:pt x="1197" y="261"/>
                  <a:pt x="1199" y="260"/>
                  <a:pt x="1200" y="259"/>
                </a:cubicBezTo>
                <a:cubicBezTo>
                  <a:pt x="1202" y="258"/>
                  <a:pt x="1203" y="257"/>
                  <a:pt x="1203" y="256"/>
                </a:cubicBezTo>
                <a:cubicBezTo>
                  <a:pt x="1202" y="254"/>
                  <a:pt x="1202" y="254"/>
                  <a:pt x="1202" y="254"/>
                </a:cubicBezTo>
                <a:cubicBezTo>
                  <a:pt x="1202" y="255"/>
                  <a:pt x="1201" y="256"/>
                  <a:pt x="1200" y="256"/>
                </a:cubicBezTo>
                <a:cubicBezTo>
                  <a:pt x="1200" y="256"/>
                  <a:pt x="1199" y="256"/>
                  <a:pt x="1199" y="256"/>
                </a:cubicBezTo>
                <a:cubicBezTo>
                  <a:pt x="1198" y="256"/>
                  <a:pt x="1198" y="256"/>
                  <a:pt x="1198" y="256"/>
                </a:cubicBezTo>
                <a:cubicBezTo>
                  <a:pt x="1198" y="256"/>
                  <a:pt x="1198" y="255"/>
                  <a:pt x="1198" y="255"/>
                </a:cubicBezTo>
                <a:lnTo>
                  <a:pt x="1198" y="254"/>
                </a:lnTo>
                <a:close/>
                <a:moveTo>
                  <a:pt x="1200" y="213"/>
                </a:moveTo>
                <a:cubicBezTo>
                  <a:pt x="1201" y="213"/>
                  <a:pt x="1202" y="212"/>
                  <a:pt x="1203" y="211"/>
                </a:cubicBezTo>
                <a:cubicBezTo>
                  <a:pt x="1204" y="210"/>
                  <a:pt x="1205" y="209"/>
                  <a:pt x="1205" y="207"/>
                </a:cubicBezTo>
                <a:cubicBezTo>
                  <a:pt x="1205" y="206"/>
                  <a:pt x="1204" y="206"/>
                  <a:pt x="1204" y="205"/>
                </a:cubicBezTo>
                <a:cubicBezTo>
                  <a:pt x="1203" y="204"/>
                  <a:pt x="1202" y="204"/>
                  <a:pt x="1201" y="204"/>
                </a:cubicBezTo>
                <a:cubicBezTo>
                  <a:pt x="1200" y="204"/>
                  <a:pt x="1198" y="204"/>
                  <a:pt x="1198" y="205"/>
                </a:cubicBezTo>
                <a:cubicBezTo>
                  <a:pt x="1197" y="206"/>
                  <a:pt x="1196" y="207"/>
                  <a:pt x="1196" y="209"/>
                </a:cubicBezTo>
                <a:cubicBezTo>
                  <a:pt x="1196" y="210"/>
                  <a:pt x="1197" y="211"/>
                  <a:pt x="1197" y="212"/>
                </a:cubicBezTo>
                <a:cubicBezTo>
                  <a:pt x="1198" y="212"/>
                  <a:pt x="1199" y="213"/>
                  <a:pt x="1200" y="213"/>
                </a:cubicBezTo>
                <a:close/>
                <a:moveTo>
                  <a:pt x="1237" y="228"/>
                </a:moveTo>
                <a:cubicBezTo>
                  <a:pt x="1238" y="229"/>
                  <a:pt x="1238" y="229"/>
                  <a:pt x="1238" y="229"/>
                </a:cubicBezTo>
                <a:cubicBezTo>
                  <a:pt x="1240" y="222"/>
                  <a:pt x="1240" y="222"/>
                  <a:pt x="1240" y="222"/>
                </a:cubicBezTo>
                <a:cubicBezTo>
                  <a:pt x="1239" y="221"/>
                  <a:pt x="1238" y="221"/>
                  <a:pt x="1237" y="221"/>
                </a:cubicBezTo>
                <a:cubicBezTo>
                  <a:pt x="1235" y="220"/>
                  <a:pt x="1234" y="220"/>
                  <a:pt x="1232" y="220"/>
                </a:cubicBezTo>
                <a:cubicBezTo>
                  <a:pt x="1228" y="220"/>
                  <a:pt x="1224" y="221"/>
                  <a:pt x="1221" y="224"/>
                </a:cubicBezTo>
                <a:cubicBezTo>
                  <a:pt x="1218" y="227"/>
                  <a:pt x="1216" y="230"/>
                  <a:pt x="1214" y="234"/>
                </a:cubicBezTo>
                <a:cubicBezTo>
                  <a:pt x="1213" y="237"/>
                  <a:pt x="1212" y="241"/>
                  <a:pt x="1212" y="245"/>
                </a:cubicBezTo>
                <a:cubicBezTo>
                  <a:pt x="1212" y="250"/>
                  <a:pt x="1213" y="254"/>
                  <a:pt x="1215" y="257"/>
                </a:cubicBezTo>
                <a:cubicBezTo>
                  <a:pt x="1217" y="259"/>
                  <a:pt x="1220" y="261"/>
                  <a:pt x="1224" y="261"/>
                </a:cubicBezTo>
                <a:cubicBezTo>
                  <a:pt x="1227" y="261"/>
                  <a:pt x="1230" y="260"/>
                  <a:pt x="1232" y="259"/>
                </a:cubicBezTo>
                <a:cubicBezTo>
                  <a:pt x="1235" y="257"/>
                  <a:pt x="1236" y="256"/>
                  <a:pt x="1238" y="254"/>
                </a:cubicBezTo>
                <a:cubicBezTo>
                  <a:pt x="1236" y="252"/>
                  <a:pt x="1236" y="252"/>
                  <a:pt x="1236" y="252"/>
                </a:cubicBezTo>
                <a:cubicBezTo>
                  <a:pt x="1235" y="253"/>
                  <a:pt x="1233" y="254"/>
                  <a:pt x="1232" y="255"/>
                </a:cubicBezTo>
                <a:cubicBezTo>
                  <a:pt x="1230" y="256"/>
                  <a:pt x="1229" y="256"/>
                  <a:pt x="1227" y="256"/>
                </a:cubicBezTo>
                <a:cubicBezTo>
                  <a:pt x="1224" y="256"/>
                  <a:pt x="1222" y="255"/>
                  <a:pt x="1221" y="253"/>
                </a:cubicBezTo>
                <a:cubicBezTo>
                  <a:pt x="1220" y="251"/>
                  <a:pt x="1219" y="248"/>
                  <a:pt x="1219" y="244"/>
                </a:cubicBezTo>
                <a:cubicBezTo>
                  <a:pt x="1219" y="240"/>
                  <a:pt x="1219" y="237"/>
                  <a:pt x="1221" y="234"/>
                </a:cubicBezTo>
                <a:cubicBezTo>
                  <a:pt x="1222" y="231"/>
                  <a:pt x="1223" y="229"/>
                  <a:pt x="1225" y="227"/>
                </a:cubicBezTo>
                <a:cubicBezTo>
                  <a:pt x="1227" y="225"/>
                  <a:pt x="1229" y="225"/>
                  <a:pt x="1231" y="225"/>
                </a:cubicBezTo>
                <a:cubicBezTo>
                  <a:pt x="1232" y="225"/>
                  <a:pt x="1235" y="226"/>
                  <a:pt x="1237" y="228"/>
                </a:cubicBezTo>
                <a:close/>
                <a:moveTo>
                  <a:pt x="1255" y="254"/>
                </a:moveTo>
                <a:cubicBezTo>
                  <a:pt x="1260" y="221"/>
                  <a:pt x="1260" y="221"/>
                  <a:pt x="1260" y="221"/>
                </a:cubicBezTo>
                <a:cubicBezTo>
                  <a:pt x="1259" y="220"/>
                  <a:pt x="1259" y="220"/>
                  <a:pt x="1259" y="220"/>
                </a:cubicBezTo>
                <a:cubicBezTo>
                  <a:pt x="1249" y="222"/>
                  <a:pt x="1249" y="222"/>
                  <a:pt x="1249" y="222"/>
                </a:cubicBezTo>
                <a:cubicBezTo>
                  <a:pt x="1248" y="224"/>
                  <a:pt x="1248" y="224"/>
                  <a:pt x="1248" y="224"/>
                </a:cubicBezTo>
                <a:cubicBezTo>
                  <a:pt x="1253" y="226"/>
                  <a:pt x="1253" y="226"/>
                  <a:pt x="1253" y="226"/>
                </a:cubicBezTo>
                <a:cubicBezTo>
                  <a:pt x="1252" y="233"/>
                  <a:pt x="1251" y="239"/>
                  <a:pt x="1250" y="243"/>
                </a:cubicBezTo>
                <a:cubicBezTo>
                  <a:pt x="1249" y="251"/>
                  <a:pt x="1248" y="255"/>
                  <a:pt x="1248" y="256"/>
                </a:cubicBezTo>
                <a:cubicBezTo>
                  <a:pt x="1248" y="258"/>
                  <a:pt x="1249" y="259"/>
                  <a:pt x="1249" y="260"/>
                </a:cubicBezTo>
                <a:cubicBezTo>
                  <a:pt x="1250" y="260"/>
                  <a:pt x="1251" y="261"/>
                  <a:pt x="1253" y="261"/>
                </a:cubicBezTo>
                <a:cubicBezTo>
                  <a:pt x="1255" y="261"/>
                  <a:pt x="1256" y="260"/>
                  <a:pt x="1258" y="259"/>
                </a:cubicBezTo>
                <a:cubicBezTo>
                  <a:pt x="1259" y="258"/>
                  <a:pt x="1260" y="257"/>
                  <a:pt x="1261" y="256"/>
                </a:cubicBezTo>
                <a:cubicBezTo>
                  <a:pt x="1260" y="254"/>
                  <a:pt x="1260" y="254"/>
                  <a:pt x="1260" y="254"/>
                </a:cubicBezTo>
                <a:cubicBezTo>
                  <a:pt x="1259" y="255"/>
                  <a:pt x="1259" y="256"/>
                  <a:pt x="1258" y="256"/>
                </a:cubicBezTo>
                <a:cubicBezTo>
                  <a:pt x="1258" y="256"/>
                  <a:pt x="1257" y="256"/>
                  <a:pt x="1256" y="256"/>
                </a:cubicBezTo>
                <a:cubicBezTo>
                  <a:pt x="1256" y="256"/>
                  <a:pt x="1256" y="256"/>
                  <a:pt x="1256" y="256"/>
                </a:cubicBezTo>
                <a:cubicBezTo>
                  <a:pt x="1255" y="256"/>
                  <a:pt x="1255" y="255"/>
                  <a:pt x="1255" y="255"/>
                </a:cubicBezTo>
                <a:lnTo>
                  <a:pt x="1255" y="254"/>
                </a:lnTo>
                <a:close/>
                <a:moveTo>
                  <a:pt x="1258" y="213"/>
                </a:moveTo>
                <a:cubicBezTo>
                  <a:pt x="1259" y="213"/>
                  <a:pt x="1260" y="212"/>
                  <a:pt x="1261" y="211"/>
                </a:cubicBezTo>
                <a:cubicBezTo>
                  <a:pt x="1262" y="210"/>
                  <a:pt x="1262" y="209"/>
                  <a:pt x="1262" y="207"/>
                </a:cubicBezTo>
                <a:cubicBezTo>
                  <a:pt x="1262" y="206"/>
                  <a:pt x="1262" y="206"/>
                  <a:pt x="1261" y="205"/>
                </a:cubicBezTo>
                <a:cubicBezTo>
                  <a:pt x="1261" y="204"/>
                  <a:pt x="1260" y="204"/>
                  <a:pt x="1259" y="204"/>
                </a:cubicBezTo>
                <a:cubicBezTo>
                  <a:pt x="1257" y="204"/>
                  <a:pt x="1256" y="204"/>
                  <a:pt x="1255" y="205"/>
                </a:cubicBezTo>
                <a:cubicBezTo>
                  <a:pt x="1254" y="206"/>
                  <a:pt x="1254" y="207"/>
                  <a:pt x="1254" y="209"/>
                </a:cubicBezTo>
                <a:cubicBezTo>
                  <a:pt x="1254" y="210"/>
                  <a:pt x="1254" y="211"/>
                  <a:pt x="1255" y="212"/>
                </a:cubicBezTo>
                <a:cubicBezTo>
                  <a:pt x="1256" y="212"/>
                  <a:pt x="1257" y="213"/>
                  <a:pt x="1258" y="213"/>
                </a:cubicBezTo>
                <a:close/>
                <a:moveTo>
                  <a:pt x="1282" y="229"/>
                </a:moveTo>
                <a:cubicBezTo>
                  <a:pt x="1283" y="221"/>
                  <a:pt x="1283" y="221"/>
                  <a:pt x="1283" y="221"/>
                </a:cubicBezTo>
                <a:cubicBezTo>
                  <a:pt x="1281" y="220"/>
                  <a:pt x="1281" y="220"/>
                  <a:pt x="1281" y="220"/>
                </a:cubicBezTo>
                <a:cubicBezTo>
                  <a:pt x="1273" y="222"/>
                  <a:pt x="1273" y="222"/>
                  <a:pt x="1273" y="222"/>
                </a:cubicBezTo>
                <a:cubicBezTo>
                  <a:pt x="1272" y="224"/>
                  <a:pt x="1272" y="224"/>
                  <a:pt x="1272" y="224"/>
                </a:cubicBezTo>
                <a:cubicBezTo>
                  <a:pt x="1275" y="226"/>
                  <a:pt x="1275" y="226"/>
                  <a:pt x="1275" y="226"/>
                </a:cubicBezTo>
                <a:cubicBezTo>
                  <a:pt x="1271" y="260"/>
                  <a:pt x="1271" y="260"/>
                  <a:pt x="1271" y="260"/>
                </a:cubicBezTo>
                <a:cubicBezTo>
                  <a:pt x="1278" y="260"/>
                  <a:pt x="1278" y="260"/>
                  <a:pt x="1278" y="260"/>
                </a:cubicBezTo>
                <a:cubicBezTo>
                  <a:pt x="1281" y="235"/>
                  <a:pt x="1281" y="235"/>
                  <a:pt x="1281" y="235"/>
                </a:cubicBezTo>
                <a:cubicBezTo>
                  <a:pt x="1283" y="232"/>
                  <a:pt x="1285" y="230"/>
                  <a:pt x="1287" y="228"/>
                </a:cubicBezTo>
                <a:cubicBezTo>
                  <a:pt x="1289" y="226"/>
                  <a:pt x="1291" y="225"/>
                  <a:pt x="1293" y="225"/>
                </a:cubicBezTo>
                <a:cubicBezTo>
                  <a:pt x="1295" y="225"/>
                  <a:pt x="1296" y="226"/>
                  <a:pt x="1297" y="226"/>
                </a:cubicBezTo>
                <a:cubicBezTo>
                  <a:pt x="1297" y="227"/>
                  <a:pt x="1298" y="229"/>
                  <a:pt x="1298" y="231"/>
                </a:cubicBezTo>
                <a:cubicBezTo>
                  <a:pt x="1298" y="233"/>
                  <a:pt x="1297" y="234"/>
                  <a:pt x="1297" y="236"/>
                </a:cubicBezTo>
                <a:cubicBezTo>
                  <a:pt x="1297" y="238"/>
                  <a:pt x="1297" y="240"/>
                  <a:pt x="1296" y="243"/>
                </a:cubicBezTo>
                <a:cubicBezTo>
                  <a:pt x="1296" y="245"/>
                  <a:pt x="1296" y="245"/>
                  <a:pt x="1296" y="245"/>
                </a:cubicBezTo>
                <a:cubicBezTo>
                  <a:pt x="1295" y="248"/>
                  <a:pt x="1295" y="248"/>
                  <a:pt x="1295" y="248"/>
                </a:cubicBezTo>
                <a:cubicBezTo>
                  <a:pt x="1294" y="252"/>
                  <a:pt x="1294" y="255"/>
                  <a:pt x="1294" y="256"/>
                </a:cubicBezTo>
                <a:cubicBezTo>
                  <a:pt x="1294" y="259"/>
                  <a:pt x="1295" y="261"/>
                  <a:pt x="1298" y="261"/>
                </a:cubicBezTo>
                <a:cubicBezTo>
                  <a:pt x="1300" y="261"/>
                  <a:pt x="1301" y="260"/>
                  <a:pt x="1302" y="260"/>
                </a:cubicBezTo>
                <a:cubicBezTo>
                  <a:pt x="1303" y="259"/>
                  <a:pt x="1304" y="259"/>
                  <a:pt x="1305" y="258"/>
                </a:cubicBezTo>
                <a:cubicBezTo>
                  <a:pt x="1305" y="258"/>
                  <a:pt x="1306" y="257"/>
                  <a:pt x="1306" y="257"/>
                </a:cubicBezTo>
                <a:cubicBezTo>
                  <a:pt x="1305" y="255"/>
                  <a:pt x="1305" y="255"/>
                  <a:pt x="1305" y="255"/>
                </a:cubicBezTo>
                <a:cubicBezTo>
                  <a:pt x="1304" y="256"/>
                  <a:pt x="1303" y="256"/>
                  <a:pt x="1302" y="256"/>
                </a:cubicBezTo>
                <a:cubicBezTo>
                  <a:pt x="1301" y="256"/>
                  <a:pt x="1301" y="256"/>
                  <a:pt x="1301" y="255"/>
                </a:cubicBezTo>
                <a:cubicBezTo>
                  <a:pt x="1301" y="253"/>
                  <a:pt x="1301" y="250"/>
                  <a:pt x="1302" y="246"/>
                </a:cubicBezTo>
                <a:cubicBezTo>
                  <a:pt x="1303" y="243"/>
                  <a:pt x="1303" y="243"/>
                  <a:pt x="1303" y="243"/>
                </a:cubicBezTo>
                <a:cubicBezTo>
                  <a:pt x="1303" y="241"/>
                  <a:pt x="1303" y="241"/>
                  <a:pt x="1303" y="241"/>
                </a:cubicBezTo>
                <a:cubicBezTo>
                  <a:pt x="1304" y="236"/>
                  <a:pt x="1305" y="232"/>
                  <a:pt x="1305" y="230"/>
                </a:cubicBezTo>
                <a:cubicBezTo>
                  <a:pt x="1305" y="227"/>
                  <a:pt x="1304" y="224"/>
                  <a:pt x="1302" y="223"/>
                </a:cubicBezTo>
                <a:cubicBezTo>
                  <a:pt x="1301" y="221"/>
                  <a:pt x="1299" y="220"/>
                  <a:pt x="1296" y="220"/>
                </a:cubicBezTo>
                <a:cubicBezTo>
                  <a:pt x="1294" y="220"/>
                  <a:pt x="1291" y="221"/>
                  <a:pt x="1289" y="223"/>
                </a:cubicBezTo>
                <a:cubicBezTo>
                  <a:pt x="1286" y="224"/>
                  <a:pt x="1284" y="227"/>
                  <a:pt x="1282" y="229"/>
                </a:cubicBezTo>
                <a:close/>
                <a:moveTo>
                  <a:pt x="1342" y="253"/>
                </a:moveTo>
                <a:cubicBezTo>
                  <a:pt x="1340" y="251"/>
                  <a:pt x="1340" y="251"/>
                  <a:pt x="1340" y="251"/>
                </a:cubicBezTo>
                <a:cubicBezTo>
                  <a:pt x="1339" y="253"/>
                  <a:pt x="1337" y="254"/>
                  <a:pt x="1335" y="255"/>
                </a:cubicBezTo>
                <a:cubicBezTo>
                  <a:pt x="1333" y="256"/>
                  <a:pt x="1331" y="256"/>
                  <a:pt x="1329" y="256"/>
                </a:cubicBezTo>
                <a:cubicBezTo>
                  <a:pt x="1326" y="256"/>
                  <a:pt x="1323" y="255"/>
                  <a:pt x="1322" y="253"/>
                </a:cubicBezTo>
                <a:cubicBezTo>
                  <a:pt x="1321" y="250"/>
                  <a:pt x="1320" y="247"/>
                  <a:pt x="1320" y="244"/>
                </a:cubicBezTo>
                <a:cubicBezTo>
                  <a:pt x="1323" y="244"/>
                  <a:pt x="1327" y="244"/>
                  <a:pt x="1330" y="242"/>
                </a:cubicBezTo>
                <a:cubicBezTo>
                  <a:pt x="1334" y="241"/>
                  <a:pt x="1337" y="240"/>
                  <a:pt x="1340" y="237"/>
                </a:cubicBezTo>
                <a:cubicBezTo>
                  <a:pt x="1342" y="235"/>
                  <a:pt x="1344" y="232"/>
                  <a:pt x="1344" y="229"/>
                </a:cubicBezTo>
                <a:cubicBezTo>
                  <a:pt x="1344" y="226"/>
                  <a:pt x="1343" y="224"/>
                  <a:pt x="1341" y="223"/>
                </a:cubicBezTo>
                <a:cubicBezTo>
                  <a:pt x="1340" y="221"/>
                  <a:pt x="1337" y="220"/>
                  <a:pt x="1334" y="220"/>
                </a:cubicBezTo>
                <a:cubicBezTo>
                  <a:pt x="1330" y="220"/>
                  <a:pt x="1326" y="221"/>
                  <a:pt x="1323" y="224"/>
                </a:cubicBezTo>
                <a:cubicBezTo>
                  <a:pt x="1320" y="226"/>
                  <a:pt x="1318" y="229"/>
                  <a:pt x="1316" y="233"/>
                </a:cubicBezTo>
                <a:cubicBezTo>
                  <a:pt x="1314" y="237"/>
                  <a:pt x="1313" y="241"/>
                  <a:pt x="1313" y="246"/>
                </a:cubicBezTo>
                <a:cubicBezTo>
                  <a:pt x="1313" y="248"/>
                  <a:pt x="1314" y="251"/>
                  <a:pt x="1315" y="253"/>
                </a:cubicBezTo>
                <a:cubicBezTo>
                  <a:pt x="1316" y="255"/>
                  <a:pt x="1317" y="257"/>
                  <a:pt x="1319" y="259"/>
                </a:cubicBezTo>
                <a:cubicBezTo>
                  <a:pt x="1321" y="260"/>
                  <a:pt x="1324" y="261"/>
                  <a:pt x="1327" y="261"/>
                </a:cubicBezTo>
                <a:cubicBezTo>
                  <a:pt x="1330" y="261"/>
                  <a:pt x="1333" y="260"/>
                  <a:pt x="1336" y="258"/>
                </a:cubicBezTo>
                <a:cubicBezTo>
                  <a:pt x="1339" y="257"/>
                  <a:pt x="1341" y="255"/>
                  <a:pt x="1342" y="253"/>
                </a:cubicBezTo>
                <a:close/>
                <a:moveTo>
                  <a:pt x="1332" y="224"/>
                </a:moveTo>
                <a:cubicBezTo>
                  <a:pt x="1334" y="224"/>
                  <a:pt x="1335" y="224"/>
                  <a:pt x="1336" y="225"/>
                </a:cubicBezTo>
                <a:cubicBezTo>
                  <a:pt x="1337" y="226"/>
                  <a:pt x="1337" y="228"/>
                  <a:pt x="1337" y="229"/>
                </a:cubicBezTo>
                <a:cubicBezTo>
                  <a:pt x="1337" y="232"/>
                  <a:pt x="1336" y="234"/>
                  <a:pt x="1334" y="235"/>
                </a:cubicBezTo>
                <a:cubicBezTo>
                  <a:pt x="1333" y="237"/>
                  <a:pt x="1331" y="238"/>
                  <a:pt x="1328" y="239"/>
                </a:cubicBezTo>
                <a:cubicBezTo>
                  <a:pt x="1325" y="240"/>
                  <a:pt x="1323" y="241"/>
                  <a:pt x="1321" y="241"/>
                </a:cubicBezTo>
                <a:cubicBezTo>
                  <a:pt x="1321" y="238"/>
                  <a:pt x="1321" y="236"/>
                  <a:pt x="1322" y="233"/>
                </a:cubicBezTo>
                <a:cubicBezTo>
                  <a:pt x="1323" y="230"/>
                  <a:pt x="1325" y="228"/>
                  <a:pt x="1326" y="226"/>
                </a:cubicBezTo>
                <a:cubicBezTo>
                  <a:pt x="1328" y="225"/>
                  <a:pt x="1330" y="224"/>
                  <a:pt x="1332" y="224"/>
                </a:cubicBezTo>
                <a:close/>
              </a:path>
            </a:pathLst>
          </a:custGeom>
          <a:solidFill>
            <a:schemeClr val="bg1"/>
          </a:solidFill>
          <a:ln>
            <a:noFill/>
          </a:ln>
        </p:spPr>
        <p:txBody>
          <a:bodyPr vert="horz" wrap="square" lIns="121920" tIns="60960" rIns="121920" bIns="60960" numCol="1" anchor="t" anchorCtr="0" compatLnSpc="1">
            <a:prstTxWarp prst="textNoShape">
              <a:avLst/>
            </a:prstTxWarp>
          </a:bodyPr>
          <a:lstStyle/>
          <a:p>
            <a:endParaRPr lang="en-US" sz="2400"/>
          </a:p>
        </p:txBody>
      </p:sp>
      <p:sp>
        <p:nvSpPr>
          <p:cNvPr id="17" name="Text Placeholder 16">
            <a:extLst>
              <a:ext uri="{FF2B5EF4-FFF2-40B4-BE49-F238E27FC236}">
                <a16:creationId xmlns:a16="http://schemas.microsoft.com/office/drawing/2014/main" id="{FCA018DF-7EFB-4D08-89D5-E61FB47F425E}"/>
              </a:ext>
            </a:extLst>
          </p:cNvPr>
          <p:cNvSpPr>
            <a:spLocks noGrp="1"/>
          </p:cNvSpPr>
          <p:nvPr>
            <p:ph type="body" sz="quarter" idx="12" hasCustomPrompt="1"/>
          </p:nvPr>
        </p:nvSpPr>
        <p:spPr>
          <a:xfrm>
            <a:off x="7995920" y="6515586"/>
            <a:ext cx="3222413" cy="169277"/>
          </a:xfrm>
        </p:spPr>
        <p:txBody>
          <a:bodyPr wrap="square">
            <a:spAutoFit/>
          </a:bodyPr>
          <a:lstStyle>
            <a:lvl1pPr marL="0" indent="0">
              <a:buNone/>
              <a:defRPr sz="1000" cap="all" spc="147" baseline="0">
                <a:solidFill>
                  <a:schemeClr val="tx2"/>
                </a:solidFill>
              </a:defRPr>
            </a:lvl1pPr>
          </a:lstStyle>
          <a:p>
            <a:pPr lvl="0"/>
            <a:r>
              <a:rPr lang="en-US"/>
              <a:t>CLICK TO EDIT MASTER TEXT</a:t>
            </a:r>
          </a:p>
        </p:txBody>
      </p:sp>
    </p:spTree>
    <p:extLst>
      <p:ext uri="{BB962C8B-B14F-4D97-AF65-F5344CB8AC3E}">
        <p14:creationId xmlns:p14="http://schemas.microsoft.com/office/powerpoint/2010/main" val="2637399382"/>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p:cSld name="Title Slide - Light Teal">
    <p:spTree>
      <p:nvGrpSpPr>
        <p:cNvPr id="1" name=""/>
        <p:cNvGrpSpPr/>
        <p:nvPr/>
      </p:nvGrpSpPr>
      <p:grpSpPr>
        <a:xfrm>
          <a:off x="0" y="0"/>
          <a:ext cx="0" cy="0"/>
          <a:chOff x="0" y="0"/>
          <a:chExt cx="0" cy="0"/>
        </a:xfrm>
      </p:grpSpPr>
      <p:sp>
        <p:nvSpPr>
          <p:cNvPr id="15" name="Picture Placeholder 14">
            <a:extLst>
              <a:ext uri="{FF2B5EF4-FFF2-40B4-BE49-F238E27FC236}">
                <a16:creationId xmlns:a16="http://schemas.microsoft.com/office/drawing/2014/main" id="{42927F7C-53AC-400F-8DAD-235A2AF61FB8}"/>
              </a:ext>
            </a:extLst>
          </p:cNvPr>
          <p:cNvSpPr>
            <a:spLocks noGrp="1"/>
          </p:cNvSpPr>
          <p:nvPr>
            <p:ph type="pic" sz="quarter" idx="11"/>
          </p:nvPr>
        </p:nvSpPr>
        <p:spPr>
          <a:xfrm>
            <a:off x="0" y="1"/>
            <a:ext cx="12192000" cy="6280151"/>
          </a:xfrm>
          <a:solidFill>
            <a:schemeClr val="bg2">
              <a:lumMod val="90000"/>
            </a:schemeClr>
          </a:solidFill>
        </p:spPr>
        <p:txBody>
          <a:bodyPr/>
          <a:lstStyle/>
          <a:p>
            <a:r>
              <a:rPr lang="en-US"/>
              <a:t>Click icon to add picture</a:t>
            </a:r>
          </a:p>
        </p:txBody>
      </p:sp>
      <p:sp>
        <p:nvSpPr>
          <p:cNvPr id="13" name="Text Placeholder 12">
            <a:extLst>
              <a:ext uri="{FF2B5EF4-FFF2-40B4-BE49-F238E27FC236}">
                <a16:creationId xmlns:a16="http://schemas.microsoft.com/office/drawing/2014/main" id="{D2D74F39-96DB-4808-8693-9F55A9D7DB98}"/>
              </a:ext>
            </a:extLst>
          </p:cNvPr>
          <p:cNvSpPr>
            <a:spLocks noGrp="1"/>
          </p:cNvSpPr>
          <p:nvPr>
            <p:ph type="body" sz="quarter" idx="10"/>
          </p:nvPr>
        </p:nvSpPr>
        <p:spPr>
          <a:xfrm>
            <a:off x="2" y="1563078"/>
            <a:ext cx="7737229" cy="5294921"/>
          </a:xfrm>
          <a:solidFill>
            <a:srgbClr val="DEE5EA"/>
          </a:solidFill>
        </p:spPr>
        <p:txBody>
          <a:bodyPr lIns="502920" tIns="274320" rIns="457200" bIns="457200"/>
          <a:lstStyle>
            <a:lvl1pPr marL="0" indent="0">
              <a:lnSpc>
                <a:spcPct val="100000"/>
              </a:lnSpc>
              <a:buNone/>
              <a:defRPr sz="4000">
                <a:solidFill>
                  <a:schemeClr val="tx2"/>
                </a:solidFill>
                <a:latin typeface="+mj-lt"/>
              </a:defRPr>
            </a:lvl1pPr>
            <a:lvl2pPr marL="0" indent="0">
              <a:spcBef>
                <a:spcPts val="1200"/>
              </a:spcBef>
              <a:buNone/>
              <a:defRPr sz="2000">
                <a:solidFill>
                  <a:schemeClr val="tx2"/>
                </a:solidFill>
                <a:latin typeface="+mj-lt"/>
              </a:defRPr>
            </a:lvl2pPr>
            <a:lvl3pPr marL="609585" indent="0">
              <a:buNone/>
              <a:defRPr>
                <a:solidFill>
                  <a:schemeClr val="bg1"/>
                </a:solidFill>
                <a:latin typeface="+mj-lt"/>
              </a:defRPr>
            </a:lvl3pPr>
            <a:lvl4pPr marL="922844" indent="0">
              <a:buNone/>
              <a:defRPr>
                <a:solidFill>
                  <a:schemeClr val="bg1"/>
                </a:solidFill>
                <a:latin typeface="+mj-lt"/>
              </a:defRPr>
            </a:lvl4pPr>
            <a:lvl5pPr marL="1219170" indent="0">
              <a:buNone/>
              <a:defRPr>
                <a:solidFill>
                  <a:schemeClr val="bg1"/>
                </a:solidFill>
                <a:latin typeface="+mj-lt"/>
              </a:defRPr>
            </a:lvl5pPr>
          </a:lstStyle>
          <a:p>
            <a:pPr lvl="0"/>
            <a:r>
              <a:rPr lang="en-US"/>
              <a:t>Edit Master text styles</a:t>
            </a:r>
          </a:p>
          <a:p>
            <a:pPr lvl="1"/>
            <a:r>
              <a:rPr lang="en-US"/>
              <a:t>Second level</a:t>
            </a:r>
          </a:p>
        </p:txBody>
      </p:sp>
      <p:sp>
        <p:nvSpPr>
          <p:cNvPr id="3" name="Subtitle 2"/>
          <p:cNvSpPr>
            <a:spLocks noGrp="1"/>
          </p:cNvSpPr>
          <p:nvPr>
            <p:ph type="subTitle" idx="1"/>
          </p:nvPr>
        </p:nvSpPr>
        <p:spPr>
          <a:xfrm>
            <a:off x="701040" y="4738102"/>
            <a:ext cx="6461760" cy="225639"/>
          </a:xfrm>
        </p:spPr>
        <p:txBody>
          <a:bodyPr anchor="b" anchorCtr="0">
            <a:spAutoFit/>
          </a:bodyPr>
          <a:lstStyle>
            <a:lvl1pPr marL="0" indent="0" algn="l">
              <a:buNone/>
              <a:defRPr sz="1333" i="1">
                <a:solidFill>
                  <a:schemeClr val="tx1"/>
                </a:solidFill>
                <a:latin typeface="+mj-l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
        <p:nvSpPr>
          <p:cNvPr id="9" name="Freeform 5">
            <a:extLst>
              <a:ext uri="{FF2B5EF4-FFF2-40B4-BE49-F238E27FC236}">
                <a16:creationId xmlns:a16="http://schemas.microsoft.com/office/drawing/2014/main" id="{6EF64205-A64B-4137-BA41-5E5CFE0F359E}"/>
              </a:ext>
            </a:extLst>
          </p:cNvPr>
          <p:cNvSpPr>
            <a:spLocks noEditPoints="1"/>
          </p:cNvSpPr>
          <p:nvPr/>
        </p:nvSpPr>
        <p:spPr bwMode="auto">
          <a:xfrm>
            <a:off x="643609" y="578451"/>
            <a:ext cx="2922943" cy="547357"/>
          </a:xfrm>
          <a:custGeom>
            <a:avLst/>
            <a:gdLst>
              <a:gd name="T0" fmla="*/ 225 w 1440"/>
              <a:gd name="T1" fmla="*/ 110 h 267"/>
              <a:gd name="T2" fmla="*/ 317 w 1440"/>
              <a:gd name="T3" fmla="*/ 7 h 267"/>
              <a:gd name="T4" fmla="*/ 475 w 1440"/>
              <a:gd name="T5" fmla="*/ 19 h 267"/>
              <a:gd name="T6" fmla="*/ 830 w 1440"/>
              <a:gd name="T7" fmla="*/ 7 h 267"/>
              <a:gd name="T8" fmla="*/ 130 w 1440"/>
              <a:gd name="T9" fmla="*/ 210 h 267"/>
              <a:gd name="T10" fmla="*/ 437 w 1440"/>
              <a:gd name="T11" fmla="*/ 209 h 267"/>
              <a:gd name="T12" fmla="*/ 493 w 1440"/>
              <a:gd name="T13" fmla="*/ 198 h 267"/>
              <a:gd name="T14" fmla="*/ 866 w 1440"/>
              <a:gd name="T15" fmla="*/ 171 h 267"/>
              <a:gd name="T16" fmla="*/ 737 w 1440"/>
              <a:gd name="T17" fmla="*/ 261 h 267"/>
              <a:gd name="T18" fmla="*/ 958 w 1440"/>
              <a:gd name="T19" fmla="*/ 172 h 267"/>
              <a:gd name="T20" fmla="*/ 906 w 1440"/>
              <a:gd name="T21" fmla="*/ 254 h 267"/>
              <a:gd name="T22" fmla="*/ 309 w 1440"/>
              <a:gd name="T23" fmla="*/ 260 h 267"/>
              <a:gd name="T24" fmla="*/ 1053 w 1440"/>
              <a:gd name="T25" fmla="*/ 31 h 267"/>
              <a:gd name="T26" fmla="*/ 1075 w 1440"/>
              <a:gd name="T27" fmla="*/ 44 h 267"/>
              <a:gd name="T28" fmla="*/ 1091 w 1440"/>
              <a:gd name="T29" fmla="*/ 22 h 267"/>
              <a:gd name="T30" fmla="*/ 1107 w 1440"/>
              <a:gd name="T31" fmla="*/ 27 h 267"/>
              <a:gd name="T32" fmla="*/ 1125 w 1440"/>
              <a:gd name="T33" fmla="*/ 55 h 267"/>
              <a:gd name="T34" fmla="*/ 1159 w 1440"/>
              <a:gd name="T35" fmla="*/ 53 h 267"/>
              <a:gd name="T36" fmla="*/ 1160 w 1440"/>
              <a:gd name="T37" fmla="*/ 57 h 267"/>
              <a:gd name="T38" fmla="*/ 1177 w 1440"/>
              <a:gd name="T39" fmla="*/ 23 h 267"/>
              <a:gd name="T40" fmla="*/ 1207 w 1440"/>
              <a:gd name="T41" fmla="*/ 58 h 267"/>
              <a:gd name="T42" fmla="*/ 1245 w 1440"/>
              <a:gd name="T43" fmla="*/ 27 h 267"/>
              <a:gd name="T44" fmla="*/ 1225 w 1440"/>
              <a:gd name="T45" fmla="*/ 43 h 267"/>
              <a:gd name="T46" fmla="*/ 1271 w 1440"/>
              <a:gd name="T47" fmla="*/ 19 h 267"/>
              <a:gd name="T48" fmla="*/ 1259 w 1440"/>
              <a:gd name="T49" fmla="*/ 32 h 267"/>
              <a:gd name="T50" fmla="*/ 1290 w 1440"/>
              <a:gd name="T51" fmla="*/ 54 h 267"/>
              <a:gd name="T52" fmla="*/ 1310 w 1440"/>
              <a:gd name="T53" fmla="*/ 25 h 267"/>
              <a:gd name="T54" fmla="*/ 1059 w 1440"/>
              <a:gd name="T55" fmla="*/ 110 h 267"/>
              <a:gd name="T56" fmla="*/ 1099 w 1440"/>
              <a:gd name="T57" fmla="*/ 134 h 267"/>
              <a:gd name="T58" fmla="*/ 1120 w 1440"/>
              <a:gd name="T59" fmla="*/ 156 h 267"/>
              <a:gd name="T60" fmla="*/ 1141 w 1440"/>
              <a:gd name="T61" fmla="*/ 123 h 267"/>
              <a:gd name="T62" fmla="*/ 1148 w 1440"/>
              <a:gd name="T63" fmla="*/ 175 h 267"/>
              <a:gd name="T64" fmla="*/ 1184 w 1440"/>
              <a:gd name="T65" fmla="*/ 119 h 267"/>
              <a:gd name="T66" fmla="*/ 1181 w 1440"/>
              <a:gd name="T67" fmla="*/ 153 h 267"/>
              <a:gd name="T68" fmla="*/ 1201 w 1440"/>
              <a:gd name="T69" fmla="*/ 125 h 267"/>
              <a:gd name="T70" fmla="*/ 1230 w 1440"/>
              <a:gd name="T71" fmla="*/ 157 h 267"/>
              <a:gd name="T72" fmla="*/ 1260 w 1440"/>
              <a:gd name="T73" fmla="*/ 154 h 267"/>
              <a:gd name="T74" fmla="*/ 1261 w 1440"/>
              <a:gd name="T75" fmla="*/ 158 h 267"/>
              <a:gd name="T76" fmla="*/ 1284 w 1440"/>
              <a:gd name="T77" fmla="*/ 152 h 267"/>
              <a:gd name="T78" fmla="*/ 1294 w 1440"/>
              <a:gd name="T79" fmla="*/ 123 h 267"/>
              <a:gd name="T80" fmla="*/ 1317 w 1440"/>
              <a:gd name="T81" fmla="*/ 125 h 267"/>
              <a:gd name="T82" fmla="*/ 1342 w 1440"/>
              <a:gd name="T83" fmla="*/ 121 h 267"/>
              <a:gd name="T84" fmla="*/ 1351 w 1440"/>
              <a:gd name="T85" fmla="*/ 112 h 267"/>
              <a:gd name="T86" fmla="*/ 1364 w 1440"/>
              <a:gd name="T87" fmla="*/ 159 h 267"/>
              <a:gd name="T88" fmla="*/ 1399 w 1440"/>
              <a:gd name="T89" fmla="*/ 156 h 267"/>
              <a:gd name="T90" fmla="*/ 1432 w 1440"/>
              <a:gd name="T91" fmla="*/ 120 h 267"/>
              <a:gd name="T92" fmla="*/ 1410 w 1440"/>
              <a:gd name="T93" fmla="*/ 176 h 267"/>
              <a:gd name="T94" fmla="*/ 1076 w 1440"/>
              <a:gd name="T95" fmla="*/ 242 h 267"/>
              <a:gd name="T96" fmla="*/ 1062 w 1440"/>
              <a:gd name="T97" fmla="*/ 225 h 267"/>
              <a:gd name="T98" fmla="*/ 1091 w 1440"/>
              <a:gd name="T99" fmla="*/ 208 h 267"/>
              <a:gd name="T100" fmla="*/ 1112 w 1440"/>
              <a:gd name="T101" fmla="*/ 233 h 267"/>
              <a:gd name="T102" fmla="*/ 1128 w 1440"/>
              <a:gd name="T103" fmla="*/ 224 h 267"/>
              <a:gd name="T104" fmla="*/ 1168 w 1440"/>
              <a:gd name="T105" fmla="*/ 255 h 267"/>
              <a:gd name="T106" fmla="*/ 1154 w 1440"/>
              <a:gd name="T107" fmla="*/ 236 h 267"/>
              <a:gd name="T108" fmla="*/ 1203 w 1440"/>
              <a:gd name="T109" fmla="*/ 256 h 267"/>
              <a:gd name="T110" fmla="*/ 1200 w 1440"/>
              <a:gd name="T111" fmla="*/ 213 h 267"/>
              <a:gd name="T112" fmla="*/ 1227 w 1440"/>
              <a:gd name="T113" fmla="*/ 256 h 267"/>
              <a:gd name="T114" fmla="*/ 1249 w 1440"/>
              <a:gd name="T115" fmla="*/ 260 h 267"/>
              <a:gd name="T116" fmla="*/ 1255 w 1440"/>
              <a:gd name="T117" fmla="*/ 205 h 267"/>
              <a:gd name="T118" fmla="*/ 1297 w 1440"/>
              <a:gd name="T119" fmla="*/ 226 h 267"/>
              <a:gd name="T120" fmla="*/ 1303 w 1440"/>
              <a:gd name="T121" fmla="*/ 243 h 267"/>
              <a:gd name="T122" fmla="*/ 1344 w 1440"/>
              <a:gd name="T123" fmla="*/ 229 h 267"/>
              <a:gd name="T124" fmla="*/ 1328 w 1440"/>
              <a:gd name="T125" fmla="*/ 239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440" h="267">
                <a:moveTo>
                  <a:pt x="17" y="110"/>
                </a:moveTo>
                <a:cubicBezTo>
                  <a:pt x="3" y="110"/>
                  <a:pt x="3" y="110"/>
                  <a:pt x="3" y="110"/>
                </a:cubicBezTo>
                <a:cubicBezTo>
                  <a:pt x="3" y="1"/>
                  <a:pt x="3" y="1"/>
                  <a:pt x="3" y="1"/>
                </a:cubicBezTo>
                <a:cubicBezTo>
                  <a:pt x="81" y="83"/>
                  <a:pt x="81" y="83"/>
                  <a:pt x="81" y="83"/>
                </a:cubicBezTo>
                <a:cubicBezTo>
                  <a:pt x="81" y="7"/>
                  <a:pt x="81" y="7"/>
                  <a:pt x="81" y="7"/>
                </a:cubicBezTo>
                <a:cubicBezTo>
                  <a:pt x="95" y="7"/>
                  <a:pt x="95" y="7"/>
                  <a:pt x="95" y="7"/>
                </a:cubicBezTo>
                <a:cubicBezTo>
                  <a:pt x="95" y="117"/>
                  <a:pt x="95" y="117"/>
                  <a:pt x="95" y="117"/>
                </a:cubicBezTo>
                <a:cubicBezTo>
                  <a:pt x="17" y="35"/>
                  <a:pt x="17" y="35"/>
                  <a:pt x="17" y="35"/>
                </a:cubicBezTo>
                <a:lnTo>
                  <a:pt x="17" y="110"/>
                </a:lnTo>
                <a:close/>
                <a:moveTo>
                  <a:pt x="130" y="110"/>
                </a:moveTo>
                <a:cubicBezTo>
                  <a:pt x="145" y="110"/>
                  <a:pt x="145" y="110"/>
                  <a:pt x="145" y="110"/>
                </a:cubicBezTo>
                <a:cubicBezTo>
                  <a:pt x="178" y="33"/>
                  <a:pt x="178" y="33"/>
                  <a:pt x="178" y="33"/>
                </a:cubicBezTo>
                <a:cubicBezTo>
                  <a:pt x="210" y="109"/>
                  <a:pt x="210" y="109"/>
                  <a:pt x="210" y="109"/>
                </a:cubicBezTo>
                <a:cubicBezTo>
                  <a:pt x="210" y="110"/>
                  <a:pt x="210" y="110"/>
                  <a:pt x="210" y="110"/>
                </a:cubicBezTo>
                <a:cubicBezTo>
                  <a:pt x="225" y="110"/>
                  <a:pt x="225" y="110"/>
                  <a:pt x="225" y="110"/>
                </a:cubicBezTo>
                <a:cubicBezTo>
                  <a:pt x="178" y="0"/>
                  <a:pt x="178" y="0"/>
                  <a:pt x="178" y="0"/>
                </a:cubicBezTo>
                <a:lnTo>
                  <a:pt x="130" y="110"/>
                </a:lnTo>
                <a:close/>
                <a:moveTo>
                  <a:pt x="700" y="110"/>
                </a:moveTo>
                <a:cubicBezTo>
                  <a:pt x="715" y="110"/>
                  <a:pt x="715" y="110"/>
                  <a:pt x="715" y="110"/>
                </a:cubicBezTo>
                <a:cubicBezTo>
                  <a:pt x="748" y="33"/>
                  <a:pt x="748" y="33"/>
                  <a:pt x="748" y="33"/>
                </a:cubicBezTo>
                <a:cubicBezTo>
                  <a:pt x="780" y="109"/>
                  <a:pt x="780" y="109"/>
                  <a:pt x="780" y="109"/>
                </a:cubicBezTo>
                <a:cubicBezTo>
                  <a:pt x="780" y="110"/>
                  <a:pt x="780" y="110"/>
                  <a:pt x="780" y="110"/>
                </a:cubicBezTo>
                <a:cubicBezTo>
                  <a:pt x="795" y="110"/>
                  <a:pt x="795" y="110"/>
                  <a:pt x="795" y="110"/>
                </a:cubicBezTo>
                <a:cubicBezTo>
                  <a:pt x="748" y="0"/>
                  <a:pt x="748" y="0"/>
                  <a:pt x="748" y="0"/>
                </a:cubicBezTo>
                <a:lnTo>
                  <a:pt x="700" y="110"/>
                </a:lnTo>
                <a:close/>
                <a:moveTo>
                  <a:pt x="273" y="110"/>
                </a:moveTo>
                <a:cubicBezTo>
                  <a:pt x="286" y="110"/>
                  <a:pt x="286" y="110"/>
                  <a:pt x="286" y="110"/>
                </a:cubicBezTo>
                <a:cubicBezTo>
                  <a:pt x="286" y="20"/>
                  <a:pt x="286" y="20"/>
                  <a:pt x="286" y="20"/>
                </a:cubicBezTo>
                <a:cubicBezTo>
                  <a:pt x="317" y="20"/>
                  <a:pt x="317" y="20"/>
                  <a:pt x="317" y="20"/>
                </a:cubicBezTo>
                <a:cubicBezTo>
                  <a:pt x="317" y="7"/>
                  <a:pt x="317" y="7"/>
                  <a:pt x="317" y="7"/>
                </a:cubicBezTo>
                <a:cubicBezTo>
                  <a:pt x="242" y="7"/>
                  <a:pt x="242" y="7"/>
                  <a:pt x="242" y="7"/>
                </a:cubicBezTo>
                <a:cubicBezTo>
                  <a:pt x="242" y="20"/>
                  <a:pt x="242" y="20"/>
                  <a:pt x="242" y="20"/>
                </a:cubicBezTo>
                <a:cubicBezTo>
                  <a:pt x="273" y="20"/>
                  <a:pt x="273" y="20"/>
                  <a:pt x="273" y="20"/>
                </a:cubicBezTo>
                <a:lnTo>
                  <a:pt x="273" y="110"/>
                </a:lnTo>
                <a:close/>
                <a:moveTo>
                  <a:pt x="374" y="7"/>
                </a:moveTo>
                <a:cubicBezTo>
                  <a:pt x="360" y="7"/>
                  <a:pt x="360" y="7"/>
                  <a:pt x="360" y="7"/>
                </a:cubicBezTo>
                <a:cubicBezTo>
                  <a:pt x="360" y="110"/>
                  <a:pt x="360" y="110"/>
                  <a:pt x="360" y="110"/>
                </a:cubicBezTo>
                <a:cubicBezTo>
                  <a:pt x="374" y="110"/>
                  <a:pt x="374" y="110"/>
                  <a:pt x="374" y="110"/>
                </a:cubicBezTo>
                <a:lnTo>
                  <a:pt x="374" y="7"/>
                </a:lnTo>
                <a:close/>
                <a:moveTo>
                  <a:pt x="475" y="112"/>
                </a:moveTo>
                <a:cubicBezTo>
                  <a:pt x="445" y="112"/>
                  <a:pt x="421" y="88"/>
                  <a:pt x="421" y="59"/>
                </a:cubicBezTo>
                <a:cubicBezTo>
                  <a:pt x="421" y="29"/>
                  <a:pt x="445" y="5"/>
                  <a:pt x="475" y="5"/>
                </a:cubicBezTo>
                <a:cubicBezTo>
                  <a:pt x="505" y="5"/>
                  <a:pt x="528" y="29"/>
                  <a:pt x="528" y="59"/>
                </a:cubicBezTo>
                <a:cubicBezTo>
                  <a:pt x="528" y="88"/>
                  <a:pt x="505" y="112"/>
                  <a:pt x="475" y="112"/>
                </a:cubicBezTo>
                <a:close/>
                <a:moveTo>
                  <a:pt x="475" y="19"/>
                </a:moveTo>
                <a:cubicBezTo>
                  <a:pt x="453" y="19"/>
                  <a:pt x="435" y="37"/>
                  <a:pt x="435" y="59"/>
                </a:cubicBezTo>
                <a:cubicBezTo>
                  <a:pt x="435" y="81"/>
                  <a:pt x="453" y="99"/>
                  <a:pt x="475" y="99"/>
                </a:cubicBezTo>
                <a:cubicBezTo>
                  <a:pt x="497" y="99"/>
                  <a:pt x="514" y="81"/>
                  <a:pt x="514" y="59"/>
                </a:cubicBezTo>
                <a:cubicBezTo>
                  <a:pt x="514" y="37"/>
                  <a:pt x="497" y="19"/>
                  <a:pt x="475" y="19"/>
                </a:cubicBezTo>
                <a:close/>
                <a:moveTo>
                  <a:pt x="586" y="35"/>
                </a:moveTo>
                <a:cubicBezTo>
                  <a:pt x="664" y="117"/>
                  <a:pt x="664" y="117"/>
                  <a:pt x="664" y="117"/>
                </a:cubicBezTo>
                <a:cubicBezTo>
                  <a:pt x="664" y="7"/>
                  <a:pt x="664" y="7"/>
                  <a:pt x="664" y="7"/>
                </a:cubicBezTo>
                <a:cubicBezTo>
                  <a:pt x="650" y="7"/>
                  <a:pt x="650" y="7"/>
                  <a:pt x="650" y="7"/>
                </a:cubicBezTo>
                <a:cubicBezTo>
                  <a:pt x="650" y="83"/>
                  <a:pt x="650" y="83"/>
                  <a:pt x="650" y="83"/>
                </a:cubicBezTo>
                <a:cubicBezTo>
                  <a:pt x="572" y="1"/>
                  <a:pt x="572" y="1"/>
                  <a:pt x="572" y="1"/>
                </a:cubicBezTo>
                <a:cubicBezTo>
                  <a:pt x="572" y="110"/>
                  <a:pt x="572" y="110"/>
                  <a:pt x="572" y="110"/>
                </a:cubicBezTo>
                <a:cubicBezTo>
                  <a:pt x="586" y="110"/>
                  <a:pt x="586" y="110"/>
                  <a:pt x="586" y="110"/>
                </a:cubicBezTo>
                <a:lnTo>
                  <a:pt x="586" y="35"/>
                </a:lnTo>
                <a:close/>
                <a:moveTo>
                  <a:pt x="843" y="7"/>
                </a:moveTo>
                <a:cubicBezTo>
                  <a:pt x="830" y="7"/>
                  <a:pt x="830" y="7"/>
                  <a:pt x="830" y="7"/>
                </a:cubicBezTo>
                <a:cubicBezTo>
                  <a:pt x="830" y="110"/>
                  <a:pt x="830" y="110"/>
                  <a:pt x="830" y="110"/>
                </a:cubicBezTo>
                <a:cubicBezTo>
                  <a:pt x="885" y="110"/>
                  <a:pt x="885" y="110"/>
                  <a:pt x="885" y="110"/>
                </a:cubicBezTo>
                <a:cubicBezTo>
                  <a:pt x="885" y="97"/>
                  <a:pt x="885" y="97"/>
                  <a:pt x="885" y="97"/>
                </a:cubicBezTo>
                <a:cubicBezTo>
                  <a:pt x="843" y="97"/>
                  <a:pt x="843" y="97"/>
                  <a:pt x="843" y="97"/>
                </a:cubicBezTo>
                <a:lnTo>
                  <a:pt x="843" y="7"/>
                </a:lnTo>
                <a:close/>
                <a:moveTo>
                  <a:pt x="169" y="156"/>
                </a:moveTo>
                <a:cubicBezTo>
                  <a:pt x="139" y="156"/>
                  <a:pt x="116" y="179"/>
                  <a:pt x="116" y="209"/>
                </a:cubicBezTo>
                <a:cubicBezTo>
                  <a:pt x="116" y="240"/>
                  <a:pt x="139" y="262"/>
                  <a:pt x="169" y="262"/>
                </a:cubicBezTo>
                <a:cubicBezTo>
                  <a:pt x="175" y="262"/>
                  <a:pt x="188" y="261"/>
                  <a:pt x="200" y="252"/>
                </a:cubicBezTo>
                <a:cubicBezTo>
                  <a:pt x="200" y="252"/>
                  <a:pt x="200" y="252"/>
                  <a:pt x="200" y="252"/>
                </a:cubicBezTo>
                <a:cubicBezTo>
                  <a:pt x="200" y="234"/>
                  <a:pt x="200" y="234"/>
                  <a:pt x="200" y="234"/>
                </a:cubicBezTo>
                <a:cubicBezTo>
                  <a:pt x="198" y="236"/>
                  <a:pt x="198" y="236"/>
                  <a:pt x="198" y="236"/>
                </a:cubicBezTo>
                <a:cubicBezTo>
                  <a:pt x="196" y="239"/>
                  <a:pt x="192" y="242"/>
                  <a:pt x="187" y="245"/>
                </a:cubicBezTo>
                <a:cubicBezTo>
                  <a:pt x="181" y="247"/>
                  <a:pt x="175" y="249"/>
                  <a:pt x="169" y="249"/>
                </a:cubicBezTo>
                <a:cubicBezTo>
                  <a:pt x="142" y="249"/>
                  <a:pt x="130" y="226"/>
                  <a:pt x="130" y="210"/>
                </a:cubicBezTo>
                <a:cubicBezTo>
                  <a:pt x="130" y="187"/>
                  <a:pt x="147" y="169"/>
                  <a:pt x="169" y="169"/>
                </a:cubicBezTo>
                <a:cubicBezTo>
                  <a:pt x="174" y="169"/>
                  <a:pt x="180" y="170"/>
                  <a:pt x="185" y="173"/>
                </a:cubicBezTo>
                <a:cubicBezTo>
                  <a:pt x="190" y="175"/>
                  <a:pt x="194" y="178"/>
                  <a:pt x="198" y="182"/>
                </a:cubicBezTo>
                <a:cubicBezTo>
                  <a:pt x="200" y="184"/>
                  <a:pt x="200" y="184"/>
                  <a:pt x="200" y="184"/>
                </a:cubicBezTo>
                <a:cubicBezTo>
                  <a:pt x="200" y="166"/>
                  <a:pt x="200" y="166"/>
                  <a:pt x="200" y="166"/>
                </a:cubicBezTo>
                <a:cubicBezTo>
                  <a:pt x="200" y="166"/>
                  <a:pt x="200" y="166"/>
                  <a:pt x="200" y="166"/>
                </a:cubicBezTo>
                <a:cubicBezTo>
                  <a:pt x="191" y="159"/>
                  <a:pt x="181" y="156"/>
                  <a:pt x="169" y="156"/>
                </a:cubicBezTo>
                <a:close/>
                <a:moveTo>
                  <a:pt x="437" y="209"/>
                </a:moveTo>
                <a:cubicBezTo>
                  <a:pt x="437" y="225"/>
                  <a:pt x="431" y="238"/>
                  <a:pt x="419" y="249"/>
                </a:cubicBezTo>
                <a:cubicBezTo>
                  <a:pt x="409" y="257"/>
                  <a:pt x="399" y="261"/>
                  <a:pt x="382" y="261"/>
                </a:cubicBezTo>
                <a:cubicBezTo>
                  <a:pt x="360" y="261"/>
                  <a:pt x="360" y="261"/>
                  <a:pt x="360" y="261"/>
                </a:cubicBezTo>
                <a:cubicBezTo>
                  <a:pt x="360" y="157"/>
                  <a:pt x="360" y="157"/>
                  <a:pt x="360" y="157"/>
                </a:cubicBezTo>
                <a:cubicBezTo>
                  <a:pt x="382" y="157"/>
                  <a:pt x="382" y="157"/>
                  <a:pt x="382" y="157"/>
                </a:cubicBezTo>
                <a:cubicBezTo>
                  <a:pt x="393" y="157"/>
                  <a:pt x="407" y="159"/>
                  <a:pt x="420" y="170"/>
                </a:cubicBezTo>
                <a:cubicBezTo>
                  <a:pt x="426" y="175"/>
                  <a:pt x="437" y="187"/>
                  <a:pt x="437" y="209"/>
                </a:cubicBezTo>
                <a:close/>
                <a:moveTo>
                  <a:pt x="423" y="209"/>
                </a:moveTo>
                <a:cubicBezTo>
                  <a:pt x="423" y="186"/>
                  <a:pt x="407" y="171"/>
                  <a:pt x="382" y="171"/>
                </a:cubicBezTo>
                <a:cubicBezTo>
                  <a:pt x="374" y="171"/>
                  <a:pt x="374" y="171"/>
                  <a:pt x="374" y="171"/>
                </a:cubicBezTo>
                <a:cubicBezTo>
                  <a:pt x="374" y="247"/>
                  <a:pt x="374" y="247"/>
                  <a:pt x="374" y="247"/>
                </a:cubicBezTo>
                <a:cubicBezTo>
                  <a:pt x="382" y="247"/>
                  <a:pt x="382" y="247"/>
                  <a:pt x="382" y="247"/>
                </a:cubicBezTo>
                <a:cubicBezTo>
                  <a:pt x="390" y="247"/>
                  <a:pt x="401" y="246"/>
                  <a:pt x="410" y="239"/>
                </a:cubicBezTo>
                <a:cubicBezTo>
                  <a:pt x="416" y="234"/>
                  <a:pt x="423" y="224"/>
                  <a:pt x="423" y="209"/>
                </a:cubicBezTo>
                <a:close/>
                <a:moveTo>
                  <a:pt x="479" y="261"/>
                </a:moveTo>
                <a:cubicBezTo>
                  <a:pt x="541" y="261"/>
                  <a:pt x="541" y="261"/>
                  <a:pt x="541" y="261"/>
                </a:cubicBezTo>
                <a:cubicBezTo>
                  <a:pt x="541" y="247"/>
                  <a:pt x="541" y="247"/>
                  <a:pt x="541" y="247"/>
                </a:cubicBezTo>
                <a:cubicBezTo>
                  <a:pt x="493" y="247"/>
                  <a:pt x="493" y="247"/>
                  <a:pt x="493" y="247"/>
                </a:cubicBezTo>
                <a:cubicBezTo>
                  <a:pt x="493" y="211"/>
                  <a:pt x="493" y="211"/>
                  <a:pt x="493" y="211"/>
                </a:cubicBezTo>
                <a:cubicBezTo>
                  <a:pt x="535" y="211"/>
                  <a:pt x="535" y="211"/>
                  <a:pt x="535" y="211"/>
                </a:cubicBezTo>
                <a:cubicBezTo>
                  <a:pt x="535" y="198"/>
                  <a:pt x="535" y="198"/>
                  <a:pt x="535" y="198"/>
                </a:cubicBezTo>
                <a:cubicBezTo>
                  <a:pt x="493" y="198"/>
                  <a:pt x="493" y="198"/>
                  <a:pt x="493" y="198"/>
                </a:cubicBezTo>
                <a:cubicBezTo>
                  <a:pt x="493" y="171"/>
                  <a:pt x="493" y="171"/>
                  <a:pt x="493" y="171"/>
                </a:cubicBezTo>
                <a:cubicBezTo>
                  <a:pt x="541" y="171"/>
                  <a:pt x="541" y="171"/>
                  <a:pt x="541" y="171"/>
                </a:cubicBezTo>
                <a:cubicBezTo>
                  <a:pt x="541" y="157"/>
                  <a:pt x="541" y="157"/>
                  <a:pt x="541" y="157"/>
                </a:cubicBezTo>
                <a:cubicBezTo>
                  <a:pt x="479" y="157"/>
                  <a:pt x="479" y="157"/>
                  <a:pt x="479" y="157"/>
                </a:cubicBezTo>
                <a:lnTo>
                  <a:pt x="479" y="261"/>
                </a:lnTo>
                <a:close/>
                <a:moveTo>
                  <a:pt x="805" y="261"/>
                </a:moveTo>
                <a:cubicBezTo>
                  <a:pt x="866" y="261"/>
                  <a:pt x="866" y="261"/>
                  <a:pt x="866" y="261"/>
                </a:cubicBezTo>
                <a:cubicBezTo>
                  <a:pt x="866" y="247"/>
                  <a:pt x="866" y="247"/>
                  <a:pt x="866" y="247"/>
                </a:cubicBezTo>
                <a:cubicBezTo>
                  <a:pt x="819" y="247"/>
                  <a:pt x="819" y="247"/>
                  <a:pt x="819" y="247"/>
                </a:cubicBezTo>
                <a:cubicBezTo>
                  <a:pt x="819" y="211"/>
                  <a:pt x="819" y="211"/>
                  <a:pt x="819" y="211"/>
                </a:cubicBezTo>
                <a:cubicBezTo>
                  <a:pt x="860" y="211"/>
                  <a:pt x="860" y="211"/>
                  <a:pt x="860" y="211"/>
                </a:cubicBezTo>
                <a:cubicBezTo>
                  <a:pt x="860" y="198"/>
                  <a:pt x="860" y="198"/>
                  <a:pt x="860" y="198"/>
                </a:cubicBezTo>
                <a:cubicBezTo>
                  <a:pt x="819" y="198"/>
                  <a:pt x="819" y="198"/>
                  <a:pt x="819" y="198"/>
                </a:cubicBezTo>
                <a:cubicBezTo>
                  <a:pt x="819" y="171"/>
                  <a:pt x="819" y="171"/>
                  <a:pt x="819" y="171"/>
                </a:cubicBezTo>
                <a:cubicBezTo>
                  <a:pt x="866" y="171"/>
                  <a:pt x="866" y="171"/>
                  <a:pt x="866" y="171"/>
                </a:cubicBezTo>
                <a:cubicBezTo>
                  <a:pt x="866" y="157"/>
                  <a:pt x="866" y="157"/>
                  <a:pt x="866" y="157"/>
                </a:cubicBezTo>
                <a:cubicBezTo>
                  <a:pt x="805" y="157"/>
                  <a:pt x="805" y="157"/>
                  <a:pt x="805" y="157"/>
                </a:cubicBezTo>
                <a:lnTo>
                  <a:pt x="805" y="261"/>
                </a:lnTo>
                <a:close/>
                <a:moveTo>
                  <a:pt x="634" y="235"/>
                </a:moveTo>
                <a:cubicBezTo>
                  <a:pt x="595" y="149"/>
                  <a:pt x="595" y="149"/>
                  <a:pt x="595" y="149"/>
                </a:cubicBezTo>
                <a:cubicBezTo>
                  <a:pt x="578" y="261"/>
                  <a:pt x="578" y="261"/>
                  <a:pt x="578" y="261"/>
                </a:cubicBezTo>
                <a:cubicBezTo>
                  <a:pt x="592" y="261"/>
                  <a:pt x="592" y="261"/>
                  <a:pt x="592" y="261"/>
                </a:cubicBezTo>
                <a:cubicBezTo>
                  <a:pt x="601" y="194"/>
                  <a:pt x="601" y="194"/>
                  <a:pt x="601" y="194"/>
                </a:cubicBezTo>
                <a:cubicBezTo>
                  <a:pt x="634" y="267"/>
                  <a:pt x="634" y="267"/>
                  <a:pt x="634" y="267"/>
                </a:cubicBezTo>
                <a:cubicBezTo>
                  <a:pt x="668" y="194"/>
                  <a:pt x="668" y="194"/>
                  <a:pt x="668" y="194"/>
                </a:cubicBezTo>
                <a:cubicBezTo>
                  <a:pt x="677" y="261"/>
                  <a:pt x="677" y="261"/>
                  <a:pt x="677" y="261"/>
                </a:cubicBezTo>
                <a:cubicBezTo>
                  <a:pt x="691" y="261"/>
                  <a:pt x="691" y="261"/>
                  <a:pt x="691" y="261"/>
                </a:cubicBezTo>
                <a:cubicBezTo>
                  <a:pt x="674" y="148"/>
                  <a:pt x="674" y="148"/>
                  <a:pt x="674" y="148"/>
                </a:cubicBezTo>
                <a:lnTo>
                  <a:pt x="634" y="235"/>
                </a:lnTo>
                <a:close/>
                <a:moveTo>
                  <a:pt x="737" y="261"/>
                </a:moveTo>
                <a:cubicBezTo>
                  <a:pt x="751" y="261"/>
                  <a:pt x="751" y="261"/>
                  <a:pt x="751" y="261"/>
                </a:cubicBezTo>
                <a:cubicBezTo>
                  <a:pt x="751" y="157"/>
                  <a:pt x="751" y="157"/>
                  <a:pt x="751" y="157"/>
                </a:cubicBezTo>
                <a:cubicBezTo>
                  <a:pt x="737" y="157"/>
                  <a:pt x="737" y="157"/>
                  <a:pt x="737" y="157"/>
                </a:cubicBezTo>
                <a:lnTo>
                  <a:pt x="737" y="261"/>
                </a:lnTo>
                <a:close/>
                <a:moveTo>
                  <a:pt x="955" y="211"/>
                </a:moveTo>
                <a:cubicBezTo>
                  <a:pt x="950" y="207"/>
                  <a:pt x="945" y="204"/>
                  <a:pt x="939" y="201"/>
                </a:cubicBezTo>
                <a:cubicBezTo>
                  <a:pt x="929" y="197"/>
                  <a:pt x="929" y="197"/>
                  <a:pt x="929" y="197"/>
                </a:cubicBezTo>
                <a:cubicBezTo>
                  <a:pt x="925" y="195"/>
                  <a:pt x="922" y="194"/>
                  <a:pt x="919" y="191"/>
                </a:cubicBezTo>
                <a:cubicBezTo>
                  <a:pt x="916" y="189"/>
                  <a:pt x="916" y="187"/>
                  <a:pt x="916" y="183"/>
                </a:cubicBezTo>
                <a:cubicBezTo>
                  <a:pt x="916" y="175"/>
                  <a:pt x="922" y="169"/>
                  <a:pt x="931" y="169"/>
                </a:cubicBezTo>
                <a:cubicBezTo>
                  <a:pt x="936" y="169"/>
                  <a:pt x="940" y="171"/>
                  <a:pt x="942" y="172"/>
                </a:cubicBezTo>
                <a:cubicBezTo>
                  <a:pt x="944" y="174"/>
                  <a:pt x="946" y="177"/>
                  <a:pt x="947" y="179"/>
                </a:cubicBezTo>
                <a:cubicBezTo>
                  <a:pt x="948" y="181"/>
                  <a:pt x="948" y="181"/>
                  <a:pt x="948" y="181"/>
                </a:cubicBezTo>
                <a:cubicBezTo>
                  <a:pt x="959" y="173"/>
                  <a:pt x="959" y="173"/>
                  <a:pt x="959" y="173"/>
                </a:cubicBezTo>
                <a:cubicBezTo>
                  <a:pt x="958" y="172"/>
                  <a:pt x="958" y="172"/>
                  <a:pt x="958" y="172"/>
                </a:cubicBezTo>
                <a:cubicBezTo>
                  <a:pt x="956" y="167"/>
                  <a:pt x="952" y="163"/>
                  <a:pt x="948" y="161"/>
                </a:cubicBezTo>
                <a:cubicBezTo>
                  <a:pt x="943" y="157"/>
                  <a:pt x="938" y="156"/>
                  <a:pt x="931" y="156"/>
                </a:cubicBezTo>
                <a:cubicBezTo>
                  <a:pt x="914" y="156"/>
                  <a:pt x="902" y="167"/>
                  <a:pt x="902" y="183"/>
                </a:cubicBezTo>
                <a:cubicBezTo>
                  <a:pt x="902" y="190"/>
                  <a:pt x="904" y="195"/>
                  <a:pt x="909" y="200"/>
                </a:cubicBezTo>
                <a:cubicBezTo>
                  <a:pt x="913" y="205"/>
                  <a:pt x="918" y="207"/>
                  <a:pt x="922" y="209"/>
                </a:cubicBezTo>
                <a:cubicBezTo>
                  <a:pt x="932" y="213"/>
                  <a:pt x="932" y="213"/>
                  <a:pt x="932" y="213"/>
                </a:cubicBezTo>
                <a:cubicBezTo>
                  <a:pt x="937" y="215"/>
                  <a:pt x="941" y="217"/>
                  <a:pt x="944" y="220"/>
                </a:cubicBezTo>
                <a:cubicBezTo>
                  <a:pt x="947" y="223"/>
                  <a:pt x="948" y="226"/>
                  <a:pt x="948" y="231"/>
                </a:cubicBezTo>
                <a:cubicBezTo>
                  <a:pt x="948" y="240"/>
                  <a:pt x="942" y="249"/>
                  <a:pt x="929" y="249"/>
                </a:cubicBezTo>
                <a:cubicBezTo>
                  <a:pt x="924" y="249"/>
                  <a:pt x="919" y="247"/>
                  <a:pt x="916" y="244"/>
                </a:cubicBezTo>
                <a:cubicBezTo>
                  <a:pt x="913" y="241"/>
                  <a:pt x="911" y="236"/>
                  <a:pt x="910" y="232"/>
                </a:cubicBezTo>
                <a:cubicBezTo>
                  <a:pt x="910" y="230"/>
                  <a:pt x="910" y="230"/>
                  <a:pt x="910" y="230"/>
                </a:cubicBezTo>
                <a:cubicBezTo>
                  <a:pt x="896" y="234"/>
                  <a:pt x="896" y="234"/>
                  <a:pt x="896" y="234"/>
                </a:cubicBezTo>
                <a:cubicBezTo>
                  <a:pt x="897" y="235"/>
                  <a:pt x="897" y="235"/>
                  <a:pt x="897" y="235"/>
                </a:cubicBezTo>
                <a:cubicBezTo>
                  <a:pt x="898" y="243"/>
                  <a:pt x="902" y="249"/>
                  <a:pt x="906" y="254"/>
                </a:cubicBezTo>
                <a:cubicBezTo>
                  <a:pt x="912" y="260"/>
                  <a:pt x="920" y="262"/>
                  <a:pt x="929" y="262"/>
                </a:cubicBezTo>
                <a:cubicBezTo>
                  <a:pt x="948" y="262"/>
                  <a:pt x="962" y="249"/>
                  <a:pt x="962" y="230"/>
                </a:cubicBezTo>
                <a:cubicBezTo>
                  <a:pt x="962" y="222"/>
                  <a:pt x="960" y="216"/>
                  <a:pt x="955" y="211"/>
                </a:cubicBezTo>
                <a:close/>
                <a:moveTo>
                  <a:pt x="0" y="261"/>
                </a:moveTo>
                <a:cubicBezTo>
                  <a:pt x="15" y="261"/>
                  <a:pt x="15" y="261"/>
                  <a:pt x="15" y="261"/>
                </a:cubicBezTo>
                <a:cubicBezTo>
                  <a:pt x="48" y="184"/>
                  <a:pt x="48" y="184"/>
                  <a:pt x="48" y="184"/>
                </a:cubicBezTo>
                <a:cubicBezTo>
                  <a:pt x="79" y="260"/>
                  <a:pt x="79" y="260"/>
                  <a:pt x="79" y="260"/>
                </a:cubicBezTo>
                <a:cubicBezTo>
                  <a:pt x="80" y="261"/>
                  <a:pt x="80" y="261"/>
                  <a:pt x="80" y="261"/>
                </a:cubicBezTo>
                <a:cubicBezTo>
                  <a:pt x="95" y="261"/>
                  <a:pt x="95" y="261"/>
                  <a:pt x="95" y="261"/>
                </a:cubicBezTo>
                <a:cubicBezTo>
                  <a:pt x="48" y="151"/>
                  <a:pt x="48" y="151"/>
                  <a:pt x="48" y="151"/>
                </a:cubicBezTo>
                <a:lnTo>
                  <a:pt x="0" y="261"/>
                </a:lnTo>
                <a:close/>
                <a:moveTo>
                  <a:pt x="229" y="261"/>
                </a:moveTo>
                <a:cubicBezTo>
                  <a:pt x="244" y="261"/>
                  <a:pt x="244" y="261"/>
                  <a:pt x="244" y="261"/>
                </a:cubicBezTo>
                <a:cubicBezTo>
                  <a:pt x="277" y="184"/>
                  <a:pt x="277" y="184"/>
                  <a:pt x="277" y="184"/>
                </a:cubicBezTo>
                <a:cubicBezTo>
                  <a:pt x="309" y="260"/>
                  <a:pt x="309" y="260"/>
                  <a:pt x="309" y="260"/>
                </a:cubicBezTo>
                <a:cubicBezTo>
                  <a:pt x="309" y="261"/>
                  <a:pt x="309" y="261"/>
                  <a:pt x="309" y="261"/>
                </a:cubicBezTo>
                <a:cubicBezTo>
                  <a:pt x="324" y="261"/>
                  <a:pt x="324" y="261"/>
                  <a:pt x="324" y="261"/>
                </a:cubicBezTo>
                <a:cubicBezTo>
                  <a:pt x="277" y="151"/>
                  <a:pt x="277" y="151"/>
                  <a:pt x="277" y="151"/>
                </a:cubicBezTo>
                <a:lnTo>
                  <a:pt x="229" y="261"/>
                </a:lnTo>
                <a:close/>
                <a:moveTo>
                  <a:pt x="1071" y="11"/>
                </a:moveTo>
                <a:cubicBezTo>
                  <a:pt x="1071" y="18"/>
                  <a:pt x="1071" y="18"/>
                  <a:pt x="1071" y="18"/>
                </a:cubicBezTo>
                <a:cubicBezTo>
                  <a:pt x="1075" y="18"/>
                  <a:pt x="1075" y="18"/>
                  <a:pt x="1075" y="18"/>
                </a:cubicBezTo>
                <a:cubicBezTo>
                  <a:pt x="1077" y="9"/>
                  <a:pt x="1077" y="9"/>
                  <a:pt x="1077" y="9"/>
                </a:cubicBezTo>
                <a:cubicBezTo>
                  <a:pt x="1076" y="8"/>
                  <a:pt x="1074" y="7"/>
                  <a:pt x="1072" y="6"/>
                </a:cubicBezTo>
                <a:cubicBezTo>
                  <a:pt x="1070" y="6"/>
                  <a:pt x="1067" y="6"/>
                  <a:pt x="1064" y="6"/>
                </a:cubicBezTo>
                <a:cubicBezTo>
                  <a:pt x="1061" y="6"/>
                  <a:pt x="1058" y="6"/>
                  <a:pt x="1056" y="7"/>
                </a:cubicBezTo>
                <a:cubicBezTo>
                  <a:pt x="1053" y="9"/>
                  <a:pt x="1051" y="10"/>
                  <a:pt x="1049" y="12"/>
                </a:cubicBezTo>
                <a:cubicBezTo>
                  <a:pt x="1048" y="14"/>
                  <a:pt x="1047" y="17"/>
                  <a:pt x="1047" y="20"/>
                </a:cubicBezTo>
                <a:cubicBezTo>
                  <a:pt x="1047" y="22"/>
                  <a:pt x="1048" y="24"/>
                  <a:pt x="1049" y="26"/>
                </a:cubicBezTo>
                <a:cubicBezTo>
                  <a:pt x="1050" y="28"/>
                  <a:pt x="1051" y="30"/>
                  <a:pt x="1053" y="31"/>
                </a:cubicBezTo>
                <a:cubicBezTo>
                  <a:pt x="1055" y="32"/>
                  <a:pt x="1057" y="34"/>
                  <a:pt x="1059" y="35"/>
                </a:cubicBezTo>
                <a:cubicBezTo>
                  <a:pt x="1062" y="37"/>
                  <a:pt x="1064" y="39"/>
                  <a:pt x="1066" y="40"/>
                </a:cubicBezTo>
                <a:cubicBezTo>
                  <a:pt x="1067" y="42"/>
                  <a:pt x="1068" y="44"/>
                  <a:pt x="1068" y="47"/>
                </a:cubicBezTo>
                <a:cubicBezTo>
                  <a:pt x="1068" y="49"/>
                  <a:pt x="1067" y="52"/>
                  <a:pt x="1065" y="53"/>
                </a:cubicBezTo>
                <a:cubicBezTo>
                  <a:pt x="1062" y="55"/>
                  <a:pt x="1060" y="56"/>
                  <a:pt x="1057" y="56"/>
                </a:cubicBezTo>
                <a:cubicBezTo>
                  <a:pt x="1055" y="56"/>
                  <a:pt x="1053" y="56"/>
                  <a:pt x="1052" y="55"/>
                </a:cubicBezTo>
                <a:cubicBezTo>
                  <a:pt x="1050" y="55"/>
                  <a:pt x="1049" y="54"/>
                  <a:pt x="1048" y="54"/>
                </a:cubicBezTo>
                <a:cubicBezTo>
                  <a:pt x="1048" y="46"/>
                  <a:pt x="1048" y="46"/>
                  <a:pt x="1048" y="46"/>
                </a:cubicBezTo>
                <a:cubicBezTo>
                  <a:pt x="1044" y="46"/>
                  <a:pt x="1044" y="46"/>
                  <a:pt x="1044" y="46"/>
                </a:cubicBezTo>
                <a:cubicBezTo>
                  <a:pt x="1042" y="56"/>
                  <a:pt x="1042" y="56"/>
                  <a:pt x="1042" y="56"/>
                </a:cubicBezTo>
                <a:cubicBezTo>
                  <a:pt x="1043" y="57"/>
                  <a:pt x="1045" y="58"/>
                  <a:pt x="1048" y="58"/>
                </a:cubicBezTo>
                <a:cubicBezTo>
                  <a:pt x="1051" y="59"/>
                  <a:pt x="1054" y="59"/>
                  <a:pt x="1057" y="59"/>
                </a:cubicBezTo>
                <a:cubicBezTo>
                  <a:pt x="1060" y="59"/>
                  <a:pt x="1063" y="59"/>
                  <a:pt x="1066" y="57"/>
                </a:cubicBezTo>
                <a:cubicBezTo>
                  <a:pt x="1069" y="56"/>
                  <a:pt x="1071" y="54"/>
                  <a:pt x="1073" y="52"/>
                </a:cubicBezTo>
                <a:cubicBezTo>
                  <a:pt x="1074" y="50"/>
                  <a:pt x="1075" y="47"/>
                  <a:pt x="1075" y="44"/>
                </a:cubicBezTo>
                <a:cubicBezTo>
                  <a:pt x="1075" y="42"/>
                  <a:pt x="1074" y="40"/>
                  <a:pt x="1073" y="38"/>
                </a:cubicBezTo>
                <a:cubicBezTo>
                  <a:pt x="1072" y="36"/>
                  <a:pt x="1071" y="35"/>
                  <a:pt x="1069" y="34"/>
                </a:cubicBezTo>
                <a:cubicBezTo>
                  <a:pt x="1068" y="32"/>
                  <a:pt x="1066" y="31"/>
                  <a:pt x="1064" y="29"/>
                </a:cubicBezTo>
                <a:cubicBezTo>
                  <a:pt x="1060" y="27"/>
                  <a:pt x="1058" y="25"/>
                  <a:pt x="1056" y="24"/>
                </a:cubicBezTo>
                <a:cubicBezTo>
                  <a:pt x="1055" y="22"/>
                  <a:pt x="1054" y="20"/>
                  <a:pt x="1054" y="17"/>
                </a:cubicBezTo>
                <a:cubicBezTo>
                  <a:pt x="1054" y="15"/>
                  <a:pt x="1055" y="13"/>
                  <a:pt x="1057" y="11"/>
                </a:cubicBezTo>
                <a:cubicBezTo>
                  <a:pt x="1059" y="10"/>
                  <a:pt x="1061" y="9"/>
                  <a:pt x="1064" y="9"/>
                </a:cubicBezTo>
                <a:cubicBezTo>
                  <a:pt x="1065" y="9"/>
                  <a:pt x="1067" y="9"/>
                  <a:pt x="1068" y="10"/>
                </a:cubicBezTo>
                <a:cubicBezTo>
                  <a:pt x="1069" y="10"/>
                  <a:pt x="1070" y="10"/>
                  <a:pt x="1071" y="11"/>
                </a:cubicBezTo>
                <a:close/>
                <a:moveTo>
                  <a:pt x="1107" y="27"/>
                </a:moveTo>
                <a:cubicBezTo>
                  <a:pt x="1108" y="27"/>
                  <a:pt x="1108" y="27"/>
                  <a:pt x="1108" y="27"/>
                </a:cubicBezTo>
                <a:cubicBezTo>
                  <a:pt x="1110" y="20"/>
                  <a:pt x="1110" y="20"/>
                  <a:pt x="1110" y="20"/>
                </a:cubicBezTo>
                <a:cubicBezTo>
                  <a:pt x="1109" y="20"/>
                  <a:pt x="1108" y="19"/>
                  <a:pt x="1107" y="19"/>
                </a:cubicBezTo>
                <a:cubicBezTo>
                  <a:pt x="1105" y="19"/>
                  <a:pt x="1104" y="19"/>
                  <a:pt x="1102" y="19"/>
                </a:cubicBezTo>
                <a:cubicBezTo>
                  <a:pt x="1098" y="19"/>
                  <a:pt x="1094" y="20"/>
                  <a:pt x="1091" y="22"/>
                </a:cubicBezTo>
                <a:cubicBezTo>
                  <a:pt x="1088" y="25"/>
                  <a:pt x="1086" y="28"/>
                  <a:pt x="1084" y="32"/>
                </a:cubicBezTo>
                <a:cubicBezTo>
                  <a:pt x="1083" y="36"/>
                  <a:pt x="1082" y="40"/>
                  <a:pt x="1082" y="43"/>
                </a:cubicBezTo>
                <a:cubicBezTo>
                  <a:pt x="1082" y="48"/>
                  <a:pt x="1083" y="52"/>
                  <a:pt x="1085" y="55"/>
                </a:cubicBezTo>
                <a:cubicBezTo>
                  <a:pt x="1087" y="58"/>
                  <a:pt x="1091" y="59"/>
                  <a:pt x="1094" y="59"/>
                </a:cubicBezTo>
                <a:cubicBezTo>
                  <a:pt x="1098" y="59"/>
                  <a:pt x="1100" y="59"/>
                  <a:pt x="1102" y="57"/>
                </a:cubicBezTo>
                <a:cubicBezTo>
                  <a:pt x="1105" y="56"/>
                  <a:pt x="1106" y="54"/>
                  <a:pt x="1108" y="53"/>
                </a:cubicBezTo>
                <a:cubicBezTo>
                  <a:pt x="1106" y="50"/>
                  <a:pt x="1106" y="50"/>
                  <a:pt x="1106" y="50"/>
                </a:cubicBezTo>
                <a:cubicBezTo>
                  <a:pt x="1105" y="52"/>
                  <a:pt x="1103" y="53"/>
                  <a:pt x="1102" y="54"/>
                </a:cubicBezTo>
                <a:cubicBezTo>
                  <a:pt x="1100" y="54"/>
                  <a:pt x="1099" y="55"/>
                  <a:pt x="1097" y="55"/>
                </a:cubicBezTo>
                <a:cubicBezTo>
                  <a:pt x="1094" y="55"/>
                  <a:pt x="1092" y="54"/>
                  <a:pt x="1091" y="52"/>
                </a:cubicBezTo>
                <a:cubicBezTo>
                  <a:pt x="1090" y="50"/>
                  <a:pt x="1089" y="47"/>
                  <a:pt x="1089" y="43"/>
                </a:cubicBezTo>
                <a:cubicBezTo>
                  <a:pt x="1089" y="39"/>
                  <a:pt x="1090" y="35"/>
                  <a:pt x="1091" y="32"/>
                </a:cubicBezTo>
                <a:cubicBezTo>
                  <a:pt x="1092" y="30"/>
                  <a:pt x="1093" y="27"/>
                  <a:pt x="1095" y="26"/>
                </a:cubicBezTo>
                <a:cubicBezTo>
                  <a:pt x="1097" y="24"/>
                  <a:pt x="1099" y="23"/>
                  <a:pt x="1101" y="23"/>
                </a:cubicBezTo>
                <a:cubicBezTo>
                  <a:pt x="1102" y="23"/>
                  <a:pt x="1105" y="24"/>
                  <a:pt x="1107" y="27"/>
                </a:cubicBezTo>
                <a:close/>
                <a:moveTo>
                  <a:pt x="1124" y="52"/>
                </a:moveTo>
                <a:cubicBezTo>
                  <a:pt x="1129" y="19"/>
                  <a:pt x="1129" y="19"/>
                  <a:pt x="1129" y="19"/>
                </a:cubicBezTo>
                <a:cubicBezTo>
                  <a:pt x="1128" y="19"/>
                  <a:pt x="1128" y="19"/>
                  <a:pt x="1128" y="19"/>
                </a:cubicBezTo>
                <a:cubicBezTo>
                  <a:pt x="1118" y="20"/>
                  <a:pt x="1118" y="20"/>
                  <a:pt x="1118" y="20"/>
                </a:cubicBezTo>
                <a:cubicBezTo>
                  <a:pt x="1117" y="23"/>
                  <a:pt x="1117" y="23"/>
                  <a:pt x="1117" y="23"/>
                </a:cubicBezTo>
                <a:cubicBezTo>
                  <a:pt x="1122" y="24"/>
                  <a:pt x="1122" y="24"/>
                  <a:pt x="1122" y="24"/>
                </a:cubicBezTo>
                <a:cubicBezTo>
                  <a:pt x="1121" y="31"/>
                  <a:pt x="1120" y="37"/>
                  <a:pt x="1119" y="41"/>
                </a:cubicBezTo>
                <a:cubicBezTo>
                  <a:pt x="1118" y="49"/>
                  <a:pt x="1117" y="54"/>
                  <a:pt x="1117" y="55"/>
                </a:cubicBezTo>
                <a:cubicBezTo>
                  <a:pt x="1117" y="56"/>
                  <a:pt x="1118" y="57"/>
                  <a:pt x="1118" y="58"/>
                </a:cubicBezTo>
                <a:cubicBezTo>
                  <a:pt x="1119" y="59"/>
                  <a:pt x="1120" y="59"/>
                  <a:pt x="1122" y="59"/>
                </a:cubicBezTo>
                <a:cubicBezTo>
                  <a:pt x="1124" y="59"/>
                  <a:pt x="1125" y="59"/>
                  <a:pt x="1127" y="58"/>
                </a:cubicBezTo>
                <a:cubicBezTo>
                  <a:pt x="1128" y="57"/>
                  <a:pt x="1129" y="55"/>
                  <a:pt x="1130" y="54"/>
                </a:cubicBezTo>
                <a:cubicBezTo>
                  <a:pt x="1129" y="53"/>
                  <a:pt x="1129" y="53"/>
                  <a:pt x="1129" y="53"/>
                </a:cubicBezTo>
                <a:cubicBezTo>
                  <a:pt x="1128" y="54"/>
                  <a:pt x="1128" y="54"/>
                  <a:pt x="1127" y="54"/>
                </a:cubicBezTo>
                <a:cubicBezTo>
                  <a:pt x="1126" y="55"/>
                  <a:pt x="1126" y="55"/>
                  <a:pt x="1125" y="55"/>
                </a:cubicBezTo>
                <a:cubicBezTo>
                  <a:pt x="1125" y="55"/>
                  <a:pt x="1125" y="55"/>
                  <a:pt x="1125" y="54"/>
                </a:cubicBezTo>
                <a:cubicBezTo>
                  <a:pt x="1124" y="54"/>
                  <a:pt x="1124" y="54"/>
                  <a:pt x="1124" y="53"/>
                </a:cubicBezTo>
                <a:lnTo>
                  <a:pt x="1124" y="52"/>
                </a:lnTo>
                <a:close/>
                <a:moveTo>
                  <a:pt x="1127" y="11"/>
                </a:moveTo>
                <a:cubicBezTo>
                  <a:pt x="1128" y="11"/>
                  <a:pt x="1129" y="11"/>
                  <a:pt x="1130" y="10"/>
                </a:cubicBezTo>
                <a:cubicBezTo>
                  <a:pt x="1131" y="9"/>
                  <a:pt x="1131" y="7"/>
                  <a:pt x="1131" y="6"/>
                </a:cubicBezTo>
                <a:cubicBezTo>
                  <a:pt x="1131" y="5"/>
                  <a:pt x="1131" y="4"/>
                  <a:pt x="1130" y="3"/>
                </a:cubicBezTo>
                <a:cubicBezTo>
                  <a:pt x="1130" y="3"/>
                  <a:pt x="1129" y="2"/>
                  <a:pt x="1128" y="2"/>
                </a:cubicBezTo>
                <a:cubicBezTo>
                  <a:pt x="1126" y="2"/>
                  <a:pt x="1125" y="3"/>
                  <a:pt x="1124" y="4"/>
                </a:cubicBezTo>
                <a:cubicBezTo>
                  <a:pt x="1123" y="5"/>
                  <a:pt x="1123" y="6"/>
                  <a:pt x="1123" y="7"/>
                </a:cubicBezTo>
                <a:cubicBezTo>
                  <a:pt x="1123" y="8"/>
                  <a:pt x="1123" y="9"/>
                  <a:pt x="1124" y="10"/>
                </a:cubicBezTo>
                <a:cubicBezTo>
                  <a:pt x="1125" y="11"/>
                  <a:pt x="1126" y="11"/>
                  <a:pt x="1127" y="11"/>
                </a:cubicBezTo>
                <a:close/>
                <a:moveTo>
                  <a:pt x="1166" y="52"/>
                </a:moveTo>
                <a:cubicBezTo>
                  <a:pt x="1165" y="49"/>
                  <a:pt x="1165" y="49"/>
                  <a:pt x="1165" y="49"/>
                </a:cubicBezTo>
                <a:cubicBezTo>
                  <a:pt x="1163" y="51"/>
                  <a:pt x="1161" y="52"/>
                  <a:pt x="1159" y="53"/>
                </a:cubicBezTo>
                <a:cubicBezTo>
                  <a:pt x="1157" y="54"/>
                  <a:pt x="1155" y="55"/>
                  <a:pt x="1153" y="55"/>
                </a:cubicBezTo>
                <a:cubicBezTo>
                  <a:pt x="1150" y="55"/>
                  <a:pt x="1148" y="54"/>
                  <a:pt x="1147" y="51"/>
                </a:cubicBezTo>
                <a:cubicBezTo>
                  <a:pt x="1145" y="49"/>
                  <a:pt x="1145" y="46"/>
                  <a:pt x="1145" y="43"/>
                </a:cubicBezTo>
                <a:cubicBezTo>
                  <a:pt x="1148" y="43"/>
                  <a:pt x="1151" y="42"/>
                  <a:pt x="1155" y="41"/>
                </a:cubicBezTo>
                <a:cubicBezTo>
                  <a:pt x="1158" y="40"/>
                  <a:pt x="1162" y="38"/>
                  <a:pt x="1164" y="36"/>
                </a:cubicBezTo>
                <a:cubicBezTo>
                  <a:pt x="1167" y="33"/>
                  <a:pt x="1168" y="31"/>
                  <a:pt x="1168" y="27"/>
                </a:cubicBezTo>
                <a:cubicBezTo>
                  <a:pt x="1168" y="25"/>
                  <a:pt x="1167" y="23"/>
                  <a:pt x="1166" y="21"/>
                </a:cubicBezTo>
                <a:cubicBezTo>
                  <a:pt x="1164" y="19"/>
                  <a:pt x="1162" y="19"/>
                  <a:pt x="1158" y="19"/>
                </a:cubicBezTo>
                <a:cubicBezTo>
                  <a:pt x="1154" y="19"/>
                  <a:pt x="1151" y="20"/>
                  <a:pt x="1148" y="22"/>
                </a:cubicBezTo>
                <a:cubicBezTo>
                  <a:pt x="1145" y="24"/>
                  <a:pt x="1142" y="28"/>
                  <a:pt x="1140" y="31"/>
                </a:cubicBezTo>
                <a:cubicBezTo>
                  <a:pt x="1138" y="35"/>
                  <a:pt x="1138" y="40"/>
                  <a:pt x="1138" y="44"/>
                </a:cubicBezTo>
                <a:cubicBezTo>
                  <a:pt x="1138" y="47"/>
                  <a:pt x="1138" y="49"/>
                  <a:pt x="1139" y="52"/>
                </a:cubicBezTo>
                <a:cubicBezTo>
                  <a:pt x="1140" y="54"/>
                  <a:pt x="1142" y="56"/>
                  <a:pt x="1144" y="57"/>
                </a:cubicBezTo>
                <a:cubicBezTo>
                  <a:pt x="1146" y="59"/>
                  <a:pt x="1148" y="59"/>
                  <a:pt x="1151" y="59"/>
                </a:cubicBezTo>
                <a:cubicBezTo>
                  <a:pt x="1155" y="59"/>
                  <a:pt x="1158" y="58"/>
                  <a:pt x="1160" y="57"/>
                </a:cubicBezTo>
                <a:cubicBezTo>
                  <a:pt x="1163" y="55"/>
                  <a:pt x="1165" y="54"/>
                  <a:pt x="1166" y="52"/>
                </a:cubicBezTo>
                <a:close/>
                <a:moveTo>
                  <a:pt x="1157" y="22"/>
                </a:moveTo>
                <a:cubicBezTo>
                  <a:pt x="1158" y="22"/>
                  <a:pt x="1159" y="23"/>
                  <a:pt x="1160" y="24"/>
                </a:cubicBezTo>
                <a:cubicBezTo>
                  <a:pt x="1161" y="25"/>
                  <a:pt x="1161" y="26"/>
                  <a:pt x="1161" y="28"/>
                </a:cubicBezTo>
                <a:cubicBezTo>
                  <a:pt x="1161" y="30"/>
                  <a:pt x="1161" y="32"/>
                  <a:pt x="1159" y="34"/>
                </a:cubicBezTo>
                <a:cubicBezTo>
                  <a:pt x="1157" y="35"/>
                  <a:pt x="1155" y="37"/>
                  <a:pt x="1152" y="38"/>
                </a:cubicBezTo>
                <a:cubicBezTo>
                  <a:pt x="1150" y="39"/>
                  <a:pt x="1147" y="39"/>
                  <a:pt x="1145" y="39"/>
                </a:cubicBezTo>
                <a:cubicBezTo>
                  <a:pt x="1145" y="37"/>
                  <a:pt x="1146" y="34"/>
                  <a:pt x="1147" y="32"/>
                </a:cubicBezTo>
                <a:cubicBezTo>
                  <a:pt x="1148" y="29"/>
                  <a:pt x="1149" y="27"/>
                  <a:pt x="1151" y="25"/>
                </a:cubicBezTo>
                <a:cubicBezTo>
                  <a:pt x="1152" y="23"/>
                  <a:pt x="1154" y="22"/>
                  <a:pt x="1157" y="22"/>
                </a:cubicBezTo>
                <a:close/>
                <a:moveTo>
                  <a:pt x="1187" y="28"/>
                </a:moveTo>
                <a:cubicBezTo>
                  <a:pt x="1188" y="19"/>
                  <a:pt x="1188" y="19"/>
                  <a:pt x="1188" y="19"/>
                </a:cubicBezTo>
                <a:cubicBezTo>
                  <a:pt x="1186" y="19"/>
                  <a:pt x="1186" y="19"/>
                  <a:pt x="1186" y="19"/>
                </a:cubicBezTo>
                <a:cubicBezTo>
                  <a:pt x="1178" y="20"/>
                  <a:pt x="1178" y="20"/>
                  <a:pt x="1178" y="20"/>
                </a:cubicBezTo>
                <a:cubicBezTo>
                  <a:pt x="1177" y="23"/>
                  <a:pt x="1177" y="23"/>
                  <a:pt x="1177" y="23"/>
                </a:cubicBezTo>
                <a:cubicBezTo>
                  <a:pt x="1180" y="25"/>
                  <a:pt x="1180" y="25"/>
                  <a:pt x="1180" y="25"/>
                </a:cubicBezTo>
                <a:cubicBezTo>
                  <a:pt x="1176" y="58"/>
                  <a:pt x="1176" y="58"/>
                  <a:pt x="1176" y="58"/>
                </a:cubicBezTo>
                <a:cubicBezTo>
                  <a:pt x="1183" y="58"/>
                  <a:pt x="1183" y="58"/>
                  <a:pt x="1183" y="58"/>
                </a:cubicBezTo>
                <a:cubicBezTo>
                  <a:pt x="1186" y="33"/>
                  <a:pt x="1186" y="33"/>
                  <a:pt x="1186" y="33"/>
                </a:cubicBezTo>
                <a:cubicBezTo>
                  <a:pt x="1188" y="31"/>
                  <a:pt x="1190" y="28"/>
                  <a:pt x="1192" y="26"/>
                </a:cubicBezTo>
                <a:cubicBezTo>
                  <a:pt x="1194" y="25"/>
                  <a:pt x="1196" y="24"/>
                  <a:pt x="1198" y="24"/>
                </a:cubicBezTo>
                <a:cubicBezTo>
                  <a:pt x="1200" y="24"/>
                  <a:pt x="1201" y="24"/>
                  <a:pt x="1202" y="25"/>
                </a:cubicBezTo>
                <a:cubicBezTo>
                  <a:pt x="1202" y="26"/>
                  <a:pt x="1203" y="27"/>
                  <a:pt x="1203" y="29"/>
                </a:cubicBezTo>
                <a:cubicBezTo>
                  <a:pt x="1203" y="31"/>
                  <a:pt x="1202" y="33"/>
                  <a:pt x="1202" y="35"/>
                </a:cubicBezTo>
                <a:cubicBezTo>
                  <a:pt x="1202" y="37"/>
                  <a:pt x="1201" y="39"/>
                  <a:pt x="1201" y="41"/>
                </a:cubicBezTo>
                <a:cubicBezTo>
                  <a:pt x="1201" y="43"/>
                  <a:pt x="1201" y="43"/>
                  <a:pt x="1201" y="43"/>
                </a:cubicBezTo>
                <a:cubicBezTo>
                  <a:pt x="1200" y="46"/>
                  <a:pt x="1200" y="46"/>
                  <a:pt x="1200" y="46"/>
                </a:cubicBezTo>
                <a:cubicBezTo>
                  <a:pt x="1199" y="51"/>
                  <a:pt x="1199" y="54"/>
                  <a:pt x="1199" y="55"/>
                </a:cubicBezTo>
                <a:cubicBezTo>
                  <a:pt x="1199" y="58"/>
                  <a:pt x="1200" y="59"/>
                  <a:pt x="1203" y="59"/>
                </a:cubicBezTo>
                <a:cubicBezTo>
                  <a:pt x="1205" y="59"/>
                  <a:pt x="1206" y="59"/>
                  <a:pt x="1207" y="58"/>
                </a:cubicBezTo>
                <a:cubicBezTo>
                  <a:pt x="1208" y="58"/>
                  <a:pt x="1209" y="57"/>
                  <a:pt x="1210" y="57"/>
                </a:cubicBezTo>
                <a:cubicBezTo>
                  <a:pt x="1210" y="56"/>
                  <a:pt x="1211" y="55"/>
                  <a:pt x="1211" y="55"/>
                </a:cubicBezTo>
                <a:cubicBezTo>
                  <a:pt x="1210" y="53"/>
                  <a:pt x="1210" y="53"/>
                  <a:pt x="1210" y="53"/>
                </a:cubicBezTo>
                <a:cubicBezTo>
                  <a:pt x="1209" y="54"/>
                  <a:pt x="1208" y="55"/>
                  <a:pt x="1207" y="55"/>
                </a:cubicBezTo>
                <a:cubicBezTo>
                  <a:pt x="1206" y="55"/>
                  <a:pt x="1206" y="54"/>
                  <a:pt x="1206" y="53"/>
                </a:cubicBezTo>
                <a:cubicBezTo>
                  <a:pt x="1206" y="51"/>
                  <a:pt x="1206" y="48"/>
                  <a:pt x="1207" y="45"/>
                </a:cubicBezTo>
                <a:cubicBezTo>
                  <a:pt x="1208" y="41"/>
                  <a:pt x="1208" y="41"/>
                  <a:pt x="1208" y="41"/>
                </a:cubicBezTo>
                <a:cubicBezTo>
                  <a:pt x="1208" y="40"/>
                  <a:pt x="1208" y="40"/>
                  <a:pt x="1208" y="40"/>
                </a:cubicBezTo>
                <a:cubicBezTo>
                  <a:pt x="1209" y="34"/>
                  <a:pt x="1210" y="31"/>
                  <a:pt x="1210" y="29"/>
                </a:cubicBezTo>
                <a:cubicBezTo>
                  <a:pt x="1210" y="25"/>
                  <a:pt x="1209" y="23"/>
                  <a:pt x="1207" y="21"/>
                </a:cubicBezTo>
                <a:cubicBezTo>
                  <a:pt x="1206" y="19"/>
                  <a:pt x="1204" y="19"/>
                  <a:pt x="1201" y="19"/>
                </a:cubicBezTo>
                <a:cubicBezTo>
                  <a:pt x="1199" y="19"/>
                  <a:pt x="1196" y="19"/>
                  <a:pt x="1193" y="21"/>
                </a:cubicBezTo>
                <a:cubicBezTo>
                  <a:pt x="1191" y="23"/>
                  <a:pt x="1189" y="25"/>
                  <a:pt x="1187" y="28"/>
                </a:cubicBezTo>
                <a:close/>
                <a:moveTo>
                  <a:pt x="1243" y="27"/>
                </a:moveTo>
                <a:cubicBezTo>
                  <a:pt x="1245" y="27"/>
                  <a:pt x="1245" y="27"/>
                  <a:pt x="1245" y="27"/>
                </a:cubicBezTo>
                <a:cubicBezTo>
                  <a:pt x="1247" y="20"/>
                  <a:pt x="1247" y="20"/>
                  <a:pt x="1247" y="20"/>
                </a:cubicBezTo>
                <a:cubicBezTo>
                  <a:pt x="1246" y="20"/>
                  <a:pt x="1244" y="19"/>
                  <a:pt x="1243" y="19"/>
                </a:cubicBezTo>
                <a:cubicBezTo>
                  <a:pt x="1241" y="19"/>
                  <a:pt x="1240" y="19"/>
                  <a:pt x="1239" y="19"/>
                </a:cubicBezTo>
                <a:cubicBezTo>
                  <a:pt x="1234" y="19"/>
                  <a:pt x="1231" y="20"/>
                  <a:pt x="1228" y="22"/>
                </a:cubicBezTo>
                <a:cubicBezTo>
                  <a:pt x="1224" y="25"/>
                  <a:pt x="1222" y="28"/>
                  <a:pt x="1220" y="32"/>
                </a:cubicBezTo>
                <a:cubicBezTo>
                  <a:pt x="1219" y="36"/>
                  <a:pt x="1218" y="40"/>
                  <a:pt x="1218" y="43"/>
                </a:cubicBezTo>
                <a:cubicBezTo>
                  <a:pt x="1218" y="48"/>
                  <a:pt x="1219" y="52"/>
                  <a:pt x="1221" y="55"/>
                </a:cubicBezTo>
                <a:cubicBezTo>
                  <a:pt x="1224" y="58"/>
                  <a:pt x="1227" y="59"/>
                  <a:pt x="1231" y="59"/>
                </a:cubicBezTo>
                <a:cubicBezTo>
                  <a:pt x="1234" y="59"/>
                  <a:pt x="1236" y="59"/>
                  <a:pt x="1239" y="57"/>
                </a:cubicBezTo>
                <a:cubicBezTo>
                  <a:pt x="1241" y="56"/>
                  <a:pt x="1243" y="54"/>
                  <a:pt x="1244" y="53"/>
                </a:cubicBezTo>
                <a:cubicBezTo>
                  <a:pt x="1242" y="50"/>
                  <a:pt x="1242" y="50"/>
                  <a:pt x="1242" y="50"/>
                </a:cubicBezTo>
                <a:cubicBezTo>
                  <a:pt x="1241" y="52"/>
                  <a:pt x="1239" y="53"/>
                  <a:pt x="1238" y="54"/>
                </a:cubicBezTo>
                <a:cubicBezTo>
                  <a:pt x="1236" y="54"/>
                  <a:pt x="1235" y="55"/>
                  <a:pt x="1233" y="55"/>
                </a:cubicBezTo>
                <a:cubicBezTo>
                  <a:pt x="1230" y="55"/>
                  <a:pt x="1228" y="54"/>
                  <a:pt x="1227" y="52"/>
                </a:cubicBezTo>
                <a:cubicBezTo>
                  <a:pt x="1226" y="50"/>
                  <a:pt x="1225" y="47"/>
                  <a:pt x="1225" y="43"/>
                </a:cubicBezTo>
                <a:cubicBezTo>
                  <a:pt x="1225" y="39"/>
                  <a:pt x="1226" y="35"/>
                  <a:pt x="1227" y="32"/>
                </a:cubicBezTo>
                <a:cubicBezTo>
                  <a:pt x="1228" y="30"/>
                  <a:pt x="1229" y="27"/>
                  <a:pt x="1231" y="26"/>
                </a:cubicBezTo>
                <a:cubicBezTo>
                  <a:pt x="1233" y="24"/>
                  <a:pt x="1235" y="23"/>
                  <a:pt x="1237" y="23"/>
                </a:cubicBezTo>
                <a:cubicBezTo>
                  <a:pt x="1239" y="23"/>
                  <a:pt x="1241" y="24"/>
                  <a:pt x="1243" y="27"/>
                </a:cubicBezTo>
                <a:close/>
                <a:moveTo>
                  <a:pt x="1279" y="52"/>
                </a:moveTo>
                <a:cubicBezTo>
                  <a:pt x="1277" y="49"/>
                  <a:pt x="1277" y="49"/>
                  <a:pt x="1277" y="49"/>
                </a:cubicBezTo>
                <a:cubicBezTo>
                  <a:pt x="1276" y="51"/>
                  <a:pt x="1274" y="52"/>
                  <a:pt x="1272" y="53"/>
                </a:cubicBezTo>
                <a:cubicBezTo>
                  <a:pt x="1270" y="54"/>
                  <a:pt x="1268" y="55"/>
                  <a:pt x="1266" y="55"/>
                </a:cubicBezTo>
                <a:cubicBezTo>
                  <a:pt x="1263" y="55"/>
                  <a:pt x="1261" y="54"/>
                  <a:pt x="1259" y="51"/>
                </a:cubicBezTo>
                <a:cubicBezTo>
                  <a:pt x="1258" y="49"/>
                  <a:pt x="1257" y="46"/>
                  <a:pt x="1258" y="43"/>
                </a:cubicBezTo>
                <a:cubicBezTo>
                  <a:pt x="1260" y="43"/>
                  <a:pt x="1264" y="42"/>
                  <a:pt x="1267" y="41"/>
                </a:cubicBezTo>
                <a:cubicBezTo>
                  <a:pt x="1271" y="40"/>
                  <a:pt x="1274" y="38"/>
                  <a:pt x="1277" y="36"/>
                </a:cubicBezTo>
                <a:cubicBezTo>
                  <a:pt x="1280" y="33"/>
                  <a:pt x="1281" y="31"/>
                  <a:pt x="1281" y="27"/>
                </a:cubicBezTo>
                <a:cubicBezTo>
                  <a:pt x="1281" y="25"/>
                  <a:pt x="1280" y="23"/>
                  <a:pt x="1278" y="21"/>
                </a:cubicBezTo>
                <a:cubicBezTo>
                  <a:pt x="1277" y="19"/>
                  <a:pt x="1274" y="19"/>
                  <a:pt x="1271" y="19"/>
                </a:cubicBezTo>
                <a:cubicBezTo>
                  <a:pt x="1267" y="19"/>
                  <a:pt x="1264" y="20"/>
                  <a:pt x="1260" y="22"/>
                </a:cubicBezTo>
                <a:cubicBezTo>
                  <a:pt x="1257" y="24"/>
                  <a:pt x="1255" y="28"/>
                  <a:pt x="1253" y="31"/>
                </a:cubicBezTo>
                <a:cubicBezTo>
                  <a:pt x="1251" y="35"/>
                  <a:pt x="1250" y="40"/>
                  <a:pt x="1250" y="44"/>
                </a:cubicBezTo>
                <a:cubicBezTo>
                  <a:pt x="1250" y="47"/>
                  <a:pt x="1251" y="49"/>
                  <a:pt x="1252" y="52"/>
                </a:cubicBezTo>
                <a:cubicBezTo>
                  <a:pt x="1253" y="54"/>
                  <a:pt x="1254" y="56"/>
                  <a:pt x="1256" y="57"/>
                </a:cubicBezTo>
                <a:cubicBezTo>
                  <a:pt x="1258" y="59"/>
                  <a:pt x="1261" y="59"/>
                  <a:pt x="1264" y="59"/>
                </a:cubicBezTo>
                <a:cubicBezTo>
                  <a:pt x="1267" y="59"/>
                  <a:pt x="1270" y="58"/>
                  <a:pt x="1273" y="57"/>
                </a:cubicBezTo>
                <a:cubicBezTo>
                  <a:pt x="1276" y="55"/>
                  <a:pt x="1278" y="54"/>
                  <a:pt x="1279" y="52"/>
                </a:cubicBezTo>
                <a:close/>
                <a:moveTo>
                  <a:pt x="1269" y="22"/>
                </a:moveTo>
                <a:cubicBezTo>
                  <a:pt x="1271" y="22"/>
                  <a:pt x="1272" y="23"/>
                  <a:pt x="1273" y="24"/>
                </a:cubicBezTo>
                <a:cubicBezTo>
                  <a:pt x="1274" y="25"/>
                  <a:pt x="1274" y="26"/>
                  <a:pt x="1274" y="28"/>
                </a:cubicBezTo>
                <a:cubicBezTo>
                  <a:pt x="1274" y="30"/>
                  <a:pt x="1273" y="32"/>
                  <a:pt x="1272" y="34"/>
                </a:cubicBezTo>
                <a:cubicBezTo>
                  <a:pt x="1270" y="35"/>
                  <a:pt x="1268" y="37"/>
                  <a:pt x="1265" y="38"/>
                </a:cubicBezTo>
                <a:cubicBezTo>
                  <a:pt x="1263" y="39"/>
                  <a:pt x="1260" y="39"/>
                  <a:pt x="1258" y="39"/>
                </a:cubicBezTo>
                <a:cubicBezTo>
                  <a:pt x="1258" y="37"/>
                  <a:pt x="1259" y="34"/>
                  <a:pt x="1259" y="32"/>
                </a:cubicBezTo>
                <a:cubicBezTo>
                  <a:pt x="1260" y="29"/>
                  <a:pt x="1262" y="27"/>
                  <a:pt x="1263" y="25"/>
                </a:cubicBezTo>
                <a:cubicBezTo>
                  <a:pt x="1265" y="23"/>
                  <a:pt x="1267" y="22"/>
                  <a:pt x="1269" y="22"/>
                </a:cubicBezTo>
                <a:close/>
                <a:moveTo>
                  <a:pt x="1310" y="25"/>
                </a:moveTo>
                <a:cubicBezTo>
                  <a:pt x="1311" y="20"/>
                  <a:pt x="1311" y="20"/>
                  <a:pt x="1311" y="20"/>
                </a:cubicBezTo>
                <a:cubicBezTo>
                  <a:pt x="1311" y="20"/>
                  <a:pt x="1309" y="19"/>
                  <a:pt x="1308" y="19"/>
                </a:cubicBezTo>
                <a:cubicBezTo>
                  <a:pt x="1306" y="19"/>
                  <a:pt x="1304" y="19"/>
                  <a:pt x="1303" y="19"/>
                </a:cubicBezTo>
                <a:cubicBezTo>
                  <a:pt x="1300" y="19"/>
                  <a:pt x="1298" y="19"/>
                  <a:pt x="1296" y="20"/>
                </a:cubicBezTo>
                <a:cubicBezTo>
                  <a:pt x="1293" y="21"/>
                  <a:pt x="1292" y="22"/>
                  <a:pt x="1291" y="24"/>
                </a:cubicBezTo>
                <a:cubicBezTo>
                  <a:pt x="1289" y="26"/>
                  <a:pt x="1289" y="27"/>
                  <a:pt x="1289" y="30"/>
                </a:cubicBezTo>
                <a:cubicBezTo>
                  <a:pt x="1289" y="34"/>
                  <a:pt x="1291" y="38"/>
                  <a:pt x="1296" y="41"/>
                </a:cubicBezTo>
                <a:cubicBezTo>
                  <a:pt x="1298" y="43"/>
                  <a:pt x="1300" y="44"/>
                  <a:pt x="1301" y="45"/>
                </a:cubicBezTo>
                <a:cubicBezTo>
                  <a:pt x="1302" y="46"/>
                  <a:pt x="1303" y="48"/>
                  <a:pt x="1303" y="50"/>
                </a:cubicBezTo>
                <a:cubicBezTo>
                  <a:pt x="1303" y="51"/>
                  <a:pt x="1302" y="53"/>
                  <a:pt x="1301" y="54"/>
                </a:cubicBezTo>
                <a:cubicBezTo>
                  <a:pt x="1299" y="55"/>
                  <a:pt x="1297" y="55"/>
                  <a:pt x="1295" y="55"/>
                </a:cubicBezTo>
                <a:cubicBezTo>
                  <a:pt x="1293" y="55"/>
                  <a:pt x="1292" y="55"/>
                  <a:pt x="1290" y="54"/>
                </a:cubicBezTo>
                <a:cubicBezTo>
                  <a:pt x="1288" y="53"/>
                  <a:pt x="1287" y="53"/>
                  <a:pt x="1286" y="52"/>
                </a:cubicBezTo>
                <a:cubicBezTo>
                  <a:pt x="1285" y="57"/>
                  <a:pt x="1285" y="57"/>
                  <a:pt x="1285" y="57"/>
                </a:cubicBezTo>
                <a:cubicBezTo>
                  <a:pt x="1285" y="58"/>
                  <a:pt x="1287" y="58"/>
                  <a:pt x="1289" y="58"/>
                </a:cubicBezTo>
                <a:cubicBezTo>
                  <a:pt x="1291" y="59"/>
                  <a:pt x="1293" y="59"/>
                  <a:pt x="1295" y="59"/>
                </a:cubicBezTo>
                <a:cubicBezTo>
                  <a:pt x="1299" y="59"/>
                  <a:pt x="1303" y="58"/>
                  <a:pt x="1305" y="56"/>
                </a:cubicBezTo>
                <a:cubicBezTo>
                  <a:pt x="1308" y="54"/>
                  <a:pt x="1309" y="52"/>
                  <a:pt x="1309" y="48"/>
                </a:cubicBezTo>
                <a:cubicBezTo>
                  <a:pt x="1309" y="46"/>
                  <a:pt x="1309" y="45"/>
                  <a:pt x="1308" y="43"/>
                </a:cubicBezTo>
                <a:cubicBezTo>
                  <a:pt x="1307" y="42"/>
                  <a:pt x="1306" y="41"/>
                  <a:pt x="1305" y="40"/>
                </a:cubicBezTo>
                <a:cubicBezTo>
                  <a:pt x="1304" y="39"/>
                  <a:pt x="1303" y="38"/>
                  <a:pt x="1301" y="36"/>
                </a:cubicBezTo>
                <a:cubicBezTo>
                  <a:pt x="1299" y="35"/>
                  <a:pt x="1298" y="34"/>
                  <a:pt x="1297" y="32"/>
                </a:cubicBezTo>
                <a:cubicBezTo>
                  <a:pt x="1296" y="31"/>
                  <a:pt x="1295" y="30"/>
                  <a:pt x="1295" y="28"/>
                </a:cubicBezTo>
                <a:cubicBezTo>
                  <a:pt x="1295" y="26"/>
                  <a:pt x="1296" y="25"/>
                  <a:pt x="1297" y="24"/>
                </a:cubicBezTo>
                <a:cubicBezTo>
                  <a:pt x="1299" y="23"/>
                  <a:pt x="1300" y="23"/>
                  <a:pt x="1303" y="23"/>
                </a:cubicBezTo>
                <a:cubicBezTo>
                  <a:pt x="1304" y="23"/>
                  <a:pt x="1306" y="23"/>
                  <a:pt x="1307" y="24"/>
                </a:cubicBezTo>
                <a:cubicBezTo>
                  <a:pt x="1309" y="24"/>
                  <a:pt x="1310" y="25"/>
                  <a:pt x="1310" y="25"/>
                </a:cubicBezTo>
                <a:close/>
                <a:moveTo>
                  <a:pt x="1047" y="110"/>
                </a:moveTo>
                <a:cubicBezTo>
                  <a:pt x="1052" y="111"/>
                  <a:pt x="1052" y="111"/>
                  <a:pt x="1052" y="111"/>
                </a:cubicBezTo>
                <a:cubicBezTo>
                  <a:pt x="1046" y="156"/>
                  <a:pt x="1046" y="156"/>
                  <a:pt x="1046" y="156"/>
                </a:cubicBezTo>
                <a:cubicBezTo>
                  <a:pt x="1041" y="157"/>
                  <a:pt x="1041" y="157"/>
                  <a:pt x="1041" y="157"/>
                </a:cubicBezTo>
                <a:cubicBezTo>
                  <a:pt x="1041" y="159"/>
                  <a:pt x="1041" y="159"/>
                  <a:pt x="1041" y="159"/>
                </a:cubicBezTo>
                <a:cubicBezTo>
                  <a:pt x="1078" y="159"/>
                  <a:pt x="1078" y="159"/>
                  <a:pt x="1078" y="159"/>
                </a:cubicBezTo>
                <a:cubicBezTo>
                  <a:pt x="1081" y="147"/>
                  <a:pt x="1081" y="147"/>
                  <a:pt x="1081" y="147"/>
                </a:cubicBezTo>
                <a:cubicBezTo>
                  <a:pt x="1077" y="146"/>
                  <a:pt x="1077" y="146"/>
                  <a:pt x="1077" y="146"/>
                </a:cubicBezTo>
                <a:cubicBezTo>
                  <a:pt x="1073" y="155"/>
                  <a:pt x="1073" y="155"/>
                  <a:pt x="1073" y="155"/>
                </a:cubicBezTo>
                <a:cubicBezTo>
                  <a:pt x="1053" y="156"/>
                  <a:pt x="1053" y="156"/>
                  <a:pt x="1053" y="156"/>
                </a:cubicBezTo>
                <a:cubicBezTo>
                  <a:pt x="1056" y="134"/>
                  <a:pt x="1056" y="134"/>
                  <a:pt x="1056" y="134"/>
                </a:cubicBezTo>
                <a:cubicBezTo>
                  <a:pt x="1072" y="135"/>
                  <a:pt x="1072" y="135"/>
                  <a:pt x="1072" y="135"/>
                </a:cubicBezTo>
                <a:cubicBezTo>
                  <a:pt x="1073" y="130"/>
                  <a:pt x="1073" y="130"/>
                  <a:pt x="1073" y="130"/>
                </a:cubicBezTo>
                <a:cubicBezTo>
                  <a:pt x="1057" y="130"/>
                  <a:pt x="1057" y="130"/>
                  <a:pt x="1057" y="130"/>
                </a:cubicBezTo>
                <a:cubicBezTo>
                  <a:pt x="1059" y="110"/>
                  <a:pt x="1059" y="110"/>
                  <a:pt x="1059" y="110"/>
                </a:cubicBezTo>
                <a:cubicBezTo>
                  <a:pt x="1075" y="111"/>
                  <a:pt x="1075" y="111"/>
                  <a:pt x="1075" y="111"/>
                </a:cubicBezTo>
                <a:cubicBezTo>
                  <a:pt x="1076" y="118"/>
                  <a:pt x="1076" y="118"/>
                  <a:pt x="1076" y="118"/>
                </a:cubicBezTo>
                <a:cubicBezTo>
                  <a:pt x="1080" y="118"/>
                  <a:pt x="1080" y="118"/>
                  <a:pt x="1080" y="118"/>
                </a:cubicBezTo>
                <a:cubicBezTo>
                  <a:pt x="1081" y="107"/>
                  <a:pt x="1081" y="107"/>
                  <a:pt x="1081" y="107"/>
                </a:cubicBezTo>
                <a:cubicBezTo>
                  <a:pt x="1048" y="107"/>
                  <a:pt x="1048" y="107"/>
                  <a:pt x="1048" y="107"/>
                </a:cubicBezTo>
                <a:lnTo>
                  <a:pt x="1047" y="110"/>
                </a:lnTo>
                <a:close/>
                <a:moveTo>
                  <a:pt x="1100" y="129"/>
                </a:moveTo>
                <a:cubicBezTo>
                  <a:pt x="1100" y="120"/>
                  <a:pt x="1100" y="120"/>
                  <a:pt x="1100" y="120"/>
                </a:cubicBezTo>
                <a:cubicBezTo>
                  <a:pt x="1099" y="119"/>
                  <a:pt x="1099" y="119"/>
                  <a:pt x="1099" y="119"/>
                </a:cubicBezTo>
                <a:cubicBezTo>
                  <a:pt x="1090" y="121"/>
                  <a:pt x="1090" y="121"/>
                  <a:pt x="1090" y="121"/>
                </a:cubicBezTo>
                <a:cubicBezTo>
                  <a:pt x="1090" y="124"/>
                  <a:pt x="1090" y="124"/>
                  <a:pt x="1090" y="124"/>
                </a:cubicBezTo>
                <a:cubicBezTo>
                  <a:pt x="1093" y="125"/>
                  <a:pt x="1093" y="125"/>
                  <a:pt x="1093" y="125"/>
                </a:cubicBezTo>
                <a:cubicBezTo>
                  <a:pt x="1089" y="159"/>
                  <a:pt x="1089" y="159"/>
                  <a:pt x="1089" y="159"/>
                </a:cubicBezTo>
                <a:cubicBezTo>
                  <a:pt x="1095" y="159"/>
                  <a:pt x="1095" y="159"/>
                  <a:pt x="1095" y="159"/>
                </a:cubicBezTo>
                <a:cubicBezTo>
                  <a:pt x="1099" y="134"/>
                  <a:pt x="1099" y="134"/>
                  <a:pt x="1099" y="134"/>
                </a:cubicBezTo>
                <a:cubicBezTo>
                  <a:pt x="1101" y="131"/>
                  <a:pt x="1103" y="129"/>
                  <a:pt x="1105" y="127"/>
                </a:cubicBezTo>
                <a:cubicBezTo>
                  <a:pt x="1107" y="125"/>
                  <a:pt x="1109" y="124"/>
                  <a:pt x="1111" y="124"/>
                </a:cubicBezTo>
                <a:cubicBezTo>
                  <a:pt x="1113" y="124"/>
                  <a:pt x="1114" y="125"/>
                  <a:pt x="1114" y="126"/>
                </a:cubicBezTo>
                <a:cubicBezTo>
                  <a:pt x="1115" y="127"/>
                  <a:pt x="1115" y="128"/>
                  <a:pt x="1115" y="130"/>
                </a:cubicBezTo>
                <a:cubicBezTo>
                  <a:pt x="1115" y="132"/>
                  <a:pt x="1115" y="134"/>
                  <a:pt x="1115" y="135"/>
                </a:cubicBezTo>
                <a:cubicBezTo>
                  <a:pt x="1115" y="137"/>
                  <a:pt x="1114" y="140"/>
                  <a:pt x="1114" y="142"/>
                </a:cubicBezTo>
                <a:cubicBezTo>
                  <a:pt x="1114" y="144"/>
                  <a:pt x="1114" y="144"/>
                  <a:pt x="1114" y="144"/>
                </a:cubicBezTo>
                <a:cubicBezTo>
                  <a:pt x="1113" y="147"/>
                  <a:pt x="1113" y="147"/>
                  <a:pt x="1113" y="147"/>
                </a:cubicBezTo>
                <a:cubicBezTo>
                  <a:pt x="1112" y="151"/>
                  <a:pt x="1112" y="154"/>
                  <a:pt x="1112" y="156"/>
                </a:cubicBezTo>
                <a:cubicBezTo>
                  <a:pt x="1112" y="159"/>
                  <a:pt x="1113" y="160"/>
                  <a:pt x="1116" y="160"/>
                </a:cubicBezTo>
                <a:cubicBezTo>
                  <a:pt x="1117" y="160"/>
                  <a:pt x="1119" y="160"/>
                  <a:pt x="1120" y="159"/>
                </a:cubicBezTo>
                <a:cubicBezTo>
                  <a:pt x="1121" y="159"/>
                  <a:pt x="1122" y="158"/>
                  <a:pt x="1123" y="157"/>
                </a:cubicBezTo>
                <a:cubicBezTo>
                  <a:pt x="1123" y="157"/>
                  <a:pt x="1124" y="156"/>
                  <a:pt x="1124" y="156"/>
                </a:cubicBezTo>
                <a:cubicBezTo>
                  <a:pt x="1123" y="154"/>
                  <a:pt x="1123" y="154"/>
                  <a:pt x="1123" y="154"/>
                </a:cubicBezTo>
                <a:cubicBezTo>
                  <a:pt x="1122" y="155"/>
                  <a:pt x="1121" y="156"/>
                  <a:pt x="1120" y="156"/>
                </a:cubicBezTo>
                <a:cubicBezTo>
                  <a:pt x="1119" y="156"/>
                  <a:pt x="1119" y="155"/>
                  <a:pt x="1119" y="154"/>
                </a:cubicBezTo>
                <a:cubicBezTo>
                  <a:pt x="1119" y="152"/>
                  <a:pt x="1119" y="149"/>
                  <a:pt x="1120" y="145"/>
                </a:cubicBezTo>
                <a:cubicBezTo>
                  <a:pt x="1121" y="142"/>
                  <a:pt x="1121" y="142"/>
                  <a:pt x="1121" y="142"/>
                </a:cubicBezTo>
                <a:cubicBezTo>
                  <a:pt x="1121" y="140"/>
                  <a:pt x="1121" y="140"/>
                  <a:pt x="1121" y="140"/>
                </a:cubicBezTo>
                <a:cubicBezTo>
                  <a:pt x="1122" y="135"/>
                  <a:pt x="1122" y="132"/>
                  <a:pt x="1122" y="130"/>
                </a:cubicBezTo>
                <a:cubicBezTo>
                  <a:pt x="1122" y="126"/>
                  <a:pt x="1122" y="123"/>
                  <a:pt x="1120" y="122"/>
                </a:cubicBezTo>
                <a:cubicBezTo>
                  <a:pt x="1119" y="120"/>
                  <a:pt x="1117" y="119"/>
                  <a:pt x="1114" y="119"/>
                </a:cubicBezTo>
                <a:cubicBezTo>
                  <a:pt x="1112" y="119"/>
                  <a:pt x="1109" y="120"/>
                  <a:pt x="1106" y="122"/>
                </a:cubicBezTo>
                <a:cubicBezTo>
                  <a:pt x="1104" y="124"/>
                  <a:pt x="1102" y="126"/>
                  <a:pt x="1100" y="129"/>
                </a:cubicBezTo>
                <a:close/>
                <a:moveTo>
                  <a:pt x="1159" y="162"/>
                </a:moveTo>
                <a:cubicBezTo>
                  <a:pt x="1165" y="119"/>
                  <a:pt x="1165" y="119"/>
                  <a:pt x="1165" y="119"/>
                </a:cubicBezTo>
                <a:cubicBezTo>
                  <a:pt x="1160" y="121"/>
                  <a:pt x="1160" y="121"/>
                  <a:pt x="1160" y="121"/>
                </a:cubicBezTo>
                <a:cubicBezTo>
                  <a:pt x="1159" y="121"/>
                  <a:pt x="1158" y="120"/>
                  <a:pt x="1157" y="120"/>
                </a:cubicBezTo>
                <a:cubicBezTo>
                  <a:pt x="1155" y="120"/>
                  <a:pt x="1154" y="119"/>
                  <a:pt x="1153" y="119"/>
                </a:cubicBezTo>
                <a:cubicBezTo>
                  <a:pt x="1148" y="119"/>
                  <a:pt x="1144" y="121"/>
                  <a:pt x="1141" y="123"/>
                </a:cubicBezTo>
                <a:cubicBezTo>
                  <a:pt x="1137" y="126"/>
                  <a:pt x="1135" y="129"/>
                  <a:pt x="1133" y="133"/>
                </a:cubicBezTo>
                <a:cubicBezTo>
                  <a:pt x="1131" y="137"/>
                  <a:pt x="1130" y="141"/>
                  <a:pt x="1130" y="145"/>
                </a:cubicBezTo>
                <a:cubicBezTo>
                  <a:pt x="1130" y="150"/>
                  <a:pt x="1131" y="153"/>
                  <a:pt x="1133" y="156"/>
                </a:cubicBezTo>
                <a:cubicBezTo>
                  <a:pt x="1135" y="159"/>
                  <a:pt x="1138" y="160"/>
                  <a:pt x="1142" y="160"/>
                </a:cubicBezTo>
                <a:cubicBezTo>
                  <a:pt x="1144" y="160"/>
                  <a:pt x="1146" y="159"/>
                  <a:pt x="1148" y="158"/>
                </a:cubicBezTo>
                <a:cubicBezTo>
                  <a:pt x="1150" y="157"/>
                  <a:pt x="1152" y="156"/>
                  <a:pt x="1153" y="155"/>
                </a:cubicBezTo>
                <a:cubicBezTo>
                  <a:pt x="1151" y="164"/>
                  <a:pt x="1151" y="164"/>
                  <a:pt x="1151" y="164"/>
                </a:cubicBezTo>
                <a:cubicBezTo>
                  <a:pt x="1151" y="167"/>
                  <a:pt x="1150" y="169"/>
                  <a:pt x="1149" y="170"/>
                </a:cubicBezTo>
                <a:cubicBezTo>
                  <a:pt x="1147" y="172"/>
                  <a:pt x="1145" y="172"/>
                  <a:pt x="1142" y="172"/>
                </a:cubicBezTo>
                <a:cubicBezTo>
                  <a:pt x="1140" y="172"/>
                  <a:pt x="1139" y="172"/>
                  <a:pt x="1137" y="171"/>
                </a:cubicBezTo>
                <a:cubicBezTo>
                  <a:pt x="1136" y="171"/>
                  <a:pt x="1134" y="170"/>
                  <a:pt x="1133" y="170"/>
                </a:cubicBezTo>
                <a:cubicBezTo>
                  <a:pt x="1132" y="175"/>
                  <a:pt x="1132" y="175"/>
                  <a:pt x="1132" y="175"/>
                </a:cubicBezTo>
                <a:cubicBezTo>
                  <a:pt x="1132" y="176"/>
                  <a:pt x="1134" y="176"/>
                  <a:pt x="1135" y="176"/>
                </a:cubicBezTo>
                <a:cubicBezTo>
                  <a:pt x="1137" y="177"/>
                  <a:pt x="1138" y="177"/>
                  <a:pt x="1140" y="177"/>
                </a:cubicBezTo>
                <a:cubicBezTo>
                  <a:pt x="1142" y="177"/>
                  <a:pt x="1145" y="176"/>
                  <a:pt x="1148" y="175"/>
                </a:cubicBezTo>
                <a:cubicBezTo>
                  <a:pt x="1150" y="174"/>
                  <a:pt x="1153" y="173"/>
                  <a:pt x="1155" y="170"/>
                </a:cubicBezTo>
                <a:cubicBezTo>
                  <a:pt x="1157" y="168"/>
                  <a:pt x="1158" y="165"/>
                  <a:pt x="1159" y="162"/>
                </a:cubicBezTo>
                <a:close/>
                <a:moveTo>
                  <a:pt x="1157" y="125"/>
                </a:moveTo>
                <a:cubicBezTo>
                  <a:pt x="1154" y="150"/>
                  <a:pt x="1154" y="150"/>
                  <a:pt x="1154" y="150"/>
                </a:cubicBezTo>
                <a:cubicBezTo>
                  <a:pt x="1152" y="151"/>
                  <a:pt x="1151" y="153"/>
                  <a:pt x="1149" y="154"/>
                </a:cubicBezTo>
                <a:cubicBezTo>
                  <a:pt x="1148" y="155"/>
                  <a:pt x="1146" y="155"/>
                  <a:pt x="1144" y="155"/>
                </a:cubicBezTo>
                <a:cubicBezTo>
                  <a:pt x="1142" y="155"/>
                  <a:pt x="1140" y="155"/>
                  <a:pt x="1139" y="153"/>
                </a:cubicBezTo>
                <a:cubicBezTo>
                  <a:pt x="1138" y="151"/>
                  <a:pt x="1138" y="148"/>
                  <a:pt x="1138" y="145"/>
                </a:cubicBezTo>
                <a:cubicBezTo>
                  <a:pt x="1138" y="142"/>
                  <a:pt x="1138" y="138"/>
                  <a:pt x="1139" y="135"/>
                </a:cubicBezTo>
                <a:cubicBezTo>
                  <a:pt x="1140" y="132"/>
                  <a:pt x="1142" y="129"/>
                  <a:pt x="1144" y="127"/>
                </a:cubicBezTo>
                <a:cubicBezTo>
                  <a:pt x="1146" y="124"/>
                  <a:pt x="1149" y="123"/>
                  <a:pt x="1152" y="123"/>
                </a:cubicBezTo>
                <a:cubicBezTo>
                  <a:pt x="1154" y="123"/>
                  <a:pt x="1156" y="124"/>
                  <a:pt x="1157" y="125"/>
                </a:cubicBezTo>
                <a:close/>
                <a:moveTo>
                  <a:pt x="1181" y="153"/>
                </a:moveTo>
                <a:cubicBezTo>
                  <a:pt x="1185" y="120"/>
                  <a:pt x="1185" y="120"/>
                  <a:pt x="1185" y="120"/>
                </a:cubicBezTo>
                <a:cubicBezTo>
                  <a:pt x="1184" y="119"/>
                  <a:pt x="1184" y="119"/>
                  <a:pt x="1184" y="119"/>
                </a:cubicBezTo>
                <a:cubicBezTo>
                  <a:pt x="1174" y="121"/>
                  <a:pt x="1174" y="121"/>
                  <a:pt x="1174" y="121"/>
                </a:cubicBezTo>
                <a:cubicBezTo>
                  <a:pt x="1173" y="123"/>
                  <a:pt x="1173" y="123"/>
                  <a:pt x="1173" y="123"/>
                </a:cubicBezTo>
                <a:cubicBezTo>
                  <a:pt x="1178" y="125"/>
                  <a:pt x="1178" y="125"/>
                  <a:pt x="1178" y="125"/>
                </a:cubicBezTo>
                <a:cubicBezTo>
                  <a:pt x="1177" y="132"/>
                  <a:pt x="1176" y="138"/>
                  <a:pt x="1175" y="142"/>
                </a:cubicBezTo>
                <a:cubicBezTo>
                  <a:pt x="1174" y="150"/>
                  <a:pt x="1174" y="154"/>
                  <a:pt x="1173" y="156"/>
                </a:cubicBezTo>
                <a:cubicBezTo>
                  <a:pt x="1173" y="157"/>
                  <a:pt x="1174" y="158"/>
                  <a:pt x="1174" y="159"/>
                </a:cubicBezTo>
                <a:cubicBezTo>
                  <a:pt x="1175" y="160"/>
                  <a:pt x="1176" y="160"/>
                  <a:pt x="1178" y="160"/>
                </a:cubicBezTo>
                <a:cubicBezTo>
                  <a:pt x="1180" y="160"/>
                  <a:pt x="1182" y="159"/>
                  <a:pt x="1183" y="158"/>
                </a:cubicBezTo>
                <a:cubicBezTo>
                  <a:pt x="1184" y="157"/>
                  <a:pt x="1185" y="156"/>
                  <a:pt x="1186" y="155"/>
                </a:cubicBezTo>
                <a:cubicBezTo>
                  <a:pt x="1185" y="154"/>
                  <a:pt x="1185" y="154"/>
                  <a:pt x="1185" y="154"/>
                </a:cubicBezTo>
                <a:cubicBezTo>
                  <a:pt x="1184" y="154"/>
                  <a:pt x="1184" y="155"/>
                  <a:pt x="1183" y="155"/>
                </a:cubicBezTo>
                <a:cubicBezTo>
                  <a:pt x="1183" y="156"/>
                  <a:pt x="1182" y="156"/>
                  <a:pt x="1182" y="156"/>
                </a:cubicBezTo>
                <a:cubicBezTo>
                  <a:pt x="1181" y="156"/>
                  <a:pt x="1181" y="156"/>
                  <a:pt x="1181" y="155"/>
                </a:cubicBezTo>
                <a:cubicBezTo>
                  <a:pt x="1181" y="155"/>
                  <a:pt x="1180" y="155"/>
                  <a:pt x="1180" y="154"/>
                </a:cubicBezTo>
                <a:lnTo>
                  <a:pt x="1181" y="153"/>
                </a:lnTo>
                <a:close/>
                <a:moveTo>
                  <a:pt x="1183" y="112"/>
                </a:moveTo>
                <a:cubicBezTo>
                  <a:pt x="1184" y="112"/>
                  <a:pt x="1185" y="111"/>
                  <a:pt x="1186" y="110"/>
                </a:cubicBezTo>
                <a:cubicBezTo>
                  <a:pt x="1187" y="109"/>
                  <a:pt x="1188" y="108"/>
                  <a:pt x="1188" y="107"/>
                </a:cubicBezTo>
                <a:cubicBezTo>
                  <a:pt x="1188" y="106"/>
                  <a:pt x="1187" y="105"/>
                  <a:pt x="1187" y="104"/>
                </a:cubicBezTo>
                <a:cubicBezTo>
                  <a:pt x="1186" y="103"/>
                  <a:pt x="1185" y="103"/>
                  <a:pt x="1184" y="103"/>
                </a:cubicBezTo>
                <a:cubicBezTo>
                  <a:pt x="1182" y="103"/>
                  <a:pt x="1181" y="103"/>
                  <a:pt x="1180" y="104"/>
                </a:cubicBezTo>
                <a:cubicBezTo>
                  <a:pt x="1180" y="105"/>
                  <a:pt x="1179" y="107"/>
                  <a:pt x="1179" y="108"/>
                </a:cubicBezTo>
                <a:cubicBezTo>
                  <a:pt x="1179" y="109"/>
                  <a:pt x="1179" y="110"/>
                  <a:pt x="1180" y="111"/>
                </a:cubicBezTo>
                <a:cubicBezTo>
                  <a:pt x="1181" y="111"/>
                  <a:pt x="1182" y="112"/>
                  <a:pt x="1183" y="112"/>
                </a:cubicBezTo>
                <a:close/>
                <a:moveTo>
                  <a:pt x="1207" y="129"/>
                </a:moveTo>
                <a:cubicBezTo>
                  <a:pt x="1208" y="120"/>
                  <a:pt x="1208" y="120"/>
                  <a:pt x="1208" y="120"/>
                </a:cubicBezTo>
                <a:cubicBezTo>
                  <a:pt x="1207" y="119"/>
                  <a:pt x="1207" y="119"/>
                  <a:pt x="1207" y="119"/>
                </a:cubicBezTo>
                <a:cubicBezTo>
                  <a:pt x="1198" y="121"/>
                  <a:pt x="1198" y="121"/>
                  <a:pt x="1198" y="121"/>
                </a:cubicBezTo>
                <a:cubicBezTo>
                  <a:pt x="1198" y="124"/>
                  <a:pt x="1198" y="124"/>
                  <a:pt x="1198" y="124"/>
                </a:cubicBezTo>
                <a:cubicBezTo>
                  <a:pt x="1201" y="125"/>
                  <a:pt x="1201" y="125"/>
                  <a:pt x="1201" y="125"/>
                </a:cubicBezTo>
                <a:cubicBezTo>
                  <a:pt x="1196" y="159"/>
                  <a:pt x="1196" y="159"/>
                  <a:pt x="1196" y="159"/>
                </a:cubicBezTo>
                <a:cubicBezTo>
                  <a:pt x="1203" y="159"/>
                  <a:pt x="1203" y="159"/>
                  <a:pt x="1203" y="159"/>
                </a:cubicBezTo>
                <a:cubicBezTo>
                  <a:pt x="1207" y="134"/>
                  <a:pt x="1207" y="134"/>
                  <a:pt x="1207" y="134"/>
                </a:cubicBezTo>
                <a:cubicBezTo>
                  <a:pt x="1208" y="131"/>
                  <a:pt x="1210" y="129"/>
                  <a:pt x="1213" y="127"/>
                </a:cubicBezTo>
                <a:cubicBezTo>
                  <a:pt x="1215" y="125"/>
                  <a:pt x="1217" y="124"/>
                  <a:pt x="1219" y="124"/>
                </a:cubicBezTo>
                <a:cubicBezTo>
                  <a:pt x="1220" y="124"/>
                  <a:pt x="1221" y="125"/>
                  <a:pt x="1222" y="126"/>
                </a:cubicBezTo>
                <a:cubicBezTo>
                  <a:pt x="1223" y="127"/>
                  <a:pt x="1223" y="128"/>
                  <a:pt x="1223" y="130"/>
                </a:cubicBezTo>
                <a:cubicBezTo>
                  <a:pt x="1223" y="132"/>
                  <a:pt x="1223" y="134"/>
                  <a:pt x="1223" y="135"/>
                </a:cubicBezTo>
                <a:cubicBezTo>
                  <a:pt x="1222" y="137"/>
                  <a:pt x="1222" y="140"/>
                  <a:pt x="1222" y="142"/>
                </a:cubicBezTo>
                <a:cubicBezTo>
                  <a:pt x="1221" y="144"/>
                  <a:pt x="1221" y="144"/>
                  <a:pt x="1221" y="144"/>
                </a:cubicBezTo>
                <a:cubicBezTo>
                  <a:pt x="1221" y="147"/>
                  <a:pt x="1221" y="147"/>
                  <a:pt x="1221" y="147"/>
                </a:cubicBezTo>
                <a:cubicBezTo>
                  <a:pt x="1220" y="151"/>
                  <a:pt x="1219" y="154"/>
                  <a:pt x="1219" y="156"/>
                </a:cubicBezTo>
                <a:cubicBezTo>
                  <a:pt x="1219" y="159"/>
                  <a:pt x="1221" y="160"/>
                  <a:pt x="1224" y="160"/>
                </a:cubicBezTo>
                <a:cubicBezTo>
                  <a:pt x="1225" y="160"/>
                  <a:pt x="1226" y="160"/>
                  <a:pt x="1227" y="159"/>
                </a:cubicBezTo>
                <a:cubicBezTo>
                  <a:pt x="1228" y="159"/>
                  <a:pt x="1229" y="158"/>
                  <a:pt x="1230" y="157"/>
                </a:cubicBezTo>
                <a:cubicBezTo>
                  <a:pt x="1231" y="157"/>
                  <a:pt x="1231" y="156"/>
                  <a:pt x="1232" y="156"/>
                </a:cubicBezTo>
                <a:cubicBezTo>
                  <a:pt x="1231" y="154"/>
                  <a:pt x="1231" y="154"/>
                  <a:pt x="1231" y="154"/>
                </a:cubicBezTo>
                <a:cubicBezTo>
                  <a:pt x="1229" y="155"/>
                  <a:pt x="1228" y="156"/>
                  <a:pt x="1227" y="156"/>
                </a:cubicBezTo>
                <a:cubicBezTo>
                  <a:pt x="1227" y="156"/>
                  <a:pt x="1227" y="155"/>
                  <a:pt x="1227" y="154"/>
                </a:cubicBezTo>
                <a:cubicBezTo>
                  <a:pt x="1227" y="152"/>
                  <a:pt x="1227" y="149"/>
                  <a:pt x="1228" y="145"/>
                </a:cubicBezTo>
                <a:cubicBezTo>
                  <a:pt x="1228" y="142"/>
                  <a:pt x="1228" y="142"/>
                  <a:pt x="1228" y="142"/>
                </a:cubicBezTo>
                <a:cubicBezTo>
                  <a:pt x="1229" y="140"/>
                  <a:pt x="1229" y="140"/>
                  <a:pt x="1229" y="140"/>
                </a:cubicBezTo>
                <a:cubicBezTo>
                  <a:pt x="1230" y="135"/>
                  <a:pt x="1230" y="132"/>
                  <a:pt x="1230" y="130"/>
                </a:cubicBezTo>
                <a:cubicBezTo>
                  <a:pt x="1230" y="126"/>
                  <a:pt x="1229" y="123"/>
                  <a:pt x="1228" y="122"/>
                </a:cubicBezTo>
                <a:cubicBezTo>
                  <a:pt x="1227" y="120"/>
                  <a:pt x="1225" y="119"/>
                  <a:pt x="1222" y="119"/>
                </a:cubicBezTo>
                <a:cubicBezTo>
                  <a:pt x="1219" y="119"/>
                  <a:pt x="1217" y="120"/>
                  <a:pt x="1214" y="122"/>
                </a:cubicBezTo>
                <a:cubicBezTo>
                  <a:pt x="1211" y="124"/>
                  <a:pt x="1209" y="126"/>
                  <a:pt x="1207" y="129"/>
                </a:cubicBezTo>
                <a:close/>
                <a:moveTo>
                  <a:pt x="1267" y="153"/>
                </a:moveTo>
                <a:cubicBezTo>
                  <a:pt x="1266" y="150"/>
                  <a:pt x="1266" y="150"/>
                  <a:pt x="1266" y="150"/>
                </a:cubicBezTo>
                <a:cubicBezTo>
                  <a:pt x="1264" y="152"/>
                  <a:pt x="1262" y="153"/>
                  <a:pt x="1260" y="154"/>
                </a:cubicBezTo>
                <a:cubicBezTo>
                  <a:pt x="1258" y="155"/>
                  <a:pt x="1256" y="156"/>
                  <a:pt x="1254" y="156"/>
                </a:cubicBezTo>
                <a:cubicBezTo>
                  <a:pt x="1251" y="156"/>
                  <a:pt x="1249" y="154"/>
                  <a:pt x="1248" y="152"/>
                </a:cubicBezTo>
                <a:cubicBezTo>
                  <a:pt x="1246" y="150"/>
                  <a:pt x="1246" y="147"/>
                  <a:pt x="1246" y="143"/>
                </a:cubicBezTo>
                <a:cubicBezTo>
                  <a:pt x="1249" y="143"/>
                  <a:pt x="1252" y="143"/>
                  <a:pt x="1256" y="142"/>
                </a:cubicBezTo>
                <a:cubicBezTo>
                  <a:pt x="1259" y="140"/>
                  <a:pt x="1263" y="139"/>
                  <a:pt x="1265" y="136"/>
                </a:cubicBezTo>
                <a:cubicBezTo>
                  <a:pt x="1268" y="134"/>
                  <a:pt x="1269" y="131"/>
                  <a:pt x="1269" y="128"/>
                </a:cubicBezTo>
                <a:cubicBezTo>
                  <a:pt x="1269" y="125"/>
                  <a:pt x="1268" y="123"/>
                  <a:pt x="1267" y="122"/>
                </a:cubicBezTo>
                <a:cubicBezTo>
                  <a:pt x="1265" y="120"/>
                  <a:pt x="1263" y="119"/>
                  <a:pt x="1259" y="119"/>
                </a:cubicBezTo>
                <a:cubicBezTo>
                  <a:pt x="1255" y="119"/>
                  <a:pt x="1252" y="121"/>
                  <a:pt x="1249" y="123"/>
                </a:cubicBezTo>
                <a:cubicBezTo>
                  <a:pt x="1246" y="125"/>
                  <a:pt x="1243" y="128"/>
                  <a:pt x="1241" y="132"/>
                </a:cubicBezTo>
                <a:cubicBezTo>
                  <a:pt x="1240" y="136"/>
                  <a:pt x="1239" y="140"/>
                  <a:pt x="1239" y="145"/>
                </a:cubicBezTo>
                <a:cubicBezTo>
                  <a:pt x="1239" y="147"/>
                  <a:pt x="1239" y="150"/>
                  <a:pt x="1240" y="152"/>
                </a:cubicBezTo>
                <a:cubicBezTo>
                  <a:pt x="1241" y="155"/>
                  <a:pt x="1243" y="156"/>
                  <a:pt x="1245" y="158"/>
                </a:cubicBezTo>
                <a:cubicBezTo>
                  <a:pt x="1247" y="159"/>
                  <a:pt x="1249" y="160"/>
                  <a:pt x="1253" y="160"/>
                </a:cubicBezTo>
                <a:cubicBezTo>
                  <a:pt x="1256" y="160"/>
                  <a:pt x="1259" y="159"/>
                  <a:pt x="1261" y="158"/>
                </a:cubicBezTo>
                <a:cubicBezTo>
                  <a:pt x="1264" y="156"/>
                  <a:pt x="1266" y="154"/>
                  <a:pt x="1267" y="153"/>
                </a:cubicBezTo>
                <a:close/>
                <a:moveTo>
                  <a:pt x="1258" y="123"/>
                </a:moveTo>
                <a:cubicBezTo>
                  <a:pt x="1259" y="123"/>
                  <a:pt x="1260" y="124"/>
                  <a:pt x="1261" y="125"/>
                </a:cubicBezTo>
                <a:cubicBezTo>
                  <a:pt x="1262" y="125"/>
                  <a:pt x="1263" y="127"/>
                  <a:pt x="1263" y="129"/>
                </a:cubicBezTo>
                <a:cubicBezTo>
                  <a:pt x="1263" y="131"/>
                  <a:pt x="1262" y="133"/>
                  <a:pt x="1260" y="135"/>
                </a:cubicBezTo>
                <a:cubicBezTo>
                  <a:pt x="1258" y="136"/>
                  <a:pt x="1256" y="138"/>
                  <a:pt x="1253" y="139"/>
                </a:cubicBezTo>
                <a:cubicBezTo>
                  <a:pt x="1251" y="139"/>
                  <a:pt x="1248" y="140"/>
                  <a:pt x="1246" y="140"/>
                </a:cubicBezTo>
                <a:cubicBezTo>
                  <a:pt x="1246" y="138"/>
                  <a:pt x="1247" y="135"/>
                  <a:pt x="1248" y="132"/>
                </a:cubicBezTo>
                <a:cubicBezTo>
                  <a:pt x="1249" y="130"/>
                  <a:pt x="1250" y="127"/>
                  <a:pt x="1252" y="126"/>
                </a:cubicBezTo>
                <a:cubicBezTo>
                  <a:pt x="1254" y="124"/>
                  <a:pt x="1255" y="123"/>
                  <a:pt x="1258" y="123"/>
                </a:cubicBezTo>
                <a:close/>
                <a:moveTo>
                  <a:pt x="1303" y="153"/>
                </a:moveTo>
                <a:cubicBezTo>
                  <a:pt x="1302" y="150"/>
                  <a:pt x="1302" y="150"/>
                  <a:pt x="1302" y="150"/>
                </a:cubicBezTo>
                <a:cubicBezTo>
                  <a:pt x="1300" y="152"/>
                  <a:pt x="1298" y="153"/>
                  <a:pt x="1296" y="154"/>
                </a:cubicBezTo>
                <a:cubicBezTo>
                  <a:pt x="1294" y="155"/>
                  <a:pt x="1292" y="156"/>
                  <a:pt x="1290" y="156"/>
                </a:cubicBezTo>
                <a:cubicBezTo>
                  <a:pt x="1287" y="156"/>
                  <a:pt x="1285" y="154"/>
                  <a:pt x="1284" y="152"/>
                </a:cubicBezTo>
                <a:cubicBezTo>
                  <a:pt x="1282" y="150"/>
                  <a:pt x="1282" y="147"/>
                  <a:pt x="1282" y="143"/>
                </a:cubicBezTo>
                <a:cubicBezTo>
                  <a:pt x="1285" y="143"/>
                  <a:pt x="1288" y="143"/>
                  <a:pt x="1292" y="142"/>
                </a:cubicBezTo>
                <a:cubicBezTo>
                  <a:pt x="1295" y="140"/>
                  <a:pt x="1299" y="139"/>
                  <a:pt x="1301" y="136"/>
                </a:cubicBezTo>
                <a:cubicBezTo>
                  <a:pt x="1304" y="134"/>
                  <a:pt x="1305" y="131"/>
                  <a:pt x="1305" y="128"/>
                </a:cubicBezTo>
                <a:cubicBezTo>
                  <a:pt x="1305" y="125"/>
                  <a:pt x="1304" y="123"/>
                  <a:pt x="1303" y="122"/>
                </a:cubicBezTo>
                <a:cubicBezTo>
                  <a:pt x="1301" y="120"/>
                  <a:pt x="1299" y="119"/>
                  <a:pt x="1295" y="119"/>
                </a:cubicBezTo>
                <a:cubicBezTo>
                  <a:pt x="1291" y="119"/>
                  <a:pt x="1288" y="121"/>
                  <a:pt x="1285" y="123"/>
                </a:cubicBezTo>
                <a:cubicBezTo>
                  <a:pt x="1282" y="125"/>
                  <a:pt x="1279" y="128"/>
                  <a:pt x="1277" y="132"/>
                </a:cubicBezTo>
                <a:cubicBezTo>
                  <a:pt x="1275" y="136"/>
                  <a:pt x="1275" y="140"/>
                  <a:pt x="1275" y="145"/>
                </a:cubicBezTo>
                <a:cubicBezTo>
                  <a:pt x="1275" y="147"/>
                  <a:pt x="1275" y="150"/>
                  <a:pt x="1276" y="152"/>
                </a:cubicBezTo>
                <a:cubicBezTo>
                  <a:pt x="1277" y="155"/>
                  <a:pt x="1279" y="156"/>
                  <a:pt x="1281" y="158"/>
                </a:cubicBezTo>
                <a:cubicBezTo>
                  <a:pt x="1283" y="159"/>
                  <a:pt x="1285" y="160"/>
                  <a:pt x="1288" y="160"/>
                </a:cubicBezTo>
                <a:cubicBezTo>
                  <a:pt x="1292" y="160"/>
                  <a:pt x="1295" y="159"/>
                  <a:pt x="1297" y="158"/>
                </a:cubicBezTo>
                <a:cubicBezTo>
                  <a:pt x="1300" y="156"/>
                  <a:pt x="1302" y="154"/>
                  <a:pt x="1303" y="153"/>
                </a:cubicBezTo>
                <a:close/>
                <a:moveTo>
                  <a:pt x="1294" y="123"/>
                </a:moveTo>
                <a:cubicBezTo>
                  <a:pt x="1295" y="123"/>
                  <a:pt x="1296" y="124"/>
                  <a:pt x="1297" y="125"/>
                </a:cubicBezTo>
                <a:cubicBezTo>
                  <a:pt x="1298" y="125"/>
                  <a:pt x="1298" y="127"/>
                  <a:pt x="1298" y="129"/>
                </a:cubicBezTo>
                <a:cubicBezTo>
                  <a:pt x="1298" y="131"/>
                  <a:pt x="1298" y="133"/>
                  <a:pt x="1296" y="135"/>
                </a:cubicBezTo>
                <a:cubicBezTo>
                  <a:pt x="1294" y="136"/>
                  <a:pt x="1292" y="138"/>
                  <a:pt x="1289" y="139"/>
                </a:cubicBezTo>
                <a:cubicBezTo>
                  <a:pt x="1287" y="139"/>
                  <a:pt x="1284" y="140"/>
                  <a:pt x="1282" y="140"/>
                </a:cubicBezTo>
                <a:cubicBezTo>
                  <a:pt x="1282" y="138"/>
                  <a:pt x="1283" y="135"/>
                  <a:pt x="1284" y="132"/>
                </a:cubicBezTo>
                <a:cubicBezTo>
                  <a:pt x="1285" y="130"/>
                  <a:pt x="1286" y="127"/>
                  <a:pt x="1288" y="126"/>
                </a:cubicBezTo>
                <a:cubicBezTo>
                  <a:pt x="1289" y="124"/>
                  <a:pt x="1291" y="123"/>
                  <a:pt x="1294" y="123"/>
                </a:cubicBezTo>
                <a:close/>
                <a:moveTo>
                  <a:pt x="1322" y="129"/>
                </a:moveTo>
                <a:cubicBezTo>
                  <a:pt x="1323" y="127"/>
                  <a:pt x="1323" y="127"/>
                  <a:pt x="1323" y="127"/>
                </a:cubicBezTo>
                <a:cubicBezTo>
                  <a:pt x="1323" y="120"/>
                  <a:pt x="1323" y="120"/>
                  <a:pt x="1323" y="120"/>
                </a:cubicBezTo>
                <a:cubicBezTo>
                  <a:pt x="1322" y="119"/>
                  <a:pt x="1322" y="119"/>
                  <a:pt x="1322" y="119"/>
                </a:cubicBezTo>
                <a:cubicBezTo>
                  <a:pt x="1314" y="121"/>
                  <a:pt x="1314" y="121"/>
                  <a:pt x="1314" y="121"/>
                </a:cubicBezTo>
                <a:cubicBezTo>
                  <a:pt x="1313" y="124"/>
                  <a:pt x="1313" y="124"/>
                  <a:pt x="1313" y="124"/>
                </a:cubicBezTo>
                <a:cubicBezTo>
                  <a:pt x="1317" y="125"/>
                  <a:pt x="1317" y="125"/>
                  <a:pt x="1317" y="125"/>
                </a:cubicBezTo>
                <a:cubicBezTo>
                  <a:pt x="1312" y="159"/>
                  <a:pt x="1312" y="159"/>
                  <a:pt x="1312" y="159"/>
                </a:cubicBezTo>
                <a:cubicBezTo>
                  <a:pt x="1319" y="159"/>
                  <a:pt x="1319" y="159"/>
                  <a:pt x="1319" y="159"/>
                </a:cubicBezTo>
                <a:cubicBezTo>
                  <a:pt x="1322" y="134"/>
                  <a:pt x="1322" y="134"/>
                  <a:pt x="1322" y="134"/>
                </a:cubicBezTo>
                <a:cubicBezTo>
                  <a:pt x="1323" y="132"/>
                  <a:pt x="1325" y="130"/>
                  <a:pt x="1327" y="129"/>
                </a:cubicBezTo>
                <a:cubicBezTo>
                  <a:pt x="1329" y="127"/>
                  <a:pt x="1331" y="127"/>
                  <a:pt x="1333" y="127"/>
                </a:cubicBezTo>
                <a:cubicBezTo>
                  <a:pt x="1334" y="127"/>
                  <a:pt x="1335" y="127"/>
                  <a:pt x="1336" y="127"/>
                </a:cubicBezTo>
                <a:cubicBezTo>
                  <a:pt x="1338" y="120"/>
                  <a:pt x="1338" y="120"/>
                  <a:pt x="1338" y="120"/>
                </a:cubicBezTo>
                <a:cubicBezTo>
                  <a:pt x="1337" y="120"/>
                  <a:pt x="1336" y="119"/>
                  <a:pt x="1335" y="119"/>
                </a:cubicBezTo>
                <a:cubicBezTo>
                  <a:pt x="1333" y="119"/>
                  <a:pt x="1331" y="120"/>
                  <a:pt x="1330" y="121"/>
                </a:cubicBezTo>
                <a:cubicBezTo>
                  <a:pt x="1328" y="122"/>
                  <a:pt x="1326" y="123"/>
                  <a:pt x="1325" y="125"/>
                </a:cubicBezTo>
                <a:cubicBezTo>
                  <a:pt x="1324" y="126"/>
                  <a:pt x="1323" y="128"/>
                  <a:pt x="1322" y="129"/>
                </a:cubicBezTo>
                <a:close/>
                <a:moveTo>
                  <a:pt x="1349" y="153"/>
                </a:moveTo>
                <a:cubicBezTo>
                  <a:pt x="1354" y="120"/>
                  <a:pt x="1354" y="120"/>
                  <a:pt x="1354" y="120"/>
                </a:cubicBezTo>
                <a:cubicBezTo>
                  <a:pt x="1352" y="119"/>
                  <a:pt x="1352" y="119"/>
                  <a:pt x="1352" y="119"/>
                </a:cubicBezTo>
                <a:cubicBezTo>
                  <a:pt x="1342" y="121"/>
                  <a:pt x="1342" y="121"/>
                  <a:pt x="1342" y="121"/>
                </a:cubicBezTo>
                <a:cubicBezTo>
                  <a:pt x="1342" y="123"/>
                  <a:pt x="1342" y="123"/>
                  <a:pt x="1342" y="123"/>
                </a:cubicBezTo>
                <a:cubicBezTo>
                  <a:pt x="1346" y="125"/>
                  <a:pt x="1346" y="125"/>
                  <a:pt x="1346" y="125"/>
                </a:cubicBezTo>
                <a:cubicBezTo>
                  <a:pt x="1345" y="132"/>
                  <a:pt x="1345" y="138"/>
                  <a:pt x="1344" y="142"/>
                </a:cubicBezTo>
                <a:cubicBezTo>
                  <a:pt x="1343" y="150"/>
                  <a:pt x="1342" y="154"/>
                  <a:pt x="1342" y="156"/>
                </a:cubicBezTo>
                <a:cubicBezTo>
                  <a:pt x="1342" y="157"/>
                  <a:pt x="1342" y="158"/>
                  <a:pt x="1343" y="159"/>
                </a:cubicBezTo>
                <a:cubicBezTo>
                  <a:pt x="1344" y="160"/>
                  <a:pt x="1345" y="160"/>
                  <a:pt x="1347" y="160"/>
                </a:cubicBezTo>
                <a:cubicBezTo>
                  <a:pt x="1349" y="160"/>
                  <a:pt x="1350" y="159"/>
                  <a:pt x="1352" y="158"/>
                </a:cubicBezTo>
                <a:cubicBezTo>
                  <a:pt x="1353" y="157"/>
                  <a:pt x="1354" y="156"/>
                  <a:pt x="1355" y="155"/>
                </a:cubicBezTo>
                <a:cubicBezTo>
                  <a:pt x="1354" y="154"/>
                  <a:pt x="1354" y="154"/>
                  <a:pt x="1354" y="154"/>
                </a:cubicBezTo>
                <a:cubicBezTo>
                  <a:pt x="1353" y="154"/>
                  <a:pt x="1352" y="155"/>
                  <a:pt x="1352" y="155"/>
                </a:cubicBezTo>
                <a:cubicBezTo>
                  <a:pt x="1351" y="156"/>
                  <a:pt x="1351" y="156"/>
                  <a:pt x="1350" y="156"/>
                </a:cubicBezTo>
                <a:cubicBezTo>
                  <a:pt x="1350" y="156"/>
                  <a:pt x="1350" y="156"/>
                  <a:pt x="1349" y="155"/>
                </a:cubicBezTo>
                <a:cubicBezTo>
                  <a:pt x="1349" y="155"/>
                  <a:pt x="1349" y="155"/>
                  <a:pt x="1349" y="154"/>
                </a:cubicBezTo>
                <a:lnTo>
                  <a:pt x="1349" y="153"/>
                </a:lnTo>
                <a:close/>
                <a:moveTo>
                  <a:pt x="1351" y="112"/>
                </a:moveTo>
                <a:cubicBezTo>
                  <a:pt x="1353" y="112"/>
                  <a:pt x="1354" y="111"/>
                  <a:pt x="1355" y="110"/>
                </a:cubicBezTo>
                <a:cubicBezTo>
                  <a:pt x="1356" y="109"/>
                  <a:pt x="1356" y="108"/>
                  <a:pt x="1356" y="107"/>
                </a:cubicBezTo>
                <a:cubicBezTo>
                  <a:pt x="1356" y="106"/>
                  <a:pt x="1356" y="105"/>
                  <a:pt x="1355" y="104"/>
                </a:cubicBezTo>
                <a:cubicBezTo>
                  <a:pt x="1354" y="103"/>
                  <a:pt x="1353" y="103"/>
                  <a:pt x="1352" y="103"/>
                </a:cubicBezTo>
                <a:cubicBezTo>
                  <a:pt x="1351" y="103"/>
                  <a:pt x="1350" y="103"/>
                  <a:pt x="1349" y="104"/>
                </a:cubicBezTo>
                <a:cubicBezTo>
                  <a:pt x="1348" y="105"/>
                  <a:pt x="1348" y="107"/>
                  <a:pt x="1348" y="108"/>
                </a:cubicBezTo>
                <a:cubicBezTo>
                  <a:pt x="1348" y="109"/>
                  <a:pt x="1348" y="110"/>
                  <a:pt x="1349" y="111"/>
                </a:cubicBezTo>
                <a:cubicBezTo>
                  <a:pt x="1350" y="111"/>
                  <a:pt x="1350" y="112"/>
                  <a:pt x="1351" y="112"/>
                </a:cubicBezTo>
                <a:close/>
                <a:moveTo>
                  <a:pt x="1374" y="129"/>
                </a:moveTo>
                <a:cubicBezTo>
                  <a:pt x="1375" y="120"/>
                  <a:pt x="1375" y="120"/>
                  <a:pt x="1375" y="120"/>
                </a:cubicBezTo>
                <a:cubicBezTo>
                  <a:pt x="1374" y="119"/>
                  <a:pt x="1374" y="119"/>
                  <a:pt x="1374" y="119"/>
                </a:cubicBezTo>
                <a:cubicBezTo>
                  <a:pt x="1365" y="121"/>
                  <a:pt x="1365" y="121"/>
                  <a:pt x="1365" y="121"/>
                </a:cubicBezTo>
                <a:cubicBezTo>
                  <a:pt x="1365" y="124"/>
                  <a:pt x="1365" y="124"/>
                  <a:pt x="1365" y="124"/>
                </a:cubicBezTo>
                <a:cubicBezTo>
                  <a:pt x="1368" y="125"/>
                  <a:pt x="1368" y="125"/>
                  <a:pt x="1368" y="125"/>
                </a:cubicBezTo>
                <a:cubicBezTo>
                  <a:pt x="1364" y="159"/>
                  <a:pt x="1364" y="159"/>
                  <a:pt x="1364" y="159"/>
                </a:cubicBezTo>
                <a:cubicBezTo>
                  <a:pt x="1370" y="159"/>
                  <a:pt x="1370" y="159"/>
                  <a:pt x="1370" y="159"/>
                </a:cubicBezTo>
                <a:cubicBezTo>
                  <a:pt x="1374" y="134"/>
                  <a:pt x="1374" y="134"/>
                  <a:pt x="1374" y="134"/>
                </a:cubicBezTo>
                <a:cubicBezTo>
                  <a:pt x="1375" y="131"/>
                  <a:pt x="1377" y="129"/>
                  <a:pt x="1380" y="127"/>
                </a:cubicBezTo>
                <a:cubicBezTo>
                  <a:pt x="1382" y="125"/>
                  <a:pt x="1384" y="124"/>
                  <a:pt x="1386" y="124"/>
                </a:cubicBezTo>
                <a:cubicBezTo>
                  <a:pt x="1388" y="124"/>
                  <a:pt x="1389" y="125"/>
                  <a:pt x="1389" y="126"/>
                </a:cubicBezTo>
                <a:cubicBezTo>
                  <a:pt x="1390" y="127"/>
                  <a:pt x="1390" y="128"/>
                  <a:pt x="1390" y="130"/>
                </a:cubicBezTo>
                <a:cubicBezTo>
                  <a:pt x="1390" y="132"/>
                  <a:pt x="1390" y="134"/>
                  <a:pt x="1390" y="135"/>
                </a:cubicBezTo>
                <a:cubicBezTo>
                  <a:pt x="1390" y="137"/>
                  <a:pt x="1389" y="140"/>
                  <a:pt x="1389" y="142"/>
                </a:cubicBezTo>
                <a:cubicBezTo>
                  <a:pt x="1388" y="144"/>
                  <a:pt x="1388" y="144"/>
                  <a:pt x="1388" y="144"/>
                </a:cubicBezTo>
                <a:cubicBezTo>
                  <a:pt x="1388" y="147"/>
                  <a:pt x="1388" y="147"/>
                  <a:pt x="1388" y="147"/>
                </a:cubicBezTo>
                <a:cubicBezTo>
                  <a:pt x="1387" y="151"/>
                  <a:pt x="1387" y="154"/>
                  <a:pt x="1387" y="156"/>
                </a:cubicBezTo>
                <a:cubicBezTo>
                  <a:pt x="1387" y="159"/>
                  <a:pt x="1388" y="160"/>
                  <a:pt x="1391" y="160"/>
                </a:cubicBezTo>
                <a:cubicBezTo>
                  <a:pt x="1392" y="160"/>
                  <a:pt x="1394" y="160"/>
                  <a:pt x="1395" y="159"/>
                </a:cubicBezTo>
                <a:cubicBezTo>
                  <a:pt x="1396" y="159"/>
                  <a:pt x="1397" y="158"/>
                  <a:pt x="1397" y="157"/>
                </a:cubicBezTo>
                <a:cubicBezTo>
                  <a:pt x="1398" y="157"/>
                  <a:pt x="1399" y="156"/>
                  <a:pt x="1399" y="156"/>
                </a:cubicBezTo>
                <a:cubicBezTo>
                  <a:pt x="1398" y="154"/>
                  <a:pt x="1398" y="154"/>
                  <a:pt x="1398" y="154"/>
                </a:cubicBezTo>
                <a:cubicBezTo>
                  <a:pt x="1397" y="155"/>
                  <a:pt x="1396" y="156"/>
                  <a:pt x="1395" y="156"/>
                </a:cubicBezTo>
                <a:cubicBezTo>
                  <a:pt x="1394" y="156"/>
                  <a:pt x="1394" y="155"/>
                  <a:pt x="1394" y="154"/>
                </a:cubicBezTo>
                <a:cubicBezTo>
                  <a:pt x="1394" y="152"/>
                  <a:pt x="1394" y="149"/>
                  <a:pt x="1395" y="145"/>
                </a:cubicBezTo>
                <a:cubicBezTo>
                  <a:pt x="1395" y="142"/>
                  <a:pt x="1395" y="142"/>
                  <a:pt x="1395" y="142"/>
                </a:cubicBezTo>
                <a:cubicBezTo>
                  <a:pt x="1396" y="140"/>
                  <a:pt x="1396" y="140"/>
                  <a:pt x="1396" y="140"/>
                </a:cubicBezTo>
                <a:cubicBezTo>
                  <a:pt x="1397" y="135"/>
                  <a:pt x="1397" y="132"/>
                  <a:pt x="1397" y="130"/>
                </a:cubicBezTo>
                <a:cubicBezTo>
                  <a:pt x="1397" y="126"/>
                  <a:pt x="1397" y="123"/>
                  <a:pt x="1395" y="122"/>
                </a:cubicBezTo>
                <a:cubicBezTo>
                  <a:pt x="1394" y="120"/>
                  <a:pt x="1392" y="119"/>
                  <a:pt x="1389" y="119"/>
                </a:cubicBezTo>
                <a:cubicBezTo>
                  <a:pt x="1386" y="119"/>
                  <a:pt x="1384" y="120"/>
                  <a:pt x="1381" y="122"/>
                </a:cubicBezTo>
                <a:cubicBezTo>
                  <a:pt x="1379" y="124"/>
                  <a:pt x="1376" y="126"/>
                  <a:pt x="1374" y="129"/>
                </a:cubicBezTo>
                <a:close/>
                <a:moveTo>
                  <a:pt x="1433" y="162"/>
                </a:moveTo>
                <a:cubicBezTo>
                  <a:pt x="1440" y="119"/>
                  <a:pt x="1440" y="119"/>
                  <a:pt x="1440" y="119"/>
                </a:cubicBezTo>
                <a:cubicBezTo>
                  <a:pt x="1435" y="121"/>
                  <a:pt x="1435" y="121"/>
                  <a:pt x="1435" y="121"/>
                </a:cubicBezTo>
                <a:cubicBezTo>
                  <a:pt x="1434" y="121"/>
                  <a:pt x="1433" y="120"/>
                  <a:pt x="1432" y="120"/>
                </a:cubicBezTo>
                <a:cubicBezTo>
                  <a:pt x="1430" y="120"/>
                  <a:pt x="1429" y="119"/>
                  <a:pt x="1428" y="119"/>
                </a:cubicBezTo>
                <a:cubicBezTo>
                  <a:pt x="1423" y="119"/>
                  <a:pt x="1419" y="121"/>
                  <a:pt x="1416" y="123"/>
                </a:cubicBezTo>
                <a:cubicBezTo>
                  <a:pt x="1412" y="126"/>
                  <a:pt x="1410" y="129"/>
                  <a:pt x="1408" y="133"/>
                </a:cubicBezTo>
                <a:cubicBezTo>
                  <a:pt x="1406" y="137"/>
                  <a:pt x="1405" y="141"/>
                  <a:pt x="1405" y="145"/>
                </a:cubicBezTo>
                <a:cubicBezTo>
                  <a:pt x="1405" y="150"/>
                  <a:pt x="1406" y="153"/>
                  <a:pt x="1408" y="156"/>
                </a:cubicBezTo>
                <a:cubicBezTo>
                  <a:pt x="1410" y="159"/>
                  <a:pt x="1413" y="160"/>
                  <a:pt x="1417" y="160"/>
                </a:cubicBezTo>
                <a:cubicBezTo>
                  <a:pt x="1419" y="160"/>
                  <a:pt x="1421" y="159"/>
                  <a:pt x="1423" y="158"/>
                </a:cubicBezTo>
                <a:cubicBezTo>
                  <a:pt x="1425" y="157"/>
                  <a:pt x="1426" y="156"/>
                  <a:pt x="1428" y="155"/>
                </a:cubicBezTo>
                <a:cubicBezTo>
                  <a:pt x="1426" y="164"/>
                  <a:pt x="1426" y="164"/>
                  <a:pt x="1426" y="164"/>
                </a:cubicBezTo>
                <a:cubicBezTo>
                  <a:pt x="1426" y="167"/>
                  <a:pt x="1425" y="169"/>
                  <a:pt x="1424" y="170"/>
                </a:cubicBezTo>
                <a:cubicBezTo>
                  <a:pt x="1422" y="172"/>
                  <a:pt x="1420" y="172"/>
                  <a:pt x="1417" y="172"/>
                </a:cubicBezTo>
                <a:cubicBezTo>
                  <a:pt x="1415" y="172"/>
                  <a:pt x="1414" y="172"/>
                  <a:pt x="1412" y="171"/>
                </a:cubicBezTo>
                <a:cubicBezTo>
                  <a:pt x="1410" y="171"/>
                  <a:pt x="1409" y="170"/>
                  <a:pt x="1408" y="170"/>
                </a:cubicBezTo>
                <a:cubicBezTo>
                  <a:pt x="1406" y="175"/>
                  <a:pt x="1406" y="175"/>
                  <a:pt x="1406" y="175"/>
                </a:cubicBezTo>
                <a:cubicBezTo>
                  <a:pt x="1407" y="176"/>
                  <a:pt x="1408" y="176"/>
                  <a:pt x="1410" y="176"/>
                </a:cubicBezTo>
                <a:cubicBezTo>
                  <a:pt x="1411" y="177"/>
                  <a:pt x="1413" y="177"/>
                  <a:pt x="1414" y="177"/>
                </a:cubicBezTo>
                <a:cubicBezTo>
                  <a:pt x="1417" y="177"/>
                  <a:pt x="1420" y="176"/>
                  <a:pt x="1423" y="175"/>
                </a:cubicBezTo>
                <a:cubicBezTo>
                  <a:pt x="1425" y="174"/>
                  <a:pt x="1428" y="173"/>
                  <a:pt x="1430" y="170"/>
                </a:cubicBezTo>
                <a:cubicBezTo>
                  <a:pt x="1432" y="168"/>
                  <a:pt x="1433" y="165"/>
                  <a:pt x="1433" y="162"/>
                </a:cubicBezTo>
                <a:close/>
                <a:moveTo>
                  <a:pt x="1432" y="125"/>
                </a:moveTo>
                <a:cubicBezTo>
                  <a:pt x="1428" y="150"/>
                  <a:pt x="1428" y="150"/>
                  <a:pt x="1428" y="150"/>
                </a:cubicBezTo>
                <a:cubicBezTo>
                  <a:pt x="1427" y="151"/>
                  <a:pt x="1426" y="153"/>
                  <a:pt x="1424" y="154"/>
                </a:cubicBezTo>
                <a:cubicBezTo>
                  <a:pt x="1423" y="155"/>
                  <a:pt x="1421" y="155"/>
                  <a:pt x="1419" y="155"/>
                </a:cubicBezTo>
                <a:cubicBezTo>
                  <a:pt x="1417" y="155"/>
                  <a:pt x="1415" y="155"/>
                  <a:pt x="1414" y="153"/>
                </a:cubicBezTo>
                <a:cubicBezTo>
                  <a:pt x="1413" y="151"/>
                  <a:pt x="1412" y="148"/>
                  <a:pt x="1412" y="145"/>
                </a:cubicBezTo>
                <a:cubicBezTo>
                  <a:pt x="1412" y="142"/>
                  <a:pt x="1413" y="138"/>
                  <a:pt x="1414" y="135"/>
                </a:cubicBezTo>
                <a:cubicBezTo>
                  <a:pt x="1415" y="132"/>
                  <a:pt x="1417" y="129"/>
                  <a:pt x="1419" y="127"/>
                </a:cubicBezTo>
                <a:cubicBezTo>
                  <a:pt x="1421" y="124"/>
                  <a:pt x="1424" y="123"/>
                  <a:pt x="1427" y="123"/>
                </a:cubicBezTo>
                <a:cubicBezTo>
                  <a:pt x="1429" y="123"/>
                  <a:pt x="1431" y="124"/>
                  <a:pt x="1432" y="125"/>
                </a:cubicBezTo>
                <a:close/>
                <a:moveTo>
                  <a:pt x="1076" y="242"/>
                </a:moveTo>
                <a:cubicBezTo>
                  <a:pt x="1072" y="249"/>
                  <a:pt x="1072" y="249"/>
                  <a:pt x="1072" y="249"/>
                </a:cubicBezTo>
                <a:cubicBezTo>
                  <a:pt x="1072" y="242"/>
                  <a:pt x="1072" y="242"/>
                  <a:pt x="1072" y="242"/>
                </a:cubicBezTo>
                <a:cubicBezTo>
                  <a:pt x="1066" y="208"/>
                  <a:pt x="1066" y="208"/>
                  <a:pt x="1066" y="208"/>
                </a:cubicBezTo>
                <a:cubicBezTo>
                  <a:pt x="1050" y="208"/>
                  <a:pt x="1050" y="208"/>
                  <a:pt x="1050" y="208"/>
                </a:cubicBezTo>
                <a:cubicBezTo>
                  <a:pt x="1049" y="211"/>
                  <a:pt x="1049" y="211"/>
                  <a:pt x="1049" y="211"/>
                </a:cubicBezTo>
                <a:cubicBezTo>
                  <a:pt x="1056" y="212"/>
                  <a:pt x="1056" y="212"/>
                  <a:pt x="1056" y="212"/>
                </a:cubicBezTo>
                <a:cubicBezTo>
                  <a:pt x="1045" y="256"/>
                  <a:pt x="1045" y="256"/>
                  <a:pt x="1045" y="256"/>
                </a:cubicBezTo>
                <a:cubicBezTo>
                  <a:pt x="1039" y="257"/>
                  <a:pt x="1039" y="257"/>
                  <a:pt x="1039" y="257"/>
                </a:cubicBezTo>
                <a:cubicBezTo>
                  <a:pt x="1039" y="260"/>
                  <a:pt x="1039" y="260"/>
                  <a:pt x="1039" y="260"/>
                </a:cubicBezTo>
                <a:cubicBezTo>
                  <a:pt x="1057" y="260"/>
                  <a:pt x="1057" y="260"/>
                  <a:pt x="1057" y="260"/>
                </a:cubicBezTo>
                <a:cubicBezTo>
                  <a:pt x="1057" y="257"/>
                  <a:pt x="1057" y="257"/>
                  <a:pt x="1057" y="257"/>
                </a:cubicBezTo>
                <a:cubicBezTo>
                  <a:pt x="1050" y="256"/>
                  <a:pt x="1050" y="256"/>
                  <a:pt x="1050" y="256"/>
                </a:cubicBezTo>
                <a:cubicBezTo>
                  <a:pt x="1057" y="225"/>
                  <a:pt x="1057" y="225"/>
                  <a:pt x="1057" y="225"/>
                </a:cubicBezTo>
                <a:cubicBezTo>
                  <a:pt x="1060" y="211"/>
                  <a:pt x="1060" y="211"/>
                  <a:pt x="1060" y="211"/>
                </a:cubicBezTo>
                <a:cubicBezTo>
                  <a:pt x="1062" y="225"/>
                  <a:pt x="1062" y="225"/>
                  <a:pt x="1062" y="225"/>
                </a:cubicBezTo>
                <a:cubicBezTo>
                  <a:pt x="1068" y="261"/>
                  <a:pt x="1068" y="261"/>
                  <a:pt x="1068" y="261"/>
                </a:cubicBezTo>
                <a:cubicBezTo>
                  <a:pt x="1072" y="260"/>
                  <a:pt x="1072" y="260"/>
                  <a:pt x="1072" y="260"/>
                </a:cubicBezTo>
                <a:cubicBezTo>
                  <a:pt x="1088" y="224"/>
                  <a:pt x="1088" y="224"/>
                  <a:pt x="1088" y="224"/>
                </a:cubicBezTo>
                <a:cubicBezTo>
                  <a:pt x="1094" y="211"/>
                  <a:pt x="1094" y="211"/>
                  <a:pt x="1094" y="211"/>
                </a:cubicBezTo>
                <a:cubicBezTo>
                  <a:pt x="1093" y="225"/>
                  <a:pt x="1093" y="225"/>
                  <a:pt x="1093" y="225"/>
                </a:cubicBezTo>
                <a:cubicBezTo>
                  <a:pt x="1091" y="256"/>
                  <a:pt x="1091" y="256"/>
                  <a:pt x="1091" y="256"/>
                </a:cubicBezTo>
                <a:cubicBezTo>
                  <a:pt x="1085" y="257"/>
                  <a:pt x="1085" y="257"/>
                  <a:pt x="1085" y="257"/>
                </a:cubicBezTo>
                <a:cubicBezTo>
                  <a:pt x="1084" y="260"/>
                  <a:pt x="1084" y="260"/>
                  <a:pt x="1084" y="260"/>
                </a:cubicBezTo>
                <a:cubicBezTo>
                  <a:pt x="1104" y="260"/>
                  <a:pt x="1104" y="260"/>
                  <a:pt x="1104" y="260"/>
                </a:cubicBezTo>
                <a:cubicBezTo>
                  <a:pt x="1104" y="257"/>
                  <a:pt x="1104" y="257"/>
                  <a:pt x="1104" y="257"/>
                </a:cubicBezTo>
                <a:cubicBezTo>
                  <a:pt x="1098" y="256"/>
                  <a:pt x="1098" y="256"/>
                  <a:pt x="1098" y="256"/>
                </a:cubicBezTo>
                <a:cubicBezTo>
                  <a:pt x="1099" y="212"/>
                  <a:pt x="1099" y="212"/>
                  <a:pt x="1099" y="212"/>
                </a:cubicBezTo>
                <a:cubicBezTo>
                  <a:pt x="1106" y="211"/>
                  <a:pt x="1106" y="211"/>
                  <a:pt x="1106" y="211"/>
                </a:cubicBezTo>
                <a:cubicBezTo>
                  <a:pt x="1106" y="208"/>
                  <a:pt x="1106" y="208"/>
                  <a:pt x="1106" y="208"/>
                </a:cubicBezTo>
                <a:cubicBezTo>
                  <a:pt x="1091" y="208"/>
                  <a:pt x="1091" y="208"/>
                  <a:pt x="1091" y="208"/>
                </a:cubicBezTo>
                <a:cubicBezTo>
                  <a:pt x="1090" y="211"/>
                  <a:pt x="1087" y="217"/>
                  <a:pt x="1083" y="225"/>
                </a:cubicBezTo>
                <a:cubicBezTo>
                  <a:pt x="1079" y="233"/>
                  <a:pt x="1077" y="239"/>
                  <a:pt x="1076" y="242"/>
                </a:cubicBezTo>
                <a:close/>
                <a:moveTo>
                  <a:pt x="1138" y="253"/>
                </a:moveTo>
                <a:cubicBezTo>
                  <a:pt x="1136" y="251"/>
                  <a:pt x="1136" y="251"/>
                  <a:pt x="1136" y="251"/>
                </a:cubicBezTo>
                <a:cubicBezTo>
                  <a:pt x="1134" y="253"/>
                  <a:pt x="1133" y="254"/>
                  <a:pt x="1131" y="255"/>
                </a:cubicBezTo>
                <a:cubicBezTo>
                  <a:pt x="1129" y="256"/>
                  <a:pt x="1126" y="256"/>
                  <a:pt x="1124" y="256"/>
                </a:cubicBezTo>
                <a:cubicBezTo>
                  <a:pt x="1121" y="256"/>
                  <a:pt x="1119" y="255"/>
                  <a:pt x="1118" y="253"/>
                </a:cubicBezTo>
                <a:cubicBezTo>
                  <a:pt x="1117" y="250"/>
                  <a:pt x="1116" y="247"/>
                  <a:pt x="1116" y="244"/>
                </a:cubicBezTo>
                <a:cubicBezTo>
                  <a:pt x="1119" y="244"/>
                  <a:pt x="1123" y="244"/>
                  <a:pt x="1126" y="242"/>
                </a:cubicBezTo>
                <a:cubicBezTo>
                  <a:pt x="1130" y="241"/>
                  <a:pt x="1133" y="240"/>
                  <a:pt x="1136" y="237"/>
                </a:cubicBezTo>
                <a:cubicBezTo>
                  <a:pt x="1138" y="235"/>
                  <a:pt x="1140" y="232"/>
                  <a:pt x="1140" y="229"/>
                </a:cubicBezTo>
                <a:cubicBezTo>
                  <a:pt x="1140" y="226"/>
                  <a:pt x="1139" y="224"/>
                  <a:pt x="1137" y="223"/>
                </a:cubicBezTo>
                <a:cubicBezTo>
                  <a:pt x="1135" y="221"/>
                  <a:pt x="1133" y="220"/>
                  <a:pt x="1130" y="220"/>
                </a:cubicBezTo>
                <a:cubicBezTo>
                  <a:pt x="1126" y="220"/>
                  <a:pt x="1122" y="221"/>
                  <a:pt x="1119" y="224"/>
                </a:cubicBezTo>
                <a:cubicBezTo>
                  <a:pt x="1116" y="226"/>
                  <a:pt x="1114" y="229"/>
                  <a:pt x="1112" y="233"/>
                </a:cubicBezTo>
                <a:cubicBezTo>
                  <a:pt x="1110" y="237"/>
                  <a:pt x="1109" y="241"/>
                  <a:pt x="1109" y="246"/>
                </a:cubicBezTo>
                <a:cubicBezTo>
                  <a:pt x="1109" y="248"/>
                  <a:pt x="1110" y="251"/>
                  <a:pt x="1111" y="253"/>
                </a:cubicBezTo>
                <a:cubicBezTo>
                  <a:pt x="1111" y="255"/>
                  <a:pt x="1113" y="257"/>
                  <a:pt x="1115" y="259"/>
                </a:cubicBezTo>
                <a:cubicBezTo>
                  <a:pt x="1117" y="260"/>
                  <a:pt x="1120" y="261"/>
                  <a:pt x="1123" y="261"/>
                </a:cubicBezTo>
                <a:cubicBezTo>
                  <a:pt x="1126" y="261"/>
                  <a:pt x="1129" y="260"/>
                  <a:pt x="1132" y="258"/>
                </a:cubicBezTo>
                <a:cubicBezTo>
                  <a:pt x="1135" y="257"/>
                  <a:pt x="1136" y="255"/>
                  <a:pt x="1138" y="253"/>
                </a:cubicBezTo>
                <a:close/>
                <a:moveTo>
                  <a:pt x="1128" y="224"/>
                </a:moveTo>
                <a:cubicBezTo>
                  <a:pt x="1130" y="224"/>
                  <a:pt x="1131" y="224"/>
                  <a:pt x="1132" y="225"/>
                </a:cubicBezTo>
                <a:cubicBezTo>
                  <a:pt x="1132" y="226"/>
                  <a:pt x="1133" y="228"/>
                  <a:pt x="1133" y="229"/>
                </a:cubicBezTo>
                <a:cubicBezTo>
                  <a:pt x="1133" y="232"/>
                  <a:pt x="1132" y="234"/>
                  <a:pt x="1130" y="235"/>
                </a:cubicBezTo>
                <a:cubicBezTo>
                  <a:pt x="1129" y="237"/>
                  <a:pt x="1126" y="238"/>
                  <a:pt x="1124" y="239"/>
                </a:cubicBezTo>
                <a:cubicBezTo>
                  <a:pt x="1121" y="240"/>
                  <a:pt x="1119" y="241"/>
                  <a:pt x="1116" y="241"/>
                </a:cubicBezTo>
                <a:cubicBezTo>
                  <a:pt x="1117" y="238"/>
                  <a:pt x="1117" y="236"/>
                  <a:pt x="1118" y="233"/>
                </a:cubicBezTo>
                <a:cubicBezTo>
                  <a:pt x="1119" y="230"/>
                  <a:pt x="1121" y="228"/>
                  <a:pt x="1122" y="226"/>
                </a:cubicBezTo>
                <a:cubicBezTo>
                  <a:pt x="1124" y="225"/>
                  <a:pt x="1126" y="224"/>
                  <a:pt x="1128" y="224"/>
                </a:cubicBezTo>
                <a:close/>
                <a:moveTo>
                  <a:pt x="1175" y="254"/>
                </a:moveTo>
                <a:cubicBezTo>
                  <a:pt x="1182" y="204"/>
                  <a:pt x="1182" y="204"/>
                  <a:pt x="1182" y="204"/>
                </a:cubicBezTo>
                <a:cubicBezTo>
                  <a:pt x="1181" y="204"/>
                  <a:pt x="1181" y="204"/>
                  <a:pt x="1181" y="204"/>
                </a:cubicBezTo>
                <a:cubicBezTo>
                  <a:pt x="1171" y="205"/>
                  <a:pt x="1171" y="205"/>
                  <a:pt x="1171" y="205"/>
                </a:cubicBezTo>
                <a:cubicBezTo>
                  <a:pt x="1170" y="207"/>
                  <a:pt x="1170" y="207"/>
                  <a:pt x="1170" y="207"/>
                </a:cubicBezTo>
                <a:cubicBezTo>
                  <a:pt x="1175" y="208"/>
                  <a:pt x="1175" y="208"/>
                  <a:pt x="1175" y="208"/>
                </a:cubicBezTo>
                <a:cubicBezTo>
                  <a:pt x="1173" y="221"/>
                  <a:pt x="1173" y="221"/>
                  <a:pt x="1173" y="221"/>
                </a:cubicBezTo>
                <a:cubicBezTo>
                  <a:pt x="1171" y="220"/>
                  <a:pt x="1169" y="220"/>
                  <a:pt x="1168" y="220"/>
                </a:cubicBezTo>
                <a:cubicBezTo>
                  <a:pt x="1163" y="220"/>
                  <a:pt x="1159" y="222"/>
                  <a:pt x="1156" y="224"/>
                </a:cubicBezTo>
                <a:cubicBezTo>
                  <a:pt x="1152" y="227"/>
                  <a:pt x="1150" y="230"/>
                  <a:pt x="1148" y="234"/>
                </a:cubicBezTo>
                <a:cubicBezTo>
                  <a:pt x="1146" y="238"/>
                  <a:pt x="1145" y="242"/>
                  <a:pt x="1145" y="246"/>
                </a:cubicBezTo>
                <a:cubicBezTo>
                  <a:pt x="1145" y="250"/>
                  <a:pt x="1146" y="254"/>
                  <a:pt x="1148" y="257"/>
                </a:cubicBezTo>
                <a:cubicBezTo>
                  <a:pt x="1150" y="259"/>
                  <a:pt x="1153" y="261"/>
                  <a:pt x="1157" y="261"/>
                </a:cubicBezTo>
                <a:cubicBezTo>
                  <a:pt x="1159" y="261"/>
                  <a:pt x="1162" y="260"/>
                  <a:pt x="1163" y="259"/>
                </a:cubicBezTo>
                <a:cubicBezTo>
                  <a:pt x="1165" y="258"/>
                  <a:pt x="1167" y="256"/>
                  <a:pt x="1168" y="255"/>
                </a:cubicBezTo>
                <a:cubicBezTo>
                  <a:pt x="1168" y="256"/>
                  <a:pt x="1168" y="256"/>
                  <a:pt x="1168" y="256"/>
                </a:cubicBezTo>
                <a:cubicBezTo>
                  <a:pt x="1168" y="259"/>
                  <a:pt x="1170" y="261"/>
                  <a:pt x="1173" y="261"/>
                </a:cubicBezTo>
                <a:cubicBezTo>
                  <a:pt x="1174" y="261"/>
                  <a:pt x="1176" y="260"/>
                  <a:pt x="1177" y="259"/>
                </a:cubicBezTo>
                <a:cubicBezTo>
                  <a:pt x="1178" y="258"/>
                  <a:pt x="1179" y="257"/>
                  <a:pt x="1180" y="256"/>
                </a:cubicBezTo>
                <a:cubicBezTo>
                  <a:pt x="1179" y="255"/>
                  <a:pt x="1179" y="255"/>
                  <a:pt x="1179" y="255"/>
                </a:cubicBezTo>
                <a:cubicBezTo>
                  <a:pt x="1178" y="256"/>
                  <a:pt x="1177" y="256"/>
                  <a:pt x="1176" y="256"/>
                </a:cubicBezTo>
                <a:cubicBezTo>
                  <a:pt x="1175" y="256"/>
                  <a:pt x="1175" y="256"/>
                  <a:pt x="1175" y="255"/>
                </a:cubicBezTo>
                <a:cubicBezTo>
                  <a:pt x="1175" y="254"/>
                  <a:pt x="1175" y="254"/>
                  <a:pt x="1175" y="254"/>
                </a:cubicBezTo>
                <a:close/>
                <a:moveTo>
                  <a:pt x="1172" y="225"/>
                </a:moveTo>
                <a:cubicBezTo>
                  <a:pt x="1169" y="250"/>
                  <a:pt x="1169" y="250"/>
                  <a:pt x="1169" y="250"/>
                </a:cubicBezTo>
                <a:cubicBezTo>
                  <a:pt x="1168" y="252"/>
                  <a:pt x="1166" y="253"/>
                  <a:pt x="1164" y="254"/>
                </a:cubicBezTo>
                <a:cubicBezTo>
                  <a:pt x="1163" y="256"/>
                  <a:pt x="1161" y="256"/>
                  <a:pt x="1159" y="256"/>
                </a:cubicBezTo>
                <a:cubicBezTo>
                  <a:pt x="1157" y="256"/>
                  <a:pt x="1155" y="255"/>
                  <a:pt x="1154" y="253"/>
                </a:cubicBezTo>
                <a:cubicBezTo>
                  <a:pt x="1153" y="252"/>
                  <a:pt x="1153" y="249"/>
                  <a:pt x="1153" y="246"/>
                </a:cubicBezTo>
                <a:cubicBezTo>
                  <a:pt x="1153" y="242"/>
                  <a:pt x="1153" y="239"/>
                  <a:pt x="1154" y="236"/>
                </a:cubicBezTo>
                <a:cubicBezTo>
                  <a:pt x="1155" y="232"/>
                  <a:pt x="1157" y="230"/>
                  <a:pt x="1159" y="227"/>
                </a:cubicBezTo>
                <a:cubicBezTo>
                  <a:pt x="1161" y="225"/>
                  <a:pt x="1164" y="224"/>
                  <a:pt x="1167" y="224"/>
                </a:cubicBezTo>
                <a:cubicBezTo>
                  <a:pt x="1169" y="224"/>
                  <a:pt x="1171" y="224"/>
                  <a:pt x="1172" y="225"/>
                </a:cubicBezTo>
                <a:close/>
                <a:moveTo>
                  <a:pt x="1198" y="254"/>
                </a:moveTo>
                <a:cubicBezTo>
                  <a:pt x="1202" y="221"/>
                  <a:pt x="1202" y="221"/>
                  <a:pt x="1202" y="221"/>
                </a:cubicBezTo>
                <a:cubicBezTo>
                  <a:pt x="1201" y="220"/>
                  <a:pt x="1201" y="220"/>
                  <a:pt x="1201" y="220"/>
                </a:cubicBezTo>
                <a:cubicBezTo>
                  <a:pt x="1191" y="222"/>
                  <a:pt x="1191" y="222"/>
                  <a:pt x="1191" y="222"/>
                </a:cubicBezTo>
                <a:cubicBezTo>
                  <a:pt x="1190" y="224"/>
                  <a:pt x="1190" y="224"/>
                  <a:pt x="1190" y="224"/>
                </a:cubicBezTo>
                <a:cubicBezTo>
                  <a:pt x="1195" y="226"/>
                  <a:pt x="1195" y="226"/>
                  <a:pt x="1195" y="226"/>
                </a:cubicBezTo>
                <a:cubicBezTo>
                  <a:pt x="1194" y="233"/>
                  <a:pt x="1193" y="239"/>
                  <a:pt x="1192" y="243"/>
                </a:cubicBezTo>
                <a:cubicBezTo>
                  <a:pt x="1191" y="251"/>
                  <a:pt x="1191" y="255"/>
                  <a:pt x="1191" y="256"/>
                </a:cubicBezTo>
                <a:cubicBezTo>
                  <a:pt x="1190" y="258"/>
                  <a:pt x="1191" y="259"/>
                  <a:pt x="1192" y="260"/>
                </a:cubicBezTo>
                <a:cubicBezTo>
                  <a:pt x="1192" y="260"/>
                  <a:pt x="1194" y="261"/>
                  <a:pt x="1195" y="261"/>
                </a:cubicBezTo>
                <a:cubicBezTo>
                  <a:pt x="1197" y="261"/>
                  <a:pt x="1199" y="260"/>
                  <a:pt x="1200" y="259"/>
                </a:cubicBezTo>
                <a:cubicBezTo>
                  <a:pt x="1202" y="258"/>
                  <a:pt x="1203" y="257"/>
                  <a:pt x="1203" y="256"/>
                </a:cubicBezTo>
                <a:cubicBezTo>
                  <a:pt x="1202" y="254"/>
                  <a:pt x="1202" y="254"/>
                  <a:pt x="1202" y="254"/>
                </a:cubicBezTo>
                <a:cubicBezTo>
                  <a:pt x="1202" y="255"/>
                  <a:pt x="1201" y="256"/>
                  <a:pt x="1200" y="256"/>
                </a:cubicBezTo>
                <a:cubicBezTo>
                  <a:pt x="1200" y="256"/>
                  <a:pt x="1199" y="256"/>
                  <a:pt x="1199" y="256"/>
                </a:cubicBezTo>
                <a:cubicBezTo>
                  <a:pt x="1198" y="256"/>
                  <a:pt x="1198" y="256"/>
                  <a:pt x="1198" y="256"/>
                </a:cubicBezTo>
                <a:cubicBezTo>
                  <a:pt x="1198" y="256"/>
                  <a:pt x="1198" y="255"/>
                  <a:pt x="1198" y="255"/>
                </a:cubicBezTo>
                <a:lnTo>
                  <a:pt x="1198" y="254"/>
                </a:lnTo>
                <a:close/>
                <a:moveTo>
                  <a:pt x="1200" y="213"/>
                </a:moveTo>
                <a:cubicBezTo>
                  <a:pt x="1201" y="213"/>
                  <a:pt x="1202" y="212"/>
                  <a:pt x="1203" y="211"/>
                </a:cubicBezTo>
                <a:cubicBezTo>
                  <a:pt x="1204" y="210"/>
                  <a:pt x="1205" y="209"/>
                  <a:pt x="1205" y="207"/>
                </a:cubicBezTo>
                <a:cubicBezTo>
                  <a:pt x="1205" y="206"/>
                  <a:pt x="1204" y="206"/>
                  <a:pt x="1204" y="205"/>
                </a:cubicBezTo>
                <a:cubicBezTo>
                  <a:pt x="1203" y="204"/>
                  <a:pt x="1202" y="204"/>
                  <a:pt x="1201" y="204"/>
                </a:cubicBezTo>
                <a:cubicBezTo>
                  <a:pt x="1200" y="204"/>
                  <a:pt x="1198" y="204"/>
                  <a:pt x="1198" y="205"/>
                </a:cubicBezTo>
                <a:cubicBezTo>
                  <a:pt x="1197" y="206"/>
                  <a:pt x="1196" y="207"/>
                  <a:pt x="1196" y="209"/>
                </a:cubicBezTo>
                <a:cubicBezTo>
                  <a:pt x="1196" y="210"/>
                  <a:pt x="1197" y="211"/>
                  <a:pt x="1197" y="212"/>
                </a:cubicBezTo>
                <a:cubicBezTo>
                  <a:pt x="1198" y="212"/>
                  <a:pt x="1199" y="213"/>
                  <a:pt x="1200" y="213"/>
                </a:cubicBezTo>
                <a:close/>
                <a:moveTo>
                  <a:pt x="1237" y="228"/>
                </a:moveTo>
                <a:cubicBezTo>
                  <a:pt x="1238" y="229"/>
                  <a:pt x="1238" y="229"/>
                  <a:pt x="1238" y="229"/>
                </a:cubicBezTo>
                <a:cubicBezTo>
                  <a:pt x="1240" y="222"/>
                  <a:pt x="1240" y="222"/>
                  <a:pt x="1240" y="222"/>
                </a:cubicBezTo>
                <a:cubicBezTo>
                  <a:pt x="1239" y="221"/>
                  <a:pt x="1238" y="221"/>
                  <a:pt x="1237" y="221"/>
                </a:cubicBezTo>
                <a:cubicBezTo>
                  <a:pt x="1235" y="220"/>
                  <a:pt x="1234" y="220"/>
                  <a:pt x="1232" y="220"/>
                </a:cubicBezTo>
                <a:cubicBezTo>
                  <a:pt x="1228" y="220"/>
                  <a:pt x="1224" y="221"/>
                  <a:pt x="1221" y="224"/>
                </a:cubicBezTo>
                <a:cubicBezTo>
                  <a:pt x="1218" y="227"/>
                  <a:pt x="1216" y="230"/>
                  <a:pt x="1214" y="234"/>
                </a:cubicBezTo>
                <a:cubicBezTo>
                  <a:pt x="1213" y="237"/>
                  <a:pt x="1212" y="241"/>
                  <a:pt x="1212" y="245"/>
                </a:cubicBezTo>
                <a:cubicBezTo>
                  <a:pt x="1212" y="250"/>
                  <a:pt x="1213" y="254"/>
                  <a:pt x="1215" y="257"/>
                </a:cubicBezTo>
                <a:cubicBezTo>
                  <a:pt x="1217" y="259"/>
                  <a:pt x="1220" y="261"/>
                  <a:pt x="1224" y="261"/>
                </a:cubicBezTo>
                <a:cubicBezTo>
                  <a:pt x="1227" y="261"/>
                  <a:pt x="1230" y="260"/>
                  <a:pt x="1232" y="259"/>
                </a:cubicBezTo>
                <a:cubicBezTo>
                  <a:pt x="1235" y="257"/>
                  <a:pt x="1236" y="256"/>
                  <a:pt x="1238" y="254"/>
                </a:cubicBezTo>
                <a:cubicBezTo>
                  <a:pt x="1236" y="252"/>
                  <a:pt x="1236" y="252"/>
                  <a:pt x="1236" y="252"/>
                </a:cubicBezTo>
                <a:cubicBezTo>
                  <a:pt x="1235" y="253"/>
                  <a:pt x="1233" y="254"/>
                  <a:pt x="1232" y="255"/>
                </a:cubicBezTo>
                <a:cubicBezTo>
                  <a:pt x="1230" y="256"/>
                  <a:pt x="1229" y="256"/>
                  <a:pt x="1227" y="256"/>
                </a:cubicBezTo>
                <a:cubicBezTo>
                  <a:pt x="1224" y="256"/>
                  <a:pt x="1222" y="255"/>
                  <a:pt x="1221" y="253"/>
                </a:cubicBezTo>
                <a:cubicBezTo>
                  <a:pt x="1220" y="251"/>
                  <a:pt x="1219" y="248"/>
                  <a:pt x="1219" y="244"/>
                </a:cubicBezTo>
                <a:cubicBezTo>
                  <a:pt x="1219" y="240"/>
                  <a:pt x="1219" y="237"/>
                  <a:pt x="1221" y="234"/>
                </a:cubicBezTo>
                <a:cubicBezTo>
                  <a:pt x="1222" y="231"/>
                  <a:pt x="1223" y="229"/>
                  <a:pt x="1225" y="227"/>
                </a:cubicBezTo>
                <a:cubicBezTo>
                  <a:pt x="1227" y="225"/>
                  <a:pt x="1229" y="225"/>
                  <a:pt x="1231" y="225"/>
                </a:cubicBezTo>
                <a:cubicBezTo>
                  <a:pt x="1232" y="225"/>
                  <a:pt x="1235" y="226"/>
                  <a:pt x="1237" y="228"/>
                </a:cubicBezTo>
                <a:close/>
                <a:moveTo>
                  <a:pt x="1255" y="254"/>
                </a:moveTo>
                <a:cubicBezTo>
                  <a:pt x="1260" y="221"/>
                  <a:pt x="1260" y="221"/>
                  <a:pt x="1260" y="221"/>
                </a:cubicBezTo>
                <a:cubicBezTo>
                  <a:pt x="1259" y="220"/>
                  <a:pt x="1259" y="220"/>
                  <a:pt x="1259" y="220"/>
                </a:cubicBezTo>
                <a:cubicBezTo>
                  <a:pt x="1249" y="222"/>
                  <a:pt x="1249" y="222"/>
                  <a:pt x="1249" y="222"/>
                </a:cubicBezTo>
                <a:cubicBezTo>
                  <a:pt x="1248" y="224"/>
                  <a:pt x="1248" y="224"/>
                  <a:pt x="1248" y="224"/>
                </a:cubicBezTo>
                <a:cubicBezTo>
                  <a:pt x="1253" y="226"/>
                  <a:pt x="1253" y="226"/>
                  <a:pt x="1253" y="226"/>
                </a:cubicBezTo>
                <a:cubicBezTo>
                  <a:pt x="1252" y="233"/>
                  <a:pt x="1251" y="239"/>
                  <a:pt x="1250" y="243"/>
                </a:cubicBezTo>
                <a:cubicBezTo>
                  <a:pt x="1249" y="251"/>
                  <a:pt x="1248" y="255"/>
                  <a:pt x="1248" y="256"/>
                </a:cubicBezTo>
                <a:cubicBezTo>
                  <a:pt x="1248" y="258"/>
                  <a:pt x="1249" y="259"/>
                  <a:pt x="1249" y="260"/>
                </a:cubicBezTo>
                <a:cubicBezTo>
                  <a:pt x="1250" y="260"/>
                  <a:pt x="1251" y="261"/>
                  <a:pt x="1253" y="261"/>
                </a:cubicBezTo>
                <a:cubicBezTo>
                  <a:pt x="1255" y="261"/>
                  <a:pt x="1256" y="260"/>
                  <a:pt x="1258" y="259"/>
                </a:cubicBezTo>
                <a:cubicBezTo>
                  <a:pt x="1259" y="258"/>
                  <a:pt x="1260" y="257"/>
                  <a:pt x="1261" y="256"/>
                </a:cubicBezTo>
                <a:cubicBezTo>
                  <a:pt x="1260" y="254"/>
                  <a:pt x="1260" y="254"/>
                  <a:pt x="1260" y="254"/>
                </a:cubicBezTo>
                <a:cubicBezTo>
                  <a:pt x="1259" y="255"/>
                  <a:pt x="1259" y="256"/>
                  <a:pt x="1258" y="256"/>
                </a:cubicBezTo>
                <a:cubicBezTo>
                  <a:pt x="1258" y="256"/>
                  <a:pt x="1257" y="256"/>
                  <a:pt x="1256" y="256"/>
                </a:cubicBezTo>
                <a:cubicBezTo>
                  <a:pt x="1256" y="256"/>
                  <a:pt x="1256" y="256"/>
                  <a:pt x="1256" y="256"/>
                </a:cubicBezTo>
                <a:cubicBezTo>
                  <a:pt x="1255" y="256"/>
                  <a:pt x="1255" y="255"/>
                  <a:pt x="1255" y="255"/>
                </a:cubicBezTo>
                <a:lnTo>
                  <a:pt x="1255" y="254"/>
                </a:lnTo>
                <a:close/>
                <a:moveTo>
                  <a:pt x="1258" y="213"/>
                </a:moveTo>
                <a:cubicBezTo>
                  <a:pt x="1259" y="213"/>
                  <a:pt x="1260" y="212"/>
                  <a:pt x="1261" y="211"/>
                </a:cubicBezTo>
                <a:cubicBezTo>
                  <a:pt x="1262" y="210"/>
                  <a:pt x="1262" y="209"/>
                  <a:pt x="1262" y="207"/>
                </a:cubicBezTo>
                <a:cubicBezTo>
                  <a:pt x="1262" y="206"/>
                  <a:pt x="1262" y="206"/>
                  <a:pt x="1261" y="205"/>
                </a:cubicBezTo>
                <a:cubicBezTo>
                  <a:pt x="1261" y="204"/>
                  <a:pt x="1260" y="204"/>
                  <a:pt x="1259" y="204"/>
                </a:cubicBezTo>
                <a:cubicBezTo>
                  <a:pt x="1257" y="204"/>
                  <a:pt x="1256" y="204"/>
                  <a:pt x="1255" y="205"/>
                </a:cubicBezTo>
                <a:cubicBezTo>
                  <a:pt x="1254" y="206"/>
                  <a:pt x="1254" y="207"/>
                  <a:pt x="1254" y="209"/>
                </a:cubicBezTo>
                <a:cubicBezTo>
                  <a:pt x="1254" y="210"/>
                  <a:pt x="1254" y="211"/>
                  <a:pt x="1255" y="212"/>
                </a:cubicBezTo>
                <a:cubicBezTo>
                  <a:pt x="1256" y="212"/>
                  <a:pt x="1257" y="213"/>
                  <a:pt x="1258" y="213"/>
                </a:cubicBezTo>
                <a:close/>
                <a:moveTo>
                  <a:pt x="1282" y="229"/>
                </a:moveTo>
                <a:cubicBezTo>
                  <a:pt x="1283" y="221"/>
                  <a:pt x="1283" y="221"/>
                  <a:pt x="1283" y="221"/>
                </a:cubicBezTo>
                <a:cubicBezTo>
                  <a:pt x="1281" y="220"/>
                  <a:pt x="1281" y="220"/>
                  <a:pt x="1281" y="220"/>
                </a:cubicBezTo>
                <a:cubicBezTo>
                  <a:pt x="1273" y="222"/>
                  <a:pt x="1273" y="222"/>
                  <a:pt x="1273" y="222"/>
                </a:cubicBezTo>
                <a:cubicBezTo>
                  <a:pt x="1272" y="224"/>
                  <a:pt x="1272" y="224"/>
                  <a:pt x="1272" y="224"/>
                </a:cubicBezTo>
                <a:cubicBezTo>
                  <a:pt x="1275" y="226"/>
                  <a:pt x="1275" y="226"/>
                  <a:pt x="1275" y="226"/>
                </a:cubicBezTo>
                <a:cubicBezTo>
                  <a:pt x="1271" y="260"/>
                  <a:pt x="1271" y="260"/>
                  <a:pt x="1271" y="260"/>
                </a:cubicBezTo>
                <a:cubicBezTo>
                  <a:pt x="1278" y="260"/>
                  <a:pt x="1278" y="260"/>
                  <a:pt x="1278" y="260"/>
                </a:cubicBezTo>
                <a:cubicBezTo>
                  <a:pt x="1281" y="235"/>
                  <a:pt x="1281" y="235"/>
                  <a:pt x="1281" y="235"/>
                </a:cubicBezTo>
                <a:cubicBezTo>
                  <a:pt x="1283" y="232"/>
                  <a:pt x="1285" y="230"/>
                  <a:pt x="1287" y="228"/>
                </a:cubicBezTo>
                <a:cubicBezTo>
                  <a:pt x="1289" y="226"/>
                  <a:pt x="1291" y="225"/>
                  <a:pt x="1293" y="225"/>
                </a:cubicBezTo>
                <a:cubicBezTo>
                  <a:pt x="1295" y="225"/>
                  <a:pt x="1296" y="226"/>
                  <a:pt x="1297" y="226"/>
                </a:cubicBezTo>
                <a:cubicBezTo>
                  <a:pt x="1297" y="227"/>
                  <a:pt x="1298" y="229"/>
                  <a:pt x="1298" y="231"/>
                </a:cubicBezTo>
                <a:cubicBezTo>
                  <a:pt x="1298" y="233"/>
                  <a:pt x="1297" y="234"/>
                  <a:pt x="1297" y="236"/>
                </a:cubicBezTo>
                <a:cubicBezTo>
                  <a:pt x="1297" y="238"/>
                  <a:pt x="1297" y="240"/>
                  <a:pt x="1296" y="243"/>
                </a:cubicBezTo>
                <a:cubicBezTo>
                  <a:pt x="1296" y="245"/>
                  <a:pt x="1296" y="245"/>
                  <a:pt x="1296" y="245"/>
                </a:cubicBezTo>
                <a:cubicBezTo>
                  <a:pt x="1295" y="248"/>
                  <a:pt x="1295" y="248"/>
                  <a:pt x="1295" y="248"/>
                </a:cubicBezTo>
                <a:cubicBezTo>
                  <a:pt x="1294" y="252"/>
                  <a:pt x="1294" y="255"/>
                  <a:pt x="1294" y="256"/>
                </a:cubicBezTo>
                <a:cubicBezTo>
                  <a:pt x="1294" y="259"/>
                  <a:pt x="1295" y="261"/>
                  <a:pt x="1298" y="261"/>
                </a:cubicBezTo>
                <a:cubicBezTo>
                  <a:pt x="1300" y="261"/>
                  <a:pt x="1301" y="260"/>
                  <a:pt x="1302" y="260"/>
                </a:cubicBezTo>
                <a:cubicBezTo>
                  <a:pt x="1303" y="259"/>
                  <a:pt x="1304" y="259"/>
                  <a:pt x="1305" y="258"/>
                </a:cubicBezTo>
                <a:cubicBezTo>
                  <a:pt x="1305" y="258"/>
                  <a:pt x="1306" y="257"/>
                  <a:pt x="1306" y="257"/>
                </a:cubicBezTo>
                <a:cubicBezTo>
                  <a:pt x="1305" y="255"/>
                  <a:pt x="1305" y="255"/>
                  <a:pt x="1305" y="255"/>
                </a:cubicBezTo>
                <a:cubicBezTo>
                  <a:pt x="1304" y="256"/>
                  <a:pt x="1303" y="256"/>
                  <a:pt x="1302" y="256"/>
                </a:cubicBezTo>
                <a:cubicBezTo>
                  <a:pt x="1301" y="256"/>
                  <a:pt x="1301" y="256"/>
                  <a:pt x="1301" y="255"/>
                </a:cubicBezTo>
                <a:cubicBezTo>
                  <a:pt x="1301" y="253"/>
                  <a:pt x="1301" y="250"/>
                  <a:pt x="1302" y="246"/>
                </a:cubicBezTo>
                <a:cubicBezTo>
                  <a:pt x="1303" y="243"/>
                  <a:pt x="1303" y="243"/>
                  <a:pt x="1303" y="243"/>
                </a:cubicBezTo>
                <a:cubicBezTo>
                  <a:pt x="1303" y="241"/>
                  <a:pt x="1303" y="241"/>
                  <a:pt x="1303" y="241"/>
                </a:cubicBezTo>
                <a:cubicBezTo>
                  <a:pt x="1304" y="236"/>
                  <a:pt x="1305" y="232"/>
                  <a:pt x="1305" y="230"/>
                </a:cubicBezTo>
                <a:cubicBezTo>
                  <a:pt x="1305" y="227"/>
                  <a:pt x="1304" y="224"/>
                  <a:pt x="1302" y="223"/>
                </a:cubicBezTo>
                <a:cubicBezTo>
                  <a:pt x="1301" y="221"/>
                  <a:pt x="1299" y="220"/>
                  <a:pt x="1296" y="220"/>
                </a:cubicBezTo>
                <a:cubicBezTo>
                  <a:pt x="1294" y="220"/>
                  <a:pt x="1291" y="221"/>
                  <a:pt x="1289" y="223"/>
                </a:cubicBezTo>
                <a:cubicBezTo>
                  <a:pt x="1286" y="224"/>
                  <a:pt x="1284" y="227"/>
                  <a:pt x="1282" y="229"/>
                </a:cubicBezTo>
                <a:close/>
                <a:moveTo>
                  <a:pt x="1342" y="253"/>
                </a:moveTo>
                <a:cubicBezTo>
                  <a:pt x="1340" y="251"/>
                  <a:pt x="1340" y="251"/>
                  <a:pt x="1340" y="251"/>
                </a:cubicBezTo>
                <a:cubicBezTo>
                  <a:pt x="1339" y="253"/>
                  <a:pt x="1337" y="254"/>
                  <a:pt x="1335" y="255"/>
                </a:cubicBezTo>
                <a:cubicBezTo>
                  <a:pt x="1333" y="256"/>
                  <a:pt x="1331" y="256"/>
                  <a:pt x="1329" y="256"/>
                </a:cubicBezTo>
                <a:cubicBezTo>
                  <a:pt x="1326" y="256"/>
                  <a:pt x="1323" y="255"/>
                  <a:pt x="1322" y="253"/>
                </a:cubicBezTo>
                <a:cubicBezTo>
                  <a:pt x="1321" y="250"/>
                  <a:pt x="1320" y="247"/>
                  <a:pt x="1320" y="244"/>
                </a:cubicBezTo>
                <a:cubicBezTo>
                  <a:pt x="1323" y="244"/>
                  <a:pt x="1327" y="244"/>
                  <a:pt x="1330" y="242"/>
                </a:cubicBezTo>
                <a:cubicBezTo>
                  <a:pt x="1334" y="241"/>
                  <a:pt x="1337" y="240"/>
                  <a:pt x="1340" y="237"/>
                </a:cubicBezTo>
                <a:cubicBezTo>
                  <a:pt x="1342" y="235"/>
                  <a:pt x="1344" y="232"/>
                  <a:pt x="1344" y="229"/>
                </a:cubicBezTo>
                <a:cubicBezTo>
                  <a:pt x="1344" y="226"/>
                  <a:pt x="1343" y="224"/>
                  <a:pt x="1341" y="223"/>
                </a:cubicBezTo>
                <a:cubicBezTo>
                  <a:pt x="1340" y="221"/>
                  <a:pt x="1337" y="220"/>
                  <a:pt x="1334" y="220"/>
                </a:cubicBezTo>
                <a:cubicBezTo>
                  <a:pt x="1330" y="220"/>
                  <a:pt x="1326" y="221"/>
                  <a:pt x="1323" y="224"/>
                </a:cubicBezTo>
                <a:cubicBezTo>
                  <a:pt x="1320" y="226"/>
                  <a:pt x="1318" y="229"/>
                  <a:pt x="1316" y="233"/>
                </a:cubicBezTo>
                <a:cubicBezTo>
                  <a:pt x="1314" y="237"/>
                  <a:pt x="1313" y="241"/>
                  <a:pt x="1313" y="246"/>
                </a:cubicBezTo>
                <a:cubicBezTo>
                  <a:pt x="1313" y="248"/>
                  <a:pt x="1314" y="251"/>
                  <a:pt x="1315" y="253"/>
                </a:cubicBezTo>
                <a:cubicBezTo>
                  <a:pt x="1316" y="255"/>
                  <a:pt x="1317" y="257"/>
                  <a:pt x="1319" y="259"/>
                </a:cubicBezTo>
                <a:cubicBezTo>
                  <a:pt x="1321" y="260"/>
                  <a:pt x="1324" y="261"/>
                  <a:pt x="1327" y="261"/>
                </a:cubicBezTo>
                <a:cubicBezTo>
                  <a:pt x="1330" y="261"/>
                  <a:pt x="1333" y="260"/>
                  <a:pt x="1336" y="258"/>
                </a:cubicBezTo>
                <a:cubicBezTo>
                  <a:pt x="1339" y="257"/>
                  <a:pt x="1341" y="255"/>
                  <a:pt x="1342" y="253"/>
                </a:cubicBezTo>
                <a:close/>
                <a:moveTo>
                  <a:pt x="1332" y="224"/>
                </a:moveTo>
                <a:cubicBezTo>
                  <a:pt x="1334" y="224"/>
                  <a:pt x="1335" y="224"/>
                  <a:pt x="1336" y="225"/>
                </a:cubicBezTo>
                <a:cubicBezTo>
                  <a:pt x="1337" y="226"/>
                  <a:pt x="1337" y="228"/>
                  <a:pt x="1337" y="229"/>
                </a:cubicBezTo>
                <a:cubicBezTo>
                  <a:pt x="1337" y="232"/>
                  <a:pt x="1336" y="234"/>
                  <a:pt x="1334" y="235"/>
                </a:cubicBezTo>
                <a:cubicBezTo>
                  <a:pt x="1333" y="237"/>
                  <a:pt x="1331" y="238"/>
                  <a:pt x="1328" y="239"/>
                </a:cubicBezTo>
                <a:cubicBezTo>
                  <a:pt x="1325" y="240"/>
                  <a:pt x="1323" y="241"/>
                  <a:pt x="1321" y="241"/>
                </a:cubicBezTo>
                <a:cubicBezTo>
                  <a:pt x="1321" y="238"/>
                  <a:pt x="1321" y="236"/>
                  <a:pt x="1322" y="233"/>
                </a:cubicBezTo>
                <a:cubicBezTo>
                  <a:pt x="1323" y="230"/>
                  <a:pt x="1325" y="228"/>
                  <a:pt x="1326" y="226"/>
                </a:cubicBezTo>
                <a:cubicBezTo>
                  <a:pt x="1328" y="225"/>
                  <a:pt x="1330" y="224"/>
                  <a:pt x="1332" y="224"/>
                </a:cubicBezTo>
                <a:close/>
              </a:path>
            </a:pathLst>
          </a:custGeom>
          <a:solidFill>
            <a:schemeClr val="bg1"/>
          </a:solidFill>
          <a:ln>
            <a:noFill/>
          </a:ln>
        </p:spPr>
        <p:txBody>
          <a:bodyPr vert="horz" wrap="square" lIns="121920" tIns="60960" rIns="121920" bIns="60960" numCol="1" anchor="t" anchorCtr="0" compatLnSpc="1">
            <a:prstTxWarp prst="textNoShape">
              <a:avLst/>
            </a:prstTxWarp>
          </a:bodyPr>
          <a:lstStyle/>
          <a:p>
            <a:endParaRPr lang="en-US" sz="2400"/>
          </a:p>
        </p:txBody>
      </p:sp>
      <p:sp>
        <p:nvSpPr>
          <p:cNvPr id="17" name="Text Placeholder 16">
            <a:extLst>
              <a:ext uri="{FF2B5EF4-FFF2-40B4-BE49-F238E27FC236}">
                <a16:creationId xmlns:a16="http://schemas.microsoft.com/office/drawing/2014/main" id="{FCA018DF-7EFB-4D08-89D5-E61FB47F425E}"/>
              </a:ext>
            </a:extLst>
          </p:cNvPr>
          <p:cNvSpPr>
            <a:spLocks noGrp="1"/>
          </p:cNvSpPr>
          <p:nvPr>
            <p:ph type="body" sz="quarter" idx="12" hasCustomPrompt="1"/>
          </p:nvPr>
        </p:nvSpPr>
        <p:spPr>
          <a:xfrm>
            <a:off x="7995920" y="6515586"/>
            <a:ext cx="3222413" cy="169277"/>
          </a:xfrm>
        </p:spPr>
        <p:txBody>
          <a:bodyPr wrap="square">
            <a:spAutoFit/>
          </a:bodyPr>
          <a:lstStyle>
            <a:lvl1pPr marL="0" indent="0">
              <a:buNone/>
              <a:defRPr sz="1000" cap="all" spc="147" baseline="0">
                <a:solidFill>
                  <a:schemeClr val="tx2"/>
                </a:solidFill>
              </a:defRPr>
            </a:lvl1pPr>
          </a:lstStyle>
          <a:p>
            <a:pPr lvl="0"/>
            <a:r>
              <a:rPr lang="en-US"/>
              <a:t>CLICK TO EDIT MASTER TEXT</a:t>
            </a:r>
          </a:p>
        </p:txBody>
      </p:sp>
    </p:spTree>
    <p:extLst>
      <p:ext uri="{BB962C8B-B14F-4D97-AF65-F5344CB8AC3E}">
        <p14:creationId xmlns:p14="http://schemas.microsoft.com/office/powerpoint/2010/main" val="1546257710"/>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p:cSld name="Title Slide - Light Purple">
    <p:spTree>
      <p:nvGrpSpPr>
        <p:cNvPr id="1" name=""/>
        <p:cNvGrpSpPr/>
        <p:nvPr/>
      </p:nvGrpSpPr>
      <p:grpSpPr>
        <a:xfrm>
          <a:off x="0" y="0"/>
          <a:ext cx="0" cy="0"/>
          <a:chOff x="0" y="0"/>
          <a:chExt cx="0" cy="0"/>
        </a:xfrm>
      </p:grpSpPr>
      <p:sp>
        <p:nvSpPr>
          <p:cNvPr id="15" name="Picture Placeholder 14">
            <a:extLst>
              <a:ext uri="{FF2B5EF4-FFF2-40B4-BE49-F238E27FC236}">
                <a16:creationId xmlns:a16="http://schemas.microsoft.com/office/drawing/2014/main" id="{42927F7C-53AC-400F-8DAD-235A2AF61FB8}"/>
              </a:ext>
            </a:extLst>
          </p:cNvPr>
          <p:cNvSpPr>
            <a:spLocks noGrp="1"/>
          </p:cNvSpPr>
          <p:nvPr>
            <p:ph type="pic" sz="quarter" idx="11"/>
          </p:nvPr>
        </p:nvSpPr>
        <p:spPr>
          <a:xfrm>
            <a:off x="0" y="1"/>
            <a:ext cx="12192000" cy="6280151"/>
          </a:xfrm>
          <a:solidFill>
            <a:schemeClr val="bg2">
              <a:lumMod val="90000"/>
            </a:schemeClr>
          </a:solidFill>
        </p:spPr>
        <p:txBody>
          <a:bodyPr/>
          <a:lstStyle/>
          <a:p>
            <a:r>
              <a:rPr lang="en-US"/>
              <a:t>Click icon to add picture</a:t>
            </a:r>
          </a:p>
        </p:txBody>
      </p:sp>
      <p:sp>
        <p:nvSpPr>
          <p:cNvPr id="13" name="Text Placeholder 12">
            <a:extLst>
              <a:ext uri="{FF2B5EF4-FFF2-40B4-BE49-F238E27FC236}">
                <a16:creationId xmlns:a16="http://schemas.microsoft.com/office/drawing/2014/main" id="{D2D74F39-96DB-4808-8693-9F55A9D7DB98}"/>
              </a:ext>
            </a:extLst>
          </p:cNvPr>
          <p:cNvSpPr>
            <a:spLocks noGrp="1"/>
          </p:cNvSpPr>
          <p:nvPr>
            <p:ph type="body" sz="quarter" idx="10"/>
          </p:nvPr>
        </p:nvSpPr>
        <p:spPr>
          <a:xfrm>
            <a:off x="2" y="1563078"/>
            <a:ext cx="7737229" cy="5294921"/>
          </a:xfrm>
          <a:solidFill>
            <a:srgbClr val="E2E1E7"/>
          </a:solidFill>
        </p:spPr>
        <p:txBody>
          <a:bodyPr lIns="502920" tIns="274320" rIns="457200" bIns="457200"/>
          <a:lstStyle>
            <a:lvl1pPr marL="0" indent="0">
              <a:lnSpc>
                <a:spcPct val="100000"/>
              </a:lnSpc>
              <a:buNone/>
              <a:defRPr sz="4000">
                <a:solidFill>
                  <a:schemeClr val="tx2"/>
                </a:solidFill>
                <a:latin typeface="+mj-lt"/>
              </a:defRPr>
            </a:lvl1pPr>
            <a:lvl2pPr marL="0" indent="0">
              <a:spcBef>
                <a:spcPts val="1200"/>
              </a:spcBef>
              <a:buNone/>
              <a:defRPr sz="2000">
                <a:solidFill>
                  <a:schemeClr val="tx2"/>
                </a:solidFill>
                <a:latin typeface="+mj-lt"/>
              </a:defRPr>
            </a:lvl2pPr>
            <a:lvl3pPr marL="609585" indent="0">
              <a:buNone/>
              <a:defRPr>
                <a:solidFill>
                  <a:schemeClr val="bg1"/>
                </a:solidFill>
                <a:latin typeface="+mj-lt"/>
              </a:defRPr>
            </a:lvl3pPr>
            <a:lvl4pPr marL="922844" indent="0">
              <a:buNone/>
              <a:defRPr>
                <a:solidFill>
                  <a:schemeClr val="bg1"/>
                </a:solidFill>
                <a:latin typeface="+mj-lt"/>
              </a:defRPr>
            </a:lvl4pPr>
            <a:lvl5pPr marL="1219170" indent="0">
              <a:buNone/>
              <a:defRPr>
                <a:solidFill>
                  <a:schemeClr val="bg1"/>
                </a:solidFill>
                <a:latin typeface="+mj-lt"/>
              </a:defRPr>
            </a:lvl5pPr>
          </a:lstStyle>
          <a:p>
            <a:pPr lvl="0"/>
            <a:r>
              <a:rPr lang="en-US"/>
              <a:t>Edit Master text styles</a:t>
            </a:r>
          </a:p>
          <a:p>
            <a:pPr lvl="1"/>
            <a:r>
              <a:rPr lang="en-US"/>
              <a:t>Second level</a:t>
            </a:r>
          </a:p>
        </p:txBody>
      </p:sp>
      <p:sp>
        <p:nvSpPr>
          <p:cNvPr id="3" name="Subtitle 2"/>
          <p:cNvSpPr>
            <a:spLocks noGrp="1"/>
          </p:cNvSpPr>
          <p:nvPr>
            <p:ph type="subTitle" idx="1"/>
          </p:nvPr>
        </p:nvSpPr>
        <p:spPr>
          <a:xfrm>
            <a:off x="701040" y="4738102"/>
            <a:ext cx="6461760" cy="225639"/>
          </a:xfrm>
        </p:spPr>
        <p:txBody>
          <a:bodyPr anchor="b" anchorCtr="0">
            <a:spAutoFit/>
          </a:bodyPr>
          <a:lstStyle>
            <a:lvl1pPr marL="0" indent="0" algn="l">
              <a:buNone/>
              <a:defRPr sz="1333" i="1">
                <a:solidFill>
                  <a:schemeClr val="tx1"/>
                </a:solidFill>
                <a:latin typeface="+mj-l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
        <p:nvSpPr>
          <p:cNvPr id="9" name="Freeform 5">
            <a:extLst>
              <a:ext uri="{FF2B5EF4-FFF2-40B4-BE49-F238E27FC236}">
                <a16:creationId xmlns:a16="http://schemas.microsoft.com/office/drawing/2014/main" id="{6EF64205-A64B-4137-BA41-5E5CFE0F359E}"/>
              </a:ext>
            </a:extLst>
          </p:cNvPr>
          <p:cNvSpPr>
            <a:spLocks noEditPoints="1"/>
          </p:cNvSpPr>
          <p:nvPr/>
        </p:nvSpPr>
        <p:spPr bwMode="auto">
          <a:xfrm>
            <a:off x="643609" y="578451"/>
            <a:ext cx="2922943" cy="547357"/>
          </a:xfrm>
          <a:custGeom>
            <a:avLst/>
            <a:gdLst>
              <a:gd name="T0" fmla="*/ 225 w 1440"/>
              <a:gd name="T1" fmla="*/ 110 h 267"/>
              <a:gd name="T2" fmla="*/ 317 w 1440"/>
              <a:gd name="T3" fmla="*/ 7 h 267"/>
              <a:gd name="T4" fmla="*/ 475 w 1440"/>
              <a:gd name="T5" fmla="*/ 19 h 267"/>
              <a:gd name="T6" fmla="*/ 830 w 1440"/>
              <a:gd name="T7" fmla="*/ 7 h 267"/>
              <a:gd name="T8" fmla="*/ 130 w 1440"/>
              <a:gd name="T9" fmla="*/ 210 h 267"/>
              <a:gd name="T10" fmla="*/ 437 w 1440"/>
              <a:gd name="T11" fmla="*/ 209 h 267"/>
              <a:gd name="T12" fmla="*/ 493 w 1440"/>
              <a:gd name="T13" fmla="*/ 198 h 267"/>
              <a:gd name="T14" fmla="*/ 866 w 1440"/>
              <a:gd name="T15" fmla="*/ 171 h 267"/>
              <a:gd name="T16" fmla="*/ 737 w 1440"/>
              <a:gd name="T17" fmla="*/ 261 h 267"/>
              <a:gd name="T18" fmla="*/ 958 w 1440"/>
              <a:gd name="T19" fmla="*/ 172 h 267"/>
              <a:gd name="T20" fmla="*/ 906 w 1440"/>
              <a:gd name="T21" fmla="*/ 254 h 267"/>
              <a:gd name="T22" fmla="*/ 309 w 1440"/>
              <a:gd name="T23" fmla="*/ 260 h 267"/>
              <a:gd name="T24" fmla="*/ 1053 w 1440"/>
              <a:gd name="T25" fmla="*/ 31 h 267"/>
              <a:gd name="T26" fmla="*/ 1075 w 1440"/>
              <a:gd name="T27" fmla="*/ 44 h 267"/>
              <a:gd name="T28" fmla="*/ 1091 w 1440"/>
              <a:gd name="T29" fmla="*/ 22 h 267"/>
              <a:gd name="T30" fmla="*/ 1107 w 1440"/>
              <a:gd name="T31" fmla="*/ 27 h 267"/>
              <a:gd name="T32" fmla="*/ 1125 w 1440"/>
              <a:gd name="T33" fmla="*/ 55 h 267"/>
              <a:gd name="T34" fmla="*/ 1159 w 1440"/>
              <a:gd name="T35" fmla="*/ 53 h 267"/>
              <a:gd name="T36" fmla="*/ 1160 w 1440"/>
              <a:gd name="T37" fmla="*/ 57 h 267"/>
              <a:gd name="T38" fmla="*/ 1177 w 1440"/>
              <a:gd name="T39" fmla="*/ 23 h 267"/>
              <a:gd name="T40" fmla="*/ 1207 w 1440"/>
              <a:gd name="T41" fmla="*/ 58 h 267"/>
              <a:gd name="T42" fmla="*/ 1245 w 1440"/>
              <a:gd name="T43" fmla="*/ 27 h 267"/>
              <a:gd name="T44" fmla="*/ 1225 w 1440"/>
              <a:gd name="T45" fmla="*/ 43 h 267"/>
              <a:gd name="T46" fmla="*/ 1271 w 1440"/>
              <a:gd name="T47" fmla="*/ 19 h 267"/>
              <a:gd name="T48" fmla="*/ 1259 w 1440"/>
              <a:gd name="T49" fmla="*/ 32 h 267"/>
              <a:gd name="T50" fmla="*/ 1290 w 1440"/>
              <a:gd name="T51" fmla="*/ 54 h 267"/>
              <a:gd name="T52" fmla="*/ 1310 w 1440"/>
              <a:gd name="T53" fmla="*/ 25 h 267"/>
              <a:gd name="T54" fmla="*/ 1059 w 1440"/>
              <a:gd name="T55" fmla="*/ 110 h 267"/>
              <a:gd name="T56" fmla="*/ 1099 w 1440"/>
              <a:gd name="T57" fmla="*/ 134 h 267"/>
              <a:gd name="T58" fmla="*/ 1120 w 1440"/>
              <a:gd name="T59" fmla="*/ 156 h 267"/>
              <a:gd name="T60" fmla="*/ 1141 w 1440"/>
              <a:gd name="T61" fmla="*/ 123 h 267"/>
              <a:gd name="T62" fmla="*/ 1148 w 1440"/>
              <a:gd name="T63" fmla="*/ 175 h 267"/>
              <a:gd name="T64" fmla="*/ 1184 w 1440"/>
              <a:gd name="T65" fmla="*/ 119 h 267"/>
              <a:gd name="T66" fmla="*/ 1181 w 1440"/>
              <a:gd name="T67" fmla="*/ 153 h 267"/>
              <a:gd name="T68" fmla="*/ 1201 w 1440"/>
              <a:gd name="T69" fmla="*/ 125 h 267"/>
              <a:gd name="T70" fmla="*/ 1230 w 1440"/>
              <a:gd name="T71" fmla="*/ 157 h 267"/>
              <a:gd name="T72" fmla="*/ 1260 w 1440"/>
              <a:gd name="T73" fmla="*/ 154 h 267"/>
              <a:gd name="T74" fmla="*/ 1261 w 1440"/>
              <a:gd name="T75" fmla="*/ 158 h 267"/>
              <a:gd name="T76" fmla="*/ 1284 w 1440"/>
              <a:gd name="T77" fmla="*/ 152 h 267"/>
              <a:gd name="T78" fmla="*/ 1294 w 1440"/>
              <a:gd name="T79" fmla="*/ 123 h 267"/>
              <a:gd name="T80" fmla="*/ 1317 w 1440"/>
              <a:gd name="T81" fmla="*/ 125 h 267"/>
              <a:gd name="T82" fmla="*/ 1342 w 1440"/>
              <a:gd name="T83" fmla="*/ 121 h 267"/>
              <a:gd name="T84" fmla="*/ 1351 w 1440"/>
              <a:gd name="T85" fmla="*/ 112 h 267"/>
              <a:gd name="T86" fmla="*/ 1364 w 1440"/>
              <a:gd name="T87" fmla="*/ 159 h 267"/>
              <a:gd name="T88" fmla="*/ 1399 w 1440"/>
              <a:gd name="T89" fmla="*/ 156 h 267"/>
              <a:gd name="T90" fmla="*/ 1432 w 1440"/>
              <a:gd name="T91" fmla="*/ 120 h 267"/>
              <a:gd name="T92" fmla="*/ 1410 w 1440"/>
              <a:gd name="T93" fmla="*/ 176 h 267"/>
              <a:gd name="T94" fmla="*/ 1076 w 1440"/>
              <a:gd name="T95" fmla="*/ 242 h 267"/>
              <a:gd name="T96" fmla="*/ 1062 w 1440"/>
              <a:gd name="T97" fmla="*/ 225 h 267"/>
              <a:gd name="T98" fmla="*/ 1091 w 1440"/>
              <a:gd name="T99" fmla="*/ 208 h 267"/>
              <a:gd name="T100" fmla="*/ 1112 w 1440"/>
              <a:gd name="T101" fmla="*/ 233 h 267"/>
              <a:gd name="T102" fmla="*/ 1128 w 1440"/>
              <a:gd name="T103" fmla="*/ 224 h 267"/>
              <a:gd name="T104" fmla="*/ 1168 w 1440"/>
              <a:gd name="T105" fmla="*/ 255 h 267"/>
              <a:gd name="T106" fmla="*/ 1154 w 1440"/>
              <a:gd name="T107" fmla="*/ 236 h 267"/>
              <a:gd name="T108" fmla="*/ 1203 w 1440"/>
              <a:gd name="T109" fmla="*/ 256 h 267"/>
              <a:gd name="T110" fmla="*/ 1200 w 1440"/>
              <a:gd name="T111" fmla="*/ 213 h 267"/>
              <a:gd name="T112" fmla="*/ 1227 w 1440"/>
              <a:gd name="T113" fmla="*/ 256 h 267"/>
              <a:gd name="T114" fmla="*/ 1249 w 1440"/>
              <a:gd name="T115" fmla="*/ 260 h 267"/>
              <a:gd name="T116" fmla="*/ 1255 w 1440"/>
              <a:gd name="T117" fmla="*/ 205 h 267"/>
              <a:gd name="T118" fmla="*/ 1297 w 1440"/>
              <a:gd name="T119" fmla="*/ 226 h 267"/>
              <a:gd name="T120" fmla="*/ 1303 w 1440"/>
              <a:gd name="T121" fmla="*/ 243 h 267"/>
              <a:gd name="T122" fmla="*/ 1344 w 1440"/>
              <a:gd name="T123" fmla="*/ 229 h 267"/>
              <a:gd name="T124" fmla="*/ 1328 w 1440"/>
              <a:gd name="T125" fmla="*/ 239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440" h="267">
                <a:moveTo>
                  <a:pt x="17" y="110"/>
                </a:moveTo>
                <a:cubicBezTo>
                  <a:pt x="3" y="110"/>
                  <a:pt x="3" y="110"/>
                  <a:pt x="3" y="110"/>
                </a:cubicBezTo>
                <a:cubicBezTo>
                  <a:pt x="3" y="1"/>
                  <a:pt x="3" y="1"/>
                  <a:pt x="3" y="1"/>
                </a:cubicBezTo>
                <a:cubicBezTo>
                  <a:pt x="81" y="83"/>
                  <a:pt x="81" y="83"/>
                  <a:pt x="81" y="83"/>
                </a:cubicBezTo>
                <a:cubicBezTo>
                  <a:pt x="81" y="7"/>
                  <a:pt x="81" y="7"/>
                  <a:pt x="81" y="7"/>
                </a:cubicBezTo>
                <a:cubicBezTo>
                  <a:pt x="95" y="7"/>
                  <a:pt x="95" y="7"/>
                  <a:pt x="95" y="7"/>
                </a:cubicBezTo>
                <a:cubicBezTo>
                  <a:pt x="95" y="117"/>
                  <a:pt x="95" y="117"/>
                  <a:pt x="95" y="117"/>
                </a:cubicBezTo>
                <a:cubicBezTo>
                  <a:pt x="17" y="35"/>
                  <a:pt x="17" y="35"/>
                  <a:pt x="17" y="35"/>
                </a:cubicBezTo>
                <a:lnTo>
                  <a:pt x="17" y="110"/>
                </a:lnTo>
                <a:close/>
                <a:moveTo>
                  <a:pt x="130" y="110"/>
                </a:moveTo>
                <a:cubicBezTo>
                  <a:pt x="145" y="110"/>
                  <a:pt x="145" y="110"/>
                  <a:pt x="145" y="110"/>
                </a:cubicBezTo>
                <a:cubicBezTo>
                  <a:pt x="178" y="33"/>
                  <a:pt x="178" y="33"/>
                  <a:pt x="178" y="33"/>
                </a:cubicBezTo>
                <a:cubicBezTo>
                  <a:pt x="210" y="109"/>
                  <a:pt x="210" y="109"/>
                  <a:pt x="210" y="109"/>
                </a:cubicBezTo>
                <a:cubicBezTo>
                  <a:pt x="210" y="110"/>
                  <a:pt x="210" y="110"/>
                  <a:pt x="210" y="110"/>
                </a:cubicBezTo>
                <a:cubicBezTo>
                  <a:pt x="225" y="110"/>
                  <a:pt x="225" y="110"/>
                  <a:pt x="225" y="110"/>
                </a:cubicBezTo>
                <a:cubicBezTo>
                  <a:pt x="178" y="0"/>
                  <a:pt x="178" y="0"/>
                  <a:pt x="178" y="0"/>
                </a:cubicBezTo>
                <a:lnTo>
                  <a:pt x="130" y="110"/>
                </a:lnTo>
                <a:close/>
                <a:moveTo>
                  <a:pt x="700" y="110"/>
                </a:moveTo>
                <a:cubicBezTo>
                  <a:pt x="715" y="110"/>
                  <a:pt x="715" y="110"/>
                  <a:pt x="715" y="110"/>
                </a:cubicBezTo>
                <a:cubicBezTo>
                  <a:pt x="748" y="33"/>
                  <a:pt x="748" y="33"/>
                  <a:pt x="748" y="33"/>
                </a:cubicBezTo>
                <a:cubicBezTo>
                  <a:pt x="780" y="109"/>
                  <a:pt x="780" y="109"/>
                  <a:pt x="780" y="109"/>
                </a:cubicBezTo>
                <a:cubicBezTo>
                  <a:pt x="780" y="110"/>
                  <a:pt x="780" y="110"/>
                  <a:pt x="780" y="110"/>
                </a:cubicBezTo>
                <a:cubicBezTo>
                  <a:pt x="795" y="110"/>
                  <a:pt x="795" y="110"/>
                  <a:pt x="795" y="110"/>
                </a:cubicBezTo>
                <a:cubicBezTo>
                  <a:pt x="748" y="0"/>
                  <a:pt x="748" y="0"/>
                  <a:pt x="748" y="0"/>
                </a:cubicBezTo>
                <a:lnTo>
                  <a:pt x="700" y="110"/>
                </a:lnTo>
                <a:close/>
                <a:moveTo>
                  <a:pt x="273" y="110"/>
                </a:moveTo>
                <a:cubicBezTo>
                  <a:pt x="286" y="110"/>
                  <a:pt x="286" y="110"/>
                  <a:pt x="286" y="110"/>
                </a:cubicBezTo>
                <a:cubicBezTo>
                  <a:pt x="286" y="20"/>
                  <a:pt x="286" y="20"/>
                  <a:pt x="286" y="20"/>
                </a:cubicBezTo>
                <a:cubicBezTo>
                  <a:pt x="317" y="20"/>
                  <a:pt x="317" y="20"/>
                  <a:pt x="317" y="20"/>
                </a:cubicBezTo>
                <a:cubicBezTo>
                  <a:pt x="317" y="7"/>
                  <a:pt x="317" y="7"/>
                  <a:pt x="317" y="7"/>
                </a:cubicBezTo>
                <a:cubicBezTo>
                  <a:pt x="242" y="7"/>
                  <a:pt x="242" y="7"/>
                  <a:pt x="242" y="7"/>
                </a:cubicBezTo>
                <a:cubicBezTo>
                  <a:pt x="242" y="20"/>
                  <a:pt x="242" y="20"/>
                  <a:pt x="242" y="20"/>
                </a:cubicBezTo>
                <a:cubicBezTo>
                  <a:pt x="273" y="20"/>
                  <a:pt x="273" y="20"/>
                  <a:pt x="273" y="20"/>
                </a:cubicBezTo>
                <a:lnTo>
                  <a:pt x="273" y="110"/>
                </a:lnTo>
                <a:close/>
                <a:moveTo>
                  <a:pt x="374" y="7"/>
                </a:moveTo>
                <a:cubicBezTo>
                  <a:pt x="360" y="7"/>
                  <a:pt x="360" y="7"/>
                  <a:pt x="360" y="7"/>
                </a:cubicBezTo>
                <a:cubicBezTo>
                  <a:pt x="360" y="110"/>
                  <a:pt x="360" y="110"/>
                  <a:pt x="360" y="110"/>
                </a:cubicBezTo>
                <a:cubicBezTo>
                  <a:pt x="374" y="110"/>
                  <a:pt x="374" y="110"/>
                  <a:pt x="374" y="110"/>
                </a:cubicBezTo>
                <a:lnTo>
                  <a:pt x="374" y="7"/>
                </a:lnTo>
                <a:close/>
                <a:moveTo>
                  <a:pt x="475" y="112"/>
                </a:moveTo>
                <a:cubicBezTo>
                  <a:pt x="445" y="112"/>
                  <a:pt x="421" y="88"/>
                  <a:pt x="421" y="59"/>
                </a:cubicBezTo>
                <a:cubicBezTo>
                  <a:pt x="421" y="29"/>
                  <a:pt x="445" y="5"/>
                  <a:pt x="475" y="5"/>
                </a:cubicBezTo>
                <a:cubicBezTo>
                  <a:pt x="505" y="5"/>
                  <a:pt x="528" y="29"/>
                  <a:pt x="528" y="59"/>
                </a:cubicBezTo>
                <a:cubicBezTo>
                  <a:pt x="528" y="88"/>
                  <a:pt x="505" y="112"/>
                  <a:pt x="475" y="112"/>
                </a:cubicBezTo>
                <a:close/>
                <a:moveTo>
                  <a:pt x="475" y="19"/>
                </a:moveTo>
                <a:cubicBezTo>
                  <a:pt x="453" y="19"/>
                  <a:pt x="435" y="37"/>
                  <a:pt x="435" y="59"/>
                </a:cubicBezTo>
                <a:cubicBezTo>
                  <a:pt x="435" y="81"/>
                  <a:pt x="453" y="99"/>
                  <a:pt x="475" y="99"/>
                </a:cubicBezTo>
                <a:cubicBezTo>
                  <a:pt x="497" y="99"/>
                  <a:pt x="514" y="81"/>
                  <a:pt x="514" y="59"/>
                </a:cubicBezTo>
                <a:cubicBezTo>
                  <a:pt x="514" y="37"/>
                  <a:pt x="497" y="19"/>
                  <a:pt x="475" y="19"/>
                </a:cubicBezTo>
                <a:close/>
                <a:moveTo>
                  <a:pt x="586" y="35"/>
                </a:moveTo>
                <a:cubicBezTo>
                  <a:pt x="664" y="117"/>
                  <a:pt x="664" y="117"/>
                  <a:pt x="664" y="117"/>
                </a:cubicBezTo>
                <a:cubicBezTo>
                  <a:pt x="664" y="7"/>
                  <a:pt x="664" y="7"/>
                  <a:pt x="664" y="7"/>
                </a:cubicBezTo>
                <a:cubicBezTo>
                  <a:pt x="650" y="7"/>
                  <a:pt x="650" y="7"/>
                  <a:pt x="650" y="7"/>
                </a:cubicBezTo>
                <a:cubicBezTo>
                  <a:pt x="650" y="83"/>
                  <a:pt x="650" y="83"/>
                  <a:pt x="650" y="83"/>
                </a:cubicBezTo>
                <a:cubicBezTo>
                  <a:pt x="572" y="1"/>
                  <a:pt x="572" y="1"/>
                  <a:pt x="572" y="1"/>
                </a:cubicBezTo>
                <a:cubicBezTo>
                  <a:pt x="572" y="110"/>
                  <a:pt x="572" y="110"/>
                  <a:pt x="572" y="110"/>
                </a:cubicBezTo>
                <a:cubicBezTo>
                  <a:pt x="586" y="110"/>
                  <a:pt x="586" y="110"/>
                  <a:pt x="586" y="110"/>
                </a:cubicBezTo>
                <a:lnTo>
                  <a:pt x="586" y="35"/>
                </a:lnTo>
                <a:close/>
                <a:moveTo>
                  <a:pt x="843" y="7"/>
                </a:moveTo>
                <a:cubicBezTo>
                  <a:pt x="830" y="7"/>
                  <a:pt x="830" y="7"/>
                  <a:pt x="830" y="7"/>
                </a:cubicBezTo>
                <a:cubicBezTo>
                  <a:pt x="830" y="110"/>
                  <a:pt x="830" y="110"/>
                  <a:pt x="830" y="110"/>
                </a:cubicBezTo>
                <a:cubicBezTo>
                  <a:pt x="885" y="110"/>
                  <a:pt x="885" y="110"/>
                  <a:pt x="885" y="110"/>
                </a:cubicBezTo>
                <a:cubicBezTo>
                  <a:pt x="885" y="97"/>
                  <a:pt x="885" y="97"/>
                  <a:pt x="885" y="97"/>
                </a:cubicBezTo>
                <a:cubicBezTo>
                  <a:pt x="843" y="97"/>
                  <a:pt x="843" y="97"/>
                  <a:pt x="843" y="97"/>
                </a:cubicBezTo>
                <a:lnTo>
                  <a:pt x="843" y="7"/>
                </a:lnTo>
                <a:close/>
                <a:moveTo>
                  <a:pt x="169" y="156"/>
                </a:moveTo>
                <a:cubicBezTo>
                  <a:pt x="139" y="156"/>
                  <a:pt x="116" y="179"/>
                  <a:pt x="116" y="209"/>
                </a:cubicBezTo>
                <a:cubicBezTo>
                  <a:pt x="116" y="240"/>
                  <a:pt x="139" y="262"/>
                  <a:pt x="169" y="262"/>
                </a:cubicBezTo>
                <a:cubicBezTo>
                  <a:pt x="175" y="262"/>
                  <a:pt x="188" y="261"/>
                  <a:pt x="200" y="252"/>
                </a:cubicBezTo>
                <a:cubicBezTo>
                  <a:pt x="200" y="252"/>
                  <a:pt x="200" y="252"/>
                  <a:pt x="200" y="252"/>
                </a:cubicBezTo>
                <a:cubicBezTo>
                  <a:pt x="200" y="234"/>
                  <a:pt x="200" y="234"/>
                  <a:pt x="200" y="234"/>
                </a:cubicBezTo>
                <a:cubicBezTo>
                  <a:pt x="198" y="236"/>
                  <a:pt x="198" y="236"/>
                  <a:pt x="198" y="236"/>
                </a:cubicBezTo>
                <a:cubicBezTo>
                  <a:pt x="196" y="239"/>
                  <a:pt x="192" y="242"/>
                  <a:pt x="187" y="245"/>
                </a:cubicBezTo>
                <a:cubicBezTo>
                  <a:pt x="181" y="247"/>
                  <a:pt x="175" y="249"/>
                  <a:pt x="169" y="249"/>
                </a:cubicBezTo>
                <a:cubicBezTo>
                  <a:pt x="142" y="249"/>
                  <a:pt x="130" y="226"/>
                  <a:pt x="130" y="210"/>
                </a:cubicBezTo>
                <a:cubicBezTo>
                  <a:pt x="130" y="187"/>
                  <a:pt x="147" y="169"/>
                  <a:pt x="169" y="169"/>
                </a:cubicBezTo>
                <a:cubicBezTo>
                  <a:pt x="174" y="169"/>
                  <a:pt x="180" y="170"/>
                  <a:pt x="185" y="173"/>
                </a:cubicBezTo>
                <a:cubicBezTo>
                  <a:pt x="190" y="175"/>
                  <a:pt x="194" y="178"/>
                  <a:pt x="198" y="182"/>
                </a:cubicBezTo>
                <a:cubicBezTo>
                  <a:pt x="200" y="184"/>
                  <a:pt x="200" y="184"/>
                  <a:pt x="200" y="184"/>
                </a:cubicBezTo>
                <a:cubicBezTo>
                  <a:pt x="200" y="166"/>
                  <a:pt x="200" y="166"/>
                  <a:pt x="200" y="166"/>
                </a:cubicBezTo>
                <a:cubicBezTo>
                  <a:pt x="200" y="166"/>
                  <a:pt x="200" y="166"/>
                  <a:pt x="200" y="166"/>
                </a:cubicBezTo>
                <a:cubicBezTo>
                  <a:pt x="191" y="159"/>
                  <a:pt x="181" y="156"/>
                  <a:pt x="169" y="156"/>
                </a:cubicBezTo>
                <a:close/>
                <a:moveTo>
                  <a:pt x="437" y="209"/>
                </a:moveTo>
                <a:cubicBezTo>
                  <a:pt x="437" y="225"/>
                  <a:pt x="431" y="238"/>
                  <a:pt x="419" y="249"/>
                </a:cubicBezTo>
                <a:cubicBezTo>
                  <a:pt x="409" y="257"/>
                  <a:pt x="399" y="261"/>
                  <a:pt x="382" y="261"/>
                </a:cubicBezTo>
                <a:cubicBezTo>
                  <a:pt x="360" y="261"/>
                  <a:pt x="360" y="261"/>
                  <a:pt x="360" y="261"/>
                </a:cubicBezTo>
                <a:cubicBezTo>
                  <a:pt x="360" y="157"/>
                  <a:pt x="360" y="157"/>
                  <a:pt x="360" y="157"/>
                </a:cubicBezTo>
                <a:cubicBezTo>
                  <a:pt x="382" y="157"/>
                  <a:pt x="382" y="157"/>
                  <a:pt x="382" y="157"/>
                </a:cubicBezTo>
                <a:cubicBezTo>
                  <a:pt x="393" y="157"/>
                  <a:pt x="407" y="159"/>
                  <a:pt x="420" y="170"/>
                </a:cubicBezTo>
                <a:cubicBezTo>
                  <a:pt x="426" y="175"/>
                  <a:pt x="437" y="187"/>
                  <a:pt x="437" y="209"/>
                </a:cubicBezTo>
                <a:close/>
                <a:moveTo>
                  <a:pt x="423" y="209"/>
                </a:moveTo>
                <a:cubicBezTo>
                  <a:pt x="423" y="186"/>
                  <a:pt x="407" y="171"/>
                  <a:pt x="382" y="171"/>
                </a:cubicBezTo>
                <a:cubicBezTo>
                  <a:pt x="374" y="171"/>
                  <a:pt x="374" y="171"/>
                  <a:pt x="374" y="171"/>
                </a:cubicBezTo>
                <a:cubicBezTo>
                  <a:pt x="374" y="247"/>
                  <a:pt x="374" y="247"/>
                  <a:pt x="374" y="247"/>
                </a:cubicBezTo>
                <a:cubicBezTo>
                  <a:pt x="382" y="247"/>
                  <a:pt x="382" y="247"/>
                  <a:pt x="382" y="247"/>
                </a:cubicBezTo>
                <a:cubicBezTo>
                  <a:pt x="390" y="247"/>
                  <a:pt x="401" y="246"/>
                  <a:pt x="410" y="239"/>
                </a:cubicBezTo>
                <a:cubicBezTo>
                  <a:pt x="416" y="234"/>
                  <a:pt x="423" y="224"/>
                  <a:pt x="423" y="209"/>
                </a:cubicBezTo>
                <a:close/>
                <a:moveTo>
                  <a:pt x="479" y="261"/>
                </a:moveTo>
                <a:cubicBezTo>
                  <a:pt x="541" y="261"/>
                  <a:pt x="541" y="261"/>
                  <a:pt x="541" y="261"/>
                </a:cubicBezTo>
                <a:cubicBezTo>
                  <a:pt x="541" y="247"/>
                  <a:pt x="541" y="247"/>
                  <a:pt x="541" y="247"/>
                </a:cubicBezTo>
                <a:cubicBezTo>
                  <a:pt x="493" y="247"/>
                  <a:pt x="493" y="247"/>
                  <a:pt x="493" y="247"/>
                </a:cubicBezTo>
                <a:cubicBezTo>
                  <a:pt x="493" y="211"/>
                  <a:pt x="493" y="211"/>
                  <a:pt x="493" y="211"/>
                </a:cubicBezTo>
                <a:cubicBezTo>
                  <a:pt x="535" y="211"/>
                  <a:pt x="535" y="211"/>
                  <a:pt x="535" y="211"/>
                </a:cubicBezTo>
                <a:cubicBezTo>
                  <a:pt x="535" y="198"/>
                  <a:pt x="535" y="198"/>
                  <a:pt x="535" y="198"/>
                </a:cubicBezTo>
                <a:cubicBezTo>
                  <a:pt x="493" y="198"/>
                  <a:pt x="493" y="198"/>
                  <a:pt x="493" y="198"/>
                </a:cubicBezTo>
                <a:cubicBezTo>
                  <a:pt x="493" y="171"/>
                  <a:pt x="493" y="171"/>
                  <a:pt x="493" y="171"/>
                </a:cubicBezTo>
                <a:cubicBezTo>
                  <a:pt x="541" y="171"/>
                  <a:pt x="541" y="171"/>
                  <a:pt x="541" y="171"/>
                </a:cubicBezTo>
                <a:cubicBezTo>
                  <a:pt x="541" y="157"/>
                  <a:pt x="541" y="157"/>
                  <a:pt x="541" y="157"/>
                </a:cubicBezTo>
                <a:cubicBezTo>
                  <a:pt x="479" y="157"/>
                  <a:pt x="479" y="157"/>
                  <a:pt x="479" y="157"/>
                </a:cubicBezTo>
                <a:lnTo>
                  <a:pt x="479" y="261"/>
                </a:lnTo>
                <a:close/>
                <a:moveTo>
                  <a:pt x="805" y="261"/>
                </a:moveTo>
                <a:cubicBezTo>
                  <a:pt x="866" y="261"/>
                  <a:pt x="866" y="261"/>
                  <a:pt x="866" y="261"/>
                </a:cubicBezTo>
                <a:cubicBezTo>
                  <a:pt x="866" y="247"/>
                  <a:pt x="866" y="247"/>
                  <a:pt x="866" y="247"/>
                </a:cubicBezTo>
                <a:cubicBezTo>
                  <a:pt x="819" y="247"/>
                  <a:pt x="819" y="247"/>
                  <a:pt x="819" y="247"/>
                </a:cubicBezTo>
                <a:cubicBezTo>
                  <a:pt x="819" y="211"/>
                  <a:pt x="819" y="211"/>
                  <a:pt x="819" y="211"/>
                </a:cubicBezTo>
                <a:cubicBezTo>
                  <a:pt x="860" y="211"/>
                  <a:pt x="860" y="211"/>
                  <a:pt x="860" y="211"/>
                </a:cubicBezTo>
                <a:cubicBezTo>
                  <a:pt x="860" y="198"/>
                  <a:pt x="860" y="198"/>
                  <a:pt x="860" y="198"/>
                </a:cubicBezTo>
                <a:cubicBezTo>
                  <a:pt x="819" y="198"/>
                  <a:pt x="819" y="198"/>
                  <a:pt x="819" y="198"/>
                </a:cubicBezTo>
                <a:cubicBezTo>
                  <a:pt x="819" y="171"/>
                  <a:pt x="819" y="171"/>
                  <a:pt x="819" y="171"/>
                </a:cubicBezTo>
                <a:cubicBezTo>
                  <a:pt x="866" y="171"/>
                  <a:pt x="866" y="171"/>
                  <a:pt x="866" y="171"/>
                </a:cubicBezTo>
                <a:cubicBezTo>
                  <a:pt x="866" y="157"/>
                  <a:pt x="866" y="157"/>
                  <a:pt x="866" y="157"/>
                </a:cubicBezTo>
                <a:cubicBezTo>
                  <a:pt x="805" y="157"/>
                  <a:pt x="805" y="157"/>
                  <a:pt x="805" y="157"/>
                </a:cubicBezTo>
                <a:lnTo>
                  <a:pt x="805" y="261"/>
                </a:lnTo>
                <a:close/>
                <a:moveTo>
                  <a:pt x="634" y="235"/>
                </a:moveTo>
                <a:cubicBezTo>
                  <a:pt x="595" y="149"/>
                  <a:pt x="595" y="149"/>
                  <a:pt x="595" y="149"/>
                </a:cubicBezTo>
                <a:cubicBezTo>
                  <a:pt x="578" y="261"/>
                  <a:pt x="578" y="261"/>
                  <a:pt x="578" y="261"/>
                </a:cubicBezTo>
                <a:cubicBezTo>
                  <a:pt x="592" y="261"/>
                  <a:pt x="592" y="261"/>
                  <a:pt x="592" y="261"/>
                </a:cubicBezTo>
                <a:cubicBezTo>
                  <a:pt x="601" y="194"/>
                  <a:pt x="601" y="194"/>
                  <a:pt x="601" y="194"/>
                </a:cubicBezTo>
                <a:cubicBezTo>
                  <a:pt x="634" y="267"/>
                  <a:pt x="634" y="267"/>
                  <a:pt x="634" y="267"/>
                </a:cubicBezTo>
                <a:cubicBezTo>
                  <a:pt x="668" y="194"/>
                  <a:pt x="668" y="194"/>
                  <a:pt x="668" y="194"/>
                </a:cubicBezTo>
                <a:cubicBezTo>
                  <a:pt x="677" y="261"/>
                  <a:pt x="677" y="261"/>
                  <a:pt x="677" y="261"/>
                </a:cubicBezTo>
                <a:cubicBezTo>
                  <a:pt x="691" y="261"/>
                  <a:pt x="691" y="261"/>
                  <a:pt x="691" y="261"/>
                </a:cubicBezTo>
                <a:cubicBezTo>
                  <a:pt x="674" y="148"/>
                  <a:pt x="674" y="148"/>
                  <a:pt x="674" y="148"/>
                </a:cubicBezTo>
                <a:lnTo>
                  <a:pt x="634" y="235"/>
                </a:lnTo>
                <a:close/>
                <a:moveTo>
                  <a:pt x="737" y="261"/>
                </a:moveTo>
                <a:cubicBezTo>
                  <a:pt x="751" y="261"/>
                  <a:pt x="751" y="261"/>
                  <a:pt x="751" y="261"/>
                </a:cubicBezTo>
                <a:cubicBezTo>
                  <a:pt x="751" y="157"/>
                  <a:pt x="751" y="157"/>
                  <a:pt x="751" y="157"/>
                </a:cubicBezTo>
                <a:cubicBezTo>
                  <a:pt x="737" y="157"/>
                  <a:pt x="737" y="157"/>
                  <a:pt x="737" y="157"/>
                </a:cubicBezTo>
                <a:lnTo>
                  <a:pt x="737" y="261"/>
                </a:lnTo>
                <a:close/>
                <a:moveTo>
                  <a:pt x="955" y="211"/>
                </a:moveTo>
                <a:cubicBezTo>
                  <a:pt x="950" y="207"/>
                  <a:pt x="945" y="204"/>
                  <a:pt x="939" y="201"/>
                </a:cubicBezTo>
                <a:cubicBezTo>
                  <a:pt x="929" y="197"/>
                  <a:pt x="929" y="197"/>
                  <a:pt x="929" y="197"/>
                </a:cubicBezTo>
                <a:cubicBezTo>
                  <a:pt x="925" y="195"/>
                  <a:pt x="922" y="194"/>
                  <a:pt x="919" y="191"/>
                </a:cubicBezTo>
                <a:cubicBezTo>
                  <a:pt x="916" y="189"/>
                  <a:pt x="916" y="187"/>
                  <a:pt x="916" y="183"/>
                </a:cubicBezTo>
                <a:cubicBezTo>
                  <a:pt x="916" y="175"/>
                  <a:pt x="922" y="169"/>
                  <a:pt x="931" y="169"/>
                </a:cubicBezTo>
                <a:cubicBezTo>
                  <a:pt x="936" y="169"/>
                  <a:pt x="940" y="171"/>
                  <a:pt x="942" y="172"/>
                </a:cubicBezTo>
                <a:cubicBezTo>
                  <a:pt x="944" y="174"/>
                  <a:pt x="946" y="177"/>
                  <a:pt x="947" y="179"/>
                </a:cubicBezTo>
                <a:cubicBezTo>
                  <a:pt x="948" y="181"/>
                  <a:pt x="948" y="181"/>
                  <a:pt x="948" y="181"/>
                </a:cubicBezTo>
                <a:cubicBezTo>
                  <a:pt x="959" y="173"/>
                  <a:pt x="959" y="173"/>
                  <a:pt x="959" y="173"/>
                </a:cubicBezTo>
                <a:cubicBezTo>
                  <a:pt x="958" y="172"/>
                  <a:pt x="958" y="172"/>
                  <a:pt x="958" y="172"/>
                </a:cubicBezTo>
                <a:cubicBezTo>
                  <a:pt x="956" y="167"/>
                  <a:pt x="952" y="163"/>
                  <a:pt x="948" y="161"/>
                </a:cubicBezTo>
                <a:cubicBezTo>
                  <a:pt x="943" y="157"/>
                  <a:pt x="938" y="156"/>
                  <a:pt x="931" y="156"/>
                </a:cubicBezTo>
                <a:cubicBezTo>
                  <a:pt x="914" y="156"/>
                  <a:pt x="902" y="167"/>
                  <a:pt x="902" y="183"/>
                </a:cubicBezTo>
                <a:cubicBezTo>
                  <a:pt x="902" y="190"/>
                  <a:pt x="904" y="195"/>
                  <a:pt x="909" y="200"/>
                </a:cubicBezTo>
                <a:cubicBezTo>
                  <a:pt x="913" y="205"/>
                  <a:pt x="918" y="207"/>
                  <a:pt x="922" y="209"/>
                </a:cubicBezTo>
                <a:cubicBezTo>
                  <a:pt x="932" y="213"/>
                  <a:pt x="932" y="213"/>
                  <a:pt x="932" y="213"/>
                </a:cubicBezTo>
                <a:cubicBezTo>
                  <a:pt x="937" y="215"/>
                  <a:pt x="941" y="217"/>
                  <a:pt x="944" y="220"/>
                </a:cubicBezTo>
                <a:cubicBezTo>
                  <a:pt x="947" y="223"/>
                  <a:pt x="948" y="226"/>
                  <a:pt x="948" y="231"/>
                </a:cubicBezTo>
                <a:cubicBezTo>
                  <a:pt x="948" y="240"/>
                  <a:pt x="942" y="249"/>
                  <a:pt x="929" y="249"/>
                </a:cubicBezTo>
                <a:cubicBezTo>
                  <a:pt x="924" y="249"/>
                  <a:pt x="919" y="247"/>
                  <a:pt x="916" y="244"/>
                </a:cubicBezTo>
                <a:cubicBezTo>
                  <a:pt x="913" y="241"/>
                  <a:pt x="911" y="236"/>
                  <a:pt x="910" y="232"/>
                </a:cubicBezTo>
                <a:cubicBezTo>
                  <a:pt x="910" y="230"/>
                  <a:pt x="910" y="230"/>
                  <a:pt x="910" y="230"/>
                </a:cubicBezTo>
                <a:cubicBezTo>
                  <a:pt x="896" y="234"/>
                  <a:pt x="896" y="234"/>
                  <a:pt x="896" y="234"/>
                </a:cubicBezTo>
                <a:cubicBezTo>
                  <a:pt x="897" y="235"/>
                  <a:pt x="897" y="235"/>
                  <a:pt x="897" y="235"/>
                </a:cubicBezTo>
                <a:cubicBezTo>
                  <a:pt x="898" y="243"/>
                  <a:pt x="902" y="249"/>
                  <a:pt x="906" y="254"/>
                </a:cubicBezTo>
                <a:cubicBezTo>
                  <a:pt x="912" y="260"/>
                  <a:pt x="920" y="262"/>
                  <a:pt x="929" y="262"/>
                </a:cubicBezTo>
                <a:cubicBezTo>
                  <a:pt x="948" y="262"/>
                  <a:pt x="962" y="249"/>
                  <a:pt x="962" y="230"/>
                </a:cubicBezTo>
                <a:cubicBezTo>
                  <a:pt x="962" y="222"/>
                  <a:pt x="960" y="216"/>
                  <a:pt x="955" y="211"/>
                </a:cubicBezTo>
                <a:close/>
                <a:moveTo>
                  <a:pt x="0" y="261"/>
                </a:moveTo>
                <a:cubicBezTo>
                  <a:pt x="15" y="261"/>
                  <a:pt x="15" y="261"/>
                  <a:pt x="15" y="261"/>
                </a:cubicBezTo>
                <a:cubicBezTo>
                  <a:pt x="48" y="184"/>
                  <a:pt x="48" y="184"/>
                  <a:pt x="48" y="184"/>
                </a:cubicBezTo>
                <a:cubicBezTo>
                  <a:pt x="79" y="260"/>
                  <a:pt x="79" y="260"/>
                  <a:pt x="79" y="260"/>
                </a:cubicBezTo>
                <a:cubicBezTo>
                  <a:pt x="80" y="261"/>
                  <a:pt x="80" y="261"/>
                  <a:pt x="80" y="261"/>
                </a:cubicBezTo>
                <a:cubicBezTo>
                  <a:pt x="95" y="261"/>
                  <a:pt x="95" y="261"/>
                  <a:pt x="95" y="261"/>
                </a:cubicBezTo>
                <a:cubicBezTo>
                  <a:pt x="48" y="151"/>
                  <a:pt x="48" y="151"/>
                  <a:pt x="48" y="151"/>
                </a:cubicBezTo>
                <a:lnTo>
                  <a:pt x="0" y="261"/>
                </a:lnTo>
                <a:close/>
                <a:moveTo>
                  <a:pt x="229" y="261"/>
                </a:moveTo>
                <a:cubicBezTo>
                  <a:pt x="244" y="261"/>
                  <a:pt x="244" y="261"/>
                  <a:pt x="244" y="261"/>
                </a:cubicBezTo>
                <a:cubicBezTo>
                  <a:pt x="277" y="184"/>
                  <a:pt x="277" y="184"/>
                  <a:pt x="277" y="184"/>
                </a:cubicBezTo>
                <a:cubicBezTo>
                  <a:pt x="309" y="260"/>
                  <a:pt x="309" y="260"/>
                  <a:pt x="309" y="260"/>
                </a:cubicBezTo>
                <a:cubicBezTo>
                  <a:pt x="309" y="261"/>
                  <a:pt x="309" y="261"/>
                  <a:pt x="309" y="261"/>
                </a:cubicBezTo>
                <a:cubicBezTo>
                  <a:pt x="324" y="261"/>
                  <a:pt x="324" y="261"/>
                  <a:pt x="324" y="261"/>
                </a:cubicBezTo>
                <a:cubicBezTo>
                  <a:pt x="277" y="151"/>
                  <a:pt x="277" y="151"/>
                  <a:pt x="277" y="151"/>
                </a:cubicBezTo>
                <a:lnTo>
                  <a:pt x="229" y="261"/>
                </a:lnTo>
                <a:close/>
                <a:moveTo>
                  <a:pt x="1071" y="11"/>
                </a:moveTo>
                <a:cubicBezTo>
                  <a:pt x="1071" y="18"/>
                  <a:pt x="1071" y="18"/>
                  <a:pt x="1071" y="18"/>
                </a:cubicBezTo>
                <a:cubicBezTo>
                  <a:pt x="1075" y="18"/>
                  <a:pt x="1075" y="18"/>
                  <a:pt x="1075" y="18"/>
                </a:cubicBezTo>
                <a:cubicBezTo>
                  <a:pt x="1077" y="9"/>
                  <a:pt x="1077" y="9"/>
                  <a:pt x="1077" y="9"/>
                </a:cubicBezTo>
                <a:cubicBezTo>
                  <a:pt x="1076" y="8"/>
                  <a:pt x="1074" y="7"/>
                  <a:pt x="1072" y="6"/>
                </a:cubicBezTo>
                <a:cubicBezTo>
                  <a:pt x="1070" y="6"/>
                  <a:pt x="1067" y="6"/>
                  <a:pt x="1064" y="6"/>
                </a:cubicBezTo>
                <a:cubicBezTo>
                  <a:pt x="1061" y="6"/>
                  <a:pt x="1058" y="6"/>
                  <a:pt x="1056" y="7"/>
                </a:cubicBezTo>
                <a:cubicBezTo>
                  <a:pt x="1053" y="9"/>
                  <a:pt x="1051" y="10"/>
                  <a:pt x="1049" y="12"/>
                </a:cubicBezTo>
                <a:cubicBezTo>
                  <a:pt x="1048" y="14"/>
                  <a:pt x="1047" y="17"/>
                  <a:pt x="1047" y="20"/>
                </a:cubicBezTo>
                <a:cubicBezTo>
                  <a:pt x="1047" y="22"/>
                  <a:pt x="1048" y="24"/>
                  <a:pt x="1049" y="26"/>
                </a:cubicBezTo>
                <a:cubicBezTo>
                  <a:pt x="1050" y="28"/>
                  <a:pt x="1051" y="30"/>
                  <a:pt x="1053" y="31"/>
                </a:cubicBezTo>
                <a:cubicBezTo>
                  <a:pt x="1055" y="32"/>
                  <a:pt x="1057" y="34"/>
                  <a:pt x="1059" y="35"/>
                </a:cubicBezTo>
                <a:cubicBezTo>
                  <a:pt x="1062" y="37"/>
                  <a:pt x="1064" y="39"/>
                  <a:pt x="1066" y="40"/>
                </a:cubicBezTo>
                <a:cubicBezTo>
                  <a:pt x="1067" y="42"/>
                  <a:pt x="1068" y="44"/>
                  <a:pt x="1068" y="47"/>
                </a:cubicBezTo>
                <a:cubicBezTo>
                  <a:pt x="1068" y="49"/>
                  <a:pt x="1067" y="52"/>
                  <a:pt x="1065" y="53"/>
                </a:cubicBezTo>
                <a:cubicBezTo>
                  <a:pt x="1062" y="55"/>
                  <a:pt x="1060" y="56"/>
                  <a:pt x="1057" y="56"/>
                </a:cubicBezTo>
                <a:cubicBezTo>
                  <a:pt x="1055" y="56"/>
                  <a:pt x="1053" y="56"/>
                  <a:pt x="1052" y="55"/>
                </a:cubicBezTo>
                <a:cubicBezTo>
                  <a:pt x="1050" y="55"/>
                  <a:pt x="1049" y="54"/>
                  <a:pt x="1048" y="54"/>
                </a:cubicBezTo>
                <a:cubicBezTo>
                  <a:pt x="1048" y="46"/>
                  <a:pt x="1048" y="46"/>
                  <a:pt x="1048" y="46"/>
                </a:cubicBezTo>
                <a:cubicBezTo>
                  <a:pt x="1044" y="46"/>
                  <a:pt x="1044" y="46"/>
                  <a:pt x="1044" y="46"/>
                </a:cubicBezTo>
                <a:cubicBezTo>
                  <a:pt x="1042" y="56"/>
                  <a:pt x="1042" y="56"/>
                  <a:pt x="1042" y="56"/>
                </a:cubicBezTo>
                <a:cubicBezTo>
                  <a:pt x="1043" y="57"/>
                  <a:pt x="1045" y="58"/>
                  <a:pt x="1048" y="58"/>
                </a:cubicBezTo>
                <a:cubicBezTo>
                  <a:pt x="1051" y="59"/>
                  <a:pt x="1054" y="59"/>
                  <a:pt x="1057" y="59"/>
                </a:cubicBezTo>
                <a:cubicBezTo>
                  <a:pt x="1060" y="59"/>
                  <a:pt x="1063" y="59"/>
                  <a:pt x="1066" y="57"/>
                </a:cubicBezTo>
                <a:cubicBezTo>
                  <a:pt x="1069" y="56"/>
                  <a:pt x="1071" y="54"/>
                  <a:pt x="1073" y="52"/>
                </a:cubicBezTo>
                <a:cubicBezTo>
                  <a:pt x="1074" y="50"/>
                  <a:pt x="1075" y="47"/>
                  <a:pt x="1075" y="44"/>
                </a:cubicBezTo>
                <a:cubicBezTo>
                  <a:pt x="1075" y="42"/>
                  <a:pt x="1074" y="40"/>
                  <a:pt x="1073" y="38"/>
                </a:cubicBezTo>
                <a:cubicBezTo>
                  <a:pt x="1072" y="36"/>
                  <a:pt x="1071" y="35"/>
                  <a:pt x="1069" y="34"/>
                </a:cubicBezTo>
                <a:cubicBezTo>
                  <a:pt x="1068" y="32"/>
                  <a:pt x="1066" y="31"/>
                  <a:pt x="1064" y="29"/>
                </a:cubicBezTo>
                <a:cubicBezTo>
                  <a:pt x="1060" y="27"/>
                  <a:pt x="1058" y="25"/>
                  <a:pt x="1056" y="24"/>
                </a:cubicBezTo>
                <a:cubicBezTo>
                  <a:pt x="1055" y="22"/>
                  <a:pt x="1054" y="20"/>
                  <a:pt x="1054" y="17"/>
                </a:cubicBezTo>
                <a:cubicBezTo>
                  <a:pt x="1054" y="15"/>
                  <a:pt x="1055" y="13"/>
                  <a:pt x="1057" y="11"/>
                </a:cubicBezTo>
                <a:cubicBezTo>
                  <a:pt x="1059" y="10"/>
                  <a:pt x="1061" y="9"/>
                  <a:pt x="1064" y="9"/>
                </a:cubicBezTo>
                <a:cubicBezTo>
                  <a:pt x="1065" y="9"/>
                  <a:pt x="1067" y="9"/>
                  <a:pt x="1068" y="10"/>
                </a:cubicBezTo>
                <a:cubicBezTo>
                  <a:pt x="1069" y="10"/>
                  <a:pt x="1070" y="10"/>
                  <a:pt x="1071" y="11"/>
                </a:cubicBezTo>
                <a:close/>
                <a:moveTo>
                  <a:pt x="1107" y="27"/>
                </a:moveTo>
                <a:cubicBezTo>
                  <a:pt x="1108" y="27"/>
                  <a:pt x="1108" y="27"/>
                  <a:pt x="1108" y="27"/>
                </a:cubicBezTo>
                <a:cubicBezTo>
                  <a:pt x="1110" y="20"/>
                  <a:pt x="1110" y="20"/>
                  <a:pt x="1110" y="20"/>
                </a:cubicBezTo>
                <a:cubicBezTo>
                  <a:pt x="1109" y="20"/>
                  <a:pt x="1108" y="19"/>
                  <a:pt x="1107" y="19"/>
                </a:cubicBezTo>
                <a:cubicBezTo>
                  <a:pt x="1105" y="19"/>
                  <a:pt x="1104" y="19"/>
                  <a:pt x="1102" y="19"/>
                </a:cubicBezTo>
                <a:cubicBezTo>
                  <a:pt x="1098" y="19"/>
                  <a:pt x="1094" y="20"/>
                  <a:pt x="1091" y="22"/>
                </a:cubicBezTo>
                <a:cubicBezTo>
                  <a:pt x="1088" y="25"/>
                  <a:pt x="1086" y="28"/>
                  <a:pt x="1084" y="32"/>
                </a:cubicBezTo>
                <a:cubicBezTo>
                  <a:pt x="1083" y="36"/>
                  <a:pt x="1082" y="40"/>
                  <a:pt x="1082" y="43"/>
                </a:cubicBezTo>
                <a:cubicBezTo>
                  <a:pt x="1082" y="48"/>
                  <a:pt x="1083" y="52"/>
                  <a:pt x="1085" y="55"/>
                </a:cubicBezTo>
                <a:cubicBezTo>
                  <a:pt x="1087" y="58"/>
                  <a:pt x="1091" y="59"/>
                  <a:pt x="1094" y="59"/>
                </a:cubicBezTo>
                <a:cubicBezTo>
                  <a:pt x="1098" y="59"/>
                  <a:pt x="1100" y="59"/>
                  <a:pt x="1102" y="57"/>
                </a:cubicBezTo>
                <a:cubicBezTo>
                  <a:pt x="1105" y="56"/>
                  <a:pt x="1106" y="54"/>
                  <a:pt x="1108" y="53"/>
                </a:cubicBezTo>
                <a:cubicBezTo>
                  <a:pt x="1106" y="50"/>
                  <a:pt x="1106" y="50"/>
                  <a:pt x="1106" y="50"/>
                </a:cubicBezTo>
                <a:cubicBezTo>
                  <a:pt x="1105" y="52"/>
                  <a:pt x="1103" y="53"/>
                  <a:pt x="1102" y="54"/>
                </a:cubicBezTo>
                <a:cubicBezTo>
                  <a:pt x="1100" y="54"/>
                  <a:pt x="1099" y="55"/>
                  <a:pt x="1097" y="55"/>
                </a:cubicBezTo>
                <a:cubicBezTo>
                  <a:pt x="1094" y="55"/>
                  <a:pt x="1092" y="54"/>
                  <a:pt x="1091" y="52"/>
                </a:cubicBezTo>
                <a:cubicBezTo>
                  <a:pt x="1090" y="50"/>
                  <a:pt x="1089" y="47"/>
                  <a:pt x="1089" y="43"/>
                </a:cubicBezTo>
                <a:cubicBezTo>
                  <a:pt x="1089" y="39"/>
                  <a:pt x="1090" y="35"/>
                  <a:pt x="1091" y="32"/>
                </a:cubicBezTo>
                <a:cubicBezTo>
                  <a:pt x="1092" y="30"/>
                  <a:pt x="1093" y="27"/>
                  <a:pt x="1095" y="26"/>
                </a:cubicBezTo>
                <a:cubicBezTo>
                  <a:pt x="1097" y="24"/>
                  <a:pt x="1099" y="23"/>
                  <a:pt x="1101" y="23"/>
                </a:cubicBezTo>
                <a:cubicBezTo>
                  <a:pt x="1102" y="23"/>
                  <a:pt x="1105" y="24"/>
                  <a:pt x="1107" y="27"/>
                </a:cubicBezTo>
                <a:close/>
                <a:moveTo>
                  <a:pt x="1124" y="52"/>
                </a:moveTo>
                <a:cubicBezTo>
                  <a:pt x="1129" y="19"/>
                  <a:pt x="1129" y="19"/>
                  <a:pt x="1129" y="19"/>
                </a:cubicBezTo>
                <a:cubicBezTo>
                  <a:pt x="1128" y="19"/>
                  <a:pt x="1128" y="19"/>
                  <a:pt x="1128" y="19"/>
                </a:cubicBezTo>
                <a:cubicBezTo>
                  <a:pt x="1118" y="20"/>
                  <a:pt x="1118" y="20"/>
                  <a:pt x="1118" y="20"/>
                </a:cubicBezTo>
                <a:cubicBezTo>
                  <a:pt x="1117" y="23"/>
                  <a:pt x="1117" y="23"/>
                  <a:pt x="1117" y="23"/>
                </a:cubicBezTo>
                <a:cubicBezTo>
                  <a:pt x="1122" y="24"/>
                  <a:pt x="1122" y="24"/>
                  <a:pt x="1122" y="24"/>
                </a:cubicBezTo>
                <a:cubicBezTo>
                  <a:pt x="1121" y="31"/>
                  <a:pt x="1120" y="37"/>
                  <a:pt x="1119" y="41"/>
                </a:cubicBezTo>
                <a:cubicBezTo>
                  <a:pt x="1118" y="49"/>
                  <a:pt x="1117" y="54"/>
                  <a:pt x="1117" y="55"/>
                </a:cubicBezTo>
                <a:cubicBezTo>
                  <a:pt x="1117" y="56"/>
                  <a:pt x="1118" y="57"/>
                  <a:pt x="1118" y="58"/>
                </a:cubicBezTo>
                <a:cubicBezTo>
                  <a:pt x="1119" y="59"/>
                  <a:pt x="1120" y="59"/>
                  <a:pt x="1122" y="59"/>
                </a:cubicBezTo>
                <a:cubicBezTo>
                  <a:pt x="1124" y="59"/>
                  <a:pt x="1125" y="59"/>
                  <a:pt x="1127" y="58"/>
                </a:cubicBezTo>
                <a:cubicBezTo>
                  <a:pt x="1128" y="57"/>
                  <a:pt x="1129" y="55"/>
                  <a:pt x="1130" y="54"/>
                </a:cubicBezTo>
                <a:cubicBezTo>
                  <a:pt x="1129" y="53"/>
                  <a:pt x="1129" y="53"/>
                  <a:pt x="1129" y="53"/>
                </a:cubicBezTo>
                <a:cubicBezTo>
                  <a:pt x="1128" y="54"/>
                  <a:pt x="1128" y="54"/>
                  <a:pt x="1127" y="54"/>
                </a:cubicBezTo>
                <a:cubicBezTo>
                  <a:pt x="1126" y="55"/>
                  <a:pt x="1126" y="55"/>
                  <a:pt x="1125" y="55"/>
                </a:cubicBezTo>
                <a:cubicBezTo>
                  <a:pt x="1125" y="55"/>
                  <a:pt x="1125" y="55"/>
                  <a:pt x="1125" y="54"/>
                </a:cubicBezTo>
                <a:cubicBezTo>
                  <a:pt x="1124" y="54"/>
                  <a:pt x="1124" y="54"/>
                  <a:pt x="1124" y="53"/>
                </a:cubicBezTo>
                <a:lnTo>
                  <a:pt x="1124" y="52"/>
                </a:lnTo>
                <a:close/>
                <a:moveTo>
                  <a:pt x="1127" y="11"/>
                </a:moveTo>
                <a:cubicBezTo>
                  <a:pt x="1128" y="11"/>
                  <a:pt x="1129" y="11"/>
                  <a:pt x="1130" y="10"/>
                </a:cubicBezTo>
                <a:cubicBezTo>
                  <a:pt x="1131" y="9"/>
                  <a:pt x="1131" y="7"/>
                  <a:pt x="1131" y="6"/>
                </a:cubicBezTo>
                <a:cubicBezTo>
                  <a:pt x="1131" y="5"/>
                  <a:pt x="1131" y="4"/>
                  <a:pt x="1130" y="3"/>
                </a:cubicBezTo>
                <a:cubicBezTo>
                  <a:pt x="1130" y="3"/>
                  <a:pt x="1129" y="2"/>
                  <a:pt x="1128" y="2"/>
                </a:cubicBezTo>
                <a:cubicBezTo>
                  <a:pt x="1126" y="2"/>
                  <a:pt x="1125" y="3"/>
                  <a:pt x="1124" y="4"/>
                </a:cubicBezTo>
                <a:cubicBezTo>
                  <a:pt x="1123" y="5"/>
                  <a:pt x="1123" y="6"/>
                  <a:pt x="1123" y="7"/>
                </a:cubicBezTo>
                <a:cubicBezTo>
                  <a:pt x="1123" y="8"/>
                  <a:pt x="1123" y="9"/>
                  <a:pt x="1124" y="10"/>
                </a:cubicBezTo>
                <a:cubicBezTo>
                  <a:pt x="1125" y="11"/>
                  <a:pt x="1126" y="11"/>
                  <a:pt x="1127" y="11"/>
                </a:cubicBezTo>
                <a:close/>
                <a:moveTo>
                  <a:pt x="1166" y="52"/>
                </a:moveTo>
                <a:cubicBezTo>
                  <a:pt x="1165" y="49"/>
                  <a:pt x="1165" y="49"/>
                  <a:pt x="1165" y="49"/>
                </a:cubicBezTo>
                <a:cubicBezTo>
                  <a:pt x="1163" y="51"/>
                  <a:pt x="1161" y="52"/>
                  <a:pt x="1159" y="53"/>
                </a:cubicBezTo>
                <a:cubicBezTo>
                  <a:pt x="1157" y="54"/>
                  <a:pt x="1155" y="55"/>
                  <a:pt x="1153" y="55"/>
                </a:cubicBezTo>
                <a:cubicBezTo>
                  <a:pt x="1150" y="55"/>
                  <a:pt x="1148" y="54"/>
                  <a:pt x="1147" y="51"/>
                </a:cubicBezTo>
                <a:cubicBezTo>
                  <a:pt x="1145" y="49"/>
                  <a:pt x="1145" y="46"/>
                  <a:pt x="1145" y="43"/>
                </a:cubicBezTo>
                <a:cubicBezTo>
                  <a:pt x="1148" y="43"/>
                  <a:pt x="1151" y="42"/>
                  <a:pt x="1155" y="41"/>
                </a:cubicBezTo>
                <a:cubicBezTo>
                  <a:pt x="1158" y="40"/>
                  <a:pt x="1162" y="38"/>
                  <a:pt x="1164" y="36"/>
                </a:cubicBezTo>
                <a:cubicBezTo>
                  <a:pt x="1167" y="33"/>
                  <a:pt x="1168" y="31"/>
                  <a:pt x="1168" y="27"/>
                </a:cubicBezTo>
                <a:cubicBezTo>
                  <a:pt x="1168" y="25"/>
                  <a:pt x="1167" y="23"/>
                  <a:pt x="1166" y="21"/>
                </a:cubicBezTo>
                <a:cubicBezTo>
                  <a:pt x="1164" y="19"/>
                  <a:pt x="1162" y="19"/>
                  <a:pt x="1158" y="19"/>
                </a:cubicBezTo>
                <a:cubicBezTo>
                  <a:pt x="1154" y="19"/>
                  <a:pt x="1151" y="20"/>
                  <a:pt x="1148" y="22"/>
                </a:cubicBezTo>
                <a:cubicBezTo>
                  <a:pt x="1145" y="24"/>
                  <a:pt x="1142" y="28"/>
                  <a:pt x="1140" y="31"/>
                </a:cubicBezTo>
                <a:cubicBezTo>
                  <a:pt x="1138" y="35"/>
                  <a:pt x="1138" y="40"/>
                  <a:pt x="1138" y="44"/>
                </a:cubicBezTo>
                <a:cubicBezTo>
                  <a:pt x="1138" y="47"/>
                  <a:pt x="1138" y="49"/>
                  <a:pt x="1139" y="52"/>
                </a:cubicBezTo>
                <a:cubicBezTo>
                  <a:pt x="1140" y="54"/>
                  <a:pt x="1142" y="56"/>
                  <a:pt x="1144" y="57"/>
                </a:cubicBezTo>
                <a:cubicBezTo>
                  <a:pt x="1146" y="59"/>
                  <a:pt x="1148" y="59"/>
                  <a:pt x="1151" y="59"/>
                </a:cubicBezTo>
                <a:cubicBezTo>
                  <a:pt x="1155" y="59"/>
                  <a:pt x="1158" y="58"/>
                  <a:pt x="1160" y="57"/>
                </a:cubicBezTo>
                <a:cubicBezTo>
                  <a:pt x="1163" y="55"/>
                  <a:pt x="1165" y="54"/>
                  <a:pt x="1166" y="52"/>
                </a:cubicBezTo>
                <a:close/>
                <a:moveTo>
                  <a:pt x="1157" y="22"/>
                </a:moveTo>
                <a:cubicBezTo>
                  <a:pt x="1158" y="22"/>
                  <a:pt x="1159" y="23"/>
                  <a:pt x="1160" y="24"/>
                </a:cubicBezTo>
                <a:cubicBezTo>
                  <a:pt x="1161" y="25"/>
                  <a:pt x="1161" y="26"/>
                  <a:pt x="1161" y="28"/>
                </a:cubicBezTo>
                <a:cubicBezTo>
                  <a:pt x="1161" y="30"/>
                  <a:pt x="1161" y="32"/>
                  <a:pt x="1159" y="34"/>
                </a:cubicBezTo>
                <a:cubicBezTo>
                  <a:pt x="1157" y="35"/>
                  <a:pt x="1155" y="37"/>
                  <a:pt x="1152" y="38"/>
                </a:cubicBezTo>
                <a:cubicBezTo>
                  <a:pt x="1150" y="39"/>
                  <a:pt x="1147" y="39"/>
                  <a:pt x="1145" y="39"/>
                </a:cubicBezTo>
                <a:cubicBezTo>
                  <a:pt x="1145" y="37"/>
                  <a:pt x="1146" y="34"/>
                  <a:pt x="1147" y="32"/>
                </a:cubicBezTo>
                <a:cubicBezTo>
                  <a:pt x="1148" y="29"/>
                  <a:pt x="1149" y="27"/>
                  <a:pt x="1151" y="25"/>
                </a:cubicBezTo>
                <a:cubicBezTo>
                  <a:pt x="1152" y="23"/>
                  <a:pt x="1154" y="22"/>
                  <a:pt x="1157" y="22"/>
                </a:cubicBezTo>
                <a:close/>
                <a:moveTo>
                  <a:pt x="1187" y="28"/>
                </a:moveTo>
                <a:cubicBezTo>
                  <a:pt x="1188" y="19"/>
                  <a:pt x="1188" y="19"/>
                  <a:pt x="1188" y="19"/>
                </a:cubicBezTo>
                <a:cubicBezTo>
                  <a:pt x="1186" y="19"/>
                  <a:pt x="1186" y="19"/>
                  <a:pt x="1186" y="19"/>
                </a:cubicBezTo>
                <a:cubicBezTo>
                  <a:pt x="1178" y="20"/>
                  <a:pt x="1178" y="20"/>
                  <a:pt x="1178" y="20"/>
                </a:cubicBezTo>
                <a:cubicBezTo>
                  <a:pt x="1177" y="23"/>
                  <a:pt x="1177" y="23"/>
                  <a:pt x="1177" y="23"/>
                </a:cubicBezTo>
                <a:cubicBezTo>
                  <a:pt x="1180" y="25"/>
                  <a:pt x="1180" y="25"/>
                  <a:pt x="1180" y="25"/>
                </a:cubicBezTo>
                <a:cubicBezTo>
                  <a:pt x="1176" y="58"/>
                  <a:pt x="1176" y="58"/>
                  <a:pt x="1176" y="58"/>
                </a:cubicBezTo>
                <a:cubicBezTo>
                  <a:pt x="1183" y="58"/>
                  <a:pt x="1183" y="58"/>
                  <a:pt x="1183" y="58"/>
                </a:cubicBezTo>
                <a:cubicBezTo>
                  <a:pt x="1186" y="33"/>
                  <a:pt x="1186" y="33"/>
                  <a:pt x="1186" y="33"/>
                </a:cubicBezTo>
                <a:cubicBezTo>
                  <a:pt x="1188" y="31"/>
                  <a:pt x="1190" y="28"/>
                  <a:pt x="1192" y="26"/>
                </a:cubicBezTo>
                <a:cubicBezTo>
                  <a:pt x="1194" y="25"/>
                  <a:pt x="1196" y="24"/>
                  <a:pt x="1198" y="24"/>
                </a:cubicBezTo>
                <a:cubicBezTo>
                  <a:pt x="1200" y="24"/>
                  <a:pt x="1201" y="24"/>
                  <a:pt x="1202" y="25"/>
                </a:cubicBezTo>
                <a:cubicBezTo>
                  <a:pt x="1202" y="26"/>
                  <a:pt x="1203" y="27"/>
                  <a:pt x="1203" y="29"/>
                </a:cubicBezTo>
                <a:cubicBezTo>
                  <a:pt x="1203" y="31"/>
                  <a:pt x="1202" y="33"/>
                  <a:pt x="1202" y="35"/>
                </a:cubicBezTo>
                <a:cubicBezTo>
                  <a:pt x="1202" y="37"/>
                  <a:pt x="1201" y="39"/>
                  <a:pt x="1201" y="41"/>
                </a:cubicBezTo>
                <a:cubicBezTo>
                  <a:pt x="1201" y="43"/>
                  <a:pt x="1201" y="43"/>
                  <a:pt x="1201" y="43"/>
                </a:cubicBezTo>
                <a:cubicBezTo>
                  <a:pt x="1200" y="46"/>
                  <a:pt x="1200" y="46"/>
                  <a:pt x="1200" y="46"/>
                </a:cubicBezTo>
                <a:cubicBezTo>
                  <a:pt x="1199" y="51"/>
                  <a:pt x="1199" y="54"/>
                  <a:pt x="1199" y="55"/>
                </a:cubicBezTo>
                <a:cubicBezTo>
                  <a:pt x="1199" y="58"/>
                  <a:pt x="1200" y="59"/>
                  <a:pt x="1203" y="59"/>
                </a:cubicBezTo>
                <a:cubicBezTo>
                  <a:pt x="1205" y="59"/>
                  <a:pt x="1206" y="59"/>
                  <a:pt x="1207" y="58"/>
                </a:cubicBezTo>
                <a:cubicBezTo>
                  <a:pt x="1208" y="58"/>
                  <a:pt x="1209" y="57"/>
                  <a:pt x="1210" y="57"/>
                </a:cubicBezTo>
                <a:cubicBezTo>
                  <a:pt x="1210" y="56"/>
                  <a:pt x="1211" y="55"/>
                  <a:pt x="1211" y="55"/>
                </a:cubicBezTo>
                <a:cubicBezTo>
                  <a:pt x="1210" y="53"/>
                  <a:pt x="1210" y="53"/>
                  <a:pt x="1210" y="53"/>
                </a:cubicBezTo>
                <a:cubicBezTo>
                  <a:pt x="1209" y="54"/>
                  <a:pt x="1208" y="55"/>
                  <a:pt x="1207" y="55"/>
                </a:cubicBezTo>
                <a:cubicBezTo>
                  <a:pt x="1206" y="55"/>
                  <a:pt x="1206" y="54"/>
                  <a:pt x="1206" y="53"/>
                </a:cubicBezTo>
                <a:cubicBezTo>
                  <a:pt x="1206" y="51"/>
                  <a:pt x="1206" y="48"/>
                  <a:pt x="1207" y="45"/>
                </a:cubicBezTo>
                <a:cubicBezTo>
                  <a:pt x="1208" y="41"/>
                  <a:pt x="1208" y="41"/>
                  <a:pt x="1208" y="41"/>
                </a:cubicBezTo>
                <a:cubicBezTo>
                  <a:pt x="1208" y="40"/>
                  <a:pt x="1208" y="40"/>
                  <a:pt x="1208" y="40"/>
                </a:cubicBezTo>
                <a:cubicBezTo>
                  <a:pt x="1209" y="34"/>
                  <a:pt x="1210" y="31"/>
                  <a:pt x="1210" y="29"/>
                </a:cubicBezTo>
                <a:cubicBezTo>
                  <a:pt x="1210" y="25"/>
                  <a:pt x="1209" y="23"/>
                  <a:pt x="1207" y="21"/>
                </a:cubicBezTo>
                <a:cubicBezTo>
                  <a:pt x="1206" y="19"/>
                  <a:pt x="1204" y="19"/>
                  <a:pt x="1201" y="19"/>
                </a:cubicBezTo>
                <a:cubicBezTo>
                  <a:pt x="1199" y="19"/>
                  <a:pt x="1196" y="19"/>
                  <a:pt x="1193" y="21"/>
                </a:cubicBezTo>
                <a:cubicBezTo>
                  <a:pt x="1191" y="23"/>
                  <a:pt x="1189" y="25"/>
                  <a:pt x="1187" y="28"/>
                </a:cubicBezTo>
                <a:close/>
                <a:moveTo>
                  <a:pt x="1243" y="27"/>
                </a:moveTo>
                <a:cubicBezTo>
                  <a:pt x="1245" y="27"/>
                  <a:pt x="1245" y="27"/>
                  <a:pt x="1245" y="27"/>
                </a:cubicBezTo>
                <a:cubicBezTo>
                  <a:pt x="1247" y="20"/>
                  <a:pt x="1247" y="20"/>
                  <a:pt x="1247" y="20"/>
                </a:cubicBezTo>
                <a:cubicBezTo>
                  <a:pt x="1246" y="20"/>
                  <a:pt x="1244" y="19"/>
                  <a:pt x="1243" y="19"/>
                </a:cubicBezTo>
                <a:cubicBezTo>
                  <a:pt x="1241" y="19"/>
                  <a:pt x="1240" y="19"/>
                  <a:pt x="1239" y="19"/>
                </a:cubicBezTo>
                <a:cubicBezTo>
                  <a:pt x="1234" y="19"/>
                  <a:pt x="1231" y="20"/>
                  <a:pt x="1228" y="22"/>
                </a:cubicBezTo>
                <a:cubicBezTo>
                  <a:pt x="1224" y="25"/>
                  <a:pt x="1222" y="28"/>
                  <a:pt x="1220" y="32"/>
                </a:cubicBezTo>
                <a:cubicBezTo>
                  <a:pt x="1219" y="36"/>
                  <a:pt x="1218" y="40"/>
                  <a:pt x="1218" y="43"/>
                </a:cubicBezTo>
                <a:cubicBezTo>
                  <a:pt x="1218" y="48"/>
                  <a:pt x="1219" y="52"/>
                  <a:pt x="1221" y="55"/>
                </a:cubicBezTo>
                <a:cubicBezTo>
                  <a:pt x="1224" y="58"/>
                  <a:pt x="1227" y="59"/>
                  <a:pt x="1231" y="59"/>
                </a:cubicBezTo>
                <a:cubicBezTo>
                  <a:pt x="1234" y="59"/>
                  <a:pt x="1236" y="59"/>
                  <a:pt x="1239" y="57"/>
                </a:cubicBezTo>
                <a:cubicBezTo>
                  <a:pt x="1241" y="56"/>
                  <a:pt x="1243" y="54"/>
                  <a:pt x="1244" y="53"/>
                </a:cubicBezTo>
                <a:cubicBezTo>
                  <a:pt x="1242" y="50"/>
                  <a:pt x="1242" y="50"/>
                  <a:pt x="1242" y="50"/>
                </a:cubicBezTo>
                <a:cubicBezTo>
                  <a:pt x="1241" y="52"/>
                  <a:pt x="1239" y="53"/>
                  <a:pt x="1238" y="54"/>
                </a:cubicBezTo>
                <a:cubicBezTo>
                  <a:pt x="1236" y="54"/>
                  <a:pt x="1235" y="55"/>
                  <a:pt x="1233" y="55"/>
                </a:cubicBezTo>
                <a:cubicBezTo>
                  <a:pt x="1230" y="55"/>
                  <a:pt x="1228" y="54"/>
                  <a:pt x="1227" y="52"/>
                </a:cubicBezTo>
                <a:cubicBezTo>
                  <a:pt x="1226" y="50"/>
                  <a:pt x="1225" y="47"/>
                  <a:pt x="1225" y="43"/>
                </a:cubicBezTo>
                <a:cubicBezTo>
                  <a:pt x="1225" y="39"/>
                  <a:pt x="1226" y="35"/>
                  <a:pt x="1227" y="32"/>
                </a:cubicBezTo>
                <a:cubicBezTo>
                  <a:pt x="1228" y="30"/>
                  <a:pt x="1229" y="27"/>
                  <a:pt x="1231" y="26"/>
                </a:cubicBezTo>
                <a:cubicBezTo>
                  <a:pt x="1233" y="24"/>
                  <a:pt x="1235" y="23"/>
                  <a:pt x="1237" y="23"/>
                </a:cubicBezTo>
                <a:cubicBezTo>
                  <a:pt x="1239" y="23"/>
                  <a:pt x="1241" y="24"/>
                  <a:pt x="1243" y="27"/>
                </a:cubicBezTo>
                <a:close/>
                <a:moveTo>
                  <a:pt x="1279" y="52"/>
                </a:moveTo>
                <a:cubicBezTo>
                  <a:pt x="1277" y="49"/>
                  <a:pt x="1277" y="49"/>
                  <a:pt x="1277" y="49"/>
                </a:cubicBezTo>
                <a:cubicBezTo>
                  <a:pt x="1276" y="51"/>
                  <a:pt x="1274" y="52"/>
                  <a:pt x="1272" y="53"/>
                </a:cubicBezTo>
                <a:cubicBezTo>
                  <a:pt x="1270" y="54"/>
                  <a:pt x="1268" y="55"/>
                  <a:pt x="1266" y="55"/>
                </a:cubicBezTo>
                <a:cubicBezTo>
                  <a:pt x="1263" y="55"/>
                  <a:pt x="1261" y="54"/>
                  <a:pt x="1259" y="51"/>
                </a:cubicBezTo>
                <a:cubicBezTo>
                  <a:pt x="1258" y="49"/>
                  <a:pt x="1257" y="46"/>
                  <a:pt x="1258" y="43"/>
                </a:cubicBezTo>
                <a:cubicBezTo>
                  <a:pt x="1260" y="43"/>
                  <a:pt x="1264" y="42"/>
                  <a:pt x="1267" y="41"/>
                </a:cubicBezTo>
                <a:cubicBezTo>
                  <a:pt x="1271" y="40"/>
                  <a:pt x="1274" y="38"/>
                  <a:pt x="1277" y="36"/>
                </a:cubicBezTo>
                <a:cubicBezTo>
                  <a:pt x="1280" y="33"/>
                  <a:pt x="1281" y="31"/>
                  <a:pt x="1281" y="27"/>
                </a:cubicBezTo>
                <a:cubicBezTo>
                  <a:pt x="1281" y="25"/>
                  <a:pt x="1280" y="23"/>
                  <a:pt x="1278" y="21"/>
                </a:cubicBezTo>
                <a:cubicBezTo>
                  <a:pt x="1277" y="19"/>
                  <a:pt x="1274" y="19"/>
                  <a:pt x="1271" y="19"/>
                </a:cubicBezTo>
                <a:cubicBezTo>
                  <a:pt x="1267" y="19"/>
                  <a:pt x="1264" y="20"/>
                  <a:pt x="1260" y="22"/>
                </a:cubicBezTo>
                <a:cubicBezTo>
                  <a:pt x="1257" y="24"/>
                  <a:pt x="1255" y="28"/>
                  <a:pt x="1253" y="31"/>
                </a:cubicBezTo>
                <a:cubicBezTo>
                  <a:pt x="1251" y="35"/>
                  <a:pt x="1250" y="40"/>
                  <a:pt x="1250" y="44"/>
                </a:cubicBezTo>
                <a:cubicBezTo>
                  <a:pt x="1250" y="47"/>
                  <a:pt x="1251" y="49"/>
                  <a:pt x="1252" y="52"/>
                </a:cubicBezTo>
                <a:cubicBezTo>
                  <a:pt x="1253" y="54"/>
                  <a:pt x="1254" y="56"/>
                  <a:pt x="1256" y="57"/>
                </a:cubicBezTo>
                <a:cubicBezTo>
                  <a:pt x="1258" y="59"/>
                  <a:pt x="1261" y="59"/>
                  <a:pt x="1264" y="59"/>
                </a:cubicBezTo>
                <a:cubicBezTo>
                  <a:pt x="1267" y="59"/>
                  <a:pt x="1270" y="58"/>
                  <a:pt x="1273" y="57"/>
                </a:cubicBezTo>
                <a:cubicBezTo>
                  <a:pt x="1276" y="55"/>
                  <a:pt x="1278" y="54"/>
                  <a:pt x="1279" y="52"/>
                </a:cubicBezTo>
                <a:close/>
                <a:moveTo>
                  <a:pt x="1269" y="22"/>
                </a:moveTo>
                <a:cubicBezTo>
                  <a:pt x="1271" y="22"/>
                  <a:pt x="1272" y="23"/>
                  <a:pt x="1273" y="24"/>
                </a:cubicBezTo>
                <a:cubicBezTo>
                  <a:pt x="1274" y="25"/>
                  <a:pt x="1274" y="26"/>
                  <a:pt x="1274" y="28"/>
                </a:cubicBezTo>
                <a:cubicBezTo>
                  <a:pt x="1274" y="30"/>
                  <a:pt x="1273" y="32"/>
                  <a:pt x="1272" y="34"/>
                </a:cubicBezTo>
                <a:cubicBezTo>
                  <a:pt x="1270" y="35"/>
                  <a:pt x="1268" y="37"/>
                  <a:pt x="1265" y="38"/>
                </a:cubicBezTo>
                <a:cubicBezTo>
                  <a:pt x="1263" y="39"/>
                  <a:pt x="1260" y="39"/>
                  <a:pt x="1258" y="39"/>
                </a:cubicBezTo>
                <a:cubicBezTo>
                  <a:pt x="1258" y="37"/>
                  <a:pt x="1259" y="34"/>
                  <a:pt x="1259" y="32"/>
                </a:cubicBezTo>
                <a:cubicBezTo>
                  <a:pt x="1260" y="29"/>
                  <a:pt x="1262" y="27"/>
                  <a:pt x="1263" y="25"/>
                </a:cubicBezTo>
                <a:cubicBezTo>
                  <a:pt x="1265" y="23"/>
                  <a:pt x="1267" y="22"/>
                  <a:pt x="1269" y="22"/>
                </a:cubicBezTo>
                <a:close/>
                <a:moveTo>
                  <a:pt x="1310" y="25"/>
                </a:moveTo>
                <a:cubicBezTo>
                  <a:pt x="1311" y="20"/>
                  <a:pt x="1311" y="20"/>
                  <a:pt x="1311" y="20"/>
                </a:cubicBezTo>
                <a:cubicBezTo>
                  <a:pt x="1311" y="20"/>
                  <a:pt x="1309" y="19"/>
                  <a:pt x="1308" y="19"/>
                </a:cubicBezTo>
                <a:cubicBezTo>
                  <a:pt x="1306" y="19"/>
                  <a:pt x="1304" y="19"/>
                  <a:pt x="1303" y="19"/>
                </a:cubicBezTo>
                <a:cubicBezTo>
                  <a:pt x="1300" y="19"/>
                  <a:pt x="1298" y="19"/>
                  <a:pt x="1296" y="20"/>
                </a:cubicBezTo>
                <a:cubicBezTo>
                  <a:pt x="1293" y="21"/>
                  <a:pt x="1292" y="22"/>
                  <a:pt x="1291" y="24"/>
                </a:cubicBezTo>
                <a:cubicBezTo>
                  <a:pt x="1289" y="26"/>
                  <a:pt x="1289" y="27"/>
                  <a:pt x="1289" y="30"/>
                </a:cubicBezTo>
                <a:cubicBezTo>
                  <a:pt x="1289" y="34"/>
                  <a:pt x="1291" y="38"/>
                  <a:pt x="1296" y="41"/>
                </a:cubicBezTo>
                <a:cubicBezTo>
                  <a:pt x="1298" y="43"/>
                  <a:pt x="1300" y="44"/>
                  <a:pt x="1301" y="45"/>
                </a:cubicBezTo>
                <a:cubicBezTo>
                  <a:pt x="1302" y="46"/>
                  <a:pt x="1303" y="48"/>
                  <a:pt x="1303" y="50"/>
                </a:cubicBezTo>
                <a:cubicBezTo>
                  <a:pt x="1303" y="51"/>
                  <a:pt x="1302" y="53"/>
                  <a:pt x="1301" y="54"/>
                </a:cubicBezTo>
                <a:cubicBezTo>
                  <a:pt x="1299" y="55"/>
                  <a:pt x="1297" y="55"/>
                  <a:pt x="1295" y="55"/>
                </a:cubicBezTo>
                <a:cubicBezTo>
                  <a:pt x="1293" y="55"/>
                  <a:pt x="1292" y="55"/>
                  <a:pt x="1290" y="54"/>
                </a:cubicBezTo>
                <a:cubicBezTo>
                  <a:pt x="1288" y="53"/>
                  <a:pt x="1287" y="53"/>
                  <a:pt x="1286" y="52"/>
                </a:cubicBezTo>
                <a:cubicBezTo>
                  <a:pt x="1285" y="57"/>
                  <a:pt x="1285" y="57"/>
                  <a:pt x="1285" y="57"/>
                </a:cubicBezTo>
                <a:cubicBezTo>
                  <a:pt x="1285" y="58"/>
                  <a:pt x="1287" y="58"/>
                  <a:pt x="1289" y="58"/>
                </a:cubicBezTo>
                <a:cubicBezTo>
                  <a:pt x="1291" y="59"/>
                  <a:pt x="1293" y="59"/>
                  <a:pt x="1295" y="59"/>
                </a:cubicBezTo>
                <a:cubicBezTo>
                  <a:pt x="1299" y="59"/>
                  <a:pt x="1303" y="58"/>
                  <a:pt x="1305" y="56"/>
                </a:cubicBezTo>
                <a:cubicBezTo>
                  <a:pt x="1308" y="54"/>
                  <a:pt x="1309" y="52"/>
                  <a:pt x="1309" y="48"/>
                </a:cubicBezTo>
                <a:cubicBezTo>
                  <a:pt x="1309" y="46"/>
                  <a:pt x="1309" y="45"/>
                  <a:pt x="1308" y="43"/>
                </a:cubicBezTo>
                <a:cubicBezTo>
                  <a:pt x="1307" y="42"/>
                  <a:pt x="1306" y="41"/>
                  <a:pt x="1305" y="40"/>
                </a:cubicBezTo>
                <a:cubicBezTo>
                  <a:pt x="1304" y="39"/>
                  <a:pt x="1303" y="38"/>
                  <a:pt x="1301" y="36"/>
                </a:cubicBezTo>
                <a:cubicBezTo>
                  <a:pt x="1299" y="35"/>
                  <a:pt x="1298" y="34"/>
                  <a:pt x="1297" y="32"/>
                </a:cubicBezTo>
                <a:cubicBezTo>
                  <a:pt x="1296" y="31"/>
                  <a:pt x="1295" y="30"/>
                  <a:pt x="1295" y="28"/>
                </a:cubicBezTo>
                <a:cubicBezTo>
                  <a:pt x="1295" y="26"/>
                  <a:pt x="1296" y="25"/>
                  <a:pt x="1297" y="24"/>
                </a:cubicBezTo>
                <a:cubicBezTo>
                  <a:pt x="1299" y="23"/>
                  <a:pt x="1300" y="23"/>
                  <a:pt x="1303" y="23"/>
                </a:cubicBezTo>
                <a:cubicBezTo>
                  <a:pt x="1304" y="23"/>
                  <a:pt x="1306" y="23"/>
                  <a:pt x="1307" y="24"/>
                </a:cubicBezTo>
                <a:cubicBezTo>
                  <a:pt x="1309" y="24"/>
                  <a:pt x="1310" y="25"/>
                  <a:pt x="1310" y="25"/>
                </a:cubicBezTo>
                <a:close/>
                <a:moveTo>
                  <a:pt x="1047" y="110"/>
                </a:moveTo>
                <a:cubicBezTo>
                  <a:pt x="1052" y="111"/>
                  <a:pt x="1052" y="111"/>
                  <a:pt x="1052" y="111"/>
                </a:cubicBezTo>
                <a:cubicBezTo>
                  <a:pt x="1046" y="156"/>
                  <a:pt x="1046" y="156"/>
                  <a:pt x="1046" y="156"/>
                </a:cubicBezTo>
                <a:cubicBezTo>
                  <a:pt x="1041" y="157"/>
                  <a:pt x="1041" y="157"/>
                  <a:pt x="1041" y="157"/>
                </a:cubicBezTo>
                <a:cubicBezTo>
                  <a:pt x="1041" y="159"/>
                  <a:pt x="1041" y="159"/>
                  <a:pt x="1041" y="159"/>
                </a:cubicBezTo>
                <a:cubicBezTo>
                  <a:pt x="1078" y="159"/>
                  <a:pt x="1078" y="159"/>
                  <a:pt x="1078" y="159"/>
                </a:cubicBezTo>
                <a:cubicBezTo>
                  <a:pt x="1081" y="147"/>
                  <a:pt x="1081" y="147"/>
                  <a:pt x="1081" y="147"/>
                </a:cubicBezTo>
                <a:cubicBezTo>
                  <a:pt x="1077" y="146"/>
                  <a:pt x="1077" y="146"/>
                  <a:pt x="1077" y="146"/>
                </a:cubicBezTo>
                <a:cubicBezTo>
                  <a:pt x="1073" y="155"/>
                  <a:pt x="1073" y="155"/>
                  <a:pt x="1073" y="155"/>
                </a:cubicBezTo>
                <a:cubicBezTo>
                  <a:pt x="1053" y="156"/>
                  <a:pt x="1053" y="156"/>
                  <a:pt x="1053" y="156"/>
                </a:cubicBezTo>
                <a:cubicBezTo>
                  <a:pt x="1056" y="134"/>
                  <a:pt x="1056" y="134"/>
                  <a:pt x="1056" y="134"/>
                </a:cubicBezTo>
                <a:cubicBezTo>
                  <a:pt x="1072" y="135"/>
                  <a:pt x="1072" y="135"/>
                  <a:pt x="1072" y="135"/>
                </a:cubicBezTo>
                <a:cubicBezTo>
                  <a:pt x="1073" y="130"/>
                  <a:pt x="1073" y="130"/>
                  <a:pt x="1073" y="130"/>
                </a:cubicBezTo>
                <a:cubicBezTo>
                  <a:pt x="1057" y="130"/>
                  <a:pt x="1057" y="130"/>
                  <a:pt x="1057" y="130"/>
                </a:cubicBezTo>
                <a:cubicBezTo>
                  <a:pt x="1059" y="110"/>
                  <a:pt x="1059" y="110"/>
                  <a:pt x="1059" y="110"/>
                </a:cubicBezTo>
                <a:cubicBezTo>
                  <a:pt x="1075" y="111"/>
                  <a:pt x="1075" y="111"/>
                  <a:pt x="1075" y="111"/>
                </a:cubicBezTo>
                <a:cubicBezTo>
                  <a:pt x="1076" y="118"/>
                  <a:pt x="1076" y="118"/>
                  <a:pt x="1076" y="118"/>
                </a:cubicBezTo>
                <a:cubicBezTo>
                  <a:pt x="1080" y="118"/>
                  <a:pt x="1080" y="118"/>
                  <a:pt x="1080" y="118"/>
                </a:cubicBezTo>
                <a:cubicBezTo>
                  <a:pt x="1081" y="107"/>
                  <a:pt x="1081" y="107"/>
                  <a:pt x="1081" y="107"/>
                </a:cubicBezTo>
                <a:cubicBezTo>
                  <a:pt x="1048" y="107"/>
                  <a:pt x="1048" y="107"/>
                  <a:pt x="1048" y="107"/>
                </a:cubicBezTo>
                <a:lnTo>
                  <a:pt x="1047" y="110"/>
                </a:lnTo>
                <a:close/>
                <a:moveTo>
                  <a:pt x="1100" y="129"/>
                </a:moveTo>
                <a:cubicBezTo>
                  <a:pt x="1100" y="120"/>
                  <a:pt x="1100" y="120"/>
                  <a:pt x="1100" y="120"/>
                </a:cubicBezTo>
                <a:cubicBezTo>
                  <a:pt x="1099" y="119"/>
                  <a:pt x="1099" y="119"/>
                  <a:pt x="1099" y="119"/>
                </a:cubicBezTo>
                <a:cubicBezTo>
                  <a:pt x="1090" y="121"/>
                  <a:pt x="1090" y="121"/>
                  <a:pt x="1090" y="121"/>
                </a:cubicBezTo>
                <a:cubicBezTo>
                  <a:pt x="1090" y="124"/>
                  <a:pt x="1090" y="124"/>
                  <a:pt x="1090" y="124"/>
                </a:cubicBezTo>
                <a:cubicBezTo>
                  <a:pt x="1093" y="125"/>
                  <a:pt x="1093" y="125"/>
                  <a:pt x="1093" y="125"/>
                </a:cubicBezTo>
                <a:cubicBezTo>
                  <a:pt x="1089" y="159"/>
                  <a:pt x="1089" y="159"/>
                  <a:pt x="1089" y="159"/>
                </a:cubicBezTo>
                <a:cubicBezTo>
                  <a:pt x="1095" y="159"/>
                  <a:pt x="1095" y="159"/>
                  <a:pt x="1095" y="159"/>
                </a:cubicBezTo>
                <a:cubicBezTo>
                  <a:pt x="1099" y="134"/>
                  <a:pt x="1099" y="134"/>
                  <a:pt x="1099" y="134"/>
                </a:cubicBezTo>
                <a:cubicBezTo>
                  <a:pt x="1101" y="131"/>
                  <a:pt x="1103" y="129"/>
                  <a:pt x="1105" y="127"/>
                </a:cubicBezTo>
                <a:cubicBezTo>
                  <a:pt x="1107" y="125"/>
                  <a:pt x="1109" y="124"/>
                  <a:pt x="1111" y="124"/>
                </a:cubicBezTo>
                <a:cubicBezTo>
                  <a:pt x="1113" y="124"/>
                  <a:pt x="1114" y="125"/>
                  <a:pt x="1114" y="126"/>
                </a:cubicBezTo>
                <a:cubicBezTo>
                  <a:pt x="1115" y="127"/>
                  <a:pt x="1115" y="128"/>
                  <a:pt x="1115" y="130"/>
                </a:cubicBezTo>
                <a:cubicBezTo>
                  <a:pt x="1115" y="132"/>
                  <a:pt x="1115" y="134"/>
                  <a:pt x="1115" y="135"/>
                </a:cubicBezTo>
                <a:cubicBezTo>
                  <a:pt x="1115" y="137"/>
                  <a:pt x="1114" y="140"/>
                  <a:pt x="1114" y="142"/>
                </a:cubicBezTo>
                <a:cubicBezTo>
                  <a:pt x="1114" y="144"/>
                  <a:pt x="1114" y="144"/>
                  <a:pt x="1114" y="144"/>
                </a:cubicBezTo>
                <a:cubicBezTo>
                  <a:pt x="1113" y="147"/>
                  <a:pt x="1113" y="147"/>
                  <a:pt x="1113" y="147"/>
                </a:cubicBezTo>
                <a:cubicBezTo>
                  <a:pt x="1112" y="151"/>
                  <a:pt x="1112" y="154"/>
                  <a:pt x="1112" y="156"/>
                </a:cubicBezTo>
                <a:cubicBezTo>
                  <a:pt x="1112" y="159"/>
                  <a:pt x="1113" y="160"/>
                  <a:pt x="1116" y="160"/>
                </a:cubicBezTo>
                <a:cubicBezTo>
                  <a:pt x="1117" y="160"/>
                  <a:pt x="1119" y="160"/>
                  <a:pt x="1120" y="159"/>
                </a:cubicBezTo>
                <a:cubicBezTo>
                  <a:pt x="1121" y="159"/>
                  <a:pt x="1122" y="158"/>
                  <a:pt x="1123" y="157"/>
                </a:cubicBezTo>
                <a:cubicBezTo>
                  <a:pt x="1123" y="157"/>
                  <a:pt x="1124" y="156"/>
                  <a:pt x="1124" y="156"/>
                </a:cubicBezTo>
                <a:cubicBezTo>
                  <a:pt x="1123" y="154"/>
                  <a:pt x="1123" y="154"/>
                  <a:pt x="1123" y="154"/>
                </a:cubicBezTo>
                <a:cubicBezTo>
                  <a:pt x="1122" y="155"/>
                  <a:pt x="1121" y="156"/>
                  <a:pt x="1120" y="156"/>
                </a:cubicBezTo>
                <a:cubicBezTo>
                  <a:pt x="1119" y="156"/>
                  <a:pt x="1119" y="155"/>
                  <a:pt x="1119" y="154"/>
                </a:cubicBezTo>
                <a:cubicBezTo>
                  <a:pt x="1119" y="152"/>
                  <a:pt x="1119" y="149"/>
                  <a:pt x="1120" y="145"/>
                </a:cubicBezTo>
                <a:cubicBezTo>
                  <a:pt x="1121" y="142"/>
                  <a:pt x="1121" y="142"/>
                  <a:pt x="1121" y="142"/>
                </a:cubicBezTo>
                <a:cubicBezTo>
                  <a:pt x="1121" y="140"/>
                  <a:pt x="1121" y="140"/>
                  <a:pt x="1121" y="140"/>
                </a:cubicBezTo>
                <a:cubicBezTo>
                  <a:pt x="1122" y="135"/>
                  <a:pt x="1122" y="132"/>
                  <a:pt x="1122" y="130"/>
                </a:cubicBezTo>
                <a:cubicBezTo>
                  <a:pt x="1122" y="126"/>
                  <a:pt x="1122" y="123"/>
                  <a:pt x="1120" y="122"/>
                </a:cubicBezTo>
                <a:cubicBezTo>
                  <a:pt x="1119" y="120"/>
                  <a:pt x="1117" y="119"/>
                  <a:pt x="1114" y="119"/>
                </a:cubicBezTo>
                <a:cubicBezTo>
                  <a:pt x="1112" y="119"/>
                  <a:pt x="1109" y="120"/>
                  <a:pt x="1106" y="122"/>
                </a:cubicBezTo>
                <a:cubicBezTo>
                  <a:pt x="1104" y="124"/>
                  <a:pt x="1102" y="126"/>
                  <a:pt x="1100" y="129"/>
                </a:cubicBezTo>
                <a:close/>
                <a:moveTo>
                  <a:pt x="1159" y="162"/>
                </a:moveTo>
                <a:cubicBezTo>
                  <a:pt x="1165" y="119"/>
                  <a:pt x="1165" y="119"/>
                  <a:pt x="1165" y="119"/>
                </a:cubicBezTo>
                <a:cubicBezTo>
                  <a:pt x="1160" y="121"/>
                  <a:pt x="1160" y="121"/>
                  <a:pt x="1160" y="121"/>
                </a:cubicBezTo>
                <a:cubicBezTo>
                  <a:pt x="1159" y="121"/>
                  <a:pt x="1158" y="120"/>
                  <a:pt x="1157" y="120"/>
                </a:cubicBezTo>
                <a:cubicBezTo>
                  <a:pt x="1155" y="120"/>
                  <a:pt x="1154" y="119"/>
                  <a:pt x="1153" y="119"/>
                </a:cubicBezTo>
                <a:cubicBezTo>
                  <a:pt x="1148" y="119"/>
                  <a:pt x="1144" y="121"/>
                  <a:pt x="1141" y="123"/>
                </a:cubicBezTo>
                <a:cubicBezTo>
                  <a:pt x="1137" y="126"/>
                  <a:pt x="1135" y="129"/>
                  <a:pt x="1133" y="133"/>
                </a:cubicBezTo>
                <a:cubicBezTo>
                  <a:pt x="1131" y="137"/>
                  <a:pt x="1130" y="141"/>
                  <a:pt x="1130" y="145"/>
                </a:cubicBezTo>
                <a:cubicBezTo>
                  <a:pt x="1130" y="150"/>
                  <a:pt x="1131" y="153"/>
                  <a:pt x="1133" y="156"/>
                </a:cubicBezTo>
                <a:cubicBezTo>
                  <a:pt x="1135" y="159"/>
                  <a:pt x="1138" y="160"/>
                  <a:pt x="1142" y="160"/>
                </a:cubicBezTo>
                <a:cubicBezTo>
                  <a:pt x="1144" y="160"/>
                  <a:pt x="1146" y="159"/>
                  <a:pt x="1148" y="158"/>
                </a:cubicBezTo>
                <a:cubicBezTo>
                  <a:pt x="1150" y="157"/>
                  <a:pt x="1152" y="156"/>
                  <a:pt x="1153" y="155"/>
                </a:cubicBezTo>
                <a:cubicBezTo>
                  <a:pt x="1151" y="164"/>
                  <a:pt x="1151" y="164"/>
                  <a:pt x="1151" y="164"/>
                </a:cubicBezTo>
                <a:cubicBezTo>
                  <a:pt x="1151" y="167"/>
                  <a:pt x="1150" y="169"/>
                  <a:pt x="1149" y="170"/>
                </a:cubicBezTo>
                <a:cubicBezTo>
                  <a:pt x="1147" y="172"/>
                  <a:pt x="1145" y="172"/>
                  <a:pt x="1142" y="172"/>
                </a:cubicBezTo>
                <a:cubicBezTo>
                  <a:pt x="1140" y="172"/>
                  <a:pt x="1139" y="172"/>
                  <a:pt x="1137" y="171"/>
                </a:cubicBezTo>
                <a:cubicBezTo>
                  <a:pt x="1136" y="171"/>
                  <a:pt x="1134" y="170"/>
                  <a:pt x="1133" y="170"/>
                </a:cubicBezTo>
                <a:cubicBezTo>
                  <a:pt x="1132" y="175"/>
                  <a:pt x="1132" y="175"/>
                  <a:pt x="1132" y="175"/>
                </a:cubicBezTo>
                <a:cubicBezTo>
                  <a:pt x="1132" y="176"/>
                  <a:pt x="1134" y="176"/>
                  <a:pt x="1135" y="176"/>
                </a:cubicBezTo>
                <a:cubicBezTo>
                  <a:pt x="1137" y="177"/>
                  <a:pt x="1138" y="177"/>
                  <a:pt x="1140" y="177"/>
                </a:cubicBezTo>
                <a:cubicBezTo>
                  <a:pt x="1142" y="177"/>
                  <a:pt x="1145" y="176"/>
                  <a:pt x="1148" y="175"/>
                </a:cubicBezTo>
                <a:cubicBezTo>
                  <a:pt x="1150" y="174"/>
                  <a:pt x="1153" y="173"/>
                  <a:pt x="1155" y="170"/>
                </a:cubicBezTo>
                <a:cubicBezTo>
                  <a:pt x="1157" y="168"/>
                  <a:pt x="1158" y="165"/>
                  <a:pt x="1159" y="162"/>
                </a:cubicBezTo>
                <a:close/>
                <a:moveTo>
                  <a:pt x="1157" y="125"/>
                </a:moveTo>
                <a:cubicBezTo>
                  <a:pt x="1154" y="150"/>
                  <a:pt x="1154" y="150"/>
                  <a:pt x="1154" y="150"/>
                </a:cubicBezTo>
                <a:cubicBezTo>
                  <a:pt x="1152" y="151"/>
                  <a:pt x="1151" y="153"/>
                  <a:pt x="1149" y="154"/>
                </a:cubicBezTo>
                <a:cubicBezTo>
                  <a:pt x="1148" y="155"/>
                  <a:pt x="1146" y="155"/>
                  <a:pt x="1144" y="155"/>
                </a:cubicBezTo>
                <a:cubicBezTo>
                  <a:pt x="1142" y="155"/>
                  <a:pt x="1140" y="155"/>
                  <a:pt x="1139" y="153"/>
                </a:cubicBezTo>
                <a:cubicBezTo>
                  <a:pt x="1138" y="151"/>
                  <a:pt x="1138" y="148"/>
                  <a:pt x="1138" y="145"/>
                </a:cubicBezTo>
                <a:cubicBezTo>
                  <a:pt x="1138" y="142"/>
                  <a:pt x="1138" y="138"/>
                  <a:pt x="1139" y="135"/>
                </a:cubicBezTo>
                <a:cubicBezTo>
                  <a:pt x="1140" y="132"/>
                  <a:pt x="1142" y="129"/>
                  <a:pt x="1144" y="127"/>
                </a:cubicBezTo>
                <a:cubicBezTo>
                  <a:pt x="1146" y="124"/>
                  <a:pt x="1149" y="123"/>
                  <a:pt x="1152" y="123"/>
                </a:cubicBezTo>
                <a:cubicBezTo>
                  <a:pt x="1154" y="123"/>
                  <a:pt x="1156" y="124"/>
                  <a:pt x="1157" y="125"/>
                </a:cubicBezTo>
                <a:close/>
                <a:moveTo>
                  <a:pt x="1181" y="153"/>
                </a:moveTo>
                <a:cubicBezTo>
                  <a:pt x="1185" y="120"/>
                  <a:pt x="1185" y="120"/>
                  <a:pt x="1185" y="120"/>
                </a:cubicBezTo>
                <a:cubicBezTo>
                  <a:pt x="1184" y="119"/>
                  <a:pt x="1184" y="119"/>
                  <a:pt x="1184" y="119"/>
                </a:cubicBezTo>
                <a:cubicBezTo>
                  <a:pt x="1174" y="121"/>
                  <a:pt x="1174" y="121"/>
                  <a:pt x="1174" y="121"/>
                </a:cubicBezTo>
                <a:cubicBezTo>
                  <a:pt x="1173" y="123"/>
                  <a:pt x="1173" y="123"/>
                  <a:pt x="1173" y="123"/>
                </a:cubicBezTo>
                <a:cubicBezTo>
                  <a:pt x="1178" y="125"/>
                  <a:pt x="1178" y="125"/>
                  <a:pt x="1178" y="125"/>
                </a:cubicBezTo>
                <a:cubicBezTo>
                  <a:pt x="1177" y="132"/>
                  <a:pt x="1176" y="138"/>
                  <a:pt x="1175" y="142"/>
                </a:cubicBezTo>
                <a:cubicBezTo>
                  <a:pt x="1174" y="150"/>
                  <a:pt x="1174" y="154"/>
                  <a:pt x="1173" y="156"/>
                </a:cubicBezTo>
                <a:cubicBezTo>
                  <a:pt x="1173" y="157"/>
                  <a:pt x="1174" y="158"/>
                  <a:pt x="1174" y="159"/>
                </a:cubicBezTo>
                <a:cubicBezTo>
                  <a:pt x="1175" y="160"/>
                  <a:pt x="1176" y="160"/>
                  <a:pt x="1178" y="160"/>
                </a:cubicBezTo>
                <a:cubicBezTo>
                  <a:pt x="1180" y="160"/>
                  <a:pt x="1182" y="159"/>
                  <a:pt x="1183" y="158"/>
                </a:cubicBezTo>
                <a:cubicBezTo>
                  <a:pt x="1184" y="157"/>
                  <a:pt x="1185" y="156"/>
                  <a:pt x="1186" y="155"/>
                </a:cubicBezTo>
                <a:cubicBezTo>
                  <a:pt x="1185" y="154"/>
                  <a:pt x="1185" y="154"/>
                  <a:pt x="1185" y="154"/>
                </a:cubicBezTo>
                <a:cubicBezTo>
                  <a:pt x="1184" y="154"/>
                  <a:pt x="1184" y="155"/>
                  <a:pt x="1183" y="155"/>
                </a:cubicBezTo>
                <a:cubicBezTo>
                  <a:pt x="1183" y="156"/>
                  <a:pt x="1182" y="156"/>
                  <a:pt x="1182" y="156"/>
                </a:cubicBezTo>
                <a:cubicBezTo>
                  <a:pt x="1181" y="156"/>
                  <a:pt x="1181" y="156"/>
                  <a:pt x="1181" y="155"/>
                </a:cubicBezTo>
                <a:cubicBezTo>
                  <a:pt x="1181" y="155"/>
                  <a:pt x="1180" y="155"/>
                  <a:pt x="1180" y="154"/>
                </a:cubicBezTo>
                <a:lnTo>
                  <a:pt x="1181" y="153"/>
                </a:lnTo>
                <a:close/>
                <a:moveTo>
                  <a:pt x="1183" y="112"/>
                </a:moveTo>
                <a:cubicBezTo>
                  <a:pt x="1184" y="112"/>
                  <a:pt x="1185" y="111"/>
                  <a:pt x="1186" y="110"/>
                </a:cubicBezTo>
                <a:cubicBezTo>
                  <a:pt x="1187" y="109"/>
                  <a:pt x="1188" y="108"/>
                  <a:pt x="1188" y="107"/>
                </a:cubicBezTo>
                <a:cubicBezTo>
                  <a:pt x="1188" y="106"/>
                  <a:pt x="1187" y="105"/>
                  <a:pt x="1187" y="104"/>
                </a:cubicBezTo>
                <a:cubicBezTo>
                  <a:pt x="1186" y="103"/>
                  <a:pt x="1185" y="103"/>
                  <a:pt x="1184" y="103"/>
                </a:cubicBezTo>
                <a:cubicBezTo>
                  <a:pt x="1182" y="103"/>
                  <a:pt x="1181" y="103"/>
                  <a:pt x="1180" y="104"/>
                </a:cubicBezTo>
                <a:cubicBezTo>
                  <a:pt x="1180" y="105"/>
                  <a:pt x="1179" y="107"/>
                  <a:pt x="1179" y="108"/>
                </a:cubicBezTo>
                <a:cubicBezTo>
                  <a:pt x="1179" y="109"/>
                  <a:pt x="1179" y="110"/>
                  <a:pt x="1180" y="111"/>
                </a:cubicBezTo>
                <a:cubicBezTo>
                  <a:pt x="1181" y="111"/>
                  <a:pt x="1182" y="112"/>
                  <a:pt x="1183" y="112"/>
                </a:cubicBezTo>
                <a:close/>
                <a:moveTo>
                  <a:pt x="1207" y="129"/>
                </a:moveTo>
                <a:cubicBezTo>
                  <a:pt x="1208" y="120"/>
                  <a:pt x="1208" y="120"/>
                  <a:pt x="1208" y="120"/>
                </a:cubicBezTo>
                <a:cubicBezTo>
                  <a:pt x="1207" y="119"/>
                  <a:pt x="1207" y="119"/>
                  <a:pt x="1207" y="119"/>
                </a:cubicBezTo>
                <a:cubicBezTo>
                  <a:pt x="1198" y="121"/>
                  <a:pt x="1198" y="121"/>
                  <a:pt x="1198" y="121"/>
                </a:cubicBezTo>
                <a:cubicBezTo>
                  <a:pt x="1198" y="124"/>
                  <a:pt x="1198" y="124"/>
                  <a:pt x="1198" y="124"/>
                </a:cubicBezTo>
                <a:cubicBezTo>
                  <a:pt x="1201" y="125"/>
                  <a:pt x="1201" y="125"/>
                  <a:pt x="1201" y="125"/>
                </a:cubicBezTo>
                <a:cubicBezTo>
                  <a:pt x="1196" y="159"/>
                  <a:pt x="1196" y="159"/>
                  <a:pt x="1196" y="159"/>
                </a:cubicBezTo>
                <a:cubicBezTo>
                  <a:pt x="1203" y="159"/>
                  <a:pt x="1203" y="159"/>
                  <a:pt x="1203" y="159"/>
                </a:cubicBezTo>
                <a:cubicBezTo>
                  <a:pt x="1207" y="134"/>
                  <a:pt x="1207" y="134"/>
                  <a:pt x="1207" y="134"/>
                </a:cubicBezTo>
                <a:cubicBezTo>
                  <a:pt x="1208" y="131"/>
                  <a:pt x="1210" y="129"/>
                  <a:pt x="1213" y="127"/>
                </a:cubicBezTo>
                <a:cubicBezTo>
                  <a:pt x="1215" y="125"/>
                  <a:pt x="1217" y="124"/>
                  <a:pt x="1219" y="124"/>
                </a:cubicBezTo>
                <a:cubicBezTo>
                  <a:pt x="1220" y="124"/>
                  <a:pt x="1221" y="125"/>
                  <a:pt x="1222" y="126"/>
                </a:cubicBezTo>
                <a:cubicBezTo>
                  <a:pt x="1223" y="127"/>
                  <a:pt x="1223" y="128"/>
                  <a:pt x="1223" y="130"/>
                </a:cubicBezTo>
                <a:cubicBezTo>
                  <a:pt x="1223" y="132"/>
                  <a:pt x="1223" y="134"/>
                  <a:pt x="1223" y="135"/>
                </a:cubicBezTo>
                <a:cubicBezTo>
                  <a:pt x="1222" y="137"/>
                  <a:pt x="1222" y="140"/>
                  <a:pt x="1222" y="142"/>
                </a:cubicBezTo>
                <a:cubicBezTo>
                  <a:pt x="1221" y="144"/>
                  <a:pt x="1221" y="144"/>
                  <a:pt x="1221" y="144"/>
                </a:cubicBezTo>
                <a:cubicBezTo>
                  <a:pt x="1221" y="147"/>
                  <a:pt x="1221" y="147"/>
                  <a:pt x="1221" y="147"/>
                </a:cubicBezTo>
                <a:cubicBezTo>
                  <a:pt x="1220" y="151"/>
                  <a:pt x="1219" y="154"/>
                  <a:pt x="1219" y="156"/>
                </a:cubicBezTo>
                <a:cubicBezTo>
                  <a:pt x="1219" y="159"/>
                  <a:pt x="1221" y="160"/>
                  <a:pt x="1224" y="160"/>
                </a:cubicBezTo>
                <a:cubicBezTo>
                  <a:pt x="1225" y="160"/>
                  <a:pt x="1226" y="160"/>
                  <a:pt x="1227" y="159"/>
                </a:cubicBezTo>
                <a:cubicBezTo>
                  <a:pt x="1228" y="159"/>
                  <a:pt x="1229" y="158"/>
                  <a:pt x="1230" y="157"/>
                </a:cubicBezTo>
                <a:cubicBezTo>
                  <a:pt x="1231" y="157"/>
                  <a:pt x="1231" y="156"/>
                  <a:pt x="1232" y="156"/>
                </a:cubicBezTo>
                <a:cubicBezTo>
                  <a:pt x="1231" y="154"/>
                  <a:pt x="1231" y="154"/>
                  <a:pt x="1231" y="154"/>
                </a:cubicBezTo>
                <a:cubicBezTo>
                  <a:pt x="1229" y="155"/>
                  <a:pt x="1228" y="156"/>
                  <a:pt x="1227" y="156"/>
                </a:cubicBezTo>
                <a:cubicBezTo>
                  <a:pt x="1227" y="156"/>
                  <a:pt x="1227" y="155"/>
                  <a:pt x="1227" y="154"/>
                </a:cubicBezTo>
                <a:cubicBezTo>
                  <a:pt x="1227" y="152"/>
                  <a:pt x="1227" y="149"/>
                  <a:pt x="1228" y="145"/>
                </a:cubicBezTo>
                <a:cubicBezTo>
                  <a:pt x="1228" y="142"/>
                  <a:pt x="1228" y="142"/>
                  <a:pt x="1228" y="142"/>
                </a:cubicBezTo>
                <a:cubicBezTo>
                  <a:pt x="1229" y="140"/>
                  <a:pt x="1229" y="140"/>
                  <a:pt x="1229" y="140"/>
                </a:cubicBezTo>
                <a:cubicBezTo>
                  <a:pt x="1230" y="135"/>
                  <a:pt x="1230" y="132"/>
                  <a:pt x="1230" y="130"/>
                </a:cubicBezTo>
                <a:cubicBezTo>
                  <a:pt x="1230" y="126"/>
                  <a:pt x="1229" y="123"/>
                  <a:pt x="1228" y="122"/>
                </a:cubicBezTo>
                <a:cubicBezTo>
                  <a:pt x="1227" y="120"/>
                  <a:pt x="1225" y="119"/>
                  <a:pt x="1222" y="119"/>
                </a:cubicBezTo>
                <a:cubicBezTo>
                  <a:pt x="1219" y="119"/>
                  <a:pt x="1217" y="120"/>
                  <a:pt x="1214" y="122"/>
                </a:cubicBezTo>
                <a:cubicBezTo>
                  <a:pt x="1211" y="124"/>
                  <a:pt x="1209" y="126"/>
                  <a:pt x="1207" y="129"/>
                </a:cubicBezTo>
                <a:close/>
                <a:moveTo>
                  <a:pt x="1267" y="153"/>
                </a:moveTo>
                <a:cubicBezTo>
                  <a:pt x="1266" y="150"/>
                  <a:pt x="1266" y="150"/>
                  <a:pt x="1266" y="150"/>
                </a:cubicBezTo>
                <a:cubicBezTo>
                  <a:pt x="1264" y="152"/>
                  <a:pt x="1262" y="153"/>
                  <a:pt x="1260" y="154"/>
                </a:cubicBezTo>
                <a:cubicBezTo>
                  <a:pt x="1258" y="155"/>
                  <a:pt x="1256" y="156"/>
                  <a:pt x="1254" y="156"/>
                </a:cubicBezTo>
                <a:cubicBezTo>
                  <a:pt x="1251" y="156"/>
                  <a:pt x="1249" y="154"/>
                  <a:pt x="1248" y="152"/>
                </a:cubicBezTo>
                <a:cubicBezTo>
                  <a:pt x="1246" y="150"/>
                  <a:pt x="1246" y="147"/>
                  <a:pt x="1246" y="143"/>
                </a:cubicBezTo>
                <a:cubicBezTo>
                  <a:pt x="1249" y="143"/>
                  <a:pt x="1252" y="143"/>
                  <a:pt x="1256" y="142"/>
                </a:cubicBezTo>
                <a:cubicBezTo>
                  <a:pt x="1259" y="140"/>
                  <a:pt x="1263" y="139"/>
                  <a:pt x="1265" y="136"/>
                </a:cubicBezTo>
                <a:cubicBezTo>
                  <a:pt x="1268" y="134"/>
                  <a:pt x="1269" y="131"/>
                  <a:pt x="1269" y="128"/>
                </a:cubicBezTo>
                <a:cubicBezTo>
                  <a:pt x="1269" y="125"/>
                  <a:pt x="1268" y="123"/>
                  <a:pt x="1267" y="122"/>
                </a:cubicBezTo>
                <a:cubicBezTo>
                  <a:pt x="1265" y="120"/>
                  <a:pt x="1263" y="119"/>
                  <a:pt x="1259" y="119"/>
                </a:cubicBezTo>
                <a:cubicBezTo>
                  <a:pt x="1255" y="119"/>
                  <a:pt x="1252" y="121"/>
                  <a:pt x="1249" y="123"/>
                </a:cubicBezTo>
                <a:cubicBezTo>
                  <a:pt x="1246" y="125"/>
                  <a:pt x="1243" y="128"/>
                  <a:pt x="1241" y="132"/>
                </a:cubicBezTo>
                <a:cubicBezTo>
                  <a:pt x="1240" y="136"/>
                  <a:pt x="1239" y="140"/>
                  <a:pt x="1239" y="145"/>
                </a:cubicBezTo>
                <a:cubicBezTo>
                  <a:pt x="1239" y="147"/>
                  <a:pt x="1239" y="150"/>
                  <a:pt x="1240" y="152"/>
                </a:cubicBezTo>
                <a:cubicBezTo>
                  <a:pt x="1241" y="155"/>
                  <a:pt x="1243" y="156"/>
                  <a:pt x="1245" y="158"/>
                </a:cubicBezTo>
                <a:cubicBezTo>
                  <a:pt x="1247" y="159"/>
                  <a:pt x="1249" y="160"/>
                  <a:pt x="1253" y="160"/>
                </a:cubicBezTo>
                <a:cubicBezTo>
                  <a:pt x="1256" y="160"/>
                  <a:pt x="1259" y="159"/>
                  <a:pt x="1261" y="158"/>
                </a:cubicBezTo>
                <a:cubicBezTo>
                  <a:pt x="1264" y="156"/>
                  <a:pt x="1266" y="154"/>
                  <a:pt x="1267" y="153"/>
                </a:cubicBezTo>
                <a:close/>
                <a:moveTo>
                  <a:pt x="1258" y="123"/>
                </a:moveTo>
                <a:cubicBezTo>
                  <a:pt x="1259" y="123"/>
                  <a:pt x="1260" y="124"/>
                  <a:pt x="1261" y="125"/>
                </a:cubicBezTo>
                <a:cubicBezTo>
                  <a:pt x="1262" y="125"/>
                  <a:pt x="1263" y="127"/>
                  <a:pt x="1263" y="129"/>
                </a:cubicBezTo>
                <a:cubicBezTo>
                  <a:pt x="1263" y="131"/>
                  <a:pt x="1262" y="133"/>
                  <a:pt x="1260" y="135"/>
                </a:cubicBezTo>
                <a:cubicBezTo>
                  <a:pt x="1258" y="136"/>
                  <a:pt x="1256" y="138"/>
                  <a:pt x="1253" y="139"/>
                </a:cubicBezTo>
                <a:cubicBezTo>
                  <a:pt x="1251" y="139"/>
                  <a:pt x="1248" y="140"/>
                  <a:pt x="1246" y="140"/>
                </a:cubicBezTo>
                <a:cubicBezTo>
                  <a:pt x="1246" y="138"/>
                  <a:pt x="1247" y="135"/>
                  <a:pt x="1248" y="132"/>
                </a:cubicBezTo>
                <a:cubicBezTo>
                  <a:pt x="1249" y="130"/>
                  <a:pt x="1250" y="127"/>
                  <a:pt x="1252" y="126"/>
                </a:cubicBezTo>
                <a:cubicBezTo>
                  <a:pt x="1254" y="124"/>
                  <a:pt x="1255" y="123"/>
                  <a:pt x="1258" y="123"/>
                </a:cubicBezTo>
                <a:close/>
                <a:moveTo>
                  <a:pt x="1303" y="153"/>
                </a:moveTo>
                <a:cubicBezTo>
                  <a:pt x="1302" y="150"/>
                  <a:pt x="1302" y="150"/>
                  <a:pt x="1302" y="150"/>
                </a:cubicBezTo>
                <a:cubicBezTo>
                  <a:pt x="1300" y="152"/>
                  <a:pt x="1298" y="153"/>
                  <a:pt x="1296" y="154"/>
                </a:cubicBezTo>
                <a:cubicBezTo>
                  <a:pt x="1294" y="155"/>
                  <a:pt x="1292" y="156"/>
                  <a:pt x="1290" y="156"/>
                </a:cubicBezTo>
                <a:cubicBezTo>
                  <a:pt x="1287" y="156"/>
                  <a:pt x="1285" y="154"/>
                  <a:pt x="1284" y="152"/>
                </a:cubicBezTo>
                <a:cubicBezTo>
                  <a:pt x="1282" y="150"/>
                  <a:pt x="1282" y="147"/>
                  <a:pt x="1282" y="143"/>
                </a:cubicBezTo>
                <a:cubicBezTo>
                  <a:pt x="1285" y="143"/>
                  <a:pt x="1288" y="143"/>
                  <a:pt x="1292" y="142"/>
                </a:cubicBezTo>
                <a:cubicBezTo>
                  <a:pt x="1295" y="140"/>
                  <a:pt x="1299" y="139"/>
                  <a:pt x="1301" y="136"/>
                </a:cubicBezTo>
                <a:cubicBezTo>
                  <a:pt x="1304" y="134"/>
                  <a:pt x="1305" y="131"/>
                  <a:pt x="1305" y="128"/>
                </a:cubicBezTo>
                <a:cubicBezTo>
                  <a:pt x="1305" y="125"/>
                  <a:pt x="1304" y="123"/>
                  <a:pt x="1303" y="122"/>
                </a:cubicBezTo>
                <a:cubicBezTo>
                  <a:pt x="1301" y="120"/>
                  <a:pt x="1299" y="119"/>
                  <a:pt x="1295" y="119"/>
                </a:cubicBezTo>
                <a:cubicBezTo>
                  <a:pt x="1291" y="119"/>
                  <a:pt x="1288" y="121"/>
                  <a:pt x="1285" y="123"/>
                </a:cubicBezTo>
                <a:cubicBezTo>
                  <a:pt x="1282" y="125"/>
                  <a:pt x="1279" y="128"/>
                  <a:pt x="1277" y="132"/>
                </a:cubicBezTo>
                <a:cubicBezTo>
                  <a:pt x="1275" y="136"/>
                  <a:pt x="1275" y="140"/>
                  <a:pt x="1275" y="145"/>
                </a:cubicBezTo>
                <a:cubicBezTo>
                  <a:pt x="1275" y="147"/>
                  <a:pt x="1275" y="150"/>
                  <a:pt x="1276" y="152"/>
                </a:cubicBezTo>
                <a:cubicBezTo>
                  <a:pt x="1277" y="155"/>
                  <a:pt x="1279" y="156"/>
                  <a:pt x="1281" y="158"/>
                </a:cubicBezTo>
                <a:cubicBezTo>
                  <a:pt x="1283" y="159"/>
                  <a:pt x="1285" y="160"/>
                  <a:pt x="1288" y="160"/>
                </a:cubicBezTo>
                <a:cubicBezTo>
                  <a:pt x="1292" y="160"/>
                  <a:pt x="1295" y="159"/>
                  <a:pt x="1297" y="158"/>
                </a:cubicBezTo>
                <a:cubicBezTo>
                  <a:pt x="1300" y="156"/>
                  <a:pt x="1302" y="154"/>
                  <a:pt x="1303" y="153"/>
                </a:cubicBezTo>
                <a:close/>
                <a:moveTo>
                  <a:pt x="1294" y="123"/>
                </a:moveTo>
                <a:cubicBezTo>
                  <a:pt x="1295" y="123"/>
                  <a:pt x="1296" y="124"/>
                  <a:pt x="1297" y="125"/>
                </a:cubicBezTo>
                <a:cubicBezTo>
                  <a:pt x="1298" y="125"/>
                  <a:pt x="1298" y="127"/>
                  <a:pt x="1298" y="129"/>
                </a:cubicBezTo>
                <a:cubicBezTo>
                  <a:pt x="1298" y="131"/>
                  <a:pt x="1298" y="133"/>
                  <a:pt x="1296" y="135"/>
                </a:cubicBezTo>
                <a:cubicBezTo>
                  <a:pt x="1294" y="136"/>
                  <a:pt x="1292" y="138"/>
                  <a:pt x="1289" y="139"/>
                </a:cubicBezTo>
                <a:cubicBezTo>
                  <a:pt x="1287" y="139"/>
                  <a:pt x="1284" y="140"/>
                  <a:pt x="1282" y="140"/>
                </a:cubicBezTo>
                <a:cubicBezTo>
                  <a:pt x="1282" y="138"/>
                  <a:pt x="1283" y="135"/>
                  <a:pt x="1284" y="132"/>
                </a:cubicBezTo>
                <a:cubicBezTo>
                  <a:pt x="1285" y="130"/>
                  <a:pt x="1286" y="127"/>
                  <a:pt x="1288" y="126"/>
                </a:cubicBezTo>
                <a:cubicBezTo>
                  <a:pt x="1289" y="124"/>
                  <a:pt x="1291" y="123"/>
                  <a:pt x="1294" y="123"/>
                </a:cubicBezTo>
                <a:close/>
                <a:moveTo>
                  <a:pt x="1322" y="129"/>
                </a:moveTo>
                <a:cubicBezTo>
                  <a:pt x="1323" y="127"/>
                  <a:pt x="1323" y="127"/>
                  <a:pt x="1323" y="127"/>
                </a:cubicBezTo>
                <a:cubicBezTo>
                  <a:pt x="1323" y="120"/>
                  <a:pt x="1323" y="120"/>
                  <a:pt x="1323" y="120"/>
                </a:cubicBezTo>
                <a:cubicBezTo>
                  <a:pt x="1322" y="119"/>
                  <a:pt x="1322" y="119"/>
                  <a:pt x="1322" y="119"/>
                </a:cubicBezTo>
                <a:cubicBezTo>
                  <a:pt x="1314" y="121"/>
                  <a:pt x="1314" y="121"/>
                  <a:pt x="1314" y="121"/>
                </a:cubicBezTo>
                <a:cubicBezTo>
                  <a:pt x="1313" y="124"/>
                  <a:pt x="1313" y="124"/>
                  <a:pt x="1313" y="124"/>
                </a:cubicBezTo>
                <a:cubicBezTo>
                  <a:pt x="1317" y="125"/>
                  <a:pt x="1317" y="125"/>
                  <a:pt x="1317" y="125"/>
                </a:cubicBezTo>
                <a:cubicBezTo>
                  <a:pt x="1312" y="159"/>
                  <a:pt x="1312" y="159"/>
                  <a:pt x="1312" y="159"/>
                </a:cubicBezTo>
                <a:cubicBezTo>
                  <a:pt x="1319" y="159"/>
                  <a:pt x="1319" y="159"/>
                  <a:pt x="1319" y="159"/>
                </a:cubicBezTo>
                <a:cubicBezTo>
                  <a:pt x="1322" y="134"/>
                  <a:pt x="1322" y="134"/>
                  <a:pt x="1322" y="134"/>
                </a:cubicBezTo>
                <a:cubicBezTo>
                  <a:pt x="1323" y="132"/>
                  <a:pt x="1325" y="130"/>
                  <a:pt x="1327" y="129"/>
                </a:cubicBezTo>
                <a:cubicBezTo>
                  <a:pt x="1329" y="127"/>
                  <a:pt x="1331" y="127"/>
                  <a:pt x="1333" y="127"/>
                </a:cubicBezTo>
                <a:cubicBezTo>
                  <a:pt x="1334" y="127"/>
                  <a:pt x="1335" y="127"/>
                  <a:pt x="1336" y="127"/>
                </a:cubicBezTo>
                <a:cubicBezTo>
                  <a:pt x="1338" y="120"/>
                  <a:pt x="1338" y="120"/>
                  <a:pt x="1338" y="120"/>
                </a:cubicBezTo>
                <a:cubicBezTo>
                  <a:pt x="1337" y="120"/>
                  <a:pt x="1336" y="119"/>
                  <a:pt x="1335" y="119"/>
                </a:cubicBezTo>
                <a:cubicBezTo>
                  <a:pt x="1333" y="119"/>
                  <a:pt x="1331" y="120"/>
                  <a:pt x="1330" y="121"/>
                </a:cubicBezTo>
                <a:cubicBezTo>
                  <a:pt x="1328" y="122"/>
                  <a:pt x="1326" y="123"/>
                  <a:pt x="1325" y="125"/>
                </a:cubicBezTo>
                <a:cubicBezTo>
                  <a:pt x="1324" y="126"/>
                  <a:pt x="1323" y="128"/>
                  <a:pt x="1322" y="129"/>
                </a:cubicBezTo>
                <a:close/>
                <a:moveTo>
                  <a:pt x="1349" y="153"/>
                </a:moveTo>
                <a:cubicBezTo>
                  <a:pt x="1354" y="120"/>
                  <a:pt x="1354" y="120"/>
                  <a:pt x="1354" y="120"/>
                </a:cubicBezTo>
                <a:cubicBezTo>
                  <a:pt x="1352" y="119"/>
                  <a:pt x="1352" y="119"/>
                  <a:pt x="1352" y="119"/>
                </a:cubicBezTo>
                <a:cubicBezTo>
                  <a:pt x="1342" y="121"/>
                  <a:pt x="1342" y="121"/>
                  <a:pt x="1342" y="121"/>
                </a:cubicBezTo>
                <a:cubicBezTo>
                  <a:pt x="1342" y="123"/>
                  <a:pt x="1342" y="123"/>
                  <a:pt x="1342" y="123"/>
                </a:cubicBezTo>
                <a:cubicBezTo>
                  <a:pt x="1346" y="125"/>
                  <a:pt x="1346" y="125"/>
                  <a:pt x="1346" y="125"/>
                </a:cubicBezTo>
                <a:cubicBezTo>
                  <a:pt x="1345" y="132"/>
                  <a:pt x="1345" y="138"/>
                  <a:pt x="1344" y="142"/>
                </a:cubicBezTo>
                <a:cubicBezTo>
                  <a:pt x="1343" y="150"/>
                  <a:pt x="1342" y="154"/>
                  <a:pt x="1342" y="156"/>
                </a:cubicBezTo>
                <a:cubicBezTo>
                  <a:pt x="1342" y="157"/>
                  <a:pt x="1342" y="158"/>
                  <a:pt x="1343" y="159"/>
                </a:cubicBezTo>
                <a:cubicBezTo>
                  <a:pt x="1344" y="160"/>
                  <a:pt x="1345" y="160"/>
                  <a:pt x="1347" y="160"/>
                </a:cubicBezTo>
                <a:cubicBezTo>
                  <a:pt x="1349" y="160"/>
                  <a:pt x="1350" y="159"/>
                  <a:pt x="1352" y="158"/>
                </a:cubicBezTo>
                <a:cubicBezTo>
                  <a:pt x="1353" y="157"/>
                  <a:pt x="1354" y="156"/>
                  <a:pt x="1355" y="155"/>
                </a:cubicBezTo>
                <a:cubicBezTo>
                  <a:pt x="1354" y="154"/>
                  <a:pt x="1354" y="154"/>
                  <a:pt x="1354" y="154"/>
                </a:cubicBezTo>
                <a:cubicBezTo>
                  <a:pt x="1353" y="154"/>
                  <a:pt x="1352" y="155"/>
                  <a:pt x="1352" y="155"/>
                </a:cubicBezTo>
                <a:cubicBezTo>
                  <a:pt x="1351" y="156"/>
                  <a:pt x="1351" y="156"/>
                  <a:pt x="1350" y="156"/>
                </a:cubicBezTo>
                <a:cubicBezTo>
                  <a:pt x="1350" y="156"/>
                  <a:pt x="1350" y="156"/>
                  <a:pt x="1349" y="155"/>
                </a:cubicBezTo>
                <a:cubicBezTo>
                  <a:pt x="1349" y="155"/>
                  <a:pt x="1349" y="155"/>
                  <a:pt x="1349" y="154"/>
                </a:cubicBezTo>
                <a:lnTo>
                  <a:pt x="1349" y="153"/>
                </a:lnTo>
                <a:close/>
                <a:moveTo>
                  <a:pt x="1351" y="112"/>
                </a:moveTo>
                <a:cubicBezTo>
                  <a:pt x="1353" y="112"/>
                  <a:pt x="1354" y="111"/>
                  <a:pt x="1355" y="110"/>
                </a:cubicBezTo>
                <a:cubicBezTo>
                  <a:pt x="1356" y="109"/>
                  <a:pt x="1356" y="108"/>
                  <a:pt x="1356" y="107"/>
                </a:cubicBezTo>
                <a:cubicBezTo>
                  <a:pt x="1356" y="106"/>
                  <a:pt x="1356" y="105"/>
                  <a:pt x="1355" y="104"/>
                </a:cubicBezTo>
                <a:cubicBezTo>
                  <a:pt x="1354" y="103"/>
                  <a:pt x="1353" y="103"/>
                  <a:pt x="1352" y="103"/>
                </a:cubicBezTo>
                <a:cubicBezTo>
                  <a:pt x="1351" y="103"/>
                  <a:pt x="1350" y="103"/>
                  <a:pt x="1349" y="104"/>
                </a:cubicBezTo>
                <a:cubicBezTo>
                  <a:pt x="1348" y="105"/>
                  <a:pt x="1348" y="107"/>
                  <a:pt x="1348" y="108"/>
                </a:cubicBezTo>
                <a:cubicBezTo>
                  <a:pt x="1348" y="109"/>
                  <a:pt x="1348" y="110"/>
                  <a:pt x="1349" y="111"/>
                </a:cubicBezTo>
                <a:cubicBezTo>
                  <a:pt x="1350" y="111"/>
                  <a:pt x="1350" y="112"/>
                  <a:pt x="1351" y="112"/>
                </a:cubicBezTo>
                <a:close/>
                <a:moveTo>
                  <a:pt x="1374" y="129"/>
                </a:moveTo>
                <a:cubicBezTo>
                  <a:pt x="1375" y="120"/>
                  <a:pt x="1375" y="120"/>
                  <a:pt x="1375" y="120"/>
                </a:cubicBezTo>
                <a:cubicBezTo>
                  <a:pt x="1374" y="119"/>
                  <a:pt x="1374" y="119"/>
                  <a:pt x="1374" y="119"/>
                </a:cubicBezTo>
                <a:cubicBezTo>
                  <a:pt x="1365" y="121"/>
                  <a:pt x="1365" y="121"/>
                  <a:pt x="1365" y="121"/>
                </a:cubicBezTo>
                <a:cubicBezTo>
                  <a:pt x="1365" y="124"/>
                  <a:pt x="1365" y="124"/>
                  <a:pt x="1365" y="124"/>
                </a:cubicBezTo>
                <a:cubicBezTo>
                  <a:pt x="1368" y="125"/>
                  <a:pt x="1368" y="125"/>
                  <a:pt x="1368" y="125"/>
                </a:cubicBezTo>
                <a:cubicBezTo>
                  <a:pt x="1364" y="159"/>
                  <a:pt x="1364" y="159"/>
                  <a:pt x="1364" y="159"/>
                </a:cubicBezTo>
                <a:cubicBezTo>
                  <a:pt x="1370" y="159"/>
                  <a:pt x="1370" y="159"/>
                  <a:pt x="1370" y="159"/>
                </a:cubicBezTo>
                <a:cubicBezTo>
                  <a:pt x="1374" y="134"/>
                  <a:pt x="1374" y="134"/>
                  <a:pt x="1374" y="134"/>
                </a:cubicBezTo>
                <a:cubicBezTo>
                  <a:pt x="1375" y="131"/>
                  <a:pt x="1377" y="129"/>
                  <a:pt x="1380" y="127"/>
                </a:cubicBezTo>
                <a:cubicBezTo>
                  <a:pt x="1382" y="125"/>
                  <a:pt x="1384" y="124"/>
                  <a:pt x="1386" y="124"/>
                </a:cubicBezTo>
                <a:cubicBezTo>
                  <a:pt x="1388" y="124"/>
                  <a:pt x="1389" y="125"/>
                  <a:pt x="1389" y="126"/>
                </a:cubicBezTo>
                <a:cubicBezTo>
                  <a:pt x="1390" y="127"/>
                  <a:pt x="1390" y="128"/>
                  <a:pt x="1390" y="130"/>
                </a:cubicBezTo>
                <a:cubicBezTo>
                  <a:pt x="1390" y="132"/>
                  <a:pt x="1390" y="134"/>
                  <a:pt x="1390" y="135"/>
                </a:cubicBezTo>
                <a:cubicBezTo>
                  <a:pt x="1390" y="137"/>
                  <a:pt x="1389" y="140"/>
                  <a:pt x="1389" y="142"/>
                </a:cubicBezTo>
                <a:cubicBezTo>
                  <a:pt x="1388" y="144"/>
                  <a:pt x="1388" y="144"/>
                  <a:pt x="1388" y="144"/>
                </a:cubicBezTo>
                <a:cubicBezTo>
                  <a:pt x="1388" y="147"/>
                  <a:pt x="1388" y="147"/>
                  <a:pt x="1388" y="147"/>
                </a:cubicBezTo>
                <a:cubicBezTo>
                  <a:pt x="1387" y="151"/>
                  <a:pt x="1387" y="154"/>
                  <a:pt x="1387" y="156"/>
                </a:cubicBezTo>
                <a:cubicBezTo>
                  <a:pt x="1387" y="159"/>
                  <a:pt x="1388" y="160"/>
                  <a:pt x="1391" y="160"/>
                </a:cubicBezTo>
                <a:cubicBezTo>
                  <a:pt x="1392" y="160"/>
                  <a:pt x="1394" y="160"/>
                  <a:pt x="1395" y="159"/>
                </a:cubicBezTo>
                <a:cubicBezTo>
                  <a:pt x="1396" y="159"/>
                  <a:pt x="1397" y="158"/>
                  <a:pt x="1397" y="157"/>
                </a:cubicBezTo>
                <a:cubicBezTo>
                  <a:pt x="1398" y="157"/>
                  <a:pt x="1399" y="156"/>
                  <a:pt x="1399" y="156"/>
                </a:cubicBezTo>
                <a:cubicBezTo>
                  <a:pt x="1398" y="154"/>
                  <a:pt x="1398" y="154"/>
                  <a:pt x="1398" y="154"/>
                </a:cubicBezTo>
                <a:cubicBezTo>
                  <a:pt x="1397" y="155"/>
                  <a:pt x="1396" y="156"/>
                  <a:pt x="1395" y="156"/>
                </a:cubicBezTo>
                <a:cubicBezTo>
                  <a:pt x="1394" y="156"/>
                  <a:pt x="1394" y="155"/>
                  <a:pt x="1394" y="154"/>
                </a:cubicBezTo>
                <a:cubicBezTo>
                  <a:pt x="1394" y="152"/>
                  <a:pt x="1394" y="149"/>
                  <a:pt x="1395" y="145"/>
                </a:cubicBezTo>
                <a:cubicBezTo>
                  <a:pt x="1395" y="142"/>
                  <a:pt x="1395" y="142"/>
                  <a:pt x="1395" y="142"/>
                </a:cubicBezTo>
                <a:cubicBezTo>
                  <a:pt x="1396" y="140"/>
                  <a:pt x="1396" y="140"/>
                  <a:pt x="1396" y="140"/>
                </a:cubicBezTo>
                <a:cubicBezTo>
                  <a:pt x="1397" y="135"/>
                  <a:pt x="1397" y="132"/>
                  <a:pt x="1397" y="130"/>
                </a:cubicBezTo>
                <a:cubicBezTo>
                  <a:pt x="1397" y="126"/>
                  <a:pt x="1397" y="123"/>
                  <a:pt x="1395" y="122"/>
                </a:cubicBezTo>
                <a:cubicBezTo>
                  <a:pt x="1394" y="120"/>
                  <a:pt x="1392" y="119"/>
                  <a:pt x="1389" y="119"/>
                </a:cubicBezTo>
                <a:cubicBezTo>
                  <a:pt x="1386" y="119"/>
                  <a:pt x="1384" y="120"/>
                  <a:pt x="1381" y="122"/>
                </a:cubicBezTo>
                <a:cubicBezTo>
                  <a:pt x="1379" y="124"/>
                  <a:pt x="1376" y="126"/>
                  <a:pt x="1374" y="129"/>
                </a:cubicBezTo>
                <a:close/>
                <a:moveTo>
                  <a:pt x="1433" y="162"/>
                </a:moveTo>
                <a:cubicBezTo>
                  <a:pt x="1440" y="119"/>
                  <a:pt x="1440" y="119"/>
                  <a:pt x="1440" y="119"/>
                </a:cubicBezTo>
                <a:cubicBezTo>
                  <a:pt x="1435" y="121"/>
                  <a:pt x="1435" y="121"/>
                  <a:pt x="1435" y="121"/>
                </a:cubicBezTo>
                <a:cubicBezTo>
                  <a:pt x="1434" y="121"/>
                  <a:pt x="1433" y="120"/>
                  <a:pt x="1432" y="120"/>
                </a:cubicBezTo>
                <a:cubicBezTo>
                  <a:pt x="1430" y="120"/>
                  <a:pt x="1429" y="119"/>
                  <a:pt x="1428" y="119"/>
                </a:cubicBezTo>
                <a:cubicBezTo>
                  <a:pt x="1423" y="119"/>
                  <a:pt x="1419" y="121"/>
                  <a:pt x="1416" y="123"/>
                </a:cubicBezTo>
                <a:cubicBezTo>
                  <a:pt x="1412" y="126"/>
                  <a:pt x="1410" y="129"/>
                  <a:pt x="1408" y="133"/>
                </a:cubicBezTo>
                <a:cubicBezTo>
                  <a:pt x="1406" y="137"/>
                  <a:pt x="1405" y="141"/>
                  <a:pt x="1405" y="145"/>
                </a:cubicBezTo>
                <a:cubicBezTo>
                  <a:pt x="1405" y="150"/>
                  <a:pt x="1406" y="153"/>
                  <a:pt x="1408" y="156"/>
                </a:cubicBezTo>
                <a:cubicBezTo>
                  <a:pt x="1410" y="159"/>
                  <a:pt x="1413" y="160"/>
                  <a:pt x="1417" y="160"/>
                </a:cubicBezTo>
                <a:cubicBezTo>
                  <a:pt x="1419" y="160"/>
                  <a:pt x="1421" y="159"/>
                  <a:pt x="1423" y="158"/>
                </a:cubicBezTo>
                <a:cubicBezTo>
                  <a:pt x="1425" y="157"/>
                  <a:pt x="1426" y="156"/>
                  <a:pt x="1428" y="155"/>
                </a:cubicBezTo>
                <a:cubicBezTo>
                  <a:pt x="1426" y="164"/>
                  <a:pt x="1426" y="164"/>
                  <a:pt x="1426" y="164"/>
                </a:cubicBezTo>
                <a:cubicBezTo>
                  <a:pt x="1426" y="167"/>
                  <a:pt x="1425" y="169"/>
                  <a:pt x="1424" y="170"/>
                </a:cubicBezTo>
                <a:cubicBezTo>
                  <a:pt x="1422" y="172"/>
                  <a:pt x="1420" y="172"/>
                  <a:pt x="1417" y="172"/>
                </a:cubicBezTo>
                <a:cubicBezTo>
                  <a:pt x="1415" y="172"/>
                  <a:pt x="1414" y="172"/>
                  <a:pt x="1412" y="171"/>
                </a:cubicBezTo>
                <a:cubicBezTo>
                  <a:pt x="1410" y="171"/>
                  <a:pt x="1409" y="170"/>
                  <a:pt x="1408" y="170"/>
                </a:cubicBezTo>
                <a:cubicBezTo>
                  <a:pt x="1406" y="175"/>
                  <a:pt x="1406" y="175"/>
                  <a:pt x="1406" y="175"/>
                </a:cubicBezTo>
                <a:cubicBezTo>
                  <a:pt x="1407" y="176"/>
                  <a:pt x="1408" y="176"/>
                  <a:pt x="1410" y="176"/>
                </a:cubicBezTo>
                <a:cubicBezTo>
                  <a:pt x="1411" y="177"/>
                  <a:pt x="1413" y="177"/>
                  <a:pt x="1414" y="177"/>
                </a:cubicBezTo>
                <a:cubicBezTo>
                  <a:pt x="1417" y="177"/>
                  <a:pt x="1420" y="176"/>
                  <a:pt x="1423" y="175"/>
                </a:cubicBezTo>
                <a:cubicBezTo>
                  <a:pt x="1425" y="174"/>
                  <a:pt x="1428" y="173"/>
                  <a:pt x="1430" y="170"/>
                </a:cubicBezTo>
                <a:cubicBezTo>
                  <a:pt x="1432" y="168"/>
                  <a:pt x="1433" y="165"/>
                  <a:pt x="1433" y="162"/>
                </a:cubicBezTo>
                <a:close/>
                <a:moveTo>
                  <a:pt x="1432" y="125"/>
                </a:moveTo>
                <a:cubicBezTo>
                  <a:pt x="1428" y="150"/>
                  <a:pt x="1428" y="150"/>
                  <a:pt x="1428" y="150"/>
                </a:cubicBezTo>
                <a:cubicBezTo>
                  <a:pt x="1427" y="151"/>
                  <a:pt x="1426" y="153"/>
                  <a:pt x="1424" y="154"/>
                </a:cubicBezTo>
                <a:cubicBezTo>
                  <a:pt x="1423" y="155"/>
                  <a:pt x="1421" y="155"/>
                  <a:pt x="1419" y="155"/>
                </a:cubicBezTo>
                <a:cubicBezTo>
                  <a:pt x="1417" y="155"/>
                  <a:pt x="1415" y="155"/>
                  <a:pt x="1414" y="153"/>
                </a:cubicBezTo>
                <a:cubicBezTo>
                  <a:pt x="1413" y="151"/>
                  <a:pt x="1412" y="148"/>
                  <a:pt x="1412" y="145"/>
                </a:cubicBezTo>
                <a:cubicBezTo>
                  <a:pt x="1412" y="142"/>
                  <a:pt x="1413" y="138"/>
                  <a:pt x="1414" y="135"/>
                </a:cubicBezTo>
                <a:cubicBezTo>
                  <a:pt x="1415" y="132"/>
                  <a:pt x="1417" y="129"/>
                  <a:pt x="1419" y="127"/>
                </a:cubicBezTo>
                <a:cubicBezTo>
                  <a:pt x="1421" y="124"/>
                  <a:pt x="1424" y="123"/>
                  <a:pt x="1427" y="123"/>
                </a:cubicBezTo>
                <a:cubicBezTo>
                  <a:pt x="1429" y="123"/>
                  <a:pt x="1431" y="124"/>
                  <a:pt x="1432" y="125"/>
                </a:cubicBezTo>
                <a:close/>
                <a:moveTo>
                  <a:pt x="1076" y="242"/>
                </a:moveTo>
                <a:cubicBezTo>
                  <a:pt x="1072" y="249"/>
                  <a:pt x="1072" y="249"/>
                  <a:pt x="1072" y="249"/>
                </a:cubicBezTo>
                <a:cubicBezTo>
                  <a:pt x="1072" y="242"/>
                  <a:pt x="1072" y="242"/>
                  <a:pt x="1072" y="242"/>
                </a:cubicBezTo>
                <a:cubicBezTo>
                  <a:pt x="1066" y="208"/>
                  <a:pt x="1066" y="208"/>
                  <a:pt x="1066" y="208"/>
                </a:cubicBezTo>
                <a:cubicBezTo>
                  <a:pt x="1050" y="208"/>
                  <a:pt x="1050" y="208"/>
                  <a:pt x="1050" y="208"/>
                </a:cubicBezTo>
                <a:cubicBezTo>
                  <a:pt x="1049" y="211"/>
                  <a:pt x="1049" y="211"/>
                  <a:pt x="1049" y="211"/>
                </a:cubicBezTo>
                <a:cubicBezTo>
                  <a:pt x="1056" y="212"/>
                  <a:pt x="1056" y="212"/>
                  <a:pt x="1056" y="212"/>
                </a:cubicBezTo>
                <a:cubicBezTo>
                  <a:pt x="1045" y="256"/>
                  <a:pt x="1045" y="256"/>
                  <a:pt x="1045" y="256"/>
                </a:cubicBezTo>
                <a:cubicBezTo>
                  <a:pt x="1039" y="257"/>
                  <a:pt x="1039" y="257"/>
                  <a:pt x="1039" y="257"/>
                </a:cubicBezTo>
                <a:cubicBezTo>
                  <a:pt x="1039" y="260"/>
                  <a:pt x="1039" y="260"/>
                  <a:pt x="1039" y="260"/>
                </a:cubicBezTo>
                <a:cubicBezTo>
                  <a:pt x="1057" y="260"/>
                  <a:pt x="1057" y="260"/>
                  <a:pt x="1057" y="260"/>
                </a:cubicBezTo>
                <a:cubicBezTo>
                  <a:pt x="1057" y="257"/>
                  <a:pt x="1057" y="257"/>
                  <a:pt x="1057" y="257"/>
                </a:cubicBezTo>
                <a:cubicBezTo>
                  <a:pt x="1050" y="256"/>
                  <a:pt x="1050" y="256"/>
                  <a:pt x="1050" y="256"/>
                </a:cubicBezTo>
                <a:cubicBezTo>
                  <a:pt x="1057" y="225"/>
                  <a:pt x="1057" y="225"/>
                  <a:pt x="1057" y="225"/>
                </a:cubicBezTo>
                <a:cubicBezTo>
                  <a:pt x="1060" y="211"/>
                  <a:pt x="1060" y="211"/>
                  <a:pt x="1060" y="211"/>
                </a:cubicBezTo>
                <a:cubicBezTo>
                  <a:pt x="1062" y="225"/>
                  <a:pt x="1062" y="225"/>
                  <a:pt x="1062" y="225"/>
                </a:cubicBezTo>
                <a:cubicBezTo>
                  <a:pt x="1068" y="261"/>
                  <a:pt x="1068" y="261"/>
                  <a:pt x="1068" y="261"/>
                </a:cubicBezTo>
                <a:cubicBezTo>
                  <a:pt x="1072" y="260"/>
                  <a:pt x="1072" y="260"/>
                  <a:pt x="1072" y="260"/>
                </a:cubicBezTo>
                <a:cubicBezTo>
                  <a:pt x="1088" y="224"/>
                  <a:pt x="1088" y="224"/>
                  <a:pt x="1088" y="224"/>
                </a:cubicBezTo>
                <a:cubicBezTo>
                  <a:pt x="1094" y="211"/>
                  <a:pt x="1094" y="211"/>
                  <a:pt x="1094" y="211"/>
                </a:cubicBezTo>
                <a:cubicBezTo>
                  <a:pt x="1093" y="225"/>
                  <a:pt x="1093" y="225"/>
                  <a:pt x="1093" y="225"/>
                </a:cubicBezTo>
                <a:cubicBezTo>
                  <a:pt x="1091" y="256"/>
                  <a:pt x="1091" y="256"/>
                  <a:pt x="1091" y="256"/>
                </a:cubicBezTo>
                <a:cubicBezTo>
                  <a:pt x="1085" y="257"/>
                  <a:pt x="1085" y="257"/>
                  <a:pt x="1085" y="257"/>
                </a:cubicBezTo>
                <a:cubicBezTo>
                  <a:pt x="1084" y="260"/>
                  <a:pt x="1084" y="260"/>
                  <a:pt x="1084" y="260"/>
                </a:cubicBezTo>
                <a:cubicBezTo>
                  <a:pt x="1104" y="260"/>
                  <a:pt x="1104" y="260"/>
                  <a:pt x="1104" y="260"/>
                </a:cubicBezTo>
                <a:cubicBezTo>
                  <a:pt x="1104" y="257"/>
                  <a:pt x="1104" y="257"/>
                  <a:pt x="1104" y="257"/>
                </a:cubicBezTo>
                <a:cubicBezTo>
                  <a:pt x="1098" y="256"/>
                  <a:pt x="1098" y="256"/>
                  <a:pt x="1098" y="256"/>
                </a:cubicBezTo>
                <a:cubicBezTo>
                  <a:pt x="1099" y="212"/>
                  <a:pt x="1099" y="212"/>
                  <a:pt x="1099" y="212"/>
                </a:cubicBezTo>
                <a:cubicBezTo>
                  <a:pt x="1106" y="211"/>
                  <a:pt x="1106" y="211"/>
                  <a:pt x="1106" y="211"/>
                </a:cubicBezTo>
                <a:cubicBezTo>
                  <a:pt x="1106" y="208"/>
                  <a:pt x="1106" y="208"/>
                  <a:pt x="1106" y="208"/>
                </a:cubicBezTo>
                <a:cubicBezTo>
                  <a:pt x="1091" y="208"/>
                  <a:pt x="1091" y="208"/>
                  <a:pt x="1091" y="208"/>
                </a:cubicBezTo>
                <a:cubicBezTo>
                  <a:pt x="1090" y="211"/>
                  <a:pt x="1087" y="217"/>
                  <a:pt x="1083" y="225"/>
                </a:cubicBezTo>
                <a:cubicBezTo>
                  <a:pt x="1079" y="233"/>
                  <a:pt x="1077" y="239"/>
                  <a:pt x="1076" y="242"/>
                </a:cubicBezTo>
                <a:close/>
                <a:moveTo>
                  <a:pt x="1138" y="253"/>
                </a:moveTo>
                <a:cubicBezTo>
                  <a:pt x="1136" y="251"/>
                  <a:pt x="1136" y="251"/>
                  <a:pt x="1136" y="251"/>
                </a:cubicBezTo>
                <a:cubicBezTo>
                  <a:pt x="1134" y="253"/>
                  <a:pt x="1133" y="254"/>
                  <a:pt x="1131" y="255"/>
                </a:cubicBezTo>
                <a:cubicBezTo>
                  <a:pt x="1129" y="256"/>
                  <a:pt x="1126" y="256"/>
                  <a:pt x="1124" y="256"/>
                </a:cubicBezTo>
                <a:cubicBezTo>
                  <a:pt x="1121" y="256"/>
                  <a:pt x="1119" y="255"/>
                  <a:pt x="1118" y="253"/>
                </a:cubicBezTo>
                <a:cubicBezTo>
                  <a:pt x="1117" y="250"/>
                  <a:pt x="1116" y="247"/>
                  <a:pt x="1116" y="244"/>
                </a:cubicBezTo>
                <a:cubicBezTo>
                  <a:pt x="1119" y="244"/>
                  <a:pt x="1123" y="244"/>
                  <a:pt x="1126" y="242"/>
                </a:cubicBezTo>
                <a:cubicBezTo>
                  <a:pt x="1130" y="241"/>
                  <a:pt x="1133" y="240"/>
                  <a:pt x="1136" y="237"/>
                </a:cubicBezTo>
                <a:cubicBezTo>
                  <a:pt x="1138" y="235"/>
                  <a:pt x="1140" y="232"/>
                  <a:pt x="1140" y="229"/>
                </a:cubicBezTo>
                <a:cubicBezTo>
                  <a:pt x="1140" y="226"/>
                  <a:pt x="1139" y="224"/>
                  <a:pt x="1137" y="223"/>
                </a:cubicBezTo>
                <a:cubicBezTo>
                  <a:pt x="1135" y="221"/>
                  <a:pt x="1133" y="220"/>
                  <a:pt x="1130" y="220"/>
                </a:cubicBezTo>
                <a:cubicBezTo>
                  <a:pt x="1126" y="220"/>
                  <a:pt x="1122" y="221"/>
                  <a:pt x="1119" y="224"/>
                </a:cubicBezTo>
                <a:cubicBezTo>
                  <a:pt x="1116" y="226"/>
                  <a:pt x="1114" y="229"/>
                  <a:pt x="1112" y="233"/>
                </a:cubicBezTo>
                <a:cubicBezTo>
                  <a:pt x="1110" y="237"/>
                  <a:pt x="1109" y="241"/>
                  <a:pt x="1109" y="246"/>
                </a:cubicBezTo>
                <a:cubicBezTo>
                  <a:pt x="1109" y="248"/>
                  <a:pt x="1110" y="251"/>
                  <a:pt x="1111" y="253"/>
                </a:cubicBezTo>
                <a:cubicBezTo>
                  <a:pt x="1111" y="255"/>
                  <a:pt x="1113" y="257"/>
                  <a:pt x="1115" y="259"/>
                </a:cubicBezTo>
                <a:cubicBezTo>
                  <a:pt x="1117" y="260"/>
                  <a:pt x="1120" y="261"/>
                  <a:pt x="1123" y="261"/>
                </a:cubicBezTo>
                <a:cubicBezTo>
                  <a:pt x="1126" y="261"/>
                  <a:pt x="1129" y="260"/>
                  <a:pt x="1132" y="258"/>
                </a:cubicBezTo>
                <a:cubicBezTo>
                  <a:pt x="1135" y="257"/>
                  <a:pt x="1136" y="255"/>
                  <a:pt x="1138" y="253"/>
                </a:cubicBezTo>
                <a:close/>
                <a:moveTo>
                  <a:pt x="1128" y="224"/>
                </a:moveTo>
                <a:cubicBezTo>
                  <a:pt x="1130" y="224"/>
                  <a:pt x="1131" y="224"/>
                  <a:pt x="1132" y="225"/>
                </a:cubicBezTo>
                <a:cubicBezTo>
                  <a:pt x="1132" y="226"/>
                  <a:pt x="1133" y="228"/>
                  <a:pt x="1133" y="229"/>
                </a:cubicBezTo>
                <a:cubicBezTo>
                  <a:pt x="1133" y="232"/>
                  <a:pt x="1132" y="234"/>
                  <a:pt x="1130" y="235"/>
                </a:cubicBezTo>
                <a:cubicBezTo>
                  <a:pt x="1129" y="237"/>
                  <a:pt x="1126" y="238"/>
                  <a:pt x="1124" y="239"/>
                </a:cubicBezTo>
                <a:cubicBezTo>
                  <a:pt x="1121" y="240"/>
                  <a:pt x="1119" y="241"/>
                  <a:pt x="1116" y="241"/>
                </a:cubicBezTo>
                <a:cubicBezTo>
                  <a:pt x="1117" y="238"/>
                  <a:pt x="1117" y="236"/>
                  <a:pt x="1118" y="233"/>
                </a:cubicBezTo>
                <a:cubicBezTo>
                  <a:pt x="1119" y="230"/>
                  <a:pt x="1121" y="228"/>
                  <a:pt x="1122" y="226"/>
                </a:cubicBezTo>
                <a:cubicBezTo>
                  <a:pt x="1124" y="225"/>
                  <a:pt x="1126" y="224"/>
                  <a:pt x="1128" y="224"/>
                </a:cubicBezTo>
                <a:close/>
                <a:moveTo>
                  <a:pt x="1175" y="254"/>
                </a:moveTo>
                <a:cubicBezTo>
                  <a:pt x="1182" y="204"/>
                  <a:pt x="1182" y="204"/>
                  <a:pt x="1182" y="204"/>
                </a:cubicBezTo>
                <a:cubicBezTo>
                  <a:pt x="1181" y="204"/>
                  <a:pt x="1181" y="204"/>
                  <a:pt x="1181" y="204"/>
                </a:cubicBezTo>
                <a:cubicBezTo>
                  <a:pt x="1171" y="205"/>
                  <a:pt x="1171" y="205"/>
                  <a:pt x="1171" y="205"/>
                </a:cubicBezTo>
                <a:cubicBezTo>
                  <a:pt x="1170" y="207"/>
                  <a:pt x="1170" y="207"/>
                  <a:pt x="1170" y="207"/>
                </a:cubicBezTo>
                <a:cubicBezTo>
                  <a:pt x="1175" y="208"/>
                  <a:pt x="1175" y="208"/>
                  <a:pt x="1175" y="208"/>
                </a:cubicBezTo>
                <a:cubicBezTo>
                  <a:pt x="1173" y="221"/>
                  <a:pt x="1173" y="221"/>
                  <a:pt x="1173" y="221"/>
                </a:cubicBezTo>
                <a:cubicBezTo>
                  <a:pt x="1171" y="220"/>
                  <a:pt x="1169" y="220"/>
                  <a:pt x="1168" y="220"/>
                </a:cubicBezTo>
                <a:cubicBezTo>
                  <a:pt x="1163" y="220"/>
                  <a:pt x="1159" y="222"/>
                  <a:pt x="1156" y="224"/>
                </a:cubicBezTo>
                <a:cubicBezTo>
                  <a:pt x="1152" y="227"/>
                  <a:pt x="1150" y="230"/>
                  <a:pt x="1148" y="234"/>
                </a:cubicBezTo>
                <a:cubicBezTo>
                  <a:pt x="1146" y="238"/>
                  <a:pt x="1145" y="242"/>
                  <a:pt x="1145" y="246"/>
                </a:cubicBezTo>
                <a:cubicBezTo>
                  <a:pt x="1145" y="250"/>
                  <a:pt x="1146" y="254"/>
                  <a:pt x="1148" y="257"/>
                </a:cubicBezTo>
                <a:cubicBezTo>
                  <a:pt x="1150" y="259"/>
                  <a:pt x="1153" y="261"/>
                  <a:pt x="1157" y="261"/>
                </a:cubicBezTo>
                <a:cubicBezTo>
                  <a:pt x="1159" y="261"/>
                  <a:pt x="1162" y="260"/>
                  <a:pt x="1163" y="259"/>
                </a:cubicBezTo>
                <a:cubicBezTo>
                  <a:pt x="1165" y="258"/>
                  <a:pt x="1167" y="256"/>
                  <a:pt x="1168" y="255"/>
                </a:cubicBezTo>
                <a:cubicBezTo>
                  <a:pt x="1168" y="256"/>
                  <a:pt x="1168" y="256"/>
                  <a:pt x="1168" y="256"/>
                </a:cubicBezTo>
                <a:cubicBezTo>
                  <a:pt x="1168" y="259"/>
                  <a:pt x="1170" y="261"/>
                  <a:pt x="1173" y="261"/>
                </a:cubicBezTo>
                <a:cubicBezTo>
                  <a:pt x="1174" y="261"/>
                  <a:pt x="1176" y="260"/>
                  <a:pt x="1177" y="259"/>
                </a:cubicBezTo>
                <a:cubicBezTo>
                  <a:pt x="1178" y="258"/>
                  <a:pt x="1179" y="257"/>
                  <a:pt x="1180" y="256"/>
                </a:cubicBezTo>
                <a:cubicBezTo>
                  <a:pt x="1179" y="255"/>
                  <a:pt x="1179" y="255"/>
                  <a:pt x="1179" y="255"/>
                </a:cubicBezTo>
                <a:cubicBezTo>
                  <a:pt x="1178" y="256"/>
                  <a:pt x="1177" y="256"/>
                  <a:pt x="1176" y="256"/>
                </a:cubicBezTo>
                <a:cubicBezTo>
                  <a:pt x="1175" y="256"/>
                  <a:pt x="1175" y="256"/>
                  <a:pt x="1175" y="255"/>
                </a:cubicBezTo>
                <a:cubicBezTo>
                  <a:pt x="1175" y="254"/>
                  <a:pt x="1175" y="254"/>
                  <a:pt x="1175" y="254"/>
                </a:cubicBezTo>
                <a:close/>
                <a:moveTo>
                  <a:pt x="1172" y="225"/>
                </a:moveTo>
                <a:cubicBezTo>
                  <a:pt x="1169" y="250"/>
                  <a:pt x="1169" y="250"/>
                  <a:pt x="1169" y="250"/>
                </a:cubicBezTo>
                <a:cubicBezTo>
                  <a:pt x="1168" y="252"/>
                  <a:pt x="1166" y="253"/>
                  <a:pt x="1164" y="254"/>
                </a:cubicBezTo>
                <a:cubicBezTo>
                  <a:pt x="1163" y="256"/>
                  <a:pt x="1161" y="256"/>
                  <a:pt x="1159" y="256"/>
                </a:cubicBezTo>
                <a:cubicBezTo>
                  <a:pt x="1157" y="256"/>
                  <a:pt x="1155" y="255"/>
                  <a:pt x="1154" y="253"/>
                </a:cubicBezTo>
                <a:cubicBezTo>
                  <a:pt x="1153" y="252"/>
                  <a:pt x="1153" y="249"/>
                  <a:pt x="1153" y="246"/>
                </a:cubicBezTo>
                <a:cubicBezTo>
                  <a:pt x="1153" y="242"/>
                  <a:pt x="1153" y="239"/>
                  <a:pt x="1154" y="236"/>
                </a:cubicBezTo>
                <a:cubicBezTo>
                  <a:pt x="1155" y="232"/>
                  <a:pt x="1157" y="230"/>
                  <a:pt x="1159" y="227"/>
                </a:cubicBezTo>
                <a:cubicBezTo>
                  <a:pt x="1161" y="225"/>
                  <a:pt x="1164" y="224"/>
                  <a:pt x="1167" y="224"/>
                </a:cubicBezTo>
                <a:cubicBezTo>
                  <a:pt x="1169" y="224"/>
                  <a:pt x="1171" y="224"/>
                  <a:pt x="1172" y="225"/>
                </a:cubicBezTo>
                <a:close/>
                <a:moveTo>
                  <a:pt x="1198" y="254"/>
                </a:moveTo>
                <a:cubicBezTo>
                  <a:pt x="1202" y="221"/>
                  <a:pt x="1202" y="221"/>
                  <a:pt x="1202" y="221"/>
                </a:cubicBezTo>
                <a:cubicBezTo>
                  <a:pt x="1201" y="220"/>
                  <a:pt x="1201" y="220"/>
                  <a:pt x="1201" y="220"/>
                </a:cubicBezTo>
                <a:cubicBezTo>
                  <a:pt x="1191" y="222"/>
                  <a:pt x="1191" y="222"/>
                  <a:pt x="1191" y="222"/>
                </a:cubicBezTo>
                <a:cubicBezTo>
                  <a:pt x="1190" y="224"/>
                  <a:pt x="1190" y="224"/>
                  <a:pt x="1190" y="224"/>
                </a:cubicBezTo>
                <a:cubicBezTo>
                  <a:pt x="1195" y="226"/>
                  <a:pt x="1195" y="226"/>
                  <a:pt x="1195" y="226"/>
                </a:cubicBezTo>
                <a:cubicBezTo>
                  <a:pt x="1194" y="233"/>
                  <a:pt x="1193" y="239"/>
                  <a:pt x="1192" y="243"/>
                </a:cubicBezTo>
                <a:cubicBezTo>
                  <a:pt x="1191" y="251"/>
                  <a:pt x="1191" y="255"/>
                  <a:pt x="1191" y="256"/>
                </a:cubicBezTo>
                <a:cubicBezTo>
                  <a:pt x="1190" y="258"/>
                  <a:pt x="1191" y="259"/>
                  <a:pt x="1192" y="260"/>
                </a:cubicBezTo>
                <a:cubicBezTo>
                  <a:pt x="1192" y="260"/>
                  <a:pt x="1194" y="261"/>
                  <a:pt x="1195" y="261"/>
                </a:cubicBezTo>
                <a:cubicBezTo>
                  <a:pt x="1197" y="261"/>
                  <a:pt x="1199" y="260"/>
                  <a:pt x="1200" y="259"/>
                </a:cubicBezTo>
                <a:cubicBezTo>
                  <a:pt x="1202" y="258"/>
                  <a:pt x="1203" y="257"/>
                  <a:pt x="1203" y="256"/>
                </a:cubicBezTo>
                <a:cubicBezTo>
                  <a:pt x="1202" y="254"/>
                  <a:pt x="1202" y="254"/>
                  <a:pt x="1202" y="254"/>
                </a:cubicBezTo>
                <a:cubicBezTo>
                  <a:pt x="1202" y="255"/>
                  <a:pt x="1201" y="256"/>
                  <a:pt x="1200" y="256"/>
                </a:cubicBezTo>
                <a:cubicBezTo>
                  <a:pt x="1200" y="256"/>
                  <a:pt x="1199" y="256"/>
                  <a:pt x="1199" y="256"/>
                </a:cubicBezTo>
                <a:cubicBezTo>
                  <a:pt x="1198" y="256"/>
                  <a:pt x="1198" y="256"/>
                  <a:pt x="1198" y="256"/>
                </a:cubicBezTo>
                <a:cubicBezTo>
                  <a:pt x="1198" y="256"/>
                  <a:pt x="1198" y="255"/>
                  <a:pt x="1198" y="255"/>
                </a:cubicBezTo>
                <a:lnTo>
                  <a:pt x="1198" y="254"/>
                </a:lnTo>
                <a:close/>
                <a:moveTo>
                  <a:pt x="1200" y="213"/>
                </a:moveTo>
                <a:cubicBezTo>
                  <a:pt x="1201" y="213"/>
                  <a:pt x="1202" y="212"/>
                  <a:pt x="1203" y="211"/>
                </a:cubicBezTo>
                <a:cubicBezTo>
                  <a:pt x="1204" y="210"/>
                  <a:pt x="1205" y="209"/>
                  <a:pt x="1205" y="207"/>
                </a:cubicBezTo>
                <a:cubicBezTo>
                  <a:pt x="1205" y="206"/>
                  <a:pt x="1204" y="206"/>
                  <a:pt x="1204" y="205"/>
                </a:cubicBezTo>
                <a:cubicBezTo>
                  <a:pt x="1203" y="204"/>
                  <a:pt x="1202" y="204"/>
                  <a:pt x="1201" y="204"/>
                </a:cubicBezTo>
                <a:cubicBezTo>
                  <a:pt x="1200" y="204"/>
                  <a:pt x="1198" y="204"/>
                  <a:pt x="1198" y="205"/>
                </a:cubicBezTo>
                <a:cubicBezTo>
                  <a:pt x="1197" y="206"/>
                  <a:pt x="1196" y="207"/>
                  <a:pt x="1196" y="209"/>
                </a:cubicBezTo>
                <a:cubicBezTo>
                  <a:pt x="1196" y="210"/>
                  <a:pt x="1197" y="211"/>
                  <a:pt x="1197" y="212"/>
                </a:cubicBezTo>
                <a:cubicBezTo>
                  <a:pt x="1198" y="212"/>
                  <a:pt x="1199" y="213"/>
                  <a:pt x="1200" y="213"/>
                </a:cubicBezTo>
                <a:close/>
                <a:moveTo>
                  <a:pt x="1237" y="228"/>
                </a:moveTo>
                <a:cubicBezTo>
                  <a:pt x="1238" y="229"/>
                  <a:pt x="1238" y="229"/>
                  <a:pt x="1238" y="229"/>
                </a:cubicBezTo>
                <a:cubicBezTo>
                  <a:pt x="1240" y="222"/>
                  <a:pt x="1240" y="222"/>
                  <a:pt x="1240" y="222"/>
                </a:cubicBezTo>
                <a:cubicBezTo>
                  <a:pt x="1239" y="221"/>
                  <a:pt x="1238" y="221"/>
                  <a:pt x="1237" y="221"/>
                </a:cubicBezTo>
                <a:cubicBezTo>
                  <a:pt x="1235" y="220"/>
                  <a:pt x="1234" y="220"/>
                  <a:pt x="1232" y="220"/>
                </a:cubicBezTo>
                <a:cubicBezTo>
                  <a:pt x="1228" y="220"/>
                  <a:pt x="1224" y="221"/>
                  <a:pt x="1221" y="224"/>
                </a:cubicBezTo>
                <a:cubicBezTo>
                  <a:pt x="1218" y="227"/>
                  <a:pt x="1216" y="230"/>
                  <a:pt x="1214" y="234"/>
                </a:cubicBezTo>
                <a:cubicBezTo>
                  <a:pt x="1213" y="237"/>
                  <a:pt x="1212" y="241"/>
                  <a:pt x="1212" y="245"/>
                </a:cubicBezTo>
                <a:cubicBezTo>
                  <a:pt x="1212" y="250"/>
                  <a:pt x="1213" y="254"/>
                  <a:pt x="1215" y="257"/>
                </a:cubicBezTo>
                <a:cubicBezTo>
                  <a:pt x="1217" y="259"/>
                  <a:pt x="1220" y="261"/>
                  <a:pt x="1224" y="261"/>
                </a:cubicBezTo>
                <a:cubicBezTo>
                  <a:pt x="1227" y="261"/>
                  <a:pt x="1230" y="260"/>
                  <a:pt x="1232" y="259"/>
                </a:cubicBezTo>
                <a:cubicBezTo>
                  <a:pt x="1235" y="257"/>
                  <a:pt x="1236" y="256"/>
                  <a:pt x="1238" y="254"/>
                </a:cubicBezTo>
                <a:cubicBezTo>
                  <a:pt x="1236" y="252"/>
                  <a:pt x="1236" y="252"/>
                  <a:pt x="1236" y="252"/>
                </a:cubicBezTo>
                <a:cubicBezTo>
                  <a:pt x="1235" y="253"/>
                  <a:pt x="1233" y="254"/>
                  <a:pt x="1232" y="255"/>
                </a:cubicBezTo>
                <a:cubicBezTo>
                  <a:pt x="1230" y="256"/>
                  <a:pt x="1229" y="256"/>
                  <a:pt x="1227" y="256"/>
                </a:cubicBezTo>
                <a:cubicBezTo>
                  <a:pt x="1224" y="256"/>
                  <a:pt x="1222" y="255"/>
                  <a:pt x="1221" y="253"/>
                </a:cubicBezTo>
                <a:cubicBezTo>
                  <a:pt x="1220" y="251"/>
                  <a:pt x="1219" y="248"/>
                  <a:pt x="1219" y="244"/>
                </a:cubicBezTo>
                <a:cubicBezTo>
                  <a:pt x="1219" y="240"/>
                  <a:pt x="1219" y="237"/>
                  <a:pt x="1221" y="234"/>
                </a:cubicBezTo>
                <a:cubicBezTo>
                  <a:pt x="1222" y="231"/>
                  <a:pt x="1223" y="229"/>
                  <a:pt x="1225" y="227"/>
                </a:cubicBezTo>
                <a:cubicBezTo>
                  <a:pt x="1227" y="225"/>
                  <a:pt x="1229" y="225"/>
                  <a:pt x="1231" y="225"/>
                </a:cubicBezTo>
                <a:cubicBezTo>
                  <a:pt x="1232" y="225"/>
                  <a:pt x="1235" y="226"/>
                  <a:pt x="1237" y="228"/>
                </a:cubicBezTo>
                <a:close/>
                <a:moveTo>
                  <a:pt x="1255" y="254"/>
                </a:moveTo>
                <a:cubicBezTo>
                  <a:pt x="1260" y="221"/>
                  <a:pt x="1260" y="221"/>
                  <a:pt x="1260" y="221"/>
                </a:cubicBezTo>
                <a:cubicBezTo>
                  <a:pt x="1259" y="220"/>
                  <a:pt x="1259" y="220"/>
                  <a:pt x="1259" y="220"/>
                </a:cubicBezTo>
                <a:cubicBezTo>
                  <a:pt x="1249" y="222"/>
                  <a:pt x="1249" y="222"/>
                  <a:pt x="1249" y="222"/>
                </a:cubicBezTo>
                <a:cubicBezTo>
                  <a:pt x="1248" y="224"/>
                  <a:pt x="1248" y="224"/>
                  <a:pt x="1248" y="224"/>
                </a:cubicBezTo>
                <a:cubicBezTo>
                  <a:pt x="1253" y="226"/>
                  <a:pt x="1253" y="226"/>
                  <a:pt x="1253" y="226"/>
                </a:cubicBezTo>
                <a:cubicBezTo>
                  <a:pt x="1252" y="233"/>
                  <a:pt x="1251" y="239"/>
                  <a:pt x="1250" y="243"/>
                </a:cubicBezTo>
                <a:cubicBezTo>
                  <a:pt x="1249" y="251"/>
                  <a:pt x="1248" y="255"/>
                  <a:pt x="1248" y="256"/>
                </a:cubicBezTo>
                <a:cubicBezTo>
                  <a:pt x="1248" y="258"/>
                  <a:pt x="1249" y="259"/>
                  <a:pt x="1249" y="260"/>
                </a:cubicBezTo>
                <a:cubicBezTo>
                  <a:pt x="1250" y="260"/>
                  <a:pt x="1251" y="261"/>
                  <a:pt x="1253" y="261"/>
                </a:cubicBezTo>
                <a:cubicBezTo>
                  <a:pt x="1255" y="261"/>
                  <a:pt x="1256" y="260"/>
                  <a:pt x="1258" y="259"/>
                </a:cubicBezTo>
                <a:cubicBezTo>
                  <a:pt x="1259" y="258"/>
                  <a:pt x="1260" y="257"/>
                  <a:pt x="1261" y="256"/>
                </a:cubicBezTo>
                <a:cubicBezTo>
                  <a:pt x="1260" y="254"/>
                  <a:pt x="1260" y="254"/>
                  <a:pt x="1260" y="254"/>
                </a:cubicBezTo>
                <a:cubicBezTo>
                  <a:pt x="1259" y="255"/>
                  <a:pt x="1259" y="256"/>
                  <a:pt x="1258" y="256"/>
                </a:cubicBezTo>
                <a:cubicBezTo>
                  <a:pt x="1258" y="256"/>
                  <a:pt x="1257" y="256"/>
                  <a:pt x="1256" y="256"/>
                </a:cubicBezTo>
                <a:cubicBezTo>
                  <a:pt x="1256" y="256"/>
                  <a:pt x="1256" y="256"/>
                  <a:pt x="1256" y="256"/>
                </a:cubicBezTo>
                <a:cubicBezTo>
                  <a:pt x="1255" y="256"/>
                  <a:pt x="1255" y="255"/>
                  <a:pt x="1255" y="255"/>
                </a:cubicBezTo>
                <a:lnTo>
                  <a:pt x="1255" y="254"/>
                </a:lnTo>
                <a:close/>
                <a:moveTo>
                  <a:pt x="1258" y="213"/>
                </a:moveTo>
                <a:cubicBezTo>
                  <a:pt x="1259" y="213"/>
                  <a:pt x="1260" y="212"/>
                  <a:pt x="1261" y="211"/>
                </a:cubicBezTo>
                <a:cubicBezTo>
                  <a:pt x="1262" y="210"/>
                  <a:pt x="1262" y="209"/>
                  <a:pt x="1262" y="207"/>
                </a:cubicBezTo>
                <a:cubicBezTo>
                  <a:pt x="1262" y="206"/>
                  <a:pt x="1262" y="206"/>
                  <a:pt x="1261" y="205"/>
                </a:cubicBezTo>
                <a:cubicBezTo>
                  <a:pt x="1261" y="204"/>
                  <a:pt x="1260" y="204"/>
                  <a:pt x="1259" y="204"/>
                </a:cubicBezTo>
                <a:cubicBezTo>
                  <a:pt x="1257" y="204"/>
                  <a:pt x="1256" y="204"/>
                  <a:pt x="1255" y="205"/>
                </a:cubicBezTo>
                <a:cubicBezTo>
                  <a:pt x="1254" y="206"/>
                  <a:pt x="1254" y="207"/>
                  <a:pt x="1254" y="209"/>
                </a:cubicBezTo>
                <a:cubicBezTo>
                  <a:pt x="1254" y="210"/>
                  <a:pt x="1254" y="211"/>
                  <a:pt x="1255" y="212"/>
                </a:cubicBezTo>
                <a:cubicBezTo>
                  <a:pt x="1256" y="212"/>
                  <a:pt x="1257" y="213"/>
                  <a:pt x="1258" y="213"/>
                </a:cubicBezTo>
                <a:close/>
                <a:moveTo>
                  <a:pt x="1282" y="229"/>
                </a:moveTo>
                <a:cubicBezTo>
                  <a:pt x="1283" y="221"/>
                  <a:pt x="1283" y="221"/>
                  <a:pt x="1283" y="221"/>
                </a:cubicBezTo>
                <a:cubicBezTo>
                  <a:pt x="1281" y="220"/>
                  <a:pt x="1281" y="220"/>
                  <a:pt x="1281" y="220"/>
                </a:cubicBezTo>
                <a:cubicBezTo>
                  <a:pt x="1273" y="222"/>
                  <a:pt x="1273" y="222"/>
                  <a:pt x="1273" y="222"/>
                </a:cubicBezTo>
                <a:cubicBezTo>
                  <a:pt x="1272" y="224"/>
                  <a:pt x="1272" y="224"/>
                  <a:pt x="1272" y="224"/>
                </a:cubicBezTo>
                <a:cubicBezTo>
                  <a:pt x="1275" y="226"/>
                  <a:pt x="1275" y="226"/>
                  <a:pt x="1275" y="226"/>
                </a:cubicBezTo>
                <a:cubicBezTo>
                  <a:pt x="1271" y="260"/>
                  <a:pt x="1271" y="260"/>
                  <a:pt x="1271" y="260"/>
                </a:cubicBezTo>
                <a:cubicBezTo>
                  <a:pt x="1278" y="260"/>
                  <a:pt x="1278" y="260"/>
                  <a:pt x="1278" y="260"/>
                </a:cubicBezTo>
                <a:cubicBezTo>
                  <a:pt x="1281" y="235"/>
                  <a:pt x="1281" y="235"/>
                  <a:pt x="1281" y="235"/>
                </a:cubicBezTo>
                <a:cubicBezTo>
                  <a:pt x="1283" y="232"/>
                  <a:pt x="1285" y="230"/>
                  <a:pt x="1287" y="228"/>
                </a:cubicBezTo>
                <a:cubicBezTo>
                  <a:pt x="1289" y="226"/>
                  <a:pt x="1291" y="225"/>
                  <a:pt x="1293" y="225"/>
                </a:cubicBezTo>
                <a:cubicBezTo>
                  <a:pt x="1295" y="225"/>
                  <a:pt x="1296" y="226"/>
                  <a:pt x="1297" y="226"/>
                </a:cubicBezTo>
                <a:cubicBezTo>
                  <a:pt x="1297" y="227"/>
                  <a:pt x="1298" y="229"/>
                  <a:pt x="1298" y="231"/>
                </a:cubicBezTo>
                <a:cubicBezTo>
                  <a:pt x="1298" y="233"/>
                  <a:pt x="1297" y="234"/>
                  <a:pt x="1297" y="236"/>
                </a:cubicBezTo>
                <a:cubicBezTo>
                  <a:pt x="1297" y="238"/>
                  <a:pt x="1297" y="240"/>
                  <a:pt x="1296" y="243"/>
                </a:cubicBezTo>
                <a:cubicBezTo>
                  <a:pt x="1296" y="245"/>
                  <a:pt x="1296" y="245"/>
                  <a:pt x="1296" y="245"/>
                </a:cubicBezTo>
                <a:cubicBezTo>
                  <a:pt x="1295" y="248"/>
                  <a:pt x="1295" y="248"/>
                  <a:pt x="1295" y="248"/>
                </a:cubicBezTo>
                <a:cubicBezTo>
                  <a:pt x="1294" y="252"/>
                  <a:pt x="1294" y="255"/>
                  <a:pt x="1294" y="256"/>
                </a:cubicBezTo>
                <a:cubicBezTo>
                  <a:pt x="1294" y="259"/>
                  <a:pt x="1295" y="261"/>
                  <a:pt x="1298" y="261"/>
                </a:cubicBezTo>
                <a:cubicBezTo>
                  <a:pt x="1300" y="261"/>
                  <a:pt x="1301" y="260"/>
                  <a:pt x="1302" y="260"/>
                </a:cubicBezTo>
                <a:cubicBezTo>
                  <a:pt x="1303" y="259"/>
                  <a:pt x="1304" y="259"/>
                  <a:pt x="1305" y="258"/>
                </a:cubicBezTo>
                <a:cubicBezTo>
                  <a:pt x="1305" y="258"/>
                  <a:pt x="1306" y="257"/>
                  <a:pt x="1306" y="257"/>
                </a:cubicBezTo>
                <a:cubicBezTo>
                  <a:pt x="1305" y="255"/>
                  <a:pt x="1305" y="255"/>
                  <a:pt x="1305" y="255"/>
                </a:cubicBezTo>
                <a:cubicBezTo>
                  <a:pt x="1304" y="256"/>
                  <a:pt x="1303" y="256"/>
                  <a:pt x="1302" y="256"/>
                </a:cubicBezTo>
                <a:cubicBezTo>
                  <a:pt x="1301" y="256"/>
                  <a:pt x="1301" y="256"/>
                  <a:pt x="1301" y="255"/>
                </a:cubicBezTo>
                <a:cubicBezTo>
                  <a:pt x="1301" y="253"/>
                  <a:pt x="1301" y="250"/>
                  <a:pt x="1302" y="246"/>
                </a:cubicBezTo>
                <a:cubicBezTo>
                  <a:pt x="1303" y="243"/>
                  <a:pt x="1303" y="243"/>
                  <a:pt x="1303" y="243"/>
                </a:cubicBezTo>
                <a:cubicBezTo>
                  <a:pt x="1303" y="241"/>
                  <a:pt x="1303" y="241"/>
                  <a:pt x="1303" y="241"/>
                </a:cubicBezTo>
                <a:cubicBezTo>
                  <a:pt x="1304" y="236"/>
                  <a:pt x="1305" y="232"/>
                  <a:pt x="1305" y="230"/>
                </a:cubicBezTo>
                <a:cubicBezTo>
                  <a:pt x="1305" y="227"/>
                  <a:pt x="1304" y="224"/>
                  <a:pt x="1302" y="223"/>
                </a:cubicBezTo>
                <a:cubicBezTo>
                  <a:pt x="1301" y="221"/>
                  <a:pt x="1299" y="220"/>
                  <a:pt x="1296" y="220"/>
                </a:cubicBezTo>
                <a:cubicBezTo>
                  <a:pt x="1294" y="220"/>
                  <a:pt x="1291" y="221"/>
                  <a:pt x="1289" y="223"/>
                </a:cubicBezTo>
                <a:cubicBezTo>
                  <a:pt x="1286" y="224"/>
                  <a:pt x="1284" y="227"/>
                  <a:pt x="1282" y="229"/>
                </a:cubicBezTo>
                <a:close/>
                <a:moveTo>
                  <a:pt x="1342" y="253"/>
                </a:moveTo>
                <a:cubicBezTo>
                  <a:pt x="1340" y="251"/>
                  <a:pt x="1340" y="251"/>
                  <a:pt x="1340" y="251"/>
                </a:cubicBezTo>
                <a:cubicBezTo>
                  <a:pt x="1339" y="253"/>
                  <a:pt x="1337" y="254"/>
                  <a:pt x="1335" y="255"/>
                </a:cubicBezTo>
                <a:cubicBezTo>
                  <a:pt x="1333" y="256"/>
                  <a:pt x="1331" y="256"/>
                  <a:pt x="1329" y="256"/>
                </a:cubicBezTo>
                <a:cubicBezTo>
                  <a:pt x="1326" y="256"/>
                  <a:pt x="1323" y="255"/>
                  <a:pt x="1322" y="253"/>
                </a:cubicBezTo>
                <a:cubicBezTo>
                  <a:pt x="1321" y="250"/>
                  <a:pt x="1320" y="247"/>
                  <a:pt x="1320" y="244"/>
                </a:cubicBezTo>
                <a:cubicBezTo>
                  <a:pt x="1323" y="244"/>
                  <a:pt x="1327" y="244"/>
                  <a:pt x="1330" y="242"/>
                </a:cubicBezTo>
                <a:cubicBezTo>
                  <a:pt x="1334" y="241"/>
                  <a:pt x="1337" y="240"/>
                  <a:pt x="1340" y="237"/>
                </a:cubicBezTo>
                <a:cubicBezTo>
                  <a:pt x="1342" y="235"/>
                  <a:pt x="1344" y="232"/>
                  <a:pt x="1344" y="229"/>
                </a:cubicBezTo>
                <a:cubicBezTo>
                  <a:pt x="1344" y="226"/>
                  <a:pt x="1343" y="224"/>
                  <a:pt x="1341" y="223"/>
                </a:cubicBezTo>
                <a:cubicBezTo>
                  <a:pt x="1340" y="221"/>
                  <a:pt x="1337" y="220"/>
                  <a:pt x="1334" y="220"/>
                </a:cubicBezTo>
                <a:cubicBezTo>
                  <a:pt x="1330" y="220"/>
                  <a:pt x="1326" y="221"/>
                  <a:pt x="1323" y="224"/>
                </a:cubicBezTo>
                <a:cubicBezTo>
                  <a:pt x="1320" y="226"/>
                  <a:pt x="1318" y="229"/>
                  <a:pt x="1316" y="233"/>
                </a:cubicBezTo>
                <a:cubicBezTo>
                  <a:pt x="1314" y="237"/>
                  <a:pt x="1313" y="241"/>
                  <a:pt x="1313" y="246"/>
                </a:cubicBezTo>
                <a:cubicBezTo>
                  <a:pt x="1313" y="248"/>
                  <a:pt x="1314" y="251"/>
                  <a:pt x="1315" y="253"/>
                </a:cubicBezTo>
                <a:cubicBezTo>
                  <a:pt x="1316" y="255"/>
                  <a:pt x="1317" y="257"/>
                  <a:pt x="1319" y="259"/>
                </a:cubicBezTo>
                <a:cubicBezTo>
                  <a:pt x="1321" y="260"/>
                  <a:pt x="1324" y="261"/>
                  <a:pt x="1327" y="261"/>
                </a:cubicBezTo>
                <a:cubicBezTo>
                  <a:pt x="1330" y="261"/>
                  <a:pt x="1333" y="260"/>
                  <a:pt x="1336" y="258"/>
                </a:cubicBezTo>
                <a:cubicBezTo>
                  <a:pt x="1339" y="257"/>
                  <a:pt x="1341" y="255"/>
                  <a:pt x="1342" y="253"/>
                </a:cubicBezTo>
                <a:close/>
                <a:moveTo>
                  <a:pt x="1332" y="224"/>
                </a:moveTo>
                <a:cubicBezTo>
                  <a:pt x="1334" y="224"/>
                  <a:pt x="1335" y="224"/>
                  <a:pt x="1336" y="225"/>
                </a:cubicBezTo>
                <a:cubicBezTo>
                  <a:pt x="1337" y="226"/>
                  <a:pt x="1337" y="228"/>
                  <a:pt x="1337" y="229"/>
                </a:cubicBezTo>
                <a:cubicBezTo>
                  <a:pt x="1337" y="232"/>
                  <a:pt x="1336" y="234"/>
                  <a:pt x="1334" y="235"/>
                </a:cubicBezTo>
                <a:cubicBezTo>
                  <a:pt x="1333" y="237"/>
                  <a:pt x="1331" y="238"/>
                  <a:pt x="1328" y="239"/>
                </a:cubicBezTo>
                <a:cubicBezTo>
                  <a:pt x="1325" y="240"/>
                  <a:pt x="1323" y="241"/>
                  <a:pt x="1321" y="241"/>
                </a:cubicBezTo>
                <a:cubicBezTo>
                  <a:pt x="1321" y="238"/>
                  <a:pt x="1321" y="236"/>
                  <a:pt x="1322" y="233"/>
                </a:cubicBezTo>
                <a:cubicBezTo>
                  <a:pt x="1323" y="230"/>
                  <a:pt x="1325" y="228"/>
                  <a:pt x="1326" y="226"/>
                </a:cubicBezTo>
                <a:cubicBezTo>
                  <a:pt x="1328" y="225"/>
                  <a:pt x="1330" y="224"/>
                  <a:pt x="1332" y="224"/>
                </a:cubicBezTo>
                <a:close/>
              </a:path>
            </a:pathLst>
          </a:custGeom>
          <a:solidFill>
            <a:schemeClr val="bg1"/>
          </a:solidFill>
          <a:ln>
            <a:noFill/>
          </a:ln>
        </p:spPr>
        <p:txBody>
          <a:bodyPr vert="horz" wrap="square" lIns="121920" tIns="60960" rIns="121920" bIns="60960" numCol="1" anchor="t" anchorCtr="0" compatLnSpc="1">
            <a:prstTxWarp prst="textNoShape">
              <a:avLst/>
            </a:prstTxWarp>
          </a:bodyPr>
          <a:lstStyle/>
          <a:p>
            <a:endParaRPr lang="en-US" sz="2400"/>
          </a:p>
        </p:txBody>
      </p:sp>
      <p:sp>
        <p:nvSpPr>
          <p:cNvPr id="17" name="Text Placeholder 16">
            <a:extLst>
              <a:ext uri="{FF2B5EF4-FFF2-40B4-BE49-F238E27FC236}">
                <a16:creationId xmlns:a16="http://schemas.microsoft.com/office/drawing/2014/main" id="{FCA018DF-7EFB-4D08-89D5-E61FB47F425E}"/>
              </a:ext>
            </a:extLst>
          </p:cNvPr>
          <p:cNvSpPr>
            <a:spLocks noGrp="1"/>
          </p:cNvSpPr>
          <p:nvPr>
            <p:ph type="body" sz="quarter" idx="12" hasCustomPrompt="1"/>
          </p:nvPr>
        </p:nvSpPr>
        <p:spPr>
          <a:xfrm>
            <a:off x="7995920" y="6515586"/>
            <a:ext cx="3222413" cy="169277"/>
          </a:xfrm>
        </p:spPr>
        <p:txBody>
          <a:bodyPr wrap="square">
            <a:spAutoFit/>
          </a:bodyPr>
          <a:lstStyle>
            <a:lvl1pPr marL="0" indent="0">
              <a:buNone/>
              <a:defRPr sz="1000" cap="all" spc="147" baseline="0">
                <a:solidFill>
                  <a:schemeClr val="tx2"/>
                </a:solidFill>
              </a:defRPr>
            </a:lvl1pPr>
          </a:lstStyle>
          <a:p>
            <a:pPr lvl="0"/>
            <a:r>
              <a:rPr lang="en-US"/>
              <a:t>CLICK TO EDIT MASTER TEXT</a:t>
            </a:r>
          </a:p>
        </p:txBody>
      </p:sp>
    </p:spTree>
    <p:extLst>
      <p:ext uri="{BB962C8B-B14F-4D97-AF65-F5344CB8AC3E}">
        <p14:creationId xmlns:p14="http://schemas.microsoft.com/office/powerpoint/2010/main" val="172607799"/>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p:cSld name="Title Slide - Dark Teal">
    <p:spTree>
      <p:nvGrpSpPr>
        <p:cNvPr id="1" name=""/>
        <p:cNvGrpSpPr/>
        <p:nvPr/>
      </p:nvGrpSpPr>
      <p:grpSpPr>
        <a:xfrm>
          <a:off x="0" y="0"/>
          <a:ext cx="0" cy="0"/>
          <a:chOff x="0" y="0"/>
          <a:chExt cx="0" cy="0"/>
        </a:xfrm>
      </p:grpSpPr>
      <p:sp>
        <p:nvSpPr>
          <p:cNvPr id="15" name="Picture Placeholder 14">
            <a:extLst>
              <a:ext uri="{FF2B5EF4-FFF2-40B4-BE49-F238E27FC236}">
                <a16:creationId xmlns:a16="http://schemas.microsoft.com/office/drawing/2014/main" id="{42927F7C-53AC-400F-8DAD-235A2AF61FB8}"/>
              </a:ext>
            </a:extLst>
          </p:cNvPr>
          <p:cNvSpPr>
            <a:spLocks noGrp="1"/>
          </p:cNvSpPr>
          <p:nvPr>
            <p:ph type="pic" sz="quarter" idx="11"/>
          </p:nvPr>
        </p:nvSpPr>
        <p:spPr>
          <a:xfrm>
            <a:off x="0" y="1"/>
            <a:ext cx="12192000" cy="6280151"/>
          </a:xfrm>
          <a:solidFill>
            <a:schemeClr val="bg2">
              <a:lumMod val="90000"/>
            </a:schemeClr>
          </a:solidFill>
        </p:spPr>
        <p:txBody>
          <a:bodyPr/>
          <a:lstStyle/>
          <a:p>
            <a:r>
              <a:rPr lang="en-US"/>
              <a:t>Click icon to add picture</a:t>
            </a:r>
          </a:p>
        </p:txBody>
      </p:sp>
      <p:sp>
        <p:nvSpPr>
          <p:cNvPr id="13" name="Text Placeholder 12">
            <a:extLst>
              <a:ext uri="{FF2B5EF4-FFF2-40B4-BE49-F238E27FC236}">
                <a16:creationId xmlns:a16="http://schemas.microsoft.com/office/drawing/2014/main" id="{D2D74F39-96DB-4808-8693-9F55A9D7DB98}"/>
              </a:ext>
            </a:extLst>
          </p:cNvPr>
          <p:cNvSpPr>
            <a:spLocks noGrp="1"/>
          </p:cNvSpPr>
          <p:nvPr>
            <p:ph type="body" sz="quarter" idx="10"/>
          </p:nvPr>
        </p:nvSpPr>
        <p:spPr>
          <a:xfrm>
            <a:off x="2" y="1563078"/>
            <a:ext cx="7737229" cy="5294921"/>
          </a:xfrm>
          <a:solidFill>
            <a:srgbClr val="315470"/>
          </a:solidFill>
        </p:spPr>
        <p:txBody>
          <a:bodyPr lIns="502920" tIns="274320" rIns="457200" bIns="457200"/>
          <a:lstStyle>
            <a:lvl1pPr marL="0" indent="0">
              <a:lnSpc>
                <a:spcPct val="100000"/>
              </a:lnSpc>
              <a:buNone/>
              <a:defRPr sz="4000">
                <a:solidFill>
                  <a:schemeClr val="bg1"/>
                </a:solidFill>
                <a:latin typeface="+mj-lt"/>
              </a:defRPr>
            </a:lvl1pPr>
            <a:lvl2pPr marL="0" indent="0">
              <a:spcBef>
                <a:spcPts val="1200"/>
              </a:spcBef>
              <a:buNone/>
              <a:defRPr sz="2000">
                <a:solidFill>
                  <a:schemeClr val="bg1"/>
                </a:solidFill>
                <a:latin typeface="+mj-lt"/>
              </a:defRPr>
            </a:lvl2pPr>
            <a:lvl3pPr marL="609585" indent="0">
              <a:buNone/>
              <a:defRPr>
                <a:solidFill>
                  <a:schemeClr val="bg1"/>
                </a:solidFill>
                <a:latin typeface="+mj-lt"/>
              </a:defRPr>
            </a:lvl3pPr>
            <a:lvl4pPr marL="922844" indent="0">
              <a:buNone/>
              <a:defRPr>
                <a:solidFill>
                  <a:schemeClr val="bg1"/>
                </a:solidFill>
                <a:latin typeface="+mj-lt"/>
              </a:defRPr>
            </a:lvl4pPr>
            <a:lvl5pPr marL="1219170" indent="0">
              <a:buNone/>
              <a:defRPr>
                <a:solidFill>
                  <a:schemeClr val="bg1"/>
                </a:solidFill>
                <a:latin typeface="+mj-lt"/>
              </a:defRPr>
            </a:lvl5pPr>
          </a:lstStyle>
          <a:p>
            <a:pPr lvl="0"/>
            <a:r>
              <a:rPr lang="en-US"/>
              <a:t>Edit Master text styles</a:t>
            </a:r>
          </a:p>
          <a:p>
            <a:pPr lvl="1"/>
            <a:r>
              <a:rPr lang="en-US"/>
              <a:t>Second level</a:t>
            </a:r>
          </a:p>
        </p:txBody>
      </p:sp>
      <p:sp>
        <p:nvSpPr>
          <p:cNvPr id="3" name="Subtitle 2"/>
          <p:cNvSpPr>
            <a:spLocks noGrp="1"/>
          </p:cNvSpPr>
          <p:nvPr>
            <p:ph type="subTitle" idx="1"/>
          </p:nvPr>
        </p:nvSpPr>
        <p:spPr>
          <a:xfrm>
            <a:off x="701040" y="4738102"/>
            <a:ext cx="6461760" cy="225639"/>
          </a:xfrm>
        </p:spPr>
        <p:txBody>
          <a:bodyPr anchor="b" anchorCtr="0">
            <a:spAutoFit/>
          </a:bodyPr>
          <a:lstStyle>
            <a:lvl1pPr marL="0" indent="0" algn="l">
              <a:buNone/>
              <a:defRPr sz="1333" i="1">
                <a:solidFill>
                  <a:schemeClr val="bg1"/>
                </a:solidFill>
                <a:latin typeface="+mj-l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
        <p:nvSpPr>
          <p:cNvPr id="9" name="Freeform 5">
            <a:extLst>
              <a:ext uri="{FF2B5EF4-FFF2-40B4-BE49-F238E27FC236}">
                <a16:creationId xmlns:a16="http://schemas.microsoft.com/office/drawing/2014/main" id="{6EF64205-A64B-4137-BA41-5E5CFE0F359E}"/>
              </a:ext>
            </a:extLst>
          </p:cNvPr>
          <p:cNvSpPr>
            <a:spLocks noEditPoints="1"/>
          </p:cNvSpPr>
          <p:nvPr/>
        </p:nvSpPr>
        <p:spPr bwMode="auto">
          <a:xfrm>
            <a:off x="643609" y="578451"/>
            <a:ext cx="2922943" cy="547357"/>
          </a:xfrm>
          <a:custGeom>
            <a:avLst/>
            <a:gdLst>
              <a:gd name="T0" fmla="*/ 225 w 1440"/>
              <a:gd name="T1" fmla="*/ 110 h 267"/>
              <a:gd name="T2" fmla="*/ 317 w 1440"/>
              <a:gd name="T3" fmla="*/ 7 h 267"/>
              <a:gd name="T4" fmla="*/ 475 w 1440"/>
              <a:gd name="T5" fmla="*/ 19 h 267"/>
              <a:gd name="T6" fmla="*/ 830 w 1440"/>
              <a:gd name="T7" fmla="*/ 7 h 267"/>
              <a:gd name="T8" fmla="*/ 130 w 1440"/>
              <a:gd name="T9" fmla="*/ 210 h 267"/>
              <a:gd name="T10" fmla="*/ 437 w 1440"/>
              <a:gd name="T11" fmla="*/ 209 h 267"/>
              <a:gd name="T12" fmla="*/ 493 w 1440"/>
              <a:gd name="T13" fmla="*/ 198 h 267"/>
              <a:gd name="T14" fmla="*/ 866 w 1440"/>
              <a:gd name="T15" fmla="*/ 171 h 267"/>
              <a:gd name="T16" fmla="*/ 737 w 1440"/>
              <a:gd name="T17" fmla="*/ 261 h 267"/>
              <a:gd name="T18" fmla="*/ 958 w 1440"/>
              <a:gd name="T19" fmla="*/ 172 h 267"/>
              <a:gd name="T20" fmla="*/ 906 w 1440"/>
              <a:gd name="T21" fmla="*/ 254 h 267"/>
              <a:gd name="T22" fmla="*/ 309 w 1440"/>
              <a:gd name="T23" fmla="*/ 260 h 267"/>
              <a:gd name="T24" fmla="*/ 1053 w 1440"/>
              <a:gd name="T25" fmla="*/ 31 h 267"/>
              <a:gd name="T26" fmla="*/ 1075 w 1440"/>
              <a:gd name="T27" fmla="*/ 44 h 267"/>
              <a:gd name="T28" fmla="*/ 1091 w 1440"/>
              <a:gd name="T29" fmla="*/ 22 h 267"/>
              <a:gd name="T30" fmla="*/ 1107 w 1440"/>
              <a:gd name="T31" fmla="*/ 27 h 267"/>
              <a:gd name="T32" fmla="*/ 1125 w 1440"/>
              <a:gd name="T33" fmla="*/ 55 h 267"/>
              <a:gd name="T34" fmla="*/ 1159 w 1440"/>
              <a:gd name="T35" fmla="*/ 53 h 267"/>
              <a:gd name="T36" fmla="*/ 1160 w 1440"/>
              <a:gd name="T37" fmla="*/ 57 h 267"/>
              <a:gd name="T38" fmla="*/ 1177 w 1440"/>
              <a:gd name="T39" fmla="*/ 23 h 267"/>
              <a:gd name="T40" fmla="*/ 1207 w 1440"/>
              <a:gd name="T41" fmla="*/ 58 h 267"/>
              <a:gd name="T42" fmla="*/ 1245 w 1440"/>
              <a:gd name="T43" fmla="*/ 27 h 267"/>
              <a:gd name="T44" fmla="*/ 1225 w 1440"/>
              <a:gd name="T45" fmla="*/ 43 h 267"/>
              <a:gd name="T46" fmla="*/ 1271 w 1440"/>
              <a:gd name="T47" fmla="*/ 19 h 267"/>
              <a:gd name="T48" fmla="*/ 1259 w 1440"/>
              <a:gd name="T49" fmla="*/ 32 h 267"/>
              <a:gd name="T50" fmla="*/ 1290 w 1440"/>
              <a:gd name="T51" fmla="*/ 54 h 267"/>
              <a:gd name="T52" fmla="*/ 1310 w 1440"/>
              <a:gd name="T53" fmla="*/ 25 h 267"/>
              <a:gd name="T54" fmla="*/ 1059 w 1440"/>
              <a:gd name="T55" fmla="*/ 110 h 267"/>
              <a:gd name="T56" fmla="*/ 1099 w 1440"/>
              <a:gd name="T57" fmla="*/ 134 h 267"/>
              <a:gd name="T58" fmla="*/ 1120 w 1440"/>
              <a:gd name="T59" fmla="*/ 156 h 267"/>
              <a:gd name="T60" fmla="*/ 1141 w 1440"/>
              <a:gd name="T61" fmla="*/ 123 h 267"/>
              <a:gd name="T62" fmla="*/ 1148 w 1440"/>
              <a:gd name="T63" fmla="*/ 175 h 267"/>
              <a:gd name="T64" fmla="*/ 1184 w 1440"/>
              <a:gd name="T65" fmla="*/ 119 h 267"/>
              <a:gd name="T66" fmla="*/ 1181 w 1440"/>
              <a:gd name="T67" fmla="*/ 153 h 267"/>
              <a:gd name="T68" fmla="*/ 1201 w 1440"/>
              <a:gd name="T69" fmla="*/ 125 h 267"/>
              <a:gd name="T70" fmla="*/ 1230 w 1440"/>
              <a:gd name="T71" fmla="*/ 157 h 267"/>
              <a:gd name="T72" fmla="*/ 1260 w 1440"/>
              <a:gd name="T73" fmla="*/ 154 h 267"/>
              <a:gd name="T74" fmla="*/ 1261 w 1440"/>
              <a:gd name="T75" fmla="*/ 158 h 267"/>
              <a:gd name="T76" fmla="*/ 1284 w 1440"/>
              <a:gd name="T77" fmla="*/ 152 h 267"/>
              <a:gd name="T78" fmla="*/ 1294 w 1440"/>
              <a:gd name="T79" fmla="*/ 123 h 267"/>
              <a:gd name="T80" fmla="*/ 1317 w 1440"/>
              <a:gd name="T81" fmla="*/ 125 h 267"/>
              <a:gd name="T82" fmla="*/ 1342 w 1440"/>
              <a:gd name="T83" fmla="*/ 121 h 267"/>
              <a:gd name="T84" fmla="*/ 1351 w 1440"/>
              <a:gd name="T85" fmla="*/ 112 h 267"/>
              <a:gd name="T86" fmla="*/ 1364 w 1440"/>
              <a:gd name="T87" fmla="*/ 159 h 267"/>
              <a:gd name="T88" fmla="*/ 1399 w 1440"/>
              <a:gd name="T89" fmla="*/ 156 h 267"/>
              <a:gd name="T90" fmla="*/ 1432 w 1440"/>
              <a:gd name="T91" fmla="*/ 120 h 267"/>
              <a:gd name="T92" fmla="*/ 1410 w 1440"/>
              <a:gd name="T93" fmla="*/ 176 h 267"/>
              <a:gd name="T94" fmla="*/ 1076 w 1440"/>
              <a:gd name="T95" fmla="*/ 242 h 267"/>
              <a:gd name="T96" fmla="*/ 1062 w 1440"/>
              <a:gd name="T97" fmla="*/ 225 h 267"/>
              <a:gd name="T98" fmla="*/ 1091 w 1440"/>
              <a:gd name="T99" fmla="*/ 208 h 267"/>
              <a:gd name="T100" fmla="*/ 1112 w 1440"/>
              <a:gd name="T101" fmla="*/ 233 h 267"/>
              <a:gd name="T102" fmla="*/ 1128 w 1440"/>
              <a:gd name="T103" fmla="*/ 224 h 267"/>
              <a:gd name="T104" fmla="*/ 1168 w 1440"/>
              <a:gd name="T105" fmla="*/ 255 h 267"/>
              <a:gd name="T106" fmla="*/ 1154 w 1440"/>
              <a:gd name="T107" fmla="*/ 236 h 267"/>
              <a:gd name="T108" fmla="*/ 1203 w 1440"/>
              <a:gd name="T109" fmla="*/ 256 h 267"/>
              <a:gd name="T110" fmla="*/ 1200 w 1440"/>
              <a:gd name="T111" fmla="*/ 213 h 267"/>
              <a:gd name="T112" fmla="*/ 1227 w 1440"/>
              <a:gd name="T113" fmla="*/ 256 h 267"/>
              <a:gd name="T114" fmla="*/ 1249 w 1440"/>
              <a:gd name="T115" fmla="*/ 260 h 267"/>
              <a:gd name="T116" fmla="*/ 1255 w 1440"/>
              <a:gd name="T117" fmla="*/ 205 h 267"/>
              <a:gd name="T118" fmla="*/ 1297 w 1440"/>
              <a:gd name="T119" fmla="*/ 226 h 267"/>
              <a:gd name="T120" fmla="*/ 1303 w 1440"/>
              <a:gd name="T121" fmla="*/ 243 h 267"/>
              <a:gd name="T122" fmla="*/ 1344 w 1440"/>
              <a:gd name="T123" fmla="*/ 229 h 267"/>
              <a:gd name="T124" fmla="*/ 1328 w 1440"/>
              <a:gd name="T125" fmla="*/ 239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440" h="267">
                <a:moveTo>
                  <a:pt x="17" y="110"/>
                </a:moveTo>
                <a:cubicBezTo>
                  <a:pt x="3" y="110"/>
                  <a:pt x="3" y="110"/>
                  <a:pt x="3" y="110"/>
                </a:cubicBezTo>
                <a:cubicBezTo>
                  <a:pt x="3" y="1"/>
                  <a:pt x="3" y="1"/>
                  <a:pt x="3" y="1"/>
                </a:cubicBezTo>
                <a:cubicBezTo>
                  <a:pt x="81" y="83"/>
                  <a:pt x="81" y="83"/>
                  <a:pt x="81" y="83"/>
                </a:cubicBezTo>
                <a:cubicBezTo>
                  <a:pt x="81" y="7"/>
                  <a:pt x="81" y="7"/>
                  <a:pt x="81" y="7"/>
                </a:cubicBezTo>
                <a:cubicBezTo>
                  <a:pt x="95" y="7"/>
                  <a:pt x="95" y="7"/>
                  <a:pt x="95" y="7"/>
                </a:cubicBezTo>
                <a:cubicBezTo>
                  <a:pt x="95" y="117"/>
                  <a:pt x="95" y="117"/>
                  <a:pt x="95" y="117"/>
                </a:cubicBezTo>
                <a:cubicBezTo>
                  <a:pt x="17" y="35"/>
                  <a:pt x="17" y="35"/>
                  <a:pt x="17" y="35"/>
                </a:cubicBezTo>
                <a:lnTo>
                  <a:pt x="17" y="110"/>
                </a:lnTo>
                <a:close/>
                <a:moveTo>
                  <a:pt x="130" y="110"/>
                </a:moveTo>
                <a:cubicBezTo>
                  <a:pt x="145" y="110"/>
                  <a:pt x="145" y="110"/>
                  <a:pt x="145" y="110"/>
                </a:cubicBezTo>
                <a:cubicBezTo>
                  <a:pt x="178" y="33"/>
                  <a:pt x="178" y="33"/>
                  <a:pt x="178" y="33"/>
                </a:cubicBezTo>
                <a:cubicBezTo>
                  <a:pt x="210" y="109"/>
                  <a:pt x="210" y="109"/>
                  <a:pt x="210" y="109"/>
                </a:cubicBezTo>
                <a:cubicBezTo>
                  <a:pt x="210" y="110"/>
                  <a:pt x="210" y="110"/>
                  <a:pt x="210" y="110"/>
                </a:cubicBezTo>
                <a:cubicBezTo>
                  <a:pt x="225" y="110"/>
                  <a:pt x="225" y="110"/>
                  <a:pt x="225" y="110"/>
                </a:cubicBezTo>
                <a:cubicBezTo>
                  <a:pt x="178" y="0"/>
                  <a:pt x="178" y="0"/>
                  <a:pt x="178" y="0"/>
                </a:cubicBezTo>
                <a:lnTo>
                  <a:pt x="130" y="110"/>
                </a:lnTo>
                <a:close/>
                <a:moveTo>
                  <a:pt x="700" y="110"/>
                </a:moveTo>
                <a:cubicBezTo>
                  <a:pt x="715" y="110"/>
                  <a:pt x="715" y="110"/>
                  <a:pt x="715" y="110"/>
                </a:cubicBezTo>
                <a:cubicBezTo>
                  <a:pt x="748" y="33"/>
                  <a:pt x="748" y="33"/>
                  <a:pt x="748" y="33"/>
                </a:cubicBezTo>
                <a:cubicBezTo>
                  <a:pt x="780" y="109"/>
                  <a:pt x="780" y="109"/>
                  <a:pt x="780" y="109"/>
                </a:cubicBezTo>
                <a:cubicBezTo>
                  <a:pt x="780" y="110"/>
                  <a:pt x="780" y="110"/>
                  <a:pt x="780" y="110"/>
                </a:cubicBezTo>
                <a:cubicBezTo>
                  <a:pt x="795" y="110"/>
                  <a:pt x="795" y="110"/>
                  <a:pt x="795" y="110"/>
                </a:cubicBezTo>
                <a:cubicBezTo>
                  <a:pt x="748" y="0"/>
                  <a:pt x="748" y="0"/>
                  <a:pt x="748" y="0"/>
                </a:cubicBezTo>
                <a:lnTo>
                  <a:pt x="700" y="110"/>
                </a:lnTo>
                <a:close/>
                <a:moveTo>
                  <a:pt x="273" y="110"/>
                </a:moveTo>
                <a:cubicBezTo>
                  <a:pt x="286" y="110"/>
                  <a:pt x="286" y="110"/>
                  <a:pt x="286" y="110"/>
                </a:cubicBezTo>
                <a:cubicBezTo>
                  <a:pt x="286" y="20"/>
                  <a:pt x="286" y="20"/>
                  <a:pt x="286" y="20"/>
                </a:cubicBezTo>
                <a:cubicBezTo>
                  <a:pt x="317" y="20"/>
                  <a:pt x="317" y="20"/>
                  <a:pt x="317" y="20"/>
                </a:cubicBezTo>
                <a:cubicBezTo>
                  <a:pt x="317" y="7"/>
                  <a:pt x="317" y="7"/>
                  <a:pt x="317" y="7"/>
                </a:cubicBezTo>
                <a:cubicBezTo>
                  <a:pt x="242" y="7"/>
                  <a:pt x="242" y="7"/>
                  <a:pt x="242" y="7"/>
                </a:cubicBezTo>
                <a:cubicBezTo>
                  <a:pt x="242" y="20"/>
                  <a:pt x="242" y="20"/>
                  <a:pt x="242" y="20"/>
                </a:cubicBezTo>
                <a:cubicBezTo>
                  <a:pt x="273" y="20"/>
                  <a:pt x="273" y="20"/>
                  <a:pt x="273" y="20"/>
                </a:cubicBezTo>
                <a:lnTo>
                  <a:pt x="273" y="110"/>
                </a:lnTo>
                <a:close/>
                <a:moveTo>
                  <a:pt x="374" y="7"/>
                </a:moveTo>
                <a:cubicBezTo>
                  <a:pt x="360" y="7"/>
                  <a:pt x="360" y="7"/>
                  <a:pt x="360" y="7"/>
                </a:cubicBezTo>
                <a:cubicBezTo>
                  <a:pt x="360" y="110"/>
                  <a:pt x="360" y="110"/>
                  <a:pt x="360" y="110"/>
                </a:cubicBezTo>
                <a:cubicBezTo>
                  <a:pt x="374" y="110"/>
                  <a:pt x="374" y="110"/>
                  <a:pt x="374" y="110"/>
                </a:cubicBezTo>
                <a:lnTo>
                  <a:pt x="374" y="7"/>
                </a:lnTo>
                <a:close/>
                <a:moveTo>
                  <a:pt x="475" y="112"/>
                </a:moveTo>
                <a:cubicBezTo>
                  <a:pt x="445" y="112"/>
                  <a:pt x="421" y="88"/>
                  <a:pt x="421" y="59"/>
                </a:cubicBezTo>
                <a:cubicBezTo>
                  <a:pt x="421" y="29"/>
                  <a:pt x="445" y="5"/>
                  <a:pt x="475" y="5"/>
                </a:cubicBezTo>
                <a:cubicBezTo>
                  <a:pt x="505" y="5"/>
                  <a:pt x="528" y="29"/>
                  <a:pt x="528" y="59"/>
                </a:cubicBezTo>
                <a:cubicBezTo>
                  <a:pt x="528" y="88"/>
                  <a:pt x="505" y="112"/>
                  <a:pt x="475" y="112"/>
                </a:cubicBezTo>
                <a:close/>
                <a:moveTo>
                  <a:pt x="475" y="19"/>
                </a:moveTo>
                <a:cubicBezTo>
                  <a:pt x="453" y="19"/>
                  <a:pt x="435" y="37"/>
                  <a:pt x="435" y="59"/>
                </a:cubicBezTo>
                <a:cubicBezTo>
                  <a:pt x="435" y="81"/>
                  <a:pt x="453" y="99"/>
                  <a:pt x="475" y="99"/>
                </a:cubicBezTo>
                <a:cubicBezTo>
                  <a:pt x="497" y="99"/>
                  <a:pt x="514" y="81"/>
                  <a:pt x="514" y="59"/>
                </a:cubicBezTo>
                <a:cubicBezTo>
                  <a:pt x="514" y="37"/>
                  <a:pt x="497" y="19"/>
                  <a:pt x="475" y="19"/>
                </a:cubicBezTo>
                <a:close/>
                <a:moveTo>
                  <a:pt x="586" y="35"/>
                </a:moveTo>
                <a:cubicBezTo>
                  <a:pt x="664" y="117"/>
                  <a:pt x="664" y="117"/>
                  <a:pt x="664" y="117"/>
                </a:cubicBezTo>
                <a:cubicBezTo>
                  <a:pt x="664" y="7"/>
                  <a:pt x="664" y="7"/>
                  <a:pt x="664" y="7"/>
                </a:cubicBezTo>
                <a:cubicBezTo>
                  <a:pt x="650" y="7"/>
                  <a:pt x="650" y="7"/>
                  <a:pt x="650" y="7"/>
                </a:cubicBezTo>
                <a:cubicBezTo>
                  <a:pt x="650" y="83"/>
                  <a:pt x="650" y="83"/>
                  <a:pt x="650" y="83"/>
                </a:cubicBezTo>
                <a:cubicBezTo>
                  <a:pt x="572" y="1"/>
                  <a:pt x="572" y="1"/>
                  <a:pt x="572" y="1"/>
                </a:cubicBezTo>
                <a:cubicBezTo>
                  <a:pt x="572" y="110"/>
                  <a:pt x="572" y="110"/>
                  <a:pt x="572" y="110"/>
                </a:cubicBezTo>
                <a:cubicBezTo>
                  <a:pt x="586" y="110"/>
                  <a:pt x="586" y="110"/>
                  <a:pt x="586" y="110"/>
                </a:cubicBezTo>
                <a:lnTo>
                  <a:pt x="586" y="35"/>
                </a:lnTo>
                <a:close/>
                <a:moveTo>
                  <a:pt x="843" y="7"/>
                </a:moveTo>
                <a:cubicBezTo>
                  <a:pt x="830" y="7"/>
                  <a:pt x="830" y="7"/>
                  <a:pt x="830" y="7"/>
                </a:cubicBezTo>
                <a:cubicBezTo>
                  <a:pt x="830" y="110"/>
                  <a:pt x="830" y="110"/>
                  <a:pt x="830" y="110"/>
                </a:cubicBezTo>
                <a:cubicBezTo>
                  <a:pt x="885" y="110"/>
                  <a:pt x="885" y="110"/>
                  <a:pt x="885" y="110"/>
                </a:cubicBezTo>
                <a:cubicBezTo>
                  <a:pt x="885" y="97"/>
                  <a:pt x="885" y="97"/>
                  <a:pt x="885" y="97"/>
                </a:cubicBezTo>
                <a:cubicBezTo>
                  <a:pt x="843" y="97"/>
                  <a:pt x="843" y="97"/>
                  <a:pt x="843" y="97"/>
                </a:cubicBezTo>
                <a:lnTo>
                  <a:pt x="843" y="7"/>
                </a:lnTo>
                <a:close/>
                <a:moveTo>
                  <a:pt x="169" y="156"/>
                </a:moveTo>
                <a:cubicBezTo>
                  <a:pt x="139" y="156"/>
                  <a:pt x="116" y="179"/>
                  <a:pt x="116" y="209"/>
                </a:cubicBezTo>
                <a:cubicBezTo>
                  <a:pt x="116" y="240"/>
                  <a:pt x="139" y="262"/>
                  <a:pt x="169" y="262"/>
                </a:cubicBezTo>
                <a:cubicBezTo>
                  <a:pt x="175" y="262"/>
                  <a:pt x="188" y="261"/>
                  <a:pt x="200" y="252"/>
                </a:cubicBezTo>
                <a:cubicBezTo>
                  <a:pt x="200" y="252"/>
                  <a:pt x="200" y="252"/>
                  <a:pt x="200" y="252"/>
                </a:cubicBezTo>
                <a:cubicBezTo>
                  <a:pt x="200" y="234"/>
                  <a:pt x="200" y="234"/>
                  <a:pt x="200" y="234"/>
                </a:cubicBezTo>
                <a:cubicBezTo>
                  <a:pt x="198" y="236"/>
                  <a:pt x="198" y="236"/>
                  <a:pt x="198" y="236"/>
                </a:cubicBezTo>
                <a:cubicBezTo>
                  <a:pt x="196" y="239"/>
                  <a:pt x="192" y="242"/>
                  <a:pt x="187" y="245"/>
                </a:cubicBezTo>
                <a:cubicBezTo>
                  <a:pt x="181" y="247"/>
                  <a:pt x="175" y="249"/>
                  <a:pt x="169" y="249"/>
                </a:cubicBezTo>
                <a:cubicBezTo>
                  <a:pt x="142" y="249"/>
                  <a:pt x="130" y="226"/>
                  <a:pt x="130" y="210"/>
                </a:cubicBezTo>
                <a:cubicBezTo>
                  <a:pt x="130" y="187"/>
                  <a:pt x="147" y="169"/>
                  <a:pt x="169" y="169"/>
                </a:cubicBezTo>
                <a:cubicBezTo>
                  <a:pt x="174" y="169"/>
                  <a:pt x="180" y="170"/>
                  <a:pt x="185" y="173"/>
                </a:cubicBezTo>
                <a:cubicBezTo>
                  <a:pt x="190" y="175"/>
                  <a:pt x="194" y="178"/>
                  <a:pt x="198" y="182"/>
                </a:cubicBezTo>
                <a:cubicBezTo>
                  <a:pt x="200" y="184"/>
                  <a:pt x="200" y="184"/>
                  <a:pt x="200" y="184"/>
                </a:cubicBezTo>
                <a:cubicBezTo>
                  <a:pt x="200" y="166"/>
                  <a:pt x="200" y="166"/>
                  <a:pt x="200" y="166"/>
                </a:cubicBezTo>
                <a:cubicBezTo>
                  <a:pt x="200" y="166"/>
                  <a:pt x="200" y="166"/>
                  <a:pt x="200" y="166"/>
                </a:cubicBezTo>
                <a:cubicBezTo>
                  <a:pt x="191" y="159"/>
                  <a:pt x="181" y="156"/>
                  <a:pt x="169" y="156"/>
                </a:cubicBezTo>
                <a:close/>
                <a:moveTo>
                  <a:pt x="437" y="209"/>
                </a:moveTo>
                <a:cubicBezTo>
                  <a:pt x="437" y="225"/>
                  <a:pt x="431" y="238"/>
                  <a:pt x="419" y="249"/>
                </a:cubicBezTo>
                <a:cubicBezTo>
                  <a:pt x="409" y="257"/>
                  <a:pt x="399" y="261"/>
                  <a:pt x="382" y="261"/>
                </a:cubicBezTo>
                <a:cubicBezTo>
                  <a:pt x="360" y="261"/>
                  <a:pt x="360" y="261"/>
                  <a:pt x="360" y="261"/>
                </a:cubicBezTo>
                <a:cubicBezTo>
                  <a:pt x="360" y="157"/>
                  <a:pt x="360" y="157"/>
                  <a:pt x="360" y="157"/>
                </a:cubicBezTo>
                <a:cubicBezTo>
                  <a:pt x="382" y="157"/>
                  <a:pt x="382" y="157"/>
                  <a:pt x="382" y="157"/>
                </a:cubicBezTo>
                <a:cubicBezTo>
                  <a:pt x="393" y="157"/>
                  <a:pt x="407" y="159"/>
                  <a:pt x="420" y="170"/>
                </a:cubicBezTo>
                <a:cubicBezTo>
                  <a:pt x="426" y="175"/>
                  <a:pt x="437" y="187"/>
                  <a:pt x="437" y="209"/>
                </a:cubicBezTo>
                <a:close/>
                <a:moveTo>
                  <a:pt x="423" y="209"/>
                </a:moveTo>
                <a:cubicBezTo>
                  <a:pt x="423" y="186"/>
                  <a:pt x="407" y="171"/>
                  <a:pt x="382" y="171"/>
                </a:cubicBezTo>
                <a:cubicBezTo>
                  <a:pt x="374" y="171"/>
                  <a:pt x="374" y="171"/>
                  <a:pt x="374" y="171"/>
                </a:cubicBezTo>
                <a:cubicBezTo>
                  <a:pt x="374" y="247"/>
                  <a:pt x="374" y="247"/>
                  <a:pt x="374" y="247"/>
                </a:cubicBezTo>
                <a:cubicBezTo>
                  <a:pt x="382" y="247"/>
                  <a:pt x="382" y="247"/>
                  <a:pt x="382" y="247"/>
                </a:cubicBezTo>
                <a:cubicBezTo>
                  <a:pt x="390" y="247"/>
                  <a:pt x="401" y="246"/>
                  <a:pt x="410" y="239"/>
                </a:cubicBezTo>
                <a:cubicBezTo>
                  <a:pt x="416" y="234"/>
                  <a:pt x="423" y="224"/>
                  <a:pt x="423" y="209"/>
                </a:cubicBezTo>
                <a:close/>
                <a:moveTo>
                  <a:pt x="479" y="261"/>
                </a:moveTo>
                <a:cubicBezTo>
                  <a:pt x="541" y="261"/>
                  <a:pt x="541" y="261"/>
                  <a:pt x="541" y="261"/>
                </a:cubicBezTo>
                <a:cubicBezTo>
                  <a:pt x="541" y="247"/>
                  <a:pt x="541" y="247"/>
                  <a:pt x="541" y="247"/>
                </a:cubicBezTo>
                <a:cubicBezTo>
                  <a:pt x="493" y="247"/>
                  <a:pt x="493" y="247"/>
                  <a:pt x="493" y="247"/>
                </a:cubicBezTo>
                <a:cubicBezTo>
                  <a:pt x="493" y="211"/>
                  <a:pt x="493" y="211"/>
                  <a:pt x="493" y="211"/>
                </a:cubicBezTo>
                <a:cubicBezTo>
                  <a:pt x="535" y="211"/>
                  <a:pt x="535" y="211"/>
                  <a:pt x="535" y="211"/>
                </a:cubicBezTo>
                <a:cubicBezTo>
                  <a:pt x="535" y="198"/>
                  <a:pt x="535" y="198"/>
                  <a:pt x="535" y="198"/>
                </a:cubicBezTo>
                <a:cubicBezTo>
                  <a:pt x="493" y="198"/>
                  <a:pt x="493" y="198"/>
                  <a:pt x="493" y="198"/>
                </a:cubicBezTo>
                <a:cubicBezTo>
                  <a:pt x="493" y="171"/>
                  <a:pt x="493" y="171"/>
                  <a:pt x="493" y="171"/>
                </a:cubicBezTo>
                <a:cubicBezTo>
                  <a:pt x="541" y="171"/>
                  <a:pt x="541" y="171"/>
                  <a:pt x="541" y="171"/>
                </a:cubicBezTo>
                <a:cubicBezTo>
                  <a:pt x="541" y="157"/>
                  <a:pt x="541" y="157"/>
                  <a:pt x="541" y="157"/>
                </a:cubicBezTo>
                <a:cubicBezTo>
                  <a:pt x="479" y="157"/>
                  <a:pt x="479" y="157"/>
                  <a:pt x="479" y="157"/>
                </a:cubicBezTo>
                <a:lnTo>
                  <a:pt x="479" y="261"/>
                </a:lnTo>
                <a:close/>
                <a:moveTo>
                  <a:pt x="805" y="261"/>
                </a:moveTo>
                <a:cubicBezTo>
                  <a:pt x="866" y="261"/>
                  <a:pt x="866" y="261"/>
                  <a:pt x="866" y="261"/>
                </a:cubicBezTo>
                <a:cubicBezTo>
                  <a:pt x="866" y="247"/>
                  <a:pt x="866" y="247"/>
                  <a:pt x="866" y="247"/>
                </a:cubicBezTo>
                <a:cubicBezTo>
                  <a:pt x="819" y="247"/>
                  <a:pt x="819" y="247"/>
                  <a:pt x="819" y="247"/>
                </a:cubicBezTo>
                <a:cubicBezTo>
                  <a:pt x="819" y="211"/>
                  <a:pt x="819" y="211"/>
                  <a:pt x="819" y="211"/>
                </a:cubicBezTo>
                <a:cubicBezTo>
                  <a:pt x="860" y="211"/>
                  <a:pt x="860" y="211"/>
                  <a:pt x="860" y="211"/>
                </a:cubicBezTo>
                <a:cubicBezTo>
                  <a:pt x="860" y="198"/>
                  <a:pt x="860" y="198"/>
                  <a:pt x="860" y="198"/>
                </a:cubicBezTo>
                <a:cubicBezTo>
                  <a:pt x="819" y="198"/>
                  <a:pt x="819" y="198"/>
                  <a:pt x="819" y="198"/>
                </a:cubicBezTo>
                <a:cubicBezTo>
                  <a:pt x="819" y="171"/>
                  <a:pt x="819" y="171"/>
                  <a:pt x="819" y="171"/>
                </a:cubicBezTo>
                <a:cubicBezTo>
                  <a:pt x="866" y="171"/>
                  <a:pt x="866" y="171"/>
                  <a:pt x="866" y="171"/>
                </a:cubicBezTo>
                <a:cubicBezTo>
                  <a:pt x="866" y="157"/>
                  <a:pt x="866" y="157"/>
                  <a:pt x="866" y="157"/>
                </a:cubicBezTo>
                <a:cubicBezTo>
                  <a:pt x="805" y="157"/>
                  <a:pt x="805" y="157"/>
                  <a:pt x="805" y="157"/>
                </a:cubicBezTo>
                <a:lnTo>
                  <a:pt x="805" y="261"/>
                </a:lnTo>
                <a:close/>
                <a:moveTo>
                  <a:pt x="634" y="235"/>
                </a:moveTo>
                <a:cubicBezTo>
                  <a:pt x="595" y="149"/>
                  <a:pt x="595" y="149"/>
                  <a:pt x="595" y="149"/>
                </a:cubicBezTo>
                <a:cubicBezTo>
                  <a:pt x="578" y="261"/>
                  <a:pt x="578" y="261"/>
                  <a:pt x="578" y="261"/>
                </a:cubicBezTo>
                <a:cubicBezTo>
                  <a:pt x="592" y="261"/>
                  <a:pt x="592" y="261"/>
                  <a:pt x="592" y="261"/>
                </a:cubicBezTo>
                <a:cubicBezTo>
                  <a:pt x="601" y="194"/>
                  <a:pt x="601" y="194"/>
                  <a:pt x="601" y="194"/>
                </a:cubicBezTo>
                <a:cubicBezTo>
                  <a:pt x="634" y="267"/>
                  <a:pt x="634" y="267"/>
                  <a:pt x="634" y="267"/>
                </a:cubicBezTo>
                <a:cubicBezTo>
                  <a:pt x="668" y="194"/>
                  <a:pt x="668" y="194"/>
                  <a:pt x="668" y="194"/>
                </a:cubicBezTo>
                <a:cubicBezTo>
                  <a:pt x="677" y="261"/>
                  <a:pt x="677" y="261"/>
                  <a:pt x="677" y="261"/>
                </a:cubicBezTo>
                <a:cubicBezTo>
                  <a:pt x="691" y="261"/>
                  <a:pt x="691" y="261"/>
                  <a:pt x="691" y="261"/>
                </a:cubicBezTo>
                <a:cubicBezTo>
                  <a:pt x="674" y="148"/>
                  <a:pt x="674" y="148"/>
                  <a:pt x="674" y="148"/>
                </a:cubicBezTo>
                <a:lnTo>
                  <a:pt x="634" y="235"/>
                </a:lnTo>
                <a:close/>
                <a:moveTo>
                  <a:pt x="737" y="261"/>
                </a:moveTo>
                <a:cubicBezTo>
                  <a:pt x="751" y="261"/>
                  <a:pt x="751" y="261"/>
                  <a:pt x="751" y="261"/>
                </a:cubicBezTo>
                <a:cubicBezTo>
                  <a:pt x="751" y="157"/>
                  <a:pt x="751" y="157"/>
                  <a:pt x="751" y="157"/>
                </a:cubicBezTo>
                <a:cubicBezTo>
                  <a:pt x="737" y="157"/>
                  <a:pt x="737" y="157"/>
                  <a:pt x="737" y="157"/>
                </a:cubicBezTo>
                <a:lnTo>
                  <a:pt x="737" y="261"/>
                </a:lnTo>
                <a:close/>
                <a:moveTo>
                  <a:pt x="955" y="211"/>
                </a:moveTo>
                <a:cubicBezTo>
                  <a:pt x="950" y="207"/>
                  <a:pt x="945" y="204"/>
                  <a:pt x="939" y="201"/>
                </a:cubicBezTo>
                <a:cubicBezTo>
                  <a:pt x="929" y="197"/>
                  <a:pt x="929" y="197"/>
                  <a:pt x="929" y="197"/>
                </a:cubicBezTo>
                <a:cubicBezTo>
                  <a:pt x="925" y="195"/>
                  <a:pt x="922" y="194"/>
                  <a:pt x="919" y="191"/>
                </a:cubicBezTo>
                <a:cubicBezTo>
                  <a:pt x="916" y="189"/>
                  <a:pt x="916" y="187"/>
                  <a:pt x="916" y="183"/>
                </a:cubicBezTo>
                <a:cubicBezTo>
                  <a:pt x="916" y="175"/>
                  <a:pt x="922" y="169"/>
                  <a:pt x="931" y="169"/>
                </a:cubicBezTo>
                <a:cubicBezTo>
                  <a:pt x="936" y="169"/>
                  <a:pt x="940" y="171"/>
                  <a:pt x="942" y="172"/>
                </a:cubicBezTo>
                <a:cubicBezTo>
                  <a:pt x="944" y="174"/>
                  <a:pt x="946" y="177"/>
                  <a:pt x="947" y="179"/>
                </a:cubicBezTo>
                <a:cubicBezTo>
                  <a:pt x="948" y="181"/>
                  <a:pt x="948" y="181"/>
                  <a:pt x="948" y="181"/>
                </a:cubicBezTo>
                <a:cubicBezTo>
                  <a:pt x="959" y="173"/>
                  <a:pt x="959" y="173"/>
                  <a:pt x="959" y="173"/>
                </a:cubicBezTo>
                <a:cubicBezTo>
                  <a:pt x="958" y="172"/>
                  <a:pt x="958" y="172"/>
                  <a:pt x="958" y="172"/>
                </a:cubicBezTo>
                <a:cubicBezTo>
                  <a:pt x="956" y="167"/>
                  <a:pt x="952" y="163"/>
                  <a:pt x="948" y="161"/>
                </a:cubicBezTo>
                <a:cubicBezTo>
                  <a:pt x="943" y="157"/>
                  <a:pt x="938" y="156"/>
                  <a:pt x="931" y="156"/>
                </a:cubicBezTo>
                <a:cubicBezTo>
                  <a:pt x="914" y="156"/>
                  <a:pt x="902" y="167"/>
                  <a:pt x="902" y="183"/>
                </a:cubicBezTo>
                <a:cubicBezTo>
                  <a:pt x="902" y="190"/>
                  <a:pt x="904" y="195"/>
                  <a:pt x="909" y="200"/>
                </a:cubicBezTo>
                <a:cubicBezTo>
                  <a:pt x="913" y="205"/>
                  <a:pt x="918" y="207"/>
                  <a:pt x="922" y="209"/>
                </a:cubicBezTo>
                <a:cubicBezTo>
                  <a:pt x="932" y="213"/>
                  <a:pt x="932" y="213"/>
                  <a:pt x="932" y="213"/>
                </a:cubicBezTo>
                <a:cubicBezTo>
                  <a:pt x="937" y="215"/>
                  <a:pt x="941" y="217"/>
                  <a:pt x="944" y="220"/>
                </a:cubicBezTo>
                <a:cubicBezTo>
                  <a:pt x="947" y="223"/>
                  <a:pt x="948" y="226"/>
                  <a:pt x="948" y="231"/>
                </a:cubicBezTo>
                <a:cubicBezTo>
                  <a:pt x="948" y="240"/>
                  <a:pt x="942" y="249"/>
                  <a:pt x="929" y="249"/>
                </a:cubicBezTo>
                <a:cubicBezTo>
                  <a:pt x="924" y="249"/>
                  <a:pt x="919" y="247"/>
                  <a:pt x="916" y="244"/>
                </a:cubicBezTo>
                <a:cubicBezTo>
                  <a:pt x="913" y="241"/>
                  <a:pt x="911" y="236"/>
                  <a:pt x="910" y="232"/>
                </a:cubicBezTo>
                <a:cubicBezTo>
                  <a:pt x="910" y="230"/>
                  <a:pt x="910" y="230"/>
                  <a:pt x="910" y="230"/>
                </a:cubicBezTo>
                <a:cubicBezTo>
                  <a:pt x="896" y="234"/>
                  <a:pt x="896" y="234"/>
                  <a:pt x="896" y="234"/>
                </a:cubicBezTo>
                <a:cubicBezTo>
                  <a:pt x="897" y="235"/>
                  <a:pt x="897" y="235"/>
                  <a:pt x="897" y="235"/>
                </a:cubicBezTo>
                <a:cubicBezTo>
                  <a:pt x="898" y="243"/>
                  <a:pt x="902" y="249"/>
                  <a:pt x="906" y="254"/>
                </a:cubicBezTo>
                <a:cubicBezTo>
                  <a:pt x="912" y="260"/>
                  <a:pt x="920" y="262"/>
                  <a:pt x="929" y="262"/>
                </a:cubicBezTo>
                <a:cubicBezTo>
                  <a:pt x="948" y="262"/>
                  <a:pt x="962" y="249"/>
                  <a:pt x="962" y="230"/>
                </a:cubicBezTo>
                <a:cubicBezTo>
                  <a:pt x="962" y="222"/>
                  <a:pt x="960" y="216"/>
                  <a:pt x="955" y="211"/>
                </a:cubicBezTo>
                <a:close/>
                <a:moveTo>
                  <a:pt x="0" y="261"/>
                </a:moveTo>
                <a:cubicBezTo>
                  <a:pt x="15" y="261"/>
                  <a:pt x="15" y="261"/>
                  <a:pt x="15" y="261"/>
                </a:cubicBezTo>
                <a:cubicBezTo>
                  <a:pt x="48" y="184"/>
                  <a:pt x="48" y="184"/>
                  <a:pt x="48" y="184"/>
                </a:cubicBezTo>
                <a:cubicBezTo>
                  <a:pt x="79" y="260"/>
                  <a:pt x="79" y="260"/>
                  <a:pt x="79" y="260"/>
                </a:cubicBezTo>
                <a:cubicBezTo>
                  <a:pt x="80" y="261"/>
                  <a:pt x="80" y="261"/>
                  <a:pt x="80" y="261"/>
                </a:cubicBezTo>
                <a:cubicBezTo>
                  <a:pt x="95" y="261"/>
                  <a:pt x="95" y="261"/>
                  <a:pt x="95" y="261"/>
                </a:cubicBezTo>
                <a:cubicBezTo>
                  <a:pt x="48" y="151"/>
                  <a:pt x="48" y="151"/>
                  <a:pt x="48" y="151"/>
                </a:cubicBezTo>
                <a:lnTo>
                  <a:pt x="0" y="261"/>
                </a:lnTo>
                <a:close/>
                <a:moveTo>
                  <a:pt x="229" y="261"/>
                </a:moveTo>
                <a:cubicBezTo>
                  <a:pt x="244" y="261"/>
                  <a:pt x="244" y="261"/>
                  <a:pt x="244" y="261"/>
                </a:cubicBezTo>
                <a:cubicBezTo>
                  <a:pt x="277" y="184"/>
                  <a:pt x="277" y="184"/>
                  <a:pt x="277" y="184"/>
                </a:cubicBezTo>
                <a:cubicBezTo>
                  <a:pt x="309" y="260"/>
                  <a:pt x="309" y="260"/>
                  <a:pt x="309" y="260"/>
                </a:cubicBezTo>
                <a:cubicBezTo>
                  <a:pt x="309" y="261"/>
                  <a:pt x="309" y="261"/>
                  <a:pt x="309" y="261"/>
                </a:cubicBezTo>
                <a:cubicBezTo>
                  <a:pt x="324" y="261"/>
                  <a:pt x="324" y="261"/>
                  <a:pt x="324" y="261"/>
                </a:cubicBezTo>
                <a:cubicBezTo>
                  <a:pt x="277" y="151"/>
                  <a:pt x="277" y="151"/>
                  <a:pt x="277" y="151"/>
                </a:cubicBezTo>
                <a:lnTo>
                  <a:pt x="229" y="261"/>
                </a:lnTo>
                <a:close/>
                <a:moveTo>
                  <a:pt x="1071" y="11"/>
                </a:moveTo>
                <a:cubicBezTo>
                  <a:pt x="1071" y="18"/>
                  <a:pt x="1071" y="18"/>
                  <a:pt x="1071" y="18"/>
                </a:cubicBezTo>
                <a:cubicBezTo>
                  <a:pt x="1075" y="18"/>
                  <a:pt x="1075" y="18"/>
                  <a:pt x="1075" y="18"/>
                </a:cubicBezTo>
                <a:cubicBezTo>
                  <a:pt x="1077" y="9"/>
                  <a:pt x="1077" y="9"/>
                  <a:pt x="1077" y="9"/>
                </a:cubicBezTo>
                <a:cubicBezTo>
                  <a:pt x="1076" y="8"/>
                  <a:pt x="1074" y="7"/>
                  <a:pt x="1072" y="6"/>
                </a:cubicBezTo>
                <a:cubicBezTo>
                  <a:pt x="1070" y="6"/>
                  <a:pt x="1067" y="6"/>
                  <a:pt x="1064" y="6"/>
                </a:cubicBezTo>
                <a:cubicBezTo>
                  <a:pt x="1061" y="6"/>
                  <a:pt x="1058" y="6"/>
                  <a:pt x="1056" y="7"/>
                </a:cubicBezTo>
                <a:cubicBezTo>
                  <a:pt x="1053" y="9"/>
                  <a:pt x="1051" y="10"/>
                  <a:pt x="1049" y="12"/>
                </a:cubicBezTo>
                <a:cubicBezTo>
                  <a:pt x="1048" y="14"/>
                  <a:pt x="1047" y="17"/>
                  <a:pt x="1047" y="20"/>
                </a:cubicBezTo>
                <a:cubicBezTo>
                  <a:pt x="1047" y="22"/>
                  <a:pt x="1048" y="24"/>
                  <a:pt x="1049" y="26"/>
                </a:cubicBezTo>
                <a:cubicBezTo>
                  <a:pt x="1050" y="28"/>
                  <a:pt x="1051" y="30"/>
                  <a:pt x="1053" y="31"/>
                </a:cubicBezTo>
                <a:cubicBezTo>
                  <a:pt x="1055" y="32"/>
                  <a:pt x="1057" y="34"/>
                  <a:pt x="1059" y="35"/>
                </a:cubicBezTo>
                <a:cubicBezTo>
                  <a:pt x="1062" y="37"/>
                  <a:pt x="1064" y="39"/>
                  <a:pt x="1066" y="40"/>
                </a:cubicBezTo>
                <a:cubicBezTo>
                  <a:pt x="1067" y="42"/>
                  <a:pt x="1068" y="44"/>
                  <a:pt x="1068" y="47"/>
                </a:cubicBezTo>
                <a:cubicBezTo>
                  <a:pt x="1068" y="49"/>
                  <a:pt x="1067" y="52"/>
                  <a:pt x="1065" y="53"/>
                </a:cubicBezTo>
                <a:cubicBezTo>
                  <a:pt x="1062" y="55"/>
                  <a:pt x="1060" y="56"/>
                  <a:pt x="1057" y="56"/>
                </a:cubicBezTo>
                <a:cubicBezTo>
                  <a:pt x="1055" y="56"/>
                  <a:pt x="1053" y="56"/>
                  <a:pt x="1052" y="55"/>
                </a:cubicBezTo>
                <a:cubicBezTo>
                  <a:pt x="1050" y="55"/>
                  <a:pt x="1049" y="54"/>
                  <a:pt x="1048" y="54"/>
                </a:cubicBezTo>
                <a:cubicBezTo>
                  <a:pt x="1048" y="46"/>
                  <a:pt x="1048" y="46"/>
                  <a:pt x="1048" y="46"/>
                </a:cubicBezTo>
                <a:cubicBezTo>
                  <a:pt x="1044" y="46"/>
                  <a:pt x="1044" y="46"/>
                  <a:pt x="1044" y="46"/>
                </a:cubicBezTo>
                <a:cubicBezTo>
                  <a:pt x="1042" y="56"/>
                  <a:pt x="1042" y="56"/>
                  <a:pt x="1042" y="56"/>
                </a:cubicBezTo>
                <a:cubicBezTo>
                  <a:pt x="1043" y="57"/>
                  <a:pt x="1045" y="58"/>
                  <a:pt x="1048" y="58"/>
                </a:cubicBezTo>
                <a:cubicBezTo>
                  <a:pt x="1051" y="59"/>
                  <a:pt x="1054" y="59"/>
                  <a:pt x="1057" y="59"/>
                </a:cubicBezTo>
                <a:cubicBezTo>
                  <a:pt x="1060" y="59"/>
                  <a:pt x="1063" y="59"/>
                  <a:pt x="1066" y="57"/>
                </a:cubicBezTo>
                <a:cubicBezTo>
                  <a:pt x="1069" y="56"/>
                  <a:pt x="1071" y="54"/>
                  <a:pt x="1073" y="52"/>
                </a:cubicBezTo>
                <a:cubicBezTo>
                  <a:pt x="1074" y="50"/>
                  <a:pt x="1075" y="47"/>
                  <a:pt x="1075" y="44"/>
                </a:cubicBezTo>
                <a:cubicBezTo>
                  <a:pt x="1075" y="42"/>
                  <a:pt x="1074" y="40"/>
                  <a:pt x="1073" y="38"/>
                </a:cubicBezTo>
                <a:cubicBezTo>
                  <a:pt x="1072" y="36"/>
                  <a:pt x="1071" y="35"/>
                  <a:pt x="1069" y="34"/>
                </a:cubicBezTo>
                <a:cubicBezTo>
                  <a:pt x="1068" y="32"/>
                  <a:pt x="1066" y="31"/>
                  <a:pt x="1064" y="29"/>
                </a:cubicBezTo>
                <a:cubicBezTo>
                  <a:pt x="1060" y="27"/>
                  <a:pt x="1058" y="25"/>
                  <a:pt x="1056" y="24"/>
                </a:cubicBezTo>
                <a:cubicBezTo>
                  <a:pt x="1055" y="22"/>
                  <a:pt x="1054" y="20"/>
                  <a:pt x="1054" y="17"/>
                </a:cubicBezTo>
                <a:cubicBezTo>
                  <a:pt x="1054" y="15"/>
                  <a:pt x="1055" y="13"/>
                  <a:pt x="1057" y="11"/>
                </a:cubicBezTo>
                <a:cubicBezTo>
                  <a:pt x="1059" y="10"/>
                  <a:pt x="1061" y="9"/>
                  <a:pt x="1064" y="9"/>
                </a:cubicBezTo>
                <a:cubicBezTo>
                  <a:pt x="1065" y="9"/>
                  <a:pt x="1067" y="9"/>
                  <a:pt x="1068" y="10"/>
                </a:cubicBezTo>
                <a:cubicBezTo>
                  <a:pt x="1069" y="10"/>
                  <a:pt x="1070" y="10"/>
                  <a:pt x="1071" y="11"/>
                </a:cubicBezTo>
                <a:close/>
                <a:moveTo>
                  <a:pt x="1107" y="27"/>
                </a:moveTo>
                <a:cubicBezTo>
                  <a:pt x="1108" y="27"/>
                  <a:pt x="1108" y="27"/>
                  <a:pt x="1108" y="27"/>
                </a:cubicBezTo>
                <a:cubicBezTo>
                  <a:pt x="1110" y="20"/>
                  <a:pt x="1110" y="20"/>
                  <a:pt x="1110" y="20"/>
                </a:cubicBezTo>
                <a:cubicBezTo>
                  <a:pt x="1109" y="20"/>
                  <a:pt x="1108" y="19"/>
                  <a:pt x="1107" y="19"/>
                </a:cubicBezTo>
                <a:cubicBezTo>
                  <a:pt x="1105" y="19"/>
                  <a:pt x="1104" y="19"/>
                  <a:pt x="1102" y="19"/>
                </a:cubicBezTo>
                <a:cubicBezTo>
                  <a:pt x="1098" y="19"/>
                  <a:pt x="1094" y="20"/>
                  <a:pt x="1091" y="22"/>
                </a:cubicBezTo>
                <a:cubicBezTo>
                  <a:pt x="1088" y="25"/>
                  <a:pt x="1086" y="28"/>
                  <a:pt x="1084" y="32"/>
                </a:cubicBezTo>
                <a:cubicBezTo>
                  <a:pt x="1083" y="36"/>
                  <a:pt x="1082" y="40"/>
                  <a:pt x="1082" y="43"/>
                </a:cubicBezTo>
                <a:cubicBezTo>
                  <a:pt x="1082" y="48"/>
                  <a:pt x="1083" y="52"/>
                  <a:pt x="1085" y="55"/>
                </a:cubicBezTo>
                <a:cubicBezTo>
                  <a:pt x="1087" y="58"/>
                  <a:pt x="1091" y="59"/>
                  <a:pt x="1094" y="59"/>
                </a:cubicBezTo>
                <a:cubicBezTo>
                  <a:pt x="1098" y="59"/>
                  <a:pt x="1100" y="59"/>
                  <a:pt x="1102" y="57"/>
                </a:cubicBezTo>
                <a:cubicBezTo>
                  <a:pt x="1105" y="56"/>
                  <a:pt x="1106" y="54"/>
                  <a:pt x="1108" y="53"/>
                </a:cubicBezTo>
                <a:cubicBezTo>
                  <a:pt x="1106" y="50"/>
                  <a:pt x="1106" y="50"/>
                  <a:pt x="1106" y="50"/>
                </a:cubicBezTo>
                <a:cubicBezTo>
                  <a:pt x="1105" y="52"/>
                  <a:pt x="1103" y="53"/>
                  <a:pt x="1102" y="54"/>
                </a:cubicBezTo>
                <a:cubicBezTo>
                  <a:pt x="1100" y="54"/>
                  <a:pt x="1099" y="55"/>
                  <a:pt x="1097" y="55"/>
                </a:cubicBezTo>
                <a:cubicBezTo>
                  <a:pt x="1094" y="55"/>
                  <a:pt x="1092" y="54"/>
                  <a:pt x="1091" y="52"/>
                </a:cubicBezTo>
                <a:cubicBezTo>
                  <a:pt x="1090" y="50"/>
                  <a:pt x="1089" y="47"/>
                  <a:pt x="1089" y="43"/>
                </a:cubicBezTo>
                <a:cubicBezTo>
                  <a:pt x="1089" y="39"/>
                  <a:pt x="1090" y="35"/>
                  <a:pt x="1091" y="32"/>
                </a:cubicBezTo>
                <a:cubicBezTo>
                  <a:pt x="1092" y="30"/>
                  <a:pt x="1093" y="27"/>
                  <a:pt x="1095" y="26"/>
                </a:cubicBezTo>
                <a:cubicBezTo>
                  <a:pt x="1097" y="24"/>
                  <a:pt x="1099" y="23"/>
                  <a:pt x="1101" y="23"/>
                </a:cubicBezTo>
                <a:cubicBezTo>
                  <a:pt x="1102" y="23"/>
                  <a:pt x="1105" y="24"/>
                  <a:pt x="1107" y="27"/>
                </a:cubicBezTo>
                <a:close/>
                <a:moveTo>
                  <a:pt x="1124" y="52"/>
                </a:moveTo>
                <a:cubicBezTo>
                  <a:pt x="1129" y="19"/>
                  <a:pt x="1129" y="19"/>
                  <a:pt x="1129" y="19"/>
                </a:cubicBezTo>
                <a:cubicBezTo>
                  <a:pt x="1128" y="19"/>
                  <a:pt x="1128" y="19"/>
                  <a:pt x="1128" y="19"/>
                </a:cubicBezTo>
                <a:cubicBezTo>
                  <a:pt x="1118" y="20"/>
                  <a:pt x="1118" y="20"/>
                  <a:pt x="1118" y="20"/>
                </a:cubicBezTo>
                <a:cubicBezTo>
                  <a:pt x="1117" y="23"/>
                  <a:pt x="1117" y="23"/>
                  <a:pt x="1117" y="23"/>
                </a:cubicBezTo>
                <a:cubicBezTo>
                  <a:pt x="1122" y="24"/>
                  <a:pt x="1122" y="24"/>
                  <a:pt x="1122" y="24"/>
                </a:cubicBezTo>
                <a:cubicBezTo>
                  <a:pt x="1121" y="31"/>
                  <a:pt x="1120" y="37"/>
                  <a:pt x="1119" y="41"/>
                </a:cubicBezTo>
                <a:cubicBezTo>
                  <a:pt x="1118" y="49"/>
                  <a:pt x="1117" y="54"/>
                  <a:pt x="1117" y="55"/>
                </a:cubicBezTo>
                <a:cubicBezTo>
                  <a:pt x="1117" y="56"/>
                  <a:pt x="1118" y="57"/>
                  <a:pt x="1118" y="58"/>
                </a:cubicBezTo>
                <a:cubicBezTo>
                  <a:pt x="1119" y="59"/>
                  <a:pt x="1120" y="59"/>
                  <a:pt x="1122" y="59"/>
                </a:cubicBezTo>
                <a:cubicBezTo>
                  <a:pt x="1124" y="59"/>
                  <a:pt x="1125" y="59"/>
                  <a:pt x="1127" y="58"/>
                </a:cubicBezTo>
                <a:cubicBezTo>
                  <a:pt x="1128" y="57"/>
                  <a:pt x="1129" y="55"/>
                  <a:pt x="1130" y="54"/>
                </a:cubicBezTo>
                <a:cubicBezTo>
                  <a:pt x="1129" y="53"/>
                  <a:pt x="1129" y="53"/>
                  <a:pt x="1129" y="53"/>
                </a:cubicBezTo>
                <a:cubicBezTo>
                  <a:pt x="1128" y="54"/>
                  <a:pt x="1128" y="54"/>
                  <a:pt x="1127" y="54"/>
                </a:cubicBezTo>
                <a:cubicBezTo>
                  <a:pt x="1126" y="55"/>
                  <a:pt x="1126" y="55"/>
                  <a:pt x="1125" y="55"/>
                </a:cubicBezTo>
                <a:cubicBezTo>
                  <a:pt x="1125" y="55"/>
                  <a:pt x="1125" y="55"/>
                  <a:pt x="1125" y="54"/>
                </a:cubicBezTo>
                <a:cubicBezTo>
                  <a:pt x="1124" y="54"/>
                  <a:pt x="1124" y="54"/>
                  <a:pt x="1124" y="53"/>
                </a:cubicBezTo>
                <a:lnTo>
                  <a:pt x="1124" y="52"/>
                </a:lnTo>
                <a:close/>
                <a:moveTo>
                  <a:pt x="1127" y="11"/>
                </a:moveTo>
                <a:cubicBezTo>
                  <a:pt x="1128" y="11"/>
                  <a:pt x="1129" y="11"/>
                  <a:pt x="1130" y="10"/>
                </a:cubicBezTo>
                <a:cubicBezTo>
                  <a:pt x="1131" y="9"/>
                  <a:pt x="1131" y="7"/>
                  <a:pt x="1131" y="6"/>
                </a:cubicBezTo>
                <a:cubicBezTo>
                  <a:pt x="1131" y="5"/>
                  <a:pt x="1131" y="4"/>
                  <a:pt x="1130" y="3"/>
                </a:cubicBezTo>
                <a:cubicBezTo>
                  <a:pt x="1130" y="3"/>
                  <a:pt x="1129" y="2"/>
                  <a:pt x="1128" y="2"/>
                </a:cubicBezTo>
                <a:cubicBezTo>
                  <a:pt x="1126" y="2"/>
                  <a:pt x="1125" y="3"/>
                  <a:pt x="1124" y="4"/>
                </a:cubicBezTo>
                <a:cubicBezTo>
                  <a:pt x="1123" y="5"/>
                  <a:pt x="1123" y="6"/>
                  <a:pt x="1123" y="7"/>
                </a:cubicBezTo>
                <a:cubicBezTo>
                  <a:pt x="1123" y="8"/>
                  <a:pt x="1123" y="9"/>
                  <a:pt x="1124" y="10"/>
                </a:cubicBezTo>
                <a:cubicBezTo>
                  <a:pt x="1125" y="11"/>
                  <a:pt x="1126" y="11"/>
                  <a:pt x="1127" y="11"/>
                </a:cubicBezTo>
                <a:close/>
                <a:moveTo>
                  <a:pt x="1166" y="52"/>
                </a:moveTo>
                <a:cubicBezTo>
                  <a:pt x="1165" y="49"/>
                  <a:pt x="1165" y="49"/>
                  <a:pt x="1165" y="49"/>
                </a:cubicBezTo>
                <a:cubicBezTo>
                  <a:pt x="1163" y="51"/>
                  <a:pt x="1161" y="52"/>
                  <a:pt x="1159" y="53"/>
                </a:cubicBezTo>
                <a:cubicBezTo>
                  <a:pt x="1157" y="54"/>
                  <a:pt x="1155" y="55"/>
                  <a:pt x="1153" y="55"/>
                </a:cubicBezTo>
                <a:cubicBezTo>
                  <a:pt x="1150" y="55"/>
                  <a:pt x="1148" y="54"/>
                  <a:pt x="1147" y="51"/>
                </a:cubicBezTo>
                <a:cubicBezTo>
                  <a:pt x="1145" y="49"/>
                  <a:pt x="1145" y="46"/>
                  <a:pt x="1145" y="43"/>
                </a:cubicBezTo>
                <a:cubicBezTo>
                  <a:pt x="1148" y="43"/>
                  <a:pt x="1151" y="42"/>
                  <a:pt x="1155" y="41"/>
                </a:cubicBezTo>
                <a:cubicBezTo>
                  <a:pt x="1158" y="40"/>
                  <a:pt x="1162" y="38"/>
                  <a:pt x="1164" y="36"/>
                </a:cubicBezTo>
                <a:cubicBezTo>
                  <a:pt x="1167" y="33"/>
                  <a:pt x="1168" y="31"/>
                  <a:pt x="1168" y="27"/>
                </a:cubicBezTo>
                <a:cubicBezTo>
                  <a:pt x="1168" y="25"/>
                  <a:pt x="1167" y="23"/>
                  <a:pt x="1166" y="21"/>
                </a:cubicBezTo>
                <a:cubicBezTo>
                  <a:pt x="1164" y="19"/>
                  <a:pt x="1162" y="19"/>
                  <a:pt x="1158" y="19"/>
                </a:cubicBezTo>
                <a:cubicBezTo>
                  <a:pt x="1154" y="19"/>
                  <a:pt x="1151" y="20"/>
                  <a:pt x="1148" y="22"/>
                </a:cubicBezTo>
                <a:cubicBezTo>
                  <a:pt x="1145" y="24"/>
                  <a:pt x="1142" y="28"/>
                  <a:pt x="1140" y="31"/>
                </a:cubicBezTo>
                <a:cubicBezTo>
                  <a:pt x="1138" y="35"/>
                  <a:pt x="1138" y="40"/>
                  <a:pt x="1138" y="44"/>
                </a:cubicBezTo>
                <a:cubicBezTo>
                  <a:pt x="1138" y="47"/>
                  <a:pt x="1138" y="49"/>
                  <a:pt x="1139" y="52"/>
                </a:cubicBezTo>
                <a:cubicBezTo>
                  <a:pt x="1140" y="54"/>
                  <a:pt x="1142" y="56"/>
                  <a:pt x="1144" y="57"/>
                </a:cubicBezTo>
                <a:cubicBezTo>
                  <a:pt x="1146" y="59"/>
                  <a:pt x="1148" y="59"/>
                  <a:pt x="1151" y="59"/>
                </a:cubicBezTo>
                <a:cubicBezTo>
                  <a:pt x="1155" y="59"/>
                  <a:pt x="1158" y="58"/>
                  <a:pt x="1160" y="57"/>
                </a:cubicBezTo>
                <a:cubicBezTo>
                  <a:pt x="1163" y="55"/>
                  <a:pt x="1165" y="54"/>
                  <a:pt x="1166" y="52"/>
                </a:cubicBezTo>
                <a:close/>
                <a:moveTo>
                  <a:pt x="1157" y="22"/>
                </a:moveTo>
                <a:cubicBezTo>
                  <a:pt x="1158" y="22"/>
                  <a:pt x="1159" y="23"/>
                  <a:pt x="1160" y="24"/>
                </a:cubicBezTo>
                <a:cubicBezTo>
                  <a:pt x="1161" y="25"/>
                  <a:pt x="1161" y="26"/>
                  <a:pt x="1161" y="28"/>
                </a:cubicBezTo>
                <a:cubicBezTo>
                  <a:pt x="1161" y="30"/>
                  <a:pt x="1161" y="32"/>
                  <a:pt x="1159" y="34"/>
                </a:cubicBezTo>
                <a:cubicBezTo>
                  <a:pt x="1157" y="35"/>
                  <a:pt x="1155" y="37"/>
                  <a:pt x="1152" y="38"/>
                </a:cubicBezTo>
                <a:cubicBezTo>
                  <a:pt x="1150" y="39"/>
                  <a:pt x="1147" y="39"/>
                  <a:pt x="1145" y="39"/>
                </a:cubicBezTo>
                <a:cubicBezTo>
                  <a:pt x="1145" y="37"/>
                  <a:pt x="1146" y="34"/>
                  <a:pt x="1147" y="32"/>
                </a:cubicBezTo>
                <a:cubicBezTo>
                  <a:pt x="1148" y="29"/>
                  <a:pt x="1149" y="27"/>
                  <a:pt x="1151" y="25"/>
                </a:cubicBezTo>
                <a:cubicBezTo>
                  <a:pt x="1152" y="23"/>
                  <a:pt x="1154" y="22"/>
                  <a:pt x="1157" y="22"/>
                </a:cubicBezTo>
                <a:close/>
                <a:moveTo>
                  <a:pt x="1187" y="28"/>
                </a:moveTo>
                <a:cubicBezTo>
                  <a:pt x="1188" y="19"/>
                  <a:pt x="1188" y="19"/>
                  <a:pt x="1188" y="19"/>
                </a:cubicBezTo>
                <a:cubicBezTo>
                  <a:pt x="1186" y="19"/>
                  <a:pt x="1186" y="19"/>
                  <a:pt x="1186" y="19"/>
                </a:cubicBezTo>
                <a:cubicBezTo>
                  <a:pt x="1178" y="20"/>
                  <a:pt x="1178" y="20"/>
                  <a:pt x="1178" y="20"/>
                </a:cubicBezTo>
                <a:cubicBezTo>
                  <a:pt x="1177" y="23"/>
                  <a:pt x="1177" y="23"/>
                  <a:pt x="1177" y="23"/>
                </a:cubicBezTo>
                <a:cubicBezTo>
                  <a:pt x="1180" y="25"/>
                  <a:pt x="1180" y="25"/>
                  <a:pt x="1180" y="25"/>
                </a:cubicBezTo>
                <a:cubicBezTo>
                  <a:pt x="1176" y="58"/>
                  <a:pt x="1176" y="58"/>
                  <a:pt x="1176" y="58"/>
                </a:cubicBezTo>
                <a:cubicBezTo>
                  <a:pt x="1183" y="58"/>
                  <a:pt x="1183" y="58"/>
                  <a:pt x="1183" y="58"/>
                </a:cubicBezTo>
                <a:cubicBezTo>
                  <a:pt x="1186" y="33"/>
                  <a:pt x="1186" y="33"/>
                  <a:pt x="1186" y="33"/>
                </a:cubicBezTo>
                <a:cubicBezTo>
                  <a:pt x="1188" y="31"/>
                  <a:pt x="1190" y="28"/>
                  <a:pt x="1192" y="26"/>
                </a:cubicBezTo>
                <a:cubicBezTo>
                  <a:pt x="1194" y="25"/>
                  <a:pt x="1196" y="24"/>
                  <a:pt x="1198" y="24"/>
                </a:cubicBezTo>
                <a:cubicBezTo>
                  <a:pt x="1200" y="24"/>
                  <a:pt x="1201" y="24"/>
                  <a:pt x="1202" y="25"/>
                </a:cubicBezTo>
                <a:cubicBezTo>
                  <a:pt x="1202" y="26"/>
                  <a:pt x="1203" y="27"/>
                  <a:pt x="1203" y="29"/>
                </a:cubicBezTo>
                <a:cubicBezTo>
                  <a:pt x="1203" y="31"/>
                  <a:pt x="1202" y="33"/>
                  <a:pt x="1202" y="35"/>
                </a:cubicBezTo>
                <a:cubicBezTo>
                  <a:pt x="1202" y="37"/>
                  <a:pt x="1201" y="39"/>
                  <a:pt x="1201" y="41"/>
                </a:cubicBezTo>
                <a:cubicBezTo>
                  <a:pt x="1201" y="43"/>
                  <a:pt x="1201" y="43"/>
                  <a:pt x="1201" y="43"/>
                </a:cubicBezTo>
                <a:cubicBezTo>
                  <a:pt x="1200" y="46"/>
                  <a:pt x="1200" y="46"/>
                  <a:pt x="1200" y="46"/>
                </a:cubicBezTo>
                <a:cubicBezTo>
                  <a:pt x="1199" y="51"/>
                  <a:pt x="1199" y="54"/>
                  <a:pt x="1199" y="55"/>
                </a:cubicBezTo>
                <a:cubicBezTo>
                  <a:pt x="1199" y="58"/>
                  <a:pt x="1200" y="59"/>
                  <a:pt x="1203" y="59"/>
                </a:cubicBezTo>
                <a:cubicBezTo>
                  <a:pt x="1205" y="59"/>
                  <a:pt x="1206" y="59"/>
                  <a:pt x="1207" y="58"/>
                </a:cubicBezTo>
                <a:cubicBezTo>
                  <a:pt x="1208" y="58"/>
                  <a:pt x="1209" y="57"/>
                  <a:pt x="1210" y="57"/>
                </a:cubicBezTo>
                <a:cubicBezTo>
                  <a:pt x="1210" y="56"/>
                  <a:pt x="1211" y="55"/>
                  <a:pt x="1211" y="55"/>
                </a:cubicBezTo>
                <a:cubicBezTo>
                  <a:pt x="1210" y="53"/>
                  <a:pt x="1210" y="53"/>
                  <a:pt x="1210" y="53"/>
                </a:cubicBezTo>
                <a:cubicBezTo>
                  <a:pt x="1209" y="54"/>
                  <a:pt x="1208" y="55"/>
                  <a:pt x="1207" y="55"/>
                </a:cubicBezTo>
                <a:cubicBezTo>
                  <a:pt x="1206" y="55"/>
                  <a:pt x="1206" y="54"/>
                  <a:pt x="1206" y="53"/>
                </a:cubicBezTo>
                <a:cubicBezTo>
                  <a:pt x="1206" y="51"/>
                  <a:pt x="1206" y="48"/>
                  <a:pt x="1207" y="45"/>
                </a:cubicBezTo>
                <a:cubicBezTo>
                  <a:pt x="1208" y="41"/>
                  <a:pt x="1208" y="41"/>
                  <a:pt x="1208" y="41"/>
                </a:cubicBezTo>
                <a:cubicBezTo>
                  <a:pt x="1208" y="40"/>
                  <a:pt x="1208" y="40"/>
                  <a:pt x="1208" y="40"/>
                </a:cubicBezTo>
                <a:cubicBezTo>
                  <a:pt x="1209" y="34"/>
                  <a:pt x="1210" y="31"/>
                  <a:pt x="1210" y="29"/>
                </a:cubicBezTo>
                <a:cubicBezTo>
                  <a:pt x="1210" y="25"/>
                  <a:pt x="1209" y="23"/>
                  <a:pt x="1207" y="21"/>
                </a:cubicBezTo>
                <a:cubicBezTo>
                  <a:pt x="1206" y="19"/>
                  <a:pt x="1204" y="19"/>
                  <a:pt x="1201" y="19"/>
                </a:cubicBezTo>
                <a:cubicBezTo>
                  <a:pt x="1199" y="19"/>
                  <a:pt x="1196" y="19"/>
                  <a:pt x="1193" y="21"/>
                </a:cubicBezTo>
                <a:cubicBezTo>
                  <a:pt x="1191" y="23"/>
                  <a:pt x="1189" y="25"/>
                  <a:pt x="1187" y="28"/>
                </a:cubicBezTo>
                <a:close/>
                <a:moveTo>
                  <a:pt x="1243" y="27"/>
                </a:moveTo>
                <a:cubicBezTo>
                  <a:pt x="1245" y="27"/>
                  <a:pt x="1245" y="27"/>
                  <a:pt x="1245" y="27"/>
                </a:cubicBezTo>
                <a:cubicBezTo>
                  <a:pt x="1247" y="20"/>
                  <a:pt x="1247" y="20"/>
                  <a:pt x="1247" y="20"/>
                </a:cubicBezTo>
                <a:cubicBezTo>
                  <a:pt x="1246" y="20"/>
                  <a:pt x="1244" y="19"/>
                  <a:pt x="1243" y="19"/>
                </a:cubicBezTo>
                <a:cubicBezTo>
                  <a:pt x="1241" y="19"/>
                  <a:pt x="1240" y="19"/>
                  <a:pt x="1239" y="19"/>
                </a:cubicBezTo>
                <a:cubicBezTo>
                  <a:pt x="1234" y="19"/>
                  <a:pt x="1231" y="20"/>
                  <a:pt x="1228" y="22"/>
                </a:cubicBezTo>
                <a:cubicBezTo>
                  <a:pt x="1224" y="25"/>
                  <a:pt x="1222" y="28"/>
                  <a:pt x="1220" y="32"/>
                </a:cubicBezTo>
                <a:cubicBezTo>
                  <a:pt x="1219" y="36"/>
                  <a:pt x="1218" y="40"/>
                  <a:pt x="1218" y="43"/>
                </a:cubicBezTo>
                <a:cubicBezTo>
                  <a:pt x="1218" y="48"/>
                  <a:pt x="1219" y="52"/>
                  <a:pt x="1221" y="55"/>
                </a:cubicBezTo>
                <a:cubicBezTo>
                  <a:pt x="1224" y="58"/>
                  <a:pt x="1227" y="59"/>
                  <a:pt x="1231" y="59"/>
                </a:cubicBezTo>
                <a:cubicBezTo>
                  <a:pt x="1234" y="59"/>
                  <a:pt x="1236" y="59"/>
                  <a:pt x="1239" y="57"/>
                </a:cubicBezTo>
                <a:cubicBezTo>
                  <a:pt x="1241" y="56"/>
                  <a:pt x="1243" y="54"/>
                  <a:pt x="1244" y="53"/>
                </a:cubicBezTo>
                <a:cubicBezTo>
                  <a:pt x="1242" y="50"/>
                  <a:pt x="1242" y="50"/>
                  <a:pt x="1242" y="50"/>
                </a:cubicBezTo>
                <a:cubicBezTo>
                  <a:pt x="1241" y="52"/>
                  <a:pt x="1239" y="53"/>
                  <a:pt x="1238" y="54"/>
                </a:cubicBezTo>
                <a:cubicBezTo>
                  <a:pt x="1236" y="54"/>
                  <a:pt x="1235" y="55"/>
                  <a:pt x="1233" y="55"/>
                </a:cubicBezTo>
                <a:cubicBezTo>
                  <a:pt x="1230" y="55"/>
                  <a:pt x="1228" y="54"/>
                  <a:pt x="1227" y="52"/>
                </a:cubicBezTo>
                <a:cubicBezTo>
                  <a:pt x="1226" y="50"/>
                  <a:pt x="1225" y="47"/>
                  <a:pt x="1225" y="43"/>
                </a:cubicBezTo>
                <a:cubicBezTo>
                  <a:pt x="1225" y="39"/>
                  <a:pt x="1226" y="35"/>
                  <a:pt x="1227" y="32"/>
                </a:cubicBezTo>
                <a:cubicBezTo>
                  <a:pt x="1228" y="30"/>
                  <a:pt x="1229" y="27"/>
                  <a:pt x="1231" y="26"/>
                </a:cubicBezTo>
                <a:cubicBezTo>
                  <a:pt x="1233" y="24"/>
                  <a:pt x="1235" y="23"/>
                  <a:pt x="1237" y="23"/>
                </a:cubicBezTo>
                <a:cubicBezTo>
                  <a:pt x="1239" y="23"/>
                  <a:pt x="1241" y="24"/>
                  <a:pt x="1243" y="27"/>
                </a:cubicBezTo>
                <a:close/>
                <a:moveTo>
                  <a:pt x="1279" y="52"/>
                </a:moveTo>
                <a:cubicBezTo>
                  <a:pt x="1277" y="49"/>
                  <a:pt x="1277" y="49"/>
                  <a:pt x="1277" y="49"/>
                </a:cubicBezTo>
                <a:cubicBezTo>
                  <a:pt x="1276" y="51"/>
                  <a:pt x="1274" y="52"/>
                  <a:pt x="1272" y="53"/>
                </a:cubicBezTo>
                <a:cubicBezTo>
                  <a:pt x="1270" y="54"/>
                  <a:pt x="1268" y="55"/>
                  <a:pt x="1266" y="55"/>
                </a:cubicBezTo>
                <a:cubicBezTo>
                  <a:pt x="1263" y="55"/>
                  <a:pt x="1261" y="54"/>
                  <a:pt x="1259" y="51"/>
                </a:cubicBezTo>
                <a:cubicBezTo>
                  <a:pt x="1258" y="49"/>
                  <a:pt x="1257" y="46"/>
                  <a:pt x="1258" y="43"/>
                </a:cubicBezTo>
                <a:cubicBezTo>
                  <a:pt x="1260" y="43"/>
                  <a:pt x="1264" y="42"/>
                  <a:pt x="1267" y="41"/>
                </a:cubicBezTo>
                <a:cubicBezTo>
                  <a:pt x="1271" y="40"/>
                  <a:pt x="1274" y="38"/>
                  <a:pt x="1277" y="36"/>
                </a:cubicBezTo>
                <a:cubicBezTo>
                  <a:pt x="1280" y="33"/>
                  <a:pt x="1281" y="31"/>
                  <a:pt x="1281" y="27"/>
                </a:cubicBezTo>
                <a:cubicBezTo>
                  <a:pt x="1281" y="25"/>
                  <a:pt x="1280" y="23"/>
                  <a:pt x="1278" y="21"/>
                </a:cubicBezTo>
                <a:cubicBezTo>
                  <a:pt x="1277" y="19"/>
                  <a:pt x="1274" y="19"/>
                  <a:pt x="1271" y="19"/>
                </a:cubicBezTo>
                <a:cubicBezTo>
                  <a:pt x="1267" y="19"/>
                  <a:pt x="1264" y="20"/>
                  <a:pt x="1260" y="22"/>
                </a:cubicBezTo>
                <a:cubicBezTo>
                  <a:pt x="1257" y="24"/>
                  <a:pt x="1255" y="28"/>
                  <a:pt x="1253" y="31"/>
                </a:cubicBezTo>
                <a:cubicBezTo>
                  <a:pt x="1251" y="35"/>
                  <a:pt x="1250" y="40"/>
                  <a:pt x="1250" y="44"/>
                </a:cubicBezTo>
                <a:cubicBezTo>
                  <a:pt x="1250" y="47"/>
                  <a:pt x="1251" y="49"/>
                  <a:pt x="1252" y="52"/>
                </a:cubicBezTo>
                <a:cubicBezTo>
                  <a:pt x="1253" y="54"/>
                  <a:pt x="1254" y="56"/>
                  <a:pt x="1256" y="57"/>
                </a:cubicBezTo>
                <a:cubicBezTo>
                  <a:pt x="1258" y="59"/>
                  <a:pt x="1261" y="59"/>
                  <a:pt x="1264" y="59"/>
                </a:cubicBezTo>
                <a:cubicBezTo>
                  <a:pt x="1267" y="59"/>
                  <a:pt x="1270" y="58"/>
                  <a:pt x="1273" y="57"/>
                </a:cubicBezTo>
                <a:cubicBezTo>
                  <a:pt x="1276" y="55"/>
                  <a:pt x="1278" y="54"/>
                  <a:pt x="1279" y="52"/>
                </a:cubicBezTo>
                <a:close/>
                <a:moveTo>
                  <a:pt x="1269" y="22"/>
                </a:moveTo>
                <a:cubicBezTo>
                  <a:pt x="1271" y="22"/>
                  <a:pt x="1272" y="23"/>
                  <a:pt x="1273" y="24"/>
                </a:cubicBezTo>
                <a:cubicBezTo>
                  <a:pt x="1274" y="25"/>
                  <a:pt x="1274" y="26"/>
                  <a:pt x="1274" y="28"/>
                </a:cubicBezTo>
                <a:cubicBezTo>
                  <a:pt x="1274" y="30"/>
                  <a:pt x="1273" y="32"/>
                  <a:pt x="1272" y="34"/>
                </a:cubicBezTo>
                <a:cubicBezTo>
                  <a:pt x="1270" y="35"/>
                  <a:pt x="1268" y="37"/>
                  <a:pt x="1265" y="38"/>
                </a:cubicBezTo>
                <a:cubicBezTo>
                  <a:pt x="1263" y="39"/>
                  <a:pt x="1260" y="39"/>
                  <a:pt x="1258" y="39"/>
                </a:cubicBezTo>
                <a:cubicBezTo>
                  <a:pt x="1258" y="37"/>
                  <a:pt x="1259" y="34"/>
                  <a:pt x="1259" y="32"/>
                </a:cubicBezTo>
                <a:cubicBezTo>
                  <a:pt x="1260" y="29"/>
                  <a:pt x="1262" y="27"/>
                  <a:pt x="1263" y="25"/>
                </a:cubicBezTo>
                <a:cubicBezTo>
                  <a:pt x="1265" y="23"/>
                  <a:pt x="1267" y="22"/>
                  <a:pt x="1269" y="22"/>
                </a:cubicBezTo>
                <a:close/>
                <a:moveTo>
                  <a:pt x="1310" y="25"/>
                </a:moveTo>
                <a:cubicBezTo>
                  <a:pt x="1311" y="20"/>
                  <a:pt x="1311" y="20"/>
                  <a:pt x="1311" y="20"/>
                </a:cubicBezTo>
                <a:cubicBezTo>
                  <a:pt x="1311" y="20"/>
                  <a:pt x="1309" y="19"/>
                  <a:pt x="1308" y="19"/>
                </a:cubicBezTo>
                <a:cubicBezTo>
                  <a:pt x="1306" y="19"/>
                  <a:pt x="1304" y="19"/>
                  <a:pt x="1303" y="19"/>
                </a:cubicBezTo>
                <a:cubicBezTo>
                  <a:pt x="1300" y="19"/>
                  <a:pt x="1298" y="19"/>
                  <a:pt x="1296" y="20"/>
                </a:cubicBezTo>
                <a:cubicBezTo>
                  <a:pt x="1293" y="21"/>
                  <a:pt x="1292" y="22"/>
                  <a:pt x="1291" y="24"/>
                </a:cubicBezTo>
                <a:cubicBezTo>
                  <a:pt x="1289" y="26"/>
                  <a:pt x="1289" y="27"/>
                  <a:pt x="1289" y="30"/>
                </a:cubicBezTo>
                <a:cubicBezTo>
                  <a:pt x="1289" y="34"/>
                  <a:pt x="1291" y="38"/>
                  <a:pt x="1296" y="41"/>
                </a:cubicBezTo>
                <a:cubicBezTo>
                  <a:pt x="1298" y="43"/>
                  <a:pt x="1300" y="44"/>
                  <a:pt x="1301" y="45"/>
                </a:cubicBezTo>
                <a:cubicBezTo>
                  <a:pt x="1302" y="46"/>
                  <a:pt x="1303" y="48"/>
                  <a:pt x="1303" y="50"/>
                </a:cubicBezTo>
                <a:cubicBezTo>
                  <a:pt x="1303" y="51"/>
                  <a:pt x="1302" y="53"/>
                  <a:pt x="1301" y="54"/>
                </a:cubicBezTo>
                <a:cubicBezTo>
                  <a:pt x="1299" y="55"/>
                  <a:pt x="1297" y="55"/>
                  <a:pt x="1295" y="55"/>
                </a:cubicBezTo>
                <a:cubicBezTo>
                  <a:pt x="1293" y="55"/>
                  <a:pt x="1292" y="55"/>
                  <a:pt x="1290" y="54"/>
                </a:cubicBezTo>
                <a:cubicBezTo>
                  <a:pt x="1288" y="53"/>
                  <a:pt x="1287" y="53"/>
                  <a:pt x="1286" y="52"/>
                </a:cubicBezTo>
                <a:cubicBezTo>
                  <a:pt x="1285" y="57"/>
                  <a:pt x="1285" y="57"/>
                  <a:pt x="1285" y="57"/>
                </a:cubicBezTo>
                <a:cubicBezTo>
                  <a:pt x="1285" y="58"/>
                  <a:pt x="1287" y="58"/>
                  <a:pt x="1289" y="58"/>
                </a:cubicBezTo>
                <a:cubicBezTo>
                  <a:pt x="1291" y="59"/>
                  <a:pt x="1293" y="59"/>
                  <a:pt x="1295" y="59"/>
                </a:cubicBezTo>
                <a:cubicBezTo>
                  <a:pt x="1299" y="59"/>
                  <a:pt x="1303" y="58"/>
                  <a:pt x="1305" y="56"/>
                </a:cubicBezTo>
                <a:cubicBezTo>
                  <a:pt x="1308" y="54"/>
                  <a:pt x="1309" y="52"/>
                  <a:pt x="1309" y="48"/>
                </a:cubicBezTo>
                <a:cubicBezTo>
                  <a:pt x="1309" y="46"/>
                  <a:pt x="1309" y="45"/>
                  <a:pt x="1308" y="43"/>
                </a:cubicBezTo>
                <a:cubicBezTo>
                  <a:pt x="1307" y="42"/>
                  <a:pt x="1306" y="41"/>
                  <a:pt x="1305" y="40"/>
                </a:cubicBezTo>
                <a:cubicBezTo>
                  <a:pt x="1304" y="39"/>
                  <a:pt x="1303" y="38"/>
                  <a:pt x="1301" y="36"/>
                </a:cubicBezTo>
                <a:cubicBezTo>
                  <a:pt x="1299" y="35"/>
                  <a:pt x="1298" y="34"/>
                  <a:pt x="1297" y="32"/>
                </a:cubicBezTo>
                <a:cubicBezTo>
                  <a:pt x="1296" y="31"/>
                  <a:pt x="1295" y="30"/>
                  <a:pt x="1295" y="28"/>
                </a:cubicBezTo>
                <a:cubicBezTo>
                  <a:pt x="1295" y="26"/>
                  <a:pt x="1296" y="25"/>
                  <a:pt x="1297" y="24"/>
                </a:cubicBezTo>
                <a:cubicBezTo>
                  <a:pt x="1299" y="23"/>
                  <a:pt x="1300" y="23"/>
                  <a:pt x="1303" y="23"/>
                </a:cubicBezTo>
                <a:cubicBezTo>
                  <a:pt x="1304" y="23"/>
                  <a:pt x="1306" y="23"/>
                  <a:pt x="1307" y="24"/>
                </a:cubicBezTo>
                <a:cubicBezTo>
                  <a:pt x="1309" y="24"/>
                  <a:pt x="1310" y="25"/>
                  <a:pt x="1310" y="25"/>
                </a:cubicBezTo>
                <a:close/>
                <a:moveTo>
                  <a:pt x="1047" y="110"/>
                </a:moveTo>
                <a:cubicBezTo>
                  <a:pt x="1052" y="111"/>
                  <a:pt x="1052" y="111"/>
                  <a:pt x="1052" y="111"/>
                </a:cubicBezTo>
                <a:cubicBezTo>
                  <a:pt x="1046" y="156"/>
                  <a:pt x="1046" y="156"/>
                  <a:pt x="1046" y="156"/>
                </a:cubicBezTo>
                <a:cubicBezTo>
                  <a:pt x="1041" y="157"/>
                  <a:pt x="1041" y="157"/>
                  <a:pt x="1041" y="157"/>
                </a:cubicBezTo>
                <a:cubicBezTo>
                  <a:pt x="1041" y="159"/>
                  <a:pt x="1041" y="159"/>
                  <a:pt x="1041" y="159"/>
                </a:cubicBezTo>
                <a:cubicBezTo>
                  <a:pt x="1078" y="159"/>
                  <a:pt x="1078" y="159"/>
                  <a:pt x="1078" y="159"/>
                </a:cubicBezTo>
                <a:cubicBezTo>
                  <a:pt x="1081" y="147"/>
                  <a:pt x="1081" y="147"/>
                  <a:pt x="1081" y="147"/>
                </a:cubicBezTo>
                <a:cubicBezTo>
                  <a:pt x="1077" y="146"/>
                  <a:pt x="1077" y="146"/>
                  <a:pt x="1077" y="146"/>
                </a:cubicBezTo>
                <a:cubicBezTo>
                  <a:pt x="1073" y="155"/>
                  <a:pt x="1073" y="155"/>
                  <a:pt x="1073" y="155"/>
                </a:cubicBezTo>
                <a:cubicBezTo>
                  <a:pt x="1053" y="156"/>
                  <a:pt x="1053" y="156"/>
                  <a:pt x="1053" y="156"/>
                </a:cubicBezTo>
                <a:cubicBezTo>
                  <a:pt x="1056" y="134"/>
                  <a:pt x="1056" y="134"/>
                  <a:pt x="1056" y="134"/>
                </a:cubicBezTo>
                <a:cubicBezTo>
                  <a:pt x="1072" y="135"/>
                  <a:pt x="1072" y="135"/>
                  <a:pt x="1072" y="135"/>
                </a:cubicBezTo>
                <a:cubicBezTo>
                  <a:pt x="1073" y="130"/>
                  <a:pt x="1073" y="130"/>
                  <a:pt x="1073" y="130"/>
                </a:cubicBezTo>
                <a:cubicBezTo>
                  <a:pt x="1057" y="130"/>
                  <a:pt x="1057" y="130"/>
                  <a:pt x="1057" y="130"/>
                </a:cubicBezTo>
                <a:cubicBezTo>
                  <a:pt x="1059" y="110"/>
                  <a:pt x="1059" y="110"/>
                  <a:pt x="1059" y="110"/>
                </a:cubicBezTo>
                <a:cubicBezTo>
                  <a:pt x="1075" y="111"/>
                  <a:pt x="1075" y="111"/>
                  <a:pt x="1075" y="111"/>
                </a:cubicBezTo>
                <a:cubicBezTo>
                  <a:pt x="1076" y="118"/>
                  <a:pt x="1076" y="118"/>
                  <a:pt x="1076" y="118"/>
                </a:cubicBezTo>
                <a:cubicBezTo>
                  <a:pt x="1080" y="118"/>
                  <a:pt x="1080" y="118"/>
                  <a:pt x="1080" y="118"/>
                </a:cubicBezTo>
                <a:cubicBezTo>
                  <a:pt x="1081" y="107"/>
                  <a:pt x="1081" y="107"/>
                  <a:pt x="1081" y="107"/>
                </a:cubicBezTo>
                <a:cubicBezTo>
                  <a:pt x="1048" y="107"/>
                  <a:pt x="1048" y="107"/>
                  <a:pt x="1048" y="107"/>
                </a:cubicBezTo>
                <a:lnTo>
                  <a:pt x="1047" y="110"/>
                </a:lnTo>
                <a:close/>
                <a:moveTo>
                  <a:pt x="1100" y="129"/>
                </a:moveTo>
                <a:cubicBezTo>
                  <a:pt x="1100" y="120"/>
                  <a:pt x="1100" y="120"/>
                  <a:pt x="1100" y="120"/>
                </a:cubicBezTo>
                <a:cubicBezTo>
                  <a:pt x="1099" y="119"/>
                  <a:pt x="1099" y="119"/>
                  <a:pt x="1099" y="119"/>
                </a:cubicBezTo>
                <a:cubicBezTo>
                  <a:pt x="1090" y="121"/>
                  <a:pt x="1090" y="121"/>
                  <a:pt x="1090" y="121"/>
                </a:cubicBezTo>
                <a:cubicBezTo>
                  <a:pt x="1090" y="124"/>
                  <a:pt x="1090" y="124"/>
                  <a:pt x="1090" y="124"/>
                </a:cubicBezTo>
                <a:cubicBezTo>
                  <a:pt x="1093" y="125"/>
                  <a:pt x="1093" y="125"/>
                  <a:pt x="1093" y="125"/>
                </a:cubicBezTo>
                <a:cubicBezTo>
                  <a:pt x="1089" y="159"/>
                  <a:pt x="1089" y="159"/>
                  <a:pt x="1089" y="159"/>
                </a:cubicBezTo>
                <a:cubicBezTo>
                  <a:pt x="1095" y="159"/>
                  <a:pt x="1095" y="159"/>
                  <a:pt x="1095" y="159"/>
                </a:cubicBezTo>
                <a:cubicBezTo>
                  <a:pt x="1099" y="134"/>
                  <a:pt x="1099" y="134"/>
                  <a:pt x="1099" y="134"/>
                </a:cubicBezTo>
                <a:cubicBezTo>
                  <a:pt x="1101" y="131"/>
                  <a:pt x="1103" y="129"/>
                  <a:pt x="1105" y="127"/>
                </a:cubicBezTo>
                <a:cubicBezTo>
                  <a:pt x="1107" y="125"/>
                  <a:pt x="1109" y="124"/>
                  <a:pt x="1111" y="124"/>
                </a:cubicBezTo>
                <a:cubicBezTo>
                  <a:pt x="1113" y="124"/>
                  <a:pt x="1114" y="125"/>
                  <a:pt x="1114" y="126"/>
                </a:cubicBezTo>
                <a:cubicBezTo>
                  <a:pt x="1115" y="127"/>
                  <a:pt x="1115" y="128"/>
                  <a:pt x="1115" y="130"/>
                </a:cubicBezTo>
                <a:cubicBezTo>
                  <a:pt x="1115" y="132"/>
                  <a:pt x="1115" y="134"/>
                  <a:pt x="1115" y="135"/>
                </a:cubicBezTo>
                <a:cubicBezTo>
                  <a:pt x="1115" y="137"/>
                  <a:pt x="1114" y="140"/>
                  <a:pt x="1114" y="142"/>
                </a:cubicBezTo>
                <a:cubicBezTo>
                  <a:pt x="1114" y="144"/>
                  <a:pt x="1114" y="144"/>
                  <a:pt x="1114" y="144"/>
                </a:cubicBezTo>
                <a:cubicBezTo>
                  <a:pt x="1113" y="147"/>
                  <a:pt x="1113" y="147"/>
                  <a:pt x="1113" y="147"/>
                </a:cubicBezTo>
                <a:cubicBezTo>
                  <a:pt x="1112" y="151"/>
                  <a:pt x="1112" y="154"/>
                  <a:pt x="1112" y="156"/>
                </a:cubicBezTo>
                <a:cubicBezTo>
                  <a:pt x="1112" y="159"/>
                  <a:pt x="1113" y="160"/>
                  <a:pt x="1116" y="160"/>
                </a:cubicBezTo>
                <a:cubicBezTo>
                  <a:pt x="1117" y="160"/>
                  <a:pt x="1119" y="160"/>
                  <a:pt x="1120" y="159"/>
                </a:cubicBezTo>
                <a:cubicBezTo>
                  <a:pt x="1121" y="159"/>
                  <a:pt x="1122" y="158"/>
                  <a:pt x="1123" y="157"/>
                </a:cubicBezTo>
                <a:cubicBezTo>
                  <a:pt x="1123" y="157"/>
                  <a:pt x="1124" y="156"/>
                  <a:pt x="1124" y="156"/>
                </a:cubicBezTo>
                <a:cubicBezTo>
                  <a:pt x="1123" y="154"/>
                  <a:pt x="1123" y="154"/>
                  <a:pt x="1123" y="154"/>
                </a:cubicBezTo>
                <a:cubicBezTo>
                  <a:pt x="1122" y="155"/>
                  <a:pt x="1121" y="156"/>
                  <a:pt x="1120" y="156"/>
                </a:cubicBezTo>
                <a:cubicBezTo>
                  <a:pt x="1119" y="156"/>
                  <a:pt x="1119" y="155"/>
                  <a:pt x="1119" y="154"/>
                </a:cubicBezTo>
                <a:cubicBezTo>
                  <a:pt x="1119" y="152"/>
                  <a:pt x="1119" y="149"/>
                  <a:pt x="1120" y="145"/>
                </a:cubicBezTo>
                <a:cubicBezTo>
                  <a:pt x="1121" y="142"/>
                  <a:pt x="1121" y="142"/>
                  <a:pt x="1121" y="142"/>
                </a:cubicBezTo>
                <a:cubicBezTo>
                  <a:pt x="1121" y="140"/>
                  <a:pt x="1121" y="140"/>
                  <a:pt x="1121" y="140"/>
                </a:cubicBezTo>
                <a:cubicBezTo>
                  <a:pt x="1122" y="135"/>
                  <a:pt x="1122" y="132"/>
                  <a:pt x="1122" y="130"/>
                </a:cubicBezTo>
                <a:cubicBezTo>
                  <a:pt x="1122" y="126"/>
                  <a:pt x="1122" y="123"/>
                  <a:pt x="1120" y="122"/>
                </a:cubicBezTo>
                <a:cubicBezTo>
                  <a:pt x="1119" y="120"/>
                  <a:pt x="1117" y="119"/>
                  <a:pt x="1114" y="119"/>
                </a:cubicBezTo>
                <a:cubicBezTo>
                  <a:pt x="1112" y="119"/>
                  <a:pt x="1109" y="120"/>
                  <a:pt x="1106" y="122"/>
                </a:cubicBezTo>
                <a:cubicBezTo>
                  <a:pt x="1104" y="124"/>
                  <a:pt x="1102" y="126"/>
                  <a:pt x="1100" y="129"/>
                </a:cubicBezTo>
                <a:close/>
                <a:moveTo>
                  <a:pt x="1159" y="162"/>
                </a:moveTo>
                <a:cubicBezTo>
                  <a:pt x="1165" y="119"/>
                  <a:pt x="1165" y="119"/>
                  <a:pt x="1165" y="119"/>
                </a:cubicBezTo>
                <a:cubicBezTo>
                  <a:pt x="1160" y="121"/>
                  <a:pt x="1160" y="121"/>
                  <a:pt x="1160" y="121"/>
                </a:cubicBezTo>
                <a:cubicBezTo>
                  <a:pt x="1159" y="121"/>
                  <a:pt x="1158" y="120"/>
                  <a:pt x="1157" y="120"/>
                </a:cubicBezTo>
                <a:cubicBezTo>
                  <a:pt x="1155" y="120"/>
                  <a:pt x="1154" y="119"/>
                  <a:pt x="1153" y="119"/>
                </a:cubicBezTo>
                <a:cubicBezTo>
                  <a:pt x="1148" y="119"/>
                  <a:pt x="1144" y="121"/>
                  <a:pt x="1141" y="123"/>
                </a:cubicBezTo>
                <a:cubicBezTo>
                  <a:pt x="1137" y="126"/>
                  <a:pt x="1135" y="129"/>
                  <a:pt x="1133" y="133"/>
                </a:cubicBezTo>
                <a:cubicBezTo>
                  <a:pt x="1131" y="137"/>
                  <a:pt x="1130" y="141"/>
                  <a:pt x="1130" y="145"/>
                </a:cubicBezTo>
                <a:cubicBezTo>
                  <a:pt x="1130" y="150"/>
                  <a:pt x="1131" y="153"/>
                  <a:pt x="1133" y="156"/>
                </a:cubicBezTo>
                <a:cubicBezTo>
                  <a:pt x="1135" y="159"/>
                  <a:pt x="1138" y="160"/>
                  <a:pt x="1142" y="160"/>
                </a:cubicBezTo>
                <a:cubicBezTo>
                  <a:pt x="1144" y="160"/>
                  <a:pt x="1146" y="159"/>
                  <a:pt x="1148" y="158"/>
                </a:cubicBezTo>
                <a:cubicBezTo>
                  <a:pt x="1150" y="157"/>
                  <a:pt x="1152" y="156"/>
                  <a:pt x="1153" y="155"/>
                </a:cubicBezTo>
                <a:cubicBezTo>
                  <a:pt x="1151" y="164"/>
                  <a:pt x="1151" y="164"/>
                  <a:pt x="1151" y="164"/>
                </a:cubicBezTo>
                <a:cubicBezTo>
                  <a:pt x="1151" y="167"/>
                  <a:pt x="1150" y="169"/>
                  <a:pt x="1149" y="170"/>
                </a:cubicBezTo>
                <a:cubicBezTo>
                  <a:pt x="1147" y="172"/>
                  <a:pt x="1145" y="172"/>
                  <a:pt x="1142" y="172"/>
                </a:cubicBezTo>
                <a:cubicBezTo>
                  <a:pt x="1140" y="172"/>
                  <a:pt x="1139" y="172"/>
                  <a:pt x="1137" y="171"/>
                </a:cubicBezTo>
                <a:cubicBezTo>
                  <a:pt x="1136" y="171"/>
                  <a:pt x="1134" y="170"/>
                  <a:pt x="1133" y="170"/>
                </a:cubicBezTo>
                <a:cubicBezTo>
                  <a:pt x="1132" y="175"/>
                  <a:pt x="1132" y="175"/>
                  <a:pt x="1132" y="175"/>
                </a:cubicBezTo>
                <a:cubicBezTo>
                  <a:pt x="1132" y="176"/>
                  <a:pt x="1134" y="176"/>
                  <a:pt x="1135" y="176"/>
                </a:cubicBezTo>
                <a:cubicBezTo>
                  <a:pt x="1137" y="177"/>
                  <a:pt x="1138" y="177"/>
                  <a:pt x="1140" y="177"/>
                </a:cubicBezTo>
                <a:cubicBezTo>
                  <a:pt x="1142" y="177"/>
                  <a:pt x="1145" y="176"/>
                  <a:pt x="1148" y="175"/>
                </a:cubicBezTo>
                <a:cubicBezTo>
                  <a:pt x="1150" y="174"/>
                  <a:pt x="1153" y="173"/>
                  <a:pt x="1155" y="170"/>
                </a:cubicBezTo>
                <a:cubicBezTo>
                  <a:pt x="1157" y="168"/>
                  <a:pt x="1158" y="165"/>
                  <a:pt x="1159" y="162"/>
                </a:cubicBezTo>
                <a:close/>
                <a:moveTo>
                  <a:pt x="1157" y="125"/>
                </a:moveTo>
                <a:cubicBezTo>
                  <a:pt x="1154" y="150"/>
                  <a:pt x="1154" y="150"/>
                  <a:pt x="1154" y="150"/>
                </a:cubicBezTo>
                <a:cubicBezTo>
                  <a:pt x="1152" y="151"/>
                  <a:pt x="1151" y="153"/>
                  <a:pt x="1149" y="154"/>
                </a:cubicBezTo>
                <a:cubicBezTo>
                  <a:pt x="1148" y="155"/>
                  <a:pt x="1146" y="155"/>
                  <a:pt x="1144" y="155"/>
                </a:cubicBezTo>
                <a:cubicBezTo>
                  <a:pt x="1142" y="155"/>
                  <a:pt x="1140" y="155"/>
                  <a:pt x="1139" y="153"/>
                </a:cubicBezTo>
                <a:cubicBezTo>
                  <a:pt x="1138" y="151"/>
                  <a:pt x="1138" y="148"/>
                  <a:pt x="1138" y="145"/>
                </a:cubicBezTo>
                <a:cubicBezTo>
                  <a:pt x="1138" y="142"/>
                  <a:pt x="1138" y="138"/>
                  <a:pt x="1139" y="135"/>
                </a:cubicBezTo>
                <a:cubicBezTo>
                  <a:pt x="1140" y="132"/>
                  <a:pt x="1142" y="129"/>
                  <a:pt x="1144" y="127"/>
                </a:cubicBezTo>
                <a:cubicBezTo>
                  <a:pt x="1146" y="124"/>
                  <a:pt x="1149" y="123"/>
                  <a:pt x="1152" y="123"/>
                </a:cubicBezTo>
                <a:cubicBezTo>
                  <a:pt x="1154" y="123"/>
                  <a:pt x="1156" y="124"/>
                  <a:pt x="1157" y="125"/>
                </a:cubicBezTo>
                <a:close/>
                <a:moveTo>
                  <a:pt x="1181" y="153"/>
                </a:moveTo>
                <a:cubicBezTo>
                  <a:pt x="1185" y="120"/>
                  <a:pt x="1185" y="120"/>
                  <a:pt x="1185" y="120"/>
                </a:cubicBezTo>
                <a:cubicBezTo>
                  <a:pt x="1184" y="119"/>
                  <a:pt x="1184" y="119"/>
                  <a:pt x="1184" y="119"/>
                </a:cubicBezTo>
                <a:cubicBezTo>
                  <a:pt x="1174" y="121"/>
                  <a:pt x="1174" y="121"/>
                  <a:pt x="1174" y="121"/>
                </a:cubicBezTo>
                <a:cubicBezTo>
                  <a:pt x="1173" y="123"/>
                  <a:pt x="1173" y="123"/>
                  <a:pt x="1173" y="123"/>
                </a:cubicBezTo>
                <a:cubicBezTo>
                  <a:pt x="1178" y="125"/>
                  <a:pt x="1178" y="125"/>
                  <a:pt x="1178" y="125"/>
                </a:cubicBezTo>
                <a:cubicBezTo>
                  <a:pt x="1177" y="132"/>
                  <a:pt x="1176" y="138"/>
                  <a:pt x="1175" y="142"/>
                </a:cubicBezTo>
                <a:cubicBezTo>
                  <a:pt x="1174" y="150"/>
                  <a:pt x="1174" y="154"/>
                  <a:pt x="1173" y="156"/>
                </a:cubicBezTo>
                <a:cubicBezTo>
                  <a:pt x="1173" y="157"/>
                  <a:pt x="1174" y="158"/>
                  <a:pt x="1174" y="159"/>
                </a:cubicBezTo>
                <a:cubicBezTo>
                  <a:pt x="1175" y="160"/>
                  <a:pt x="1176" y="160"/>
                  <a:pt x="1178" y="160"/>
                </a:cubicBezTo>
                <a:cubicBezTo>
                  <a:pt x="1180" y="160"/>
                  <a:pt x="1182" y="159"/>
                  <a:pt x="1183" y="158"/>
                </a:cubicBezTo>
                <a:cubicBezTo>
                  <a:pt x="1184" y="157"/>
                  <a:pt x="1185" y="156"/>
                  <a:pt x="1186" y="155"/>
                </a:cubicBezTo>
                <a:cubicBezTo>
                  <a:pt x="1185" y="154"/>
                  <a:pt x="1185" y="154"/>
                  <a:pt x="1185" y="154"/>
                </a:cubicBezTo>
                <a:cubicBezTo>
                  <a:pt x="1184" y="154"/>
                  <a:pt x="1184" y="155"/>
                  <a:pt x="1183" y="155"/>
                </a:cubicBezTo>
                <a:cubicBezTo>
                  <a:pt x="1183" y="156"/>
                  <a:pt x="1182" y="156"/>
                  <a:pt x="1182" y="156"/>
                </a:cubicBezTo>
                <a:cubicBezTo>
                  <a:pt x="1181" y="156"/>
                  <a:pt x="1181" y="156"/>
                  <a:pt x="1181" y="155"/>
                </a:cubicBezTo>
                <a:cubicBezTo>
                  <a:pt x="1181" y="155"/>
                  <a:pt x="1180" y="155"/>
                  <a:pt x="1180" y="154"/>
                </a:cubicBezTo>
                <a:lnTo>
                  <a:pt x="1181" y="153"/>
                </a:lnTo>
                <a:close/>
                <a:moveTo>
                  <a:pt x="1183" y="112"/>
                </a:moveTo>
                <a:cubicBezTo>
                  <a:pt x="1184" y="112"/>
                  <a:pt x="1185" y="111"/>
                  <a:pt x="1186" y="110"/>
                </a:cubicBezTo>
                <a:cubicBezTo>
                  <a:pt x="1187" y="109"/>
                  <a:pt x="1188" y="108"/>
                  <a:pt x="1188" y="107"/>
                </a:cubicBezTo>
                <a:cubicBezTo>
                  <a:pt x="1188" y="106"/>
                  <a:pt x="1187" y="105"/>
                  <a:pt x="1187" y="104"/>
                </a:cubicBezTo>
                <a:cubicBezTo>
                  <a:pt x="1186" y="103"/>
                  <a:pt x="1185" y="103"/>
                  <a:pt x="1184" y="103"/>
                </a:cubicBezTo>
                <a:cubicBezTo>
                  <a:pt x="1182" y="103"/>
                  <a:pt x="1181" y="103"/>
                  <a:pt x="1180" y="104"/>
                </a:cubicBezTo>
                <a:cubicBezTo>
                  <a:pt x="1180" y="105"/>
                  <a:pt x="1179" y="107"/>
                  <a:pt x="1179" y="108"/>
                </a:cubicBezTo>
                <a:cubicBezTo>
                  <a:pt x="1179" y="109"/>
                  <a:pt x="1179" y="110"/>
                  <a:pt x="1180" y="111"/>
                </a:cubicBezTo>
                <a:cubicBezTo>
                  <a:pt x="1181" y="111"/>
                  <a:pt x="1182" y="112"/>
                  <a:pt x="1183" y="112"/>
                </a:cubicBezTo>
                <a:close/>
                <a:moveTo>
                  <a:pt x="1207" y="129"/>
                </a:moveTo>
                <a:cubicBezTo>
                  <a:pt x="1208" y="120"/>
                  <a:pt x="1208" y="120"/>
                  <a:pt x="1208" y="120"/>
                </a:cubicBezTo>
                <a:cubicBezTo>
                  <a:pt x="1207" y="119"/>
                  <a:pt x="1207" y="119"/>
                  <a:pt x="1207" y="119"/>
                </a:cubicBezTo>
                <a:cubicBezTo>
                  <a:pt x="1198" y="121"/>
                  <a:pt x="1198" y="121"/>
                  <a:pt x="1198" y="121"/>
                </a:cubicBezTo>
                <a:cubicBezTo>
                  <a:pt x="1198" y="124"/>
                  <a:pt x="1198" y="124"/>
                  <a:pt x="1198" y="124"/>
                </a:cubicBezTo>
                <a:cubicBezTo>
                  <a:pt x="1201" y="125"/>
                  <a:pt x="1201" y="125"/>
                  <a:pt x="1201" y="125"/>
                </a:cubicBezTo>
                <a:cubicBezTo>
                  <a:pt x="1196" y="159"/>
                  <a:pt x="1196" y="159"/>
                  <a:pt x="1196" y="159"/>
                </a:cubicBezTo>
                <a:cubicBezTo>
                  <a:pt x="1203" y="159"/>
                  <a:pt x="1203" y="159"/>
                  <a:pt x="1203" y="159"/>
                </a:cubicBezTo>
                <a:cubicBezTo>
                  <a:pt x="1207" y="134"/>
                  <a:pt x="1207" y="134"/>
                  <a:pt x="1207" y="134"/>
                </a:cubicBezTo>
                <a:cubicBezTo>
                  <a:pt x="1208" y="131"/>
                  <a:pt x="1210" y="129"/>
                  <a:pt x="1213" y="127"/>
                </a:cubicBezTo>
                <a:cubicBezTo>
                  <a:pt x="1215" y="125"/>
                  <a:pt x="1217" y="124"/>
                  <a:pt x="1219" y="124"/>
                </a:cubicBezTo>
                <a:cubicBezTo>
                  <a:pt x="1220" y="124"/>
                  <a:pt x="1221" y="125"/>
                  <a:pt x="1222" y="126"/>
                </a:cubicBezTo>
                <a:cubicBezTo>
                  <a:pt x="1223" y="127"/>
                  <a:pt x="1223" y="128"/>
                  <a:pt x="1223" y="130"/>
                </a:cubicBezTo>
                <a:cubicBezTo>
                  <a:pt x="1223" y="132"/>
                  <a:pt x="1223" y="134"/>
                  <a:pt x="1223" y="135"/>
                </a:cubicBezTo>
                <a:cubicBezTo>
                  <a:pt x="1222" y="137"/>
                  <a:pt x="1222" y="140"/>
                  <a:pt x="1222" y="142"/>
                </a:cubicBezTo>
                <a:cubicBezTo>
                  <a:pt x="1221" y="144"/>
                  <a:pt x="1221" y="144"/>
                  <a:pt x="1221" y="144"/>
                </a:cubicBezTo>
                <a:cubicBezTo>
                  <a:pt x="1221" y="147"/>
                  <a:pt x="1221" y="147"/>
                  <a:pt x="1221" y="147"/>
                </a:cubicBezTo>
                <a:cubicBezTo>
                  <a:pt x="1220" y="151"/>
                  <a:pt x="1219" y="154"/>
                  <a:pt x="1219" y="156"/>
                </a:cubicBezTo>
                <a:cubicBezTo>
                  <a:pt x="1219" y="159"/>
                  <a:pt x="1221" y="160"/>
                  <a:pt x="1224" y="160"/>
                </a:cubicBezTo>
                <a:cubicBezTo>
                  <a:pt x="1225" y="160"/>
                  <a:pt x="1226" y="160"/>
                  <a:pt x="1227" y="159"/>
                </a:cubicBezTo>
                <a:cubicBezTo>
                  <a:pt x="1228" y="159"/>
                  <a:pt x="1229" y="158"/>
                  <a:pt x="1230" y="157"/>
                </a:cubicBezTo>
                <a:cubicBezTo>
                  <a:pt x="1231" y="157"/>
                  <a:pt x="1231" y="156"/>
                  <a:pt x="1232" y="156"/>
                </a:cubicBezTo>
                <a:cubicBezTo>
                  <a:pt x="1231" y="154"/>
                  <a:pt x="1231" y="154"/>
                  <a:pt x="1231" y="154"/>
                </a:cubicBezTo>
                <a:cubicBezTo>
                  <a:pt x="1229" y="155"/>
                  <a:pt x="1228" y="156"/>
                  <a:pt x="1227" y="156"/>
                </a:cubicBezTo>
                <a:cubicBezTo>
                  <a:pt x="1227" y="156"/>
                  <a:pt x="1227" y="155"/>
                  <a:pt x="1227" y="154"/>
                </a:cubicBezTo>
                <a:cubicBezTo>
                  <a:pt x="1227" y="152"/>
                  <a:pt x="1227" y="149"/>
                  <a:pt x="1228" y="145"/>
                </a:cubicBezTo>
                <a:cubicBezTo>
                  <a:pt x="1228" y="142"/>
                  <a:pt x="1228" y="142"/>
                  <a:pt x="1228" y="142"/>
                </a:cubicBezTo>
                <a:cubicBezTo>
                  <a:pt x="1229" y="140"/>
                  <a:pt x="1229" y="140"/>
                  <a:pt x="1229" y="140"/>
                </a:cubicBezTo>
                <a:cubicBezTo>
                  <a:pt x="1230" y="135"/>
                  <a:pt x="1230" y="132"/>
                  <a:pt x="1230" y="130"/>
                </a:cubicBezTo>
                <a:cubicBezTo>
                  <a:pt x="1230" y="126"/>
                  <a:pt x="1229" y="123"/>
                  <a:pt x="1228" y="122"/>
                </a:cubicBezTo>
                <a:cubicBezTo>
                  <a:pt x="1227" y="120"/>
                  <a:pt x="1225" y="119"/>
                  <a:pt x="1222" y="119"/>
                </a:cubicBezTo>
                <a:cubicBezTo>
                  <a:pt x="1219" y="119"/>
                  <a:pt x="1217" y="120"/>
                  <a:pt x="1214" y="122"/>
                </a:cubicBezTo>
                <a:cubicBezTo>
                  <a:pt x="1211" y="124"/>
                  <a:pt x="1209" y="126"/>
                  <a:pt x="1207" y="129"/>
                </a:cubicBezTo>
                <a:close/>
                <a:moveTo>
                  <a:pt x="1267" y="153"/>
                </a:moveTo>
                <a:cubicBezTo>
                  <a:pt x="1266" y="150"/>
                  <a:pt x="1266" y="150"/>
                  <a:pt x="1266" y="150"/>
                </a:cubicBezTo>
                <a:cubicBezTo>
                  <a:pt x="1264" y="152"/>
                  <a:pt x="1262" y="153"/>
                  <a:pt x="1260" y="154"/>
                </a:cubicBezTo>
                <a:cubicBezTo>
                  <a:pt x="1258" y="155"/>
                  <a:pt x="1256" y="156"/>
                  <a:pt x="1254" y="156"/>
                </a:cubicBezTo>
                <a:cubicBezTo>
                  <a:pt x="1251" y="156"/>
                  <a:pt x="1249" y="154"/>
                  <a:pt x="1248" y="152"/>
                </a:cubicBezTo>
                <a:cubicBezTo>
                  <a:pt x="1246" y="150"/>
                  <a:pt x="1246" y="147"/>
                  <a:pt x="1246" y="143"/>
                </a:cubicBezTo>
                <a:cubicBezTo>
                  <a:pt x="1249" y="143"/>
                  <a:pt x="1252" y="143"/>
                  <a:pt x="1256" y="142"/>
                </a:cubicBezTo>
                <a:cubicBezTo>
                  <a:pt x="1259" y="140"/>
                  <a:pt x="1263" y="139"/>
                  <a:pt x="1265" y="136"/>
                </a:cubicBezTo>
                <a:cubicBezTo>
                  <a:pt x="1268" y="134"/>
                  <a:pt x="1269" y="131"/>
                  <a:pt x="1269" y="128"/>
                </a:cubicBezTo>
                <a:cubicBezTo>
                  <a:pt x="1269" y="125"/>
                  <a:pt x="1268" y="123"/>
                  <a:pt x="1267" y="122"/>
                </a:cubicBezTo>
                <a:cubicBezTo>
                  <a:pt x="1265" y="120"/>
                  <a:pt x="1263" y="119"/>
                  <a:pt x="1259" y="119"/>
                </a:cubicBezTo>
                <a:cubicBezTo>
                  <a:pt x="1255" y="119"/>
                  <a:pt x="1252" y="121"/>
                  <a:pt x="1249" y="123"/>
                </a:cubicBezTo>
                <a:cubicBezTo>
                  <a:pt x="1246" y="125"/>
                  <a:pt x="1243" y="128"/>
                  <a:pt x="1241" y="132"/>
                </a:cubicBezTo>
                <a:cubicBezTo>
                  <a:pt x="1240" y="136"/>
                  <a:pt x="1239" y="140"/>
                  <a:pt x="1239" y="145"/>
                </a:cubicBezTo>
                <a:cubicBezTo>
                  <a:pt x="1239" y="147"/>
                  <a:pt x="1239" y="150"/>
                  <a:pt x="1240" y="152"/>
                </a:cubicBezTo>
                <a:cubicBezTo>
                  <a:pt x="1241" y="155"/>
                  <a:pt x="1243" y="156"/>
                  <a:pt x="1245" y="158"/>
                </a:cubicBezTo>
                <a:cubicBezTo>
                  <a:pt x="1247" y="159"/>
                  <a:pt x="1249" y="160"/>
                  <a:pt x="1253" y="160"/>
                </a:cubicBezTo>
                <a:cubicBezTo>
                  <a:pt x="1256" y="160"/>
                  <a:pt x="1259" y="159"/>
                  <a:pt x="1261" y="158"/>
                </a:cubicBezTo>
                <a:cubicBezTo>
                  <a:pt x="1264" y="156"/>
                  <a:pt x="1266" y="154"/>
                  <a:pt x="1267" y="153"/>
                </a:cubicBezTo>
                <a:close/>
                <a:moveTo>
                  <a:pt x="1258" y="123"/>
                </a:moveTo>
                <a:cubicBezTo>
                  <a:pt x="1259" y="123"/>
                  <a:pt x="1260" y="124"/>
                  <a:pt x="1261" y="125"/>
                </a:cubicBezTo>
                <a:cubicBezTo>
                  <a:pt x="1262" y="125"/>
                  <a:pt x="1263" y="127"/>
                  <a:pt x="1263" y="129"/>
                </a:cubicBezTo>
                <a:cubicBezTo>
                  <a:pt x="1263" y="131"/>
                  <a:pt x="1262" y="133"/>
                  <a:pt x="1260" y="135"/>
                </a:cubicBezTo>
                <a:cubicBezTo>
                  <a:pt x="1258" y="136"/>
                  <a:pt x="1256" y="138"/>
                  <a:pt x="1253" y="139"/>
                </a:cubicBezTo>
                <a:cubicBezTo>
                  <a:pt x="1251" y="139"/>
                  <a:pt x="1248" y="140"/>
                  <a:pt x="1246" y="140"/>
                </a:cubicBezTo>
                <a:cubicBezTo>
                  <a:pt x="1246" y="138"/>
                  <a:pt x="1247" y="135"/>
                  <a:pt x="1248" y="132"/>
                </a:cubicBezTo>
                <a:cubicBezTo>
                  <a:pt x="1249" y="130"/>
                  <a:pt x="1250" y="127"/>
                  <a:pt x="1252" y="126"/>
                </a:cubicBezTo>
                <a:cubicBezTo>
                  <a:pt x="1254" y="124"/>
                  <a:pt x="1255" y="123"/>
                  <a:pt x="1258" y="123"/>
                </a:cubicBezTo>
                <a:close/>
                <a:moveTo>
                  <a:pt x="1303" y="153"/>
                </a:moveTo>
                <a:cubicBezTo>
                  <a:pt x="1302" y="150"/>
                  <a:pt x="1302" y="150"/>
                  <a:pt x="1302" y="150"/>
                </a:cubicBezTo>
                <a:cubicBezTo>
                  <a:pt x="1300" y="152"/>
                  <a:pt x="1298" y="153"/>
                  <a:pt x="1296" y="154"/>
                </a:cubicBezTo>
                <a:cubicBezTo>
                  <a:pt x="1294" y="155"/>
                  <a:pt x="1292" y="156"/>
                  <a:pt x="1290" y="156"/>
                </a:cubicBezTo>
                <a:cubicBezTo>
                  <a:pt x="1287" y="156"/>
                  <a:pt x="1285" y="154"/>
                  <a:pt x="1284" y="152"/>
                </a:cubicBezTo>
                <a:cubicBezTo>
                  <a:pt x="1282" y="150"/>
                  <a:pt x="1282" y="147"/>
                  <a:pt x="1282" y="143"/>
                </a:cubicBezTo>
                <a:cubicBezTo>
                  <a:pt x="1285" y="143"/>
                  <a:pt x="1288" y="143"/>
                  <a:pt x="1292" y="142"/>
                </a:cubicBezTo>
                <a:cubicBezTo>
                  <a:pt x="1295" y="140"/>
                  <a:pt x="1299" y="139"/>
                  <a:pt x="1301" y="136"/>
                </a:cubicBezTo>
                <a:cubicBezTo>
                  <a:pt x="1304" y="134"/>
                  <a:pt x="1305" y="131"/>
                  <a:pt x="1305" y="128"/>
                </a:cubicBezTo>
                <a:cubicBezTo>
                  <a:pt x="1305" y="125"/>
                  <a:pt x="1304" y="123"/>
                  <a:pt x="1303" y="122"/>
                </a:cubicBezTo>
                <a:cubicBezTo>
                  <a:pt x="1301" y="120"/>
                  <a:pt x="1299" y="119"/>
                  <a:pt x="1295" y="119"/>
                </a:cubicBezTo>
                <a:cubicBezTo>
                  <a:pt x="1291" y="119"/>
                  <a:pt x="1288" y="121"/>
                  <a:pt x="1285" y="123"/>
                </a:cubicBezTo>
                <a:cubicBezTo>
                  <a:pt x="1282" y="125"/>
                  <a:pt x="1279" y="128"/>
                  <a:pt x="1277" y="132"/>
                </a:cubicBezTo>
                <a:cubicBezTo>
                  <a:pt x="1275" y="136"/>
                  <a:pt x="1275" y="140"/>
                  <a:pt x="1275" y="145"/>
                </a:cubicBezTo>
                <a:cubicBezTo>
                  <a:pt x="1275" y="147"/>
                  <a:pt x="1275" y="150"/>
                  <a:pt x="1276" y="152"/>
                </a:cubicBezTo>
                <a:cubicBezTo>
                  <a:pt x="1277" y="155"/>
                  <a:pt x="1279" y="156"/>
                  <a:pt x="1281" y="158"/>
                </a:cubicBezTo>
                <a:cubicBezTo>
                  <a:pt x="1283" y="159"/>
                  <a:pt x="1285" y="160"/>
                  <a:pt x="1288" y="160"/>
                </a:cubicBezTo>
                <a:cubicBezTo>
                  <a:pt x="1292" y="160"/>
                  <a:pt x="1295" y="159"/>
                  <a:pt x="1297" y="158"/>
                </a:cubicBezTo>
                <a:cubicBezTo>
                  <a:pt x="1300" y="156"/>
                  <a:pt x="1302" y="154"/>
                  <a:pt x="1303" y="153"/>
                </a:cubicBezTo>
                <a:close/>
                <a:moveTo>
                  <a:pt x="1294" y="123"/>
                </a:moveTo>
                <a:cubicBezTo>
                  <a:pt x="1295" y="123"/>
                  <a:pt x="1296" y="124"/>
                  <a:pt x="1297" y="125"/>
                </a:cubicBezTo>
                <a:cubicBezTo>
                  <a:pt x="1298" y="125"/>
                  <a:pt x="1298" y="127"/>
                  <a:pt x="1298" y="129"/>
                </a:cubicBezTo>
                <a:cubicBezTo>
                  <a:pt x="1298" y="131"/>
                  <a:pt x="1298" y="133"/>
                  <a:pt x="1296" y="135"/>
                </a:cubicBezTo>
                <a:cubicBezTo>
                  <a:pt x="1294" y="136"/>
                  <a:pt x="1292" y="138"/>
                  <a:pt x="1289" y="139"/>
                </a:cubicBezTo>
                <a:cubicBezTo>
                  <a:pt x="1287" y="139"/>
                  <a:pt x="1284" y="140"/>
                  <a:pt x="1282" y="140"/>
                </a:cubicBezTo>
                <a:cubicBezTo>
                  <a:pt x="1282" y="138"/>
                  <a:pt x="1283" y="135"/>
                  <a:pt x="1284" y="132"/>
                </a:cubicBezTo>
                <a:cubicBezTo>
                  <a:pt x="1285" y="130"/>
                  <a:pt x="1286" y="127"/>
                  <a:pt x="1288" y="126"/>
                </a:cubicBezTo>
                <a:cubicBezTo>
                  <a:pt x="1289" y="124"/>
                  <a:pt x="1291" y="123"/>
                  <a:pt x="1294" y="123"/>
                </a:cubicBezTo>
                <a:close/>
                <a:moveTo>
                  <a:pt x="1322" y="129"/>
                </a:moveTo>
                <a:cubicBezTo>
                  <a:pt x="1323" y="127"/>
                  <a:pt x="1323" y="127"/>
                  <a:pt x="1323" y="127"/>
                </a:cubicBezTo>
                <a:cubicBezTo>
                  <a:pt x="1323" y="120"/>
                  <a:pt x="1323" y="120"/>
                  <a:pt x="1323" y="120"/>
                </a:cubicBezTo>
                <a:cubicBezTo>
                  <a:pt x="1322" y="119"/>
                  <a:pt x="1322" y="119"/>
                  <a:pt x="1322" y="119"/>
                </a:cubicBezTo>
                <a:cubicBezTo>
                  <a:pt x="1314" y="121"/>
                  <a:pt x="1314" y="121"/>
                  <a:pt x="1314" y="121"/>
                </a:cubicBezTo>
                <a:cubicBezTo>
                  <a:pt x="1313" y="124"/>
                  <a:pt x="1313" y="124"/>
                  <a:pt x="1313" y="124"/>
                </a:cubicBezTo>
                <a:cubicBezTo>
                  <a:pt x="1317" y="125"/>
                  <a:pt x="1317" y="125"/>
                  <a:pt x="1317" y="125"/>
                </a:cubicBezTo>
                <a:cubicBezTo>
                  <a:pt x="1312" y="159"/>
                  <a:pt x="1312" y="159"/>
                  <a:pt x="1312" y="159"/>
                </a:cubicBezTo>
                <a:cubicBezTo>
                  <a:pt x="1319" y="159"/>
                  <a:pt x="1319" y="159"/>
                  <a:pt x="1319" y="159"/>
                </a:cubicBezTo>
                <a:cubicBezTo>
                  <a:pt x="1322" y="134"/>
                  <a:pt x="1322" y="134"/>
                  <a:pt x="1322" y="134"/>
                </a:cubicBezTo>
                <a:cubicBezTo>
                  <a:pt x="1323" y="132"/>
                  <a:pt x="1325" y="130"/>
                  <a:pt x="1327" y="129"/>
                </a:cubicBezTo>
                <a:cubicBezTo>
                  <a:pt x="1329" y="127"/>
                  <a:pt x="1331" y="127"/>
                  <a:pt x="1333" y="127"/>
                </a:cubicBezTo>
                <a:cubicBezTo>
                  <a:pt x="1334" y="127"/>
                  <a:pt x="1335" y="127"/>
                  <a:pt x="1336" y="127"/>
                </a:cubicBezTo>
                <a:cubicBezTo>
                  <a:pt x="1338" y="120"/>
                  <a:pt x="1338" y="120"/>
                  <a:pt x="1338" y="120"/>
                </a:cubicBezTo>
                <a:cubicBezTo>
                  <a:pt x="1337" y="120"/>
                  <a:pt x="1336" y="119"/>
                  <a:pt x="1335" y="119"/>
                </a:cubicBezTo>
                <a:cubicBezTo>
                  <a:pt x="1333" y="119"/>
                  <a:pt x="1331" y="120"/>
                  <a:pt x="1330" y="121"/>
                </a:cubicBezTo>
                <a:cubicBezTo>
                  <a:pt x="1328" y="122"/>
                  <a:pt x="1326" y="123"/>
                  <a:pt x="1325" y="125"/>
                </a:cubicBezTo>
                <a:cubicBezTo>
                  <a:pt x="1324" y="126"/>
                  <a:pt x="1323" y="128"/>
                  <a:pt x="1322" y="129"/>
                </a:cubicBezTo>
                <a:close/>
                <a:moveTo>
                  <a:pt x="1349" y="153"/>
                </a:moveTo>
                <a:cubicBezTo>
                  <a:pt x="1354" y="120"/>
                  <a:pt x="1354" y="120"/>
                  <a:pt x="1354" y="120"/>
                </a:cubicBezTo>
                <a:cubicBezTo>
                  <a:pt x="1352" y="119"/>
                  <a:pt x="1352" y="119"/>
                  <a:pt x="1352" y="119"/>
                </a:cubicBezTo>
                <a:cubicBezTo>
                  <a:pt x="1342" y="121"/>
                  <a:pt x="1342" y="121"/>
                  <a:pt x="1342" y="121"/>
                </a:cubicBezTo>
                <a:cubicBezTo>
                  <a:pt x="1342" y="123"/>
                  <a:pt x="1342" y="123"/>
                  <a:pt x="1342" y="123"/>
                </a:cubicBezTo>
                <a:cubicBezTo>
                  <a:pt x="1346" y="125"/>
                  <a:pt x="1346" y="125"/>
                  <a:pt x="1346" y="125"/>
                </a:cubicBezTo>
                <a:cubicBezTo>
                  <a:pt x="1345" y="132"/>
                  <a:pt x="1345" y="138"/>
                  <a:pt x="1344" y="142"/>
                </a:cubicBezTo>
                <a:cubicBezTo>
                  <a:pt x="1343" y="150"/>
                  <a:pt x="1342" y="154"/>
                  <a:pt x="1342" y="156"/>
                </a:cubicBezTo>
                <a:cubicBezTo>
                  <a:pt x="1342" y="157"/>
                  <a:pt x="1342" y="158"/>
                  <a:pt x="1343" y="159"/>
                </a:cubicBezTo>
                <a:cubicBezTo>
                  <a:pt x="1344" y="160"/>
                  <a:pt x="1345" y="160"/>
                  <a:pt x="1347" y="160"/>
                </a:cubicBezTo>
                <a:cubicBezTo>
                  <a:pt x="1349" y="160"/>
                  <a:pt x="1350" y="159"/>
                  <a:pt x="1352" y="158"/>
                </a:cubicBezTo>
                <a:cubicBezTo>
                  <a:pt x="1353" y="157"/>
                  <a:pt x="1354" y="156"/>
                  <a:pt x="1355" y="155"/>
                </a:cubicBezTo>
                <a:cubicBezTo>
                  <a:pt x="1354" y="154"/>
                  <a:pt x="1354" y="154"/>
                  <a:pt x="1354" y="154"/>
                </a:cubicBezTo>
                <a:cubicBezTo>
                  <a:pt x="1353" y="154"/>
                  <a:pt x="1352" y="155"/>
                  <a:pt x="1352" y="155"/>
                </a:cubicBezTo>
                <a:cubicBezTo>
                  <a:pt x="1351" y="156"/>
                  <a:pt x="1351" y="156"/>
                  <a:pt x="1350" y="156"/>
                </a:cubicBezTo>
                <a:cubicBezTo>
                  <a:pt x="1350" y="156"/>
                  <a:pt x="1350" y="156"/>
                  <a:pt x="1349" y="155"/>
                </a:cubicBezTo>
                <a:cubicBezTo>
                  <a:pt x="1349" y="155"/>
                  <a:pt x="1349" y="155"/>
                  <a:pt x="1349" y="154"/>
                </a:cubicBezTo>
                <a:lnTo>
                  <a:pt x="1349" y="153"/>
                </a:lnTo>
                <a:close/>
                <a:moveTo>
                  <a:pt x="1351" y="112"/>
                </a:moveTo>
                <a:cubicBezTo>
                  <a:pt x="1353" y="112"/>
                  <a:pt x="1354" y="111"/>
                  <a:pt x="1355" y="110"/>
                </a:cubicBezTo>
                <a:cubicBezTo>
                  <a:pt x="1356" y="109"/>
                  <a:pt x="1356" y="108"/>
                  <a:pt x="1356" y="107"/>
                </a:cubicBezTo>
                <a:cubicBezTo>
                  <a:pt x="1356" y="106"/>
                  <a:pt x="1356" y="105"/>
                  <a:pt x="1355" y="104"/>
                </a:cubicBezTo>
                <a:cubicBezTo>
                  <a:pt x="1354" y="103"/>
                  <a:pt x="1353" y="103"/>
                  <a:pt x="1352" y="103"/>
                </a:cubicBezTo>
                <a:cubicBezTo>
                  <a:pt x="1351" y="103"/>
                  <a:pt x="1350" y="103"/>
                  <a:pt x="1349" y="104"/>
                </a:cubicBezTo>
                <a:cubicBezTo>
                  <a:pt x="1348" y="105"/>
                  <a:pt x="1348" y="107"/>
                  <a:pt x="1348" y="108"/>
                </a:cubicBezTo>
                <a:cubicBezTo>
                  <a:pt x="1348" y="109"/>
                  <a:pt x="1348" y="110"/>
                  <a:pt x="1349" y="111"/>
                </a:cubicBezTo>
                <a:cubicBezTo>
                  <a:pt x="1350" y="111"/>
                  <a:pt x="1350" y="112"/>
                  <a:pt x="1351" y="112"/>
                </a:cubicBezTo>
                <a:close/>
                <a:moveTo>
                  <a:pt x="1374" y="129"/>
                </a:moveTo>
                <a:cubicBezTo>
                  <a:pt x="1375" y="120"/>
                  <a:pt x="1375" y="120"/>
                  <a:pt x="1375" y="120"/>
                </a:cubicBezTo>
                <a:cubicBezTo>
                  <a:pt x="1374" y="119"/>
                  <a:pt x="1374" y="119"/>
                  <a:pt x="1374" y="119"/>
                </a:cubicBezTo>
                <a:cubicBezTo>
                  <a:pt x="1365" y="121"/>
                  <a:pt x="1365" y="121"/>
                  <a:pt x="1365" y="121"/>
                </a:cubicBezTo>
                <a:cubicBezTo>
                  <a:pt x="1365" y="124"/>
                  <a:pt x="1365" y="124"/>
                  <a:pt x="1365" y="124"/>
                </a:cubicBezTo>
                <a:cubicBezTo>
                  <a:pt x="1368" y="125"/>
                  <a:pt x="1368" y="125"/>
                  <a:pt x="1368" y="125"/>
                </a:cubicBezTo>
                <a:cubicBezTo>
                  <a:pt x="1364" y="159"/>
                  <a:pt x="1364" y="159"/>
                  <a:pt x="1364" y="159"/>
                </a:cubicBezTo>
                <a:cubicBezTo>
                  <a:pt x="1370" y="159"/>
                  <a:pt x="1370" y="159"/>
                  <a:pt x="1370" y="159"/>
                </a:cubicBezTo>
                <a:cubicBezTo>
                  <a:pt x="1374" y="134"/>
                  <a:pt x="1374" y="134"/>
                  <a:pt x="1374" y="134"/>
                </a:cubicBezTo>
                <a:cubicBezTo>
                  <a:pt x="1375" y="131"/>
                  <a:pt x="1377" y="129"/>
                  <a:pt x="1380" y="127"/>
                </a:cubicBezTo>
                <a:cubicBezTo>
                  <a:pt x="1382" y="125"/>
                  <a:pt x="1384" y="124"/>
                  <a:pt x="1386" y="124"/>
                </a:cubicBezTo>
                <a:cubicBezTo>
                  <a:pt x="1388" y="124"/>
                  <a:pt x="1389" y="125"/>
                  <a:pt x="1389" y="126"/>
                </a:cubicBezTo>
                <a:cubicBezTo>
                  <a:pt x="1390" y="127"/>
                  <a:pt x="1390" y="128"/>
                  <a:pt x="1390" y="130"/>
                </a:cubicBezTo>
                <a:cubicBezTo>
                  <a:pt x="1390" y="132"/>
                  <a:pt x="1390" y="134"/>
                  <a:pt x="1390" y="135"/>
                </a:cubicBezTo>
                <a:cubicBezTo>
                  <a:pt x="1390" y="137"/>
                  <a:pt x="1389" y="140"/>
                  <a:pt x="1389" y="142"/>
                </a:cubicBezTo>
                <a:cubicBezTo>
                  <a:pt x="1388" y="144"/>
                  <a:pt x="1388" y="144"/>
                  <a:pt x="1388" y="144"/>
                </a:cubicBezTo>
                <a:cubicBezTo>
                  <a:pt x="1388" y="147"/>
                  <a:pt x="1388" y="147"/>
                  <a:pt x="1388" y="147"/>
                </a:cubicBezTo>
                <a:cubicBezTo>
                  <a:pt x="1387" y="151"/>
                  <a:pt x="1387" y="154"/>
                  <a:pt x="1387" y="156"/>
                </a:cubicBezTo>
                <a:cubicBezTo>
                  <a:pt x="1387" y="159"/>
                  <a:pt x="1388" y="160"/>
                  <a:pt x="1391" y="160"/>
                </a:cubicBezTo>
                <a:cubicBezTo>
                  <a:pt x="1392" y="160"/>
                  <a:pt x="1394" y="160"/>
                  <a:pt x="1395" y="159"/>
                </a:cubicBezTo>
                <a:cubicBezTo>
                  <a:pt x="1396" y="159"/>
                  <a:pt x="1397" y="158"/>
                  <a:pt x="1397" y="157"/>
                </a:cubicBezTo>
                <a:cubicBezTo>
                  <a:pt x="1398" y="157"/>
                  <a:pt x="1399" y="156"/>
                  <a:pt x="1399" y="156"/>
                </a:cubicBezTo>
                <a:cubicBezTo>
                  <a:pt x="1398" y="154"/>
                  <a:pt x="1398" y="154"/>
                  <a:pt x="1398" y="154"/>
                </a:cubicBezTo>
                <a:cubicBezTo>
                  <a:pt x="1397" y="155"/>
                  <a:pt x="1396" y="156"/>
                  <a:pt x="1395" y="156"/>
                </a:cubicBezTo>
                <a:cubicBezTo>
                  <a:pt x="1394" y="156"/>
                  <a:pt x="1394" y="155"/>
                  <a:pt x="1394" y="154"/>
                </a:cubicBezTo>
                <a:cubicBezTo>
                  <a:pt x="1394" y="152"/>
                  <a:pt x="1394" y="149"/>
                  <a:pt x="1395" y="145"/>
                </a:cubicBezTo>
                <a:cubicBezTo>
                  <a:pt x="1395" y="142"/>
                  <a:pt x="1395" y="142"/>
                  <a:pt x="1395" y="142"/>
                </a:cubicBezTo>
                <a:cubicBezTo>
                  <a:pt x="1396" y="140"/>
                  <a:pt x="1396" y="140"/>
                  <a:pt x="1396" y="140"/>
                </a:cubicBezTo>
                <a:cubicBezTo>
                  <a:pt x="1397" y="135"/>
                  <a:pt x="1397" y="132"/>
                  <a:pt x="1397" y="130"/>
                </a:cubicBezTo>
                <a:cubicBezTo>
                  <a:pt x="1397" y="126"/>
                  <a:pt x="1397" y="123"/>
                  <a:pt x="1395" y="122"/>
                </a:cubicBezTo>
                <a:cubicBezTo>
                  <a:pt x="1394" y="120"/>
                  <a:pt x="1392" y="119"/>
                  <a:pt x="1389" y="119"/>
                </a:cubicBezTo>
                <a:cubicBezTo>
                  <a:pt x="1386" y="119"/>
                  <a:pt x="1384" y="120"/>
                  <a:pt x="1381" y="122"/>
                </a:cubicBezTo>
                <a:cubicBezTo>
                  <a:pt x="1379" y="124"/>
                  <a:pt x="1376" y="126"/>
                  <a:pt x="1374" y="129"/>
                </a:cubicBezTo>
                <a:close/>
                <a:moveTo>
                  <a:pt x="1433" y="162"/>
                </a:moveTo>
                <a:cubicBezTo>
                  <a:pt x="1440" y="119"/>
                  <a:pt x="1440" y="119"/>
                  <a:pt x="1440" y="119"/>
                </a:cubicBezTo>
                <a:cubicBezTo>
                  <a:pt x="1435" y="121"/>
                  <a:pt x="1435" y="121"/>
                  <a:pt x="1435" y="121"/>
                </a:cubicBezTo>
                <a:cubicBezTo>
                  <a:pt x="1434" y="121"/>
                  <a:pt x="1433" y="120"/>
                  <a:pt x="1432" y="120"/>
                </a:cubicBezTo>
                <a:cubicBezTo>
                  <a:pt x="1430" y="120"/>
                  <a:pt x="1429" y="119"/>
                  <a:pt x="1428" y="119"/>
                </a:cubicBezTo>
                <a:cubicBezTo>
                  <a:pt x="1423" y="119"/>
                  <a:pt x="1419" y="121"/>
                  <a:pt x="1416" y="123"/>
                </a:cubicBezTo>
                <a:cubicBezTo>
                  <a:pt x="1412" y="126"/>
                  <a:pt x="1410" y="129"/>
                  <a:pt x="1408" y="133"/>
                </a:cubicBezTo>
                <a:cubicBezTo>
                  <a:pt x="1406" y="137"/>
                  <a:pt x="1405" y="141"/>
                  <a:pt x="1405" y="145"/>
                </a:cubicBezTo>
                <a:cubicBezTo>
                  <a:pt x="1405" y="150"/>
                  <a:pt x="1406" y="153"/>
                  <a:pt x="1408" y="156"/>
                </a:cubicBezTo>
                <a:cubicBezTo>
                  <a:pt x="1410" y="159"/>
                  <a:pt x="1413" y="160"/>
                  <a:pt x="1417" y="160"/>
                </a:cubicBezTo>
                <a:cubicBezTo>
                  <a:pt x="1419" y="160"/>
                  <a:pt x="1421" y="159"/>
                  <a:pt x="1423" y="158"/>
                </a:cubicBezTo>
                <a:cubicBezTo>
                  <a:pt x="1425" y="157"/>
                  <a:pt x="1426" y="156"/>
                  <a:pt x="1428" y="155"/>
                </a:cubicBezTo>
                <a:cubicBezTo>
                  <a:pt x="1426" y="164"/>
                  <a:pt x="1426" y="164"/>
                  <a:pt x="1426" y="164"/>
                </a:cubicBezTo>
                <a:cubicBezTo>
                  <a:pt x="1426" y="167"/>
                  <a:pt x="1425" y="169"/>
                  <a:pt x="1424" y="170"/>
                </a:cubicBezTo>
                <a:cubicBezTo>
                  <a:pt x="1422" y="172"/>
                  <a:pt x="1420" y="172"/>
                  <a:pt x="1417" y="172"/>
                </a:cubicBezTo>
                <a:cubicBezTo>
                  <a:pt x="1415" y="172"/>
                  <a:pt x="1414" y="172"/>
                  <a:pt x="1412" y="171"/>
                </a:cubicBezTo>
                <a:cubicBezTo>
                  <a:pt x="1410" y="171"/>
                  <a:pt x="1409" y="170"/>
                  <a:pt x="1408" y="170"/>
                </a:cubicBezTo>
                <a:cubicBezTo>
                  <a:pt x="1406" y="175"/>
                  <a:pt x="1406" y="175"/>
                  <a:pt x="1406" y="175"/>
                </a:cubicBezTo>
                <a:cubicBezTo>
                  <a:pt x="1407" y="176"/>
                  <a:pt x="1408" y="176"/>
                  <a:pt x="1410" y="176"/>
                </a:cubicBezTo>
                <a:cubicBezTo>
                  <a:pt x="1411" y="177"/>
                  <a:pt x="1413" y="177"/>
                  <a:pt x="1414" y="177"/>
                </a:cubicBezTo>
                <a:cubicBezTo>
                  <a:pt x="1417" y="177"/>
                  <a:pt x="1420" y="176"/>
                  <a:pt x="1423" y="175"/>
                </a:cubicBezTo>
                <a:cubicBezTo>
                  <a:pt x="1425" y="174"/>
                  <a:pt x="1428" y="173"/>
                  <a:pt x="1430" y="170"/>
                </a:cubicBezTo>
                <a:cubicBezTo>
                  <a:pt x="1432" y="168"/>
                  <a:pt x="1433" y="165"/>
                  <a:pt x="1433" y="162"/>
                </a:cubicBezTo>
                <a:close/>
                <a:moveTo>
                  <a:pt x="1432" y="125"/>
                </a:moveTo>
                <a:cubicBezTo>
                  <a:pt x="1428" y="150"/>
                  <a:pt x="1428" y="150"/>
                  <a:pt x="1428" y="150"/>
                </a:cubicBezTo>
                <a:cubicBezTo>
                  <a:pt x="1427" y="151"/>
                  <a:pt x="1426" y="153"/>
                  <a:pt x="1424" y="154"/>
                </a:cubicBezTo>
                <a:cubicBezTo>
                  <a:pt x="1423" y="155"/>
                  <a:pt x="1421" y="155"/>
                  <a:pt x="1419" y="155"/>
                </a:cubicBezTo>
                <a:cubicBezTo>
                  <a:pt x="1417" y="155"/>
                  <a:pt x="1415" y="155"/>
                  <a:pt x="1414" y="153"/>
                </a:cubicBezTo>
                <a:cubicBezTo>
                  <a:pt x="1413" y="151"/>
                  <a:pt x="1412" y="148"/>
                  <a:pt x="1412" y="145"/>
                </a:cubicBezTo>
                <a:cubicBezTo>
                  <a:pt x="1412" y="142"/>
                  <a:pt x="1413" y="138"/>
                  <a:pt x="1414" y="135"/>
                </a:cubicBezTo>
                <a:cubicBezTo>
                  <a:pt x="1415" y="132"/>
                  <a:pt x="1417" y="129"/>
                  <a:pt x="1419" y="127"/>
                </a:cubicBezTo>
                <a:cubicBezTo>
                  <a:pt x="1421" y="124"/>
                  <a:pt x="1424" y="123"/>
                  <a:pt x="1427" y="123"/>
                </a:cubicBezTo>
                <a:cubicBezTo>
                  <a:pt x="1429" y="123"/>
                  <a:pt x="1431" y="124"/>
                  <a:pt x="1432" y="125"/>
                </a:cubicBezTo>
                <a:close/>
                <a:moveTo>
                  <a:pt x="1076" y="242"/>
                </a:moveTo>
                <a:cubicBezTo>
                  <a:pt x="1072" y="249"/>
                  <a:pt x="1072" y="249"/>
                  <a:pt x="1072" y="249"/>
                </a:cubicBezTo>
                <a:cubicBezTo>
                  <a:pt x="1072" y="242"/>
                  <a:pt x="1072" y="242"/>
                  <a:pt x="1072" y="242"/>
                </a:cubicBezTo>
                <a:cubicBezTo>
                  <a:pt x="1066" y="208"/>
                  <a:pt x="1066" y="208"/>
                  <a:pt x="1066" y="208"/>
                </a:cubicBezTo>
                <a:cubicBezTo>
                  <a:pt x="1050" y="208"/>
                  <a:pt x="1050" y="208"/>
                  <a:pt x="1050" y="208"/>
                </a:cubicBezTo>
                <a:cubicBezTo>
                  <a:pt x="1049" y="211"/>
                  <a:pt x="1049" y="211"/>
                  <a:pt x="1049" y="211"/>
                </a:cubicBezTo>
                <a:cubicBezTo>
                  <a:pt x="1056" y="212"/>
                  <a:pt x="1056" y="212"/>
                  <a:pt x="1056" y="212"/>
                </a:cubicBezTo>
                <a:cubicBezTo>
                  <a:pt x="1045" y="256"/>
                  <a:pt x="1045" y="256"/>
                  <a:pt x="1045" y="256"/>
                </a:cubicBezTo>
                <a:cubicBezTo>
                  <a:pt x="1039" y="257"/>
                  <a:pt x="1039" y="257"/>
                  <a:pt x="1039" y="257"/>
                </a:cubicBezTo>
                <a:cubicBezTo>
                  <a:pt x="1039" y="260"/>
                  <a:pt x="1039" y="260"/>
                  <a:pt x="1039" y="260"/>
                </a:cubicBezTo>
                <a:cubicBezTo>
                  <a:pt x="1057" y="260"/>
                  <a:pt x="1057" y="260"/>
                  <a:pt x="1057" y="260"/>
                </a:cubicBezTo>
                <a:cubicBezTo>
                  <a:pt x="1057" y="257"/>
                  <a:pt x="1057" y="257"/>
                  <a:pt x="1057" y="257"/>
                </a:cubicBezTo>
                <a:cubicBezTo>
                  <a:pt x="1050" y="256"/>
                  <a:pt x="1050" y="256"/>
                  <a:pt x="1050" y="256"/>
                </a:cubicBezTo>
                <a:cubicBezTo>
                  <a:pt x="1057" y="225"/>
                  <a:pt x="1057" y="225"/>
                  <a:pt x="1057" y="225"/>
                </a:cubicBezTo>
                <a:cubicBezTo>
                  <a:pt x="1060" y="211"/>
                  <a:pt x="1060" y="211"/>
                  <a:pt x="1060" y="211"/>
                </a:cubicBezTo>
                <a:cubicBezTo>
                  <a:pt x="1062" y="225"/>
                  <a:pt x="1062" y="225"/>
                  <a:pt x="1062" y="225"/>
                </a:cubicBezTo>
                <a:cubicBezTo>
                  <a:pt x="1068" y="261"/>
                  <a:pt x="1068" y="261"/>
                  <a:pt x="1068" y="261"/>
                </a:cubicBezTo>
                <a:cubicBezTo>
                  <a:pt x="1072" y="260"/>
                  <a:pt x="1072" y="260"/>
                  <a:pt x="1072" y="260"/>
                </a:cubicBezTo>
                <a:cubicBezTo>
                  <a:pt x="1088" y="224"/>
                  <a:pt x="1088" y="224"/>
                  <a:pt x="1088" y="224"/>
                </a:cubicBezTo>
                <a:cubicBezTo>
                  <a:pt x="1094" y="211"/>
                  <a:pt x="1094" y="211"/>
                  <a:pt x="1094" y="211"/>
                </a:cubicBezTo>
                <a:cubicBezTo>
                  <a:pt x="1093" y="225"/>
                  <a:pt x="1093" y="225"/>
                  <a:pt x="1093" y="225"/>
                </a:cubicBezTo>
                <a:cubicBezTo>
                  <a:pt x="1091" y="256"/>
                  <a:pt x="1091" y="256"/>
                  <a:pt x="1091" y="256"/>
                </a:cubicBezTo>
                <a:cubicBezTo>
                  <a:pt x="1085" y="257"/>
                  <a:pt x="1085" y="257"/>
                  <a:pt x="1085" y="257"/>
                </a:cubicBezTo>
                <a:cubicBezTo>
                  <a:pt x="1084" y="260"/>
                  <a:pt x="1084" y="260"/>
                  <a:pt x="1084" y="260"/>
                </a:cubicBezTo>
                <a:cubicBezTo>
                  <a:pt x="1104" y="260"/>
                  <a:pt x="1104" y="260"/>
                  <a:pt x="1104" y="260"/>
                </a:cubicBezTo>
                <a:cubicBezTo>
                  <a:pt x="1104" y="257"/>
                  <a:pt x="1104" y="257"/>
                  <a:pt x="1104" y="257"/>
                </a:cubicBezTo>
                <a:cubicBezTo>
                  <a:pt x="1098" y="256"/>
                  <a:pt x="1098" y="256"/>
                  <a:pt x="1098" y="256"/>
                </a:cubicBezTo>
                <a:cubicBezTo>
                  <a:pt x="1099" y="212"/>
                  <a:pt x="1099" y="212"/>
                  <a:pt x="1099" y="212"/>
                </a:cubicBezTo>
                <a:cubicBezTo>
                  <a:pt x="1106" y="211"/>
                  <a:pt x="1106" y="211"/>
                  <a:pt x="1106" y="211"/>
                </a:cubicBezTo>
                <a:cubicBezTo>
                  <a:pt x="1106" y="208"/>
                  <a:pt x="1106" y="208"/>
                  <a:pt x="1106" y="208"/>
                </a:cubicBezTo>
                <a:cubicBezTo>
                  <a:pt x="1091" y="208"/>
                  <a:pt x="1091" y="208"/>
                  <a:pt x="1091" y="208"/>
                </a:cubicBezTo>
                <a:cubicBezTo>
                  <a:pt x="1090" y="211"/>
                  <a:pt x="1087" y="217"/>
                  <a:pt x="1083" y="225"/>
                </a:cubicBezTo>
                <a:cubicBezTo>
                  <a:pt x="1079" y="233"/>
                  <a:pt x="1077" y="239"/>
                  <a:pt x="1076" y="242"/>
                </a:cubicBezTo>
                <a:close/>
                <a:moveTo>
                  <a:pt x="1138" y="253"/>
                </a:moveTo>
                <a:cubicBezTo>
                  <a:pt x="1136" y="251"/>
                  <a:pt x="1136" y="251"/>
                  <a:pt x="1136" y="251"/>
                </a:cubicBezTo>
                <a:cubicBezTo>
                  <a:pt x="1134" y="253"/>
                  <a:pt x="1133" y="254"/>
                  <a:pt x="1131" y="255"/>
                </a:cubicBezTo>
                <a:cubicBezTo>
                  <a:pt x="1129" y="256"/>
                  <a:pt x="1126" y="256"/>
                  <a:pt x="1124" y="256"/>
                </a:cubicBezTo>
                <a:cubicBezTo>
                  <a:pt x="1121" y="256"/>
                  <a:pt x="1119" y="255"/>
                  <a:pt x="1118" y="253"/>
                </a:cubicBezTo>
                <a:cubicBezTo>
                  <a:pt x="1117" y="250"/>
                  <a:pt x="1116" y="247"/>
                  <a:pt x="1116" y="244"/>
                </a:cubicBezTo>
                <a:cubicBezTo>
                  <a:pt x="1119" y="244"/>
                  <a:pt x="1123" y="244"/>
                  <a:pt x="1126" y="242"/>
                </a:cubicBezTo>
                <a:cubicBezTo>
                  <a:pt x="1130" y="241"/>
                  <a:pt x="1133" y="240"/>
                  <a:pt x="1136" y="237"/>
                </a:cubicBezTo>
                <a:cubicBezTo>
                  <a:pt x="1138" y="235"/>
                  <a:pt x="1140" y="232"/>
                  <a:pt x="1140" y="229"/>
                </a:cubicBezTo>
                <a:cubicBezTo>
                  <a:pt x="1140" y="226"/>
                  <a:pt x="1139" y="224"/>
                  <a:pt x="1137" y="223"/>
                </a:cubicBezTo>
                <a:cubicBezTo>
                  <a:pt x="1135" y="221"/>
                  <a:pt x="1133" y="220"/>
                  <a:pt x="1130" y="220"/>
                </a:cubicBezTo>
                <a:cubicBezTo>
                  <a:pt x="1126" y="220"/>
                  <a:pt x="1122" y="221"/>
                  <a:pt x="1119" y="224"/>
                </a:cubicBezTo>
                <a:cubicBezTo>
                  <a:pt x="1116" y="226"/>
                  <a:pt x="1114" y="229"/>
                  <a:pt x="1112" y="233"/>
                </a:cubicBezTo>
                <a:cubicBezTo>
                  <a:pt x="1110" y="237"/>
                  <a:pt x="1109" y="241"/>
                  <a:pt x="1109" y="246"/>
                </a:cubicBezTo>
                <a:cubicBezTo>
                  <a:pt x="1109" y="248"/>
                  <a:pt x="1110" y="251"/>
                  <a:pt x="1111" y="253"/>
                </a:cubicBezTo>
                <a:cubicBezTo>
                  <a:pt x="1111" y="255"/>
                  <a:pt x="1113" y="257"/>
                  <a:pt x="1115" y="259"/>
                </a:cubicBezTo>
                <a:cubicBezTo>
                  <a:pt x="1117" y="260"/>
                  <a:pt x="1120" y="261"/>
                  <a:pt x="1123" y="261"/>
                </a:cubicBezTo>
                <a:cubicBezTo>
                  <a:pt x="1126" y="261"/>
                  <a:pt x="1129" y="260"/>
                  <a:pt x="1132" y="258"/>
                </a:cubicBezTo>
                <a:cubicBezTo>
                  <a:pt x="1135" y="257"/>
                  <a:pt x="1136" y="255"/>
                  <a:pt x="1138" y="253"/>
                </a:cubicBezTo>
                <a:close/>
                <a:moveTo>
                  <a:pt x="1128" y="224"/>
                </a:moveTo>
                <a:cubicBezTo>
                  <a:pt x="1130" y="224"/>
                  <a:pt x="1131" y="224"/>
                  <a:pt x="1132" y="225"/>
                </a:cubicBezTo>
                <a:cubicBezTo>
                  <a:pt x="1132" y="226"/>
                  <a:pt x="1133" y="228"/>
                  <a:pt x="1133" y="229"/>
                </a:cubicBezTo>
                <a:cubicBezTo>
                  <a:pt x="1133" y="232"/>
                  <a:pt x="1132" y="234"/>
                  <a:pt x="1130" y="235"/>
                </a:cubicBezTo>
                <a:cubicBezTo>
                  <a:pt x="1129" y="237"/>
                  <a:pt x="1126" y="238"/>
                  <a:pt x="1124" y="239"/>
                </a:cubicBezTo>
                <a:cubicBezTo>
                  <a:pt x="1121" y="240"/>
                  <a:pt x="1119" y="241"/>
                  <a:pt x="1116" y="241"/>
                </a:cubicBezTo>
                <a:cubicBezTo>
                  <a:pt x="1117" y="238"/>
                  <a:pt x="1117" y="236"/>
                  <a:pt x="1118" y="233"/>
                </a:cubicBezTo>
                <a:cubicBezTo>
                  <a:pt x="1119" y="230"/>
                  <a:pt x="1121" y="228"/>
                  <a:pt x="1122" y="226"/>
                </a:cubicBezTo>
                <a:cubicBezTo>
                  <a:pt x="1124" y="225"/>
                  <a:pt x="1126" y="224"/>
                  <a:pt x="1128" y="224"/>
                </a:cubicBezTo>
                <a:close/>
                <a:moveTo>
                  <a:pt x="1175" y="254"/>
                </a:moveTo>
                <a:cubicBezTo>
                  <a:pt x="1182" y="204"/>
                  <a:pt x="1182" y="204"/>
                  <a:pt x="1182" y="204"/>
                </a:cubicBezTo>
                <a:cubicBezTo>
                  <a:pt x="1181" y="204"/>
                  <a:pt x="1181" y="204"/>
                  <a:pt x="1181" y="204"/>
                </a:cubicBezTo>
                <a:cubicBezTo>
                  <a:pt x="1171" y="205"/>
                  <a:pt x="1171" y="205"/>
                  <a:pt x="1171" y="205"/>
                </a:cubicBezTo>
                <a:cubicBezTo>
                  <a:pt x="1170" y="207"/>
                  <a:pt x="1170" y="207"/>
                  <a:pt x="1170" y="207"/>
                </a:cubicBezTo>
                <a:cubicBezTo>
                  <a:pt x="1175" y="208"/>
                  <a:pt x="1175" y="208"/>
                  <a:pt x="1175" y="208"/>
                </a:cubicBezTo>
                <a:cubicBezTo>
                  <a:pt x="1173" y="221"/>
                  <a:pt x="1173" y="221"/>
                  <a:pt x="1173" y="221"/>
                </a:cubicBezTo>
                <a:cubicBezTo>
                  <a:pt x="1171" y="220"/>
                  <a:pt x="1169" y="220"/>
                  <a:pt x="1168" y="220"/>
                </a:cubicBezTo>
                <a:cubicBezTo>
                  <a:pt x="1163" y="220"/>
                  <a:pt x="1159" y="222"/>
                  <a:pt x="1156" y="224"/>
                </a:cubicBezTo>
                <a:cubicBezTo>
                  <a:pt x="1152" y="227"/>
                  <a:pt x="1150" y="230"/>
                  <a:pt x="1148" y="234"/>
                </a:cubicBezTo>
                <a:cubicBezTo>
                  <a:pt x="1146" y="238"/>
                  <a:pt x="1145" y="242"/>
                  <a:pt x="1145" y="246"/>
                </a:cubicBezTo>
                <a:cubicBezTo>
                  <a:pt x="1145" y="250"/>
                  <a:pt x="1146" y="254"/>
                  <a:pt x="1148" y="257"/>
                </a:cubicBezTo>
                <a:cubicBezTo>
                  <a:pt x="1150" y="259"/>
                  <a:pt x="1153" y="261"/>
                  <a:pt x="1157" y="261"/>
                </a:cubicBezTo>
                <a:cubicBezTo>
                  <a:pt x="1159" y="261"/>
                  <a:pt x="1162" y="260"/>
                  <a:pt x="1163" y="259"/>
                </a:cubicBezTo>
                <a:cubicBezTo>
                  <a:pt x="1165" y="258"/>
                  <a:pt x="1167" y="256"/>
                  <a:pt x="1168" y="255"/>
                </a:cubicBezTo>
                <a:cubicBezTo>
                  <a:pt x="1168" y="256"/>
                  <a:pt x="1168" y="256"/>
                  <a:pt x="1168" y="256"/>
                </a:cubicBezTo>
                <a:cubicBezTo>
                  <a:pt x="1168" y="259"/>
                  <a:pt x="1170" y="261"/>
                  <a:pt x="1173" y="261"/>
                </a:cubicBezTo>
                <a:cubicBezTo>
                  <a:pt x="1174" y="261"/>
                  <a:pt x="1176" y="260"/>
                  <a:pt x="1177" y="259"/>
                </a:cubicBezTo>
                <a:cubicBezTo>
                  <a:pt x="1178" y="258"/>
                  <a:pt x="1179" y="257"/>
                  <a:pt x="1180" y="256"/>
                </a:cubicBezTo>
                <a:cubicBezTo>
                  <a:pt x="1179" y="255"/>
                  <a:pt x="1179" y="255"/>
                  <a:pt x="1179" y="255"/>
                </a:cubicBezTo>
                <a:cubicBezTo>
                  <a:pt x="1178" y="256"/>
                  <a:pt x="1177" y="256"/>
                  <a:pt x="1176" y="256"/>
                </a:cubicBezTo>
                <a:cubicBezTo>
                  <a:pt x="1175" y="256"/>
                  <a:pt x="1175" y="256"/>
                  <a:pt x="1175" y="255"/>
                </a:cubicBezTo>
                <a:cubicBezTo>
                  <a:pt x="1175" y="254"/>
                  <a:pt x="1175" y="254"/>
                  <a:pt x="1175" y="254"/>
                </a:cubicBezTo>
                <a:close/>
                <a:moveTo>
                  <a:pt x="1172" y="225"/>
                </a:moveTo>
                <a:cubicBezTo>
                  <a:pt x="1169" y="250"/>
                  <a:pt x="1169" y="250"/>
                  <a:pt x="1169" y="250"/>
                </a:cubicBezTo>
                <a:cubicBezTo>
                  <a:pt x="1168" y="252"/>
                  <a:pt x="1166" y="253"/>
                  <a:pt x="1164" y="254"/>
                </a:cubicBezTo>
                <a:cubicBezTo>
                  <a:pt x="1163" y="256"/>
                  <a:pt x="1161" y="256"/>
                  <a:pt x="1159" y="256"/>
                </a:cubicBezTo>
                <a:cubicBezTo>
                  <a:pt x="1157" y="256"/>
                  <a:pt x="1155" y="255"/>
                  <a:pt x="1154" y="253"/>
                </a:cubicBezTo>
                <a:cubicBezTo>
                  <a:pt x="1153" y="252"/>
                  <a:pt x="1153" y="249"/>
                  <a:pt x="1153" y="246"/>
                </a:cubicBezTo>
                <a:cubicBezTo>
                  <a:pt x="1153" y="242"/>
                  <a:pt x="1153" y="239"/>
                  <a:pt x="1154" y="236"/>
                </a:cubicBezTo>
                <a:cubicBezTo>
                  <a:pt x="1155" y="232"/>
                  <a:pt x="1157" y="230"/>
                  <a:pt x="1159" y="227"/>
                </a:cubicBezTo>
                <a:cubicBezTo>
                  <a:pt x="1161" y="225"/>
                  <a:pt x="1164" y="224"/>
                  <a:pt x="1167" y="224"/>
                </a:cubicBezTo>
                <a:cubicBezTo>
                  <a:pt x="1169" y="224"/>
                  <a:pt x="1171" y="224"/>
                  <a:pt x="1172" y="225"/>
                </a:cubicBezTo>
                <a:close/>
                <a:moveTo>
                  <a:pt x="1198" y="254"/>
                </a:moveTo>
                <a:cubicBezTo>
                  <a:pt x="1202" y="221"/>
                  <a:pt x="1202" y="221"/>
                  <a:pt x="1202" y="221"/>
                </a:cubicBezTo>
                <a:cubicBezTo>
                  <a:pt x="1201" y="220"/>
                  <a:pt x="1201" y="220"/>
                  <a:pt x="1201" y="220"/>
                </a:cubicBezTo>
                <a:cubicBezTo>
                  <a:pt x="1191" y="222"/>
                  <a:pt x="1191" y="222"/>
                  <a:pt x="1191" y="222"/>
                </a:cubicBezTo>
                <a:cubicBezTo>
                  <a:pt x="1190" y="224"/>
                  <a:pt x="1190" y="224"/>
                  <a:pt x="1190" y="224"/>
                </a:cubicBezTo>
                <a:cubicBezTo>
                  <a:pt x="1195" y="226"/>
                  <a:pt x="1195" y="226"/>
                  <a:pt x="1195" y="226"/>
                </a:cubicBezTo>
                <a:cubicBezTo>
                  <a:pt x="1194" y="233"/>
                  <a:pt x="1193" y="239"/>
                  <a:pt x="1192" y="243"/>
                </a:cubicBezTo>
                <a:cubicBezTo>
                  <a:pt x="1191" y="251"/>
                  <a:pt x="1191" y="255"/>
                  <a:pt x="1191" y="256"/>
                </a:cubicBezTo>
                <a:cubicBezTo>
                  <a:pt x="1190" y="258"/>
                  <a:pt x="1191" y="259"/>
                  <a:pt x="1192" y="260"/>
                </a:cubicBezTo>
                <a:cubicBezTo>
                  <a:pt x="1192" y="260"/>
                  <a:pt x="1194" y="261"/>
                  <a:pt x="1195" y="261"/>
                </a:cubicBezTo>
                <a:cubicBezTo>
                  <a:pt x="1197" y="261"/>
                  <a:pt x="1199" y="260"/>
                  <a:pt x="1200" y="259"/>
                </a:cubicBezTo>
                <a:cubicBezTo>
                  <a:pt x="1202" y="258"/>
                  <a:pt x="1203" y="257"/>
                  <a:pt x="1203" y="256"/>
                </a:cubicBezTo>
                <a:cubicBezTo>
                  <a:pt x="1202" y="254"/>
                  <a:pt x="1202" y="254"/>
                  <a:pt x="1202" y="254"/>
                </a:cubicBezTo>
                <a:cubicBezTo>
                  <a:pt x="1202" y="255"/>
                  <a:pt x="1201" y="256"/>
                  <a:pt x="1200" y="256"/>
                </a:cubicBezTo>
                <a:cubicBezTo>
                  <a:pt x="1200" y="256"/>
                  <a:pt x="1199" y="256"/>
                  <a:pt x="1199" y="256"/>
                </a:cubicBezTo>
                <a:cubicBezTo>
                  <a:pt x="1198" y="256"/>
                  <a:pt x="1198" y="256"/>
                  <a:pt x="1198" y="256"/>
                </a:cubicBezTo>
                <a:cubicBezTo>
                  <a:pt x="1198" y="256"/>
                  <a:pt x="1198" y="255"/>
                  <a:pt x="1198" y="255"/>
                </a:cubicBezTo>
                <a:lnTo>
                  <a:pt x="1198" y="254"/>
                </a:lnTo>
                <a:close/>
                <a:moveTo>
                  <a:pt x="1200" y="213"/>
                </a:moveTo>
                <a:cubicBezTo>
                  <a:pt x="1201" y="213"/>
                  <a:pt x="1202" y="212"/>
                  <a:pt x="1203" y="211"/>
                </a:cubicBezTo>
                <a:cubicBezTo>
                  <a:pt x="1204" y="210"/>
                  <a:pt x="1205" y="209"/>
                  <a:pt x="1205" y="207"/>
                </a:cubicBezTo>
                <a:cubicBezTo>
                  <a:pt x="1205" y="206"/>
                  <a:pt x="1204" y="206"/>
                  <a:pt x="1204" y="205"/>
                </a:cubicBezTo>
                <a:cubicBezTo>
                  <a:pt x="1203" y="204"/>
                  <a:pt x="1202" y="204"/>
                  <a:pt x="1201" y="204"/>
                </a:cubicBezTo>
                <a:cubicBezTo>
                  <a:pt x="1200" y="204"/>
                  <a:pt x="1198" y="204"/>
                  <a:pt x="1198" y="205"/>
                </a:cubicBezTo>
                <a:cubicBezTo>
                  <a:pt x="1197" y="206"/>
                  <a:pt x="1196" y="207"/>
                  <a:pt x="1196" y="209"/>
                </a:cubicBezTo>
                <a:cubicBezTo>
                  <a:pt x="1196" y="210"/>
                  <a:pt x="1197" y="211"/>
                  <a:pt x="1197" y="212"/>
                </a:cubicBezTo>
                <a:cubicBezTo>
                  <a:pt x="1198" y="212"/>
                  <a:pt x="1199" y="213"/>
                  <a:pt x="1200" y="213"/>
                </a:cubicBezTo>
                <a:close/>
                <a:moveTo>
                  <a:pt x="1237" y="228"/>
                </a:moveTo>
                <a:cubicBezTo>
                  <a:pt x="1238" y="229"/>
                  <a:pt x="1238" y="229"/>
                  <a:pt x="1238" y="229"/>
                </a:cubicBezTo>
                <a:cubicBezTo>
                  <a:pt x="1240" y="222"/>
                  <a:pt x="1240" y="222"/>
                  <a:pt x="1240" y="222"/>
                </a:cubicBezTo>
                <a:cubicBezTo>
                  <a:pt x="1239" y="221"/>
                  <a:pt x="1238" y="221"/>
                  <a:pt x="1237" y="221"/>
                </a:cubicBezTo>
                <a:cubicBezTo>
                  <a:pt x="1235" y="220"/>
                  <a:pt x="1234" y="220"/>
                  <a:pt x="1232" y="220"/>
                </a:cubicBezTo>
                <a:cubicBezTo>
                  <a:pt x="1228" y="220"/>
                  <a:pt x="1224" y="221"/>
                  <a:pt x="1221" y="224"/>
                </a:cubicBezTo>
                <a:cubicBezTo>
                  <a:pt x="1218" y="227"/>
                  <a:pt x="1216" y="230"/>
                  <a:pt x="1214" y="234"/>
                </a:cubicBezTo>
                <a:cubicBezTo>
                  <a:pt x="1213" y="237"/>
                  <a:pt x="1212" y="241"/>
                  <a:pt x="1212" y="245"/>
                </a:cubicBezTo>
                <a:cubicBezTo>
                  <a:pt x="1212" y="250"/>
                  <a:pt x="1213" y="254"/>
                  <a:pt x="1215" y="257"/>
                </a:cubicBezTo>
                <a:cubicBezTo>
                  <a:pt x="1217" y="259"/>
                  <a:pt x="1220" y="261"/>
                  <a:pt x="1224" y="261"/>
                </a:cubicBezTo>
                <a:cubicBezTo>
                  <a:pt x="1227" y="261"/>
                  <a:pt x="1230" y="260"/>
                  <a:pt x="1232" y="259"/>
                </a:cubicBezTo>
                <a:cubicBezTo>
                  <a:pt x="1235" y="257"/>
                  <a:pt x="1236" y="256"/>
                  <a:pt x="1238" y="254"/>
                </a:cubicBezTo>
                <a:cubicBezTo>
                  <a:pt x="1236" y="252"/>
                  <a:pt x="1236" y="252"/>
                  <a:pt x="1236" y="252"/>
                </a:cubicBezTo>
                <a:cubicBezTo>
                  <a:pt x="1235" y="253"/>
                  <a:pt x="1233" y="254"/>
                  <a:pt x="1232" y="255"/>
                </a:cubicBezTo>
                <a:cubicBezTo>
                  <a:pt x="1230" y="256"/>
                  <a:pt x="1229" y="256"/>
                  <a:pt x="1227" y="256"/>
                </a:cubicBezTo>
                <a:cubicBezTo>
                  <a:pt x="1224" y="256"/>
                  <a:pt x="1222" y="255"/>
                  <a:pt x="1221" y="253"/>
                </a:cubicBezTo>
                <a:cubicBezTo>
                  <a:pt x="1220" y="251"/>
                  <a:pt x="1219" y="248"/>
                  <a:pt x="1219" y="244"/>
                </a:cubicBezTo>
                <a:cubicBezTo>
                  <a:pt x="1219" y="240"/>
                  <a:pt x="1219" y="237"/>
                  <a:pt x="1221" y="234"/>
                </a:cubicBezTo>
                <a:cubicBezTo>
                  <a:pt x="1222" y="231"/>
                  <a:pt x="1223" y="229"/>
                  <a:pt x="1225" y="227"/>
                </a:cubicBezTo>
                <a:cubicBezTo>
                  <a:pt x="1227" y="225"/>
                  <a:pt x="1229" y="225"/>
                  <a:pt x="1231" y="225"/>
                </a:cubicBezTo>
                <a:cubicBezTo>
                  <a:pt x="1232" y="225"/>
                  <a:pt x="1235" y="226"/>
                  <a:pt x="1237" y="228"/>
                </a:cubicBezTo>
                <a:close/>
                <a:moveTo>
                  <a:pt x="1255" y="254"/>
                </a:moveTo>
                <a:cubicBezTo>
                  <a:pt x="1260" y="221"/>
                  <a:pt x="1260" y="221"/>
                  <a:pt x="1260" y="221"/>
                </a:cubicBezTo>
                <a:cubicBezTo>
                  <a:pt x="1259" y="220"/>
                  <a:pt x="1259" y="220"/>
                  <a:pt x="1259" y="220"/>
                </a:cubicBezTo>
                <a:cubicBezTo>
                  <a:pt x="1249" y="222"/>
                  <a:pt x="1249" y="222"/>
                  <a:pt x="1249" y="222"/>
                </a:cubicBezTo>
                <a:cubicBezTo>
                  <a:pt x="1248" y="224"/>
                  <a:pt x="1248" y="224"/>
                  <a:pt x="1248" y="224"/>
                </a:cubicBezTo>
                <a:cubicBezTo>
                  <a:pt x="1253" y="226"/>
                  <a:pt x="1253" y="226"/>
                  <a:pt x="1253" y="226"/>
                </a:cubicBezTo>
                <a:cubicBezTo>
                  <a:pt x="1252" y="233"/>
                  <a:pt x="1251" y="239"/>
                  <a:pt x="1250" y="243"/>
                </a:cubicBezTo>
                <a:cubicBezTo>
                  <a:pt x="1249" y="251"/>
                  <a:pt x="1248" y="255"/>
                  <a:pt x="1248" y="256"/>
                </a:cubicBezTo>
                <a:cubicBezTo>
                  <a:pt x="1248" y="258"/>
                  <a:pt x="1249" y="259"/>
                  <a:pt x="1249" y="260"/>
                </a:cubicBezTo>
                <a:cubicBezTo>
                  <a:pt x="1250" y="260"/>
                  <a:pt x="1251" y="261"/>
                  <a:pt x="1253" y="261"/>
                </a:cubicBezTo>
                <a:cubicBezTo>
                  <a:pt x="1255" y="261"/>
                  <a:pt x="1256" y="260"/>
                  <a:pt x="1258" y="259"/>
                </a:cubicBezTo>
                <a:cubicBezTo>
                  <a:pt x="1259" y="258"/>
                  <a:pt x="1260" y="257"/>
                  <a:pt x="1261" y="256"/>
                </a:cubicBezTo>
                <a:cubicBezTo>
                  <a:pt x="1260" y="254"/>
                  <a:pt x="1260" y="254"/>
                  <a:pt x="1260" y="254"/>
                </a:cubicBezTo>
                <a:cubicBezTo>
                  <a:pt x="1259" y="255"/>
                  <a:pt x="1259" y="256"/>
                  <a:pt x="1258" y="256"/>
                </a:cubicBezTo>
                <a:cubicBezTo>
                  <a:pt x="1258" y="256"/>
                  <a:pt x="1257" y="256"/>
                  <a:pt x="1256" y="256"/>
                </a:cubicBezTo>
                <a:cubicBezTo>
                  <a:pt x="1256" y="256"/>
                  <a:pt x="1256" y="256"/>
                  <a:pt x="1256" y="256"/>
                </a:cubicBezTo>
                <a:cubicBezTo>
                  <a:pt x="1255" y="256"/>
                  <a:pt x="1255" y="255"/>
                  <a:pt x="1255" y="255"/>
                </a:cubicBezTo>
                <a:lnTo>
                  <a:pt x="1255" y="254"/>
                </a:lnTo>
                <a:close/>
                <a:moveTo>
                  <a:pt x="1258" y="213"/>
                </a:moveTo>
                <a:cubicBezTo>
                  <a:pt x="1259" y="213"/>
                  <a:pt x="1260" y="212"/>
                  <a:pt x="1261" y="211"/>
                </a:cubicBezTo>
                <a:cubicBezTo>
                  <a:pt x="1262" y="210"/>
                  <a:pt x="1262" y="209"/>
                  <a:pt x="1262" y="207"/>
                </a:cubicBezTo>
                <a:cubicBezTo>
                  <a:pt x="1262" y="206"/>
                  <a:pt x="1262" y="206"/>
                  <a:pt x="1261" y="205"/>
                </a:cubicBezTo>
                <a:cubicBezTo>
                  <a:pt x="1261" y="204"/>
                  <a:pt x="1260" y="204"/>
                  <a:pt x="1259" y="204"/>
                </a:cubicBezTo>
                <a:cubicBezTo>
                  <a:pt x="1257" y="204"/>
                  <a:pt x="1256" y="204"/>
                  <a:pt x="1255" y="205"/>
                </a:cubicBezTo>
                <a:cubicBezTo>
                  <a:pt x="1254" y="206"/>
                  <a:pt x="1254" y="207"/>
                  <a:pt x="1254" y="209"/>
                </a:cubicBezTo>
                <a:cubicBezTo>
                  <a:pt x="1254" y="210"/>
                  <a:pt x="1254" y="211"/>
                  <a:pt x="1255" y="212"/>
                </a:cubicBezTo>
                <a:cubicBezTo>
                  <a:pt x="1256" y="212"/>
                  <a:pt x="1257" y="213"/>
                  <a:pt x="1258" y="213"/>
                </a:cubicBezTo>
                <a:close/>
                <a:moveTo>
                  <a:pt x="1282" y="229"/>
                </a:moveTo>
                <a:cubicBezTo>
                  <a:pt x="1283" y="221"/>
                  <a:pt x="1283" y="221"/>
                  <a:pt x="1283" y="221"/>
                </a:cubicBezTo>
                <a:cubicBezTo>
                  <a:pt x="1281" y="220"/>
                  <a:pt x="1281" y="220"/>
                  <a:pt x="1281" y="220"/>
                </a:cubicBezTo>
                <a:cubicBezTo>
                  <a:pt x="1273" y="222"/>
                  <a:pt x="1273" y="222"/>
                  <a:pt x="1273" y="222"/>
                </a:cubicBezTo>
                <a:cubicBezTo>
                  <a:pt x="1272" y="224"/>
                  <a:pt x="1272" y="224"/>
                  <a:pt x="1272" y="224"/>
                </a:cubicBezTo>
                <a:cubicBezTo>
                  <a:pt x="1275" y="226"/>
                  <a:pt x="1275" y="226"/>
                  <a:pt x="1275" y="226"/>
                </a:cubicBezTo>
                <a:cubicBezTo>
                  <a:pt x="1271" y="260"/>
                  <a:pt x="1271" y="260"/>
                  <a:pt x="1271" y="260"/>
                </a:cubicBezTo>
                <a:cubicBezTo>
                  <a:pt x="1278" y="260"/>
                  <a:pt x="1278" y="260"/>
                  <a:pt x="1278" y="260"/>
                </a:cubicBezTo>
                <a:cubicBezTo>
                  <a:pt x="1281" y="235"/>
                  <a:pt x="1281" y="235"/>
                  <a:pt x="1281" y="235"/>
                </a:cubicBezTo>
                <a:cubicBezTo>
                  <a:pt x="1283" y="232"/>
                  <a:pt x="1285" y="230"/>
                  <a:pt x="1287" y="228"/>
                </a:cubicBezTo>
                <a:cubicBezTo>
                  <a:pt x="1289" y="226"/>
                  <a:pt x="1291" y="225"/>
                  <a:pt x="1293" y="225"/>
                </a:cubicBezTo>
                <a:cubicBezTo>
                  <a:pt x="1295" y="225"/>
                  <a:pt x="1296" y="226"/>
                  <a:pt x="1297" y="226"/>
                </a:cubicBezTo>
                <a:cubicBezTo>
                  <a:pt x="1297" y="227"/>
                  <a:pt x="1298" y="229"/>
                  <a:pt x="1298" y="231"/>
                </a:cubicBezTo>
                <a:cubicBezTo>
                  <a:pt x="1298" y="233"/>
                  <a:pt x="1297" y="234"/>
                  <a:pt x="1297" y="236"/>
                </a:cubicBezTo>
                <a:cubicBezTo>
                  <a:pt x="1297" y="238"/>
                  <a:pt x="1297" y="240"/>
                  <a:pt x="1296" y="243"/>
                </a:cubicBezTo>
                <a:cubicBezTo>
                  <a:pt x="1296" y="245"/>
                  <a:pt x="1296" y="245"/>
                  <a:pt x="1296" y="245"/>
                </a:cubicBezTo>
                <a:cubicBezTo>
                  <a:pt x="1295" y="248"/>
                  <a:pt x="1295" y="248"/>
                  <a:pt x="1295" y="248"/>
                </a:cubicBezTo>
                <a:cubicBezTo>
                  <a:pt x="1294" y="252"/>
                  <a:pt x="1294" y="255"/>
                  <a:pt x="1294" y="256"/>
                </a:cubicBezTo>
                <a:cubicBezTo>
                  <a:pt x="1294" y="259"/>
                  <a:pt x="1295" y="261"/>
                  <a:pt x="1298" y="261"/>
                </a:cubicBezTo>
                <a:cubicBezTo>
                  <a:pt x="1300" y="261"/>
                  <a:pt x="1301" y="260"/>
                  <a:pt x="1302" y="260"/>
                </a:cubicBezTo>
                <a:cubicBezTo>
                  <a:pt x="1303" y="259"/>
                  <a:pt x="1304" y="259"/>
                  <a:pt x="1305" y="258"/>
                </a:cubicBezTo>
                <a:cubicBezTo>
                  <a:pt x="1305" y="258"/>
                  <a:pt x="1306" y="257"/>
                  <a:pt x="1306" y="257"/>
                </a:cubicBezTo>
                <a:cubicBezTo>
                  <a:pt x="1305" y="255"/>
                  <a:pt x="1305" y="255"/>
                  <a:pt x="1305" y="255"/>
                </a:cubicBezTo>
                <a:cubicBezTo>
                  <a:pt x="1304" y="256"/>
                  <a:pt x="1303" y="256"/>
                  <a:pt x="1302" y="256"/>
                </a:cubicBezTo>
                <a:cubicBezTo>
                  <a:pt x="1301" y="256"/>
                  <a:pt x="1301" y="256"/>
                  <a:pt x="1301" y="255"/>
                </a:cubicBezTo>
                <a:cubicBezTo>
                  <a:pt x="1301" y="253"/>
                  <a:pt x="1301" y="250"/>
                  <a:pt x="1302" y="246"/>
                </a:cubicBezTo>
                <a:cubicBezTo>
                  <a:pt x="1303" y="243"/>
                  <a:pt x="1303" y="243"/>
                  <a:pt x="1303" y="243"/>
                </a:cubicBezTo>
                <a:cubicBezTo>
                  <a:pt x="1303" y="241"/>
                  <a:pt x="1303" y="241"/>
                  <a:pt x="1303" y="241"/>
                </a:cubicBezTo>
                <a:cubicBezTo>
                  <a:pt x="1304" y="236"/>
                  <a:pt x="1305" y="232"/>
                  <a:pt x="1305" y="230"/>
                </a:cubicBezTo>
                <a:cubicBezTo>
                  <a:pt x="1305" y="227"/>
                  <a:pt x="1304" y="224"/>
                  <a:pt x="1302" y="223"/>
                </a:cubicBezTo>
                <a:cubicBezTo>
                  <a:pt x="1301" y="221"/>
                  <a:pt x="1299" y="220"/>
                  <a:pt x="1296" y="220"/>
                </a:cubicBezTo>
                <a:cubicBezTo>
                  <a:pt x="1294" y="220"/>
                  <a:pt x="1291" y="221"/>
                  <a:pt x="1289" y="223"/>
                </a:cubicBezTo>
                <a:cubicBezTo>
                  <a:pt x="1286" y="224"/>
                  <a:pt x="1284" y="227"/>
                  <a:pt x="1282" y="229"/>
                </a:cubicBezTo>
                <a:close/>
                <a:moveTo>
                  <a:pt x="1342" y="253"/>
                </a:moveTo>
                <a:cubicBezTo>
                  <a:pt x="1340" y="251"/>
                  <a:pt x="1340" y="251"/>
                  <a:pt x="1340" y="251"/>
                </a:cubicBezTo>
                <a:cubicBezTo>
                  <a:pt x="1339" y="253"/>
                  <a:pt x="1337" y="254"/>
                  <a:pt x="1335" y="255"/>
                </a:cubicBezTo>
                <a:cubicBezTo>
                  <a:pt x="1333" y="256"/>
                  <a:pt x="1331" y="256"/>
                  <a:pt x="1329" y="256"/>
                </a:cubicBezTo>
                <a:cubicBezTo>
                  <a:pt x="1326" y="256"/>
                  <a:pt x="1323" y="255"/>
                  <a:pt x="1322" y="253"/>
                </a:cubicBezTo>
                <a:cubicBezTo>
                  <a:pt x="1321" y="250"/>
                  <a:pt x="1320" y="247"/>
                  <a:pt x="1320" y="244"/>
                </a:cubicBezTo>
                <a:cubicBezTo>
                  <a:pt x="1323" y="244"/>
                  <a:pt x="1327" y="244"/>
                  <a:pt x="1330" y="242"/>
                </a:cubicBezTo>
                <a:cubicBezTo>
                  <a:pt x="1334" y="241"/>
                  <a:pt x="1337" y="240"/>
                  <a:pt x="1340" y="237"/>
                </a:cubicBezTo>
                <a:cubicBezTo>
                  <a:pt x="1342" y="235"/>
                  <a:pt x="1344" y="232"/>
                  <a:pt x="1344" y="229"/>
                </a:cubicBezTo>
                <a:cubicBezTo>
                  <a:pt x="1344" y="226"/>
                  <a:pt x="1343" y="224"/>
                  <a:pt x="1341" y="223"/>
                </a:cubicBezTo>
                <a:cubicBezTo>
                  <a:pt x="1340" y="221"/>
                  <a:pt x="1337" y="220"/>
                  <a:pt x="1334" y="220"/>
                </a:cubicBezTo>
                <a:cubicBezTo>
                  <a:pt x="1330" y="220"/>
                  <a:pt x="1326" y="221"/>
                  <a:pt x="1323" y="224"/>
                </a:cubicBezTo>
                <a:cubicBezTo>
                  <a:pt x="1320" y="226"/>
                  <a:pt x="1318" y="229"/>
                  <a:pt x="1316" y="233"/>
                </a:cubicBezTo>
                <a:cubicBezTo>
                  <a:pt x="1314" y="237"/>
                  <a:pt x="1313" y="241"/>
                  <a:pt x="1313" y="246"/>
                </a:cubicBezTo>
                <a:cubicBezTo>
                  <a:pt x="1313" y="248"/>
                  <a:pt x="1314" y="251"/>
                  <a:pt x="1315" y="253"/>
                </a:cubicBezTo>
                <a:cubicBezTo>
                  <a:pt x="1316" y="255"/>
                  <a:pt x="1317" y="257"/>
                  <a:pt x="1319" y="259"/>
                </a:cubicBezTo>
                <a:cubicBezTo>
                  <a:pt x="1321" y="260"/>
                  <a:pt x="1324" y="261"/>
                  <a:pt x="1327" y="261"/>
                </a:cubicBezTo>
                <a:cubicBezTo>
                  <a:pt x="1330" y="261"/>
                  <a:pt x="1333" y="260"/>
                  <a:pt x="1336" y="258"/>
                </a:cubicBezTo>
                <a:cubicBezTo>
                  <a:pt x="1339" y="257"/>
                  <a:pt x="1341" y="255"/>
                  <a:pt x="1342" y="253"/>
                </a:cubicBezTo>
                <a:close/>
                <a:moveTo>
                  <a:pt x="1332" y="224"/>
                </a:moveTo>
                <a:cubicBezTo>
                  <a:pt x="1334" y="224"/>
                  <a:pt x="1335" y="224"/>
                  <a:pt x="1336" y="225"/>
                </a:cubicBezTo>
                <a:cubicBezTo>
                  <a:pt x="1337" y="226"/>
                  <a:pt x="1337" y="228"/>
                  <a:pt x="1337" y="229"/>
                </a:cubicBezTo>
                <a:cubicBezTo>
                  <a:pt x="1337" y="232"/>
                  <a:pt x="1336" y="234"/>
                  <a:pt x="1334" y="235"/>
                </a:cubicBezTo>
                <a:cubicBezTo>
                  <a:pt x="1333" y="237"/>
                  <a:pt x="1331" y="238"/>
                  <a:pt x="1328" y="239"/>
                </a:cubicBezTo>
                <a:cubicBezTo>
                  <a:pt x="1325" y="240"/>
                  <a:pt x="1323" y="241"/>
                  <a:pt x="1321" y="241"/>
                </a:cubicBezTo>
                <a:cubicBezTo>
                  <a:pt x="1321" y="238"/>
                  <a:pt x="1321" y="236"/>
                  <a:pt x="1322" y="233"/>
                </a:cubicBezTo>
                <a:cubicBezTo>
                  <a:pt x="1323" y="230"/>
                  <a:pt x="1325" y="228"/>
                  <a:pt x="1326" y="226"/>
                </a:cubicBezTo>
                <a:cubicBezTo>
                  <a:pt x="1328" y="225"/>
                  <a:pt x="1330" y="224"/>
                  <a:pt x="1332" y="224"/>
                </a:cubicBezTo>
                <a:close/>
              </a:path>
            </a:pathLst>
          </a:custGeom>
          <a:solidFill>
            <a:schemeClr val="bg1"/>
          </a:solidFill>
          <a:ln>
            <a:noFill/>
          </a:ln>
        </p:spPr>
        <p:txBody>
          <a:bodyPr vert="horz" wrap="square" lIns="121920" tIns="60960" rIns="121920" bIns="60960" numCol="1" anchor="t" anchorCtr="0" compatLnSpc="1">
            <a:prstTxWarp prst="textNoShape">
              <a:avLst/>
            </a:prstTxWarp>
          </a:bodyPr>
          <a:lstStyle/>
          <a:p>
            <a:endParaRPr lang="en-US" sz="2400"/>
          </a:p>
        </p:txBody>
      </p:sp>
      <p:sp>
        <p:nvSpPr>
          <p:cNvPr id="17" name="Text Placeholder 16">
            <a:extLst>
              <a:ext uri="{FF2B5EF4-FFF2-40B4-BE49-F238E27FC236}">
                <a16:creationId xmlns:a16="http://schemas.microsoft.com/office/drawing/2014/main" id="{FCA018DF-7EFB-4D08-89D5-E61FB47F425E}"/>
              </a:ext>
            </a:extLst>
          </p:cNvPr>
          <p:cNvSpPr>
            <a:spLocks noGrp="1"/>
          </p:cNvSpPr>
          <p:nvPr>
            <p:ph type="body" sz="quarter" idx="12" hasCustomPrompt="1"/>
          </p:nvPr>
        </p:nvSpPr>
        <p:spPr>
          <a:xfrm>
            <a:off x="7995920" y="6515586"/>
            <a:ext cx="3222413" cy="169277"/>
          </a:xfrm>
        </p:spPr>
        <p:txBody>
          <a:bodyPr wrap="square">
            <a:spAutoFit/>
          </a:bodyPr>
          <a:lstStyle>
            <a:lvl1pPr marL="0" indent="0">
              <a:buNone/>
              <a:defRPr sz="1000" cap="all" spc="147" baseline="0">
                <a:solidFill>
                  <a:schemeClr val="tx2"/>
                </a:solidFill>
              </a:defRPr>
            </a:lvl1pPr>
          </a:lstStyle>
          <a:p>
            <a:pPr lvl="0"/>
            <a:r>
              <a:rPr lang="en-US"/>
              <a:t>CLICK TO EDIT MASTER TEXT</a:t>
            </a:r>
          </a:p>
        </p:txBody>
      </p:sp>
    </p:spTree>
    <p:extLst>
      <p:ext uri="{BB962C8B-B14F-4D97-AF65-F5344CB8AC3E}">
        <p14:creationId xmlns:p14="http://schemas.microsoft.com/office/powerpoint/2010/main" val="3019843350"/>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p:cSld name="Title Slide - Dark Ruby">
    <p:spTree>
      <p:nvGrpSpPr>
        <p:cNvPr id="1" name=""/>
        <p:cNvGrpSpPr/>
        <p:nvPr/>
      </p:nvGrpSpPr>
      <p:grpSpPr>
        <a:xfrm>
          <a:off x="0" y="0"/>
          <a:ext cx="0" cy="0"/>
          <a:chOff x="0" y="0"/>
          <a:chExt cx="0" cy="0"/>
        </a:xfrm>
      </p:grpSpPr>
      <p:sp>
        <p:nvSpPr>
          <p:cNvPr id="15" name="Picture Placeholder 14">
            <a:extLst>
              <a:ext uri="{FF2B5EF4-FFF2-40B4-BE49-F238E27FC236}">
                <a16:creationId xmlns:a16="http://schemas.microsoft.com/office/drawing/2014/main" id="{42927F7C-53AC-400F-8DAD-235A2AF61FB8}"/>
              </a:ext>
            </a:extLst>
          </p:cNvPr>
          <p:cNvSpPr>
            <a:spLocks noGrp="1"/>
          </p:cNvSpPr>
          <p:nvPr>
            <p:ph type="pic" sz="quarter" idx="11"/>
          </p:nvPr>
        </p:nvSpPr>
        <p:spPr>
          <a:xfrm>
            <a:off x="0" y="1"/>
            <a:ext cx="12192000" cy="6280151"/>
          </a:xfrm>
          <a:solidFill>
            <a:schemeClr val="bg2">
              <a:lumMod val="90000"/>
            </a:schemeClr>
          </a:solidFill>
        </p:spPr>
        <p:txBody>
          <a:bodyPr/>
          <a:lstStyle/>
          <a:p>
            <a:r>
              <a:rPr lang="en-US"/>
              <a:t>Click icon to add picture</a:t>
            </a:r>
          </a:p>
        </p:txBody>
      </p:sp>
      <p:sp>
        <p:nvSpPr>
          <p:cNvPr id="13" name="Text Placeholder 12">
            <a:extLst>
              <a:ext uri="{FF2B5EF4-FFF2-40B4-BE49-F238E27FC236}">
                <a16:creationId xmlns:a16="http://schemas.microsoft.com/office/drawing/2014/main" id="{D2D74F39-96DB-4808-8693-9F55A9D7DB98}"/>
              </a:ext>
            </a:extLst>
          </p:cNvPr>
          <p:cNvSpPr>
            <a:spLocks noGrp="1"/>
          </p:cNvSpPr>
          <p:nvPr>
            <p:ph type="body" sz="quarter" idx="10"/>
          </p:nvPr>
        </p:nvSpPr>
        <p:spPr>
          <a:xfrm>
            <a:off x="2" y="1563078"/>
            <a:ext cx="7737229" cy="5294921"/>
          </a:xfrm>
          <a:solidFill>
            <a:srgbClr val="7C2629"/>
          </a:solidFill>
        </p:spPr>
        <p:txBody>
          <a:bodyPr lIns="502920" tIns="274320" rIns="457200" bIns="457200"/>
          <a:lstStyle>
            <a:lvl1pPr marL="0" indent="0">
              <a:lnSpc>
                <a:spcPct val="100000"/>
              </a:lnSpc>
              <a:buNone/>
              <a:defRPr sz="4000">
                <a:solidFill>
                  <a:schemeClr val="bg1"/>
                </a:solidFill>
                <a:latin typeface="+mj-lt"/>
              </a:defRPr>
            </a:lvl1pPr>
            <a:lvl2pPr marL="0" indent="0">
              <a:spcBef>
                <a:spcPts val="1200"/>
              </a:spcBef>
              <a:buNone/>
              <a:defRPr sz="2000">
                <a:solidFill>
                  <a:schemeClr val="bg1"/>
                </a:solidFill>
                <a:latin typeface="+mj-lt"/>
              </a:defRPr>
            </a:lvl2pPr>
            <a:lvl3pPr marL="609585" indent="0">
              <a:buNone/>
              <a:defRPr>
                <a:solidFill>
                  <a:schemeClr val="bg1"/>
                </a:solidFill>
                <a:latin typeface="+mj-lt"/>
              </a:defRPr>
            </a:lvl3pPr>
            <a:lvl4pPr marL="922844" indent="0">
              <a:buNone/>
              <a:defRPr>
                <a:solidFill>
                  <a:schemeClr val="bg1"/>
                </a:solidFill>
                <a:latin typeface="+mj-lt"/>
              </a:defRPr>
            </a:lvl4pPr>
            <a:lvl5pPr marL="1219170" indent="0">
              <a:buNone/>
              <a:defRPr>
                <a:solidFill>
                  <a:schemeClr val="bg1"/>
                </a:solidFill>
                <a:latin typeface="+mj-lt"/>
              </a:defRPr>
            </a:lvl5pPr>
          </a:lstStyle>
          <a:p>
            <a:pPr lvl="0"/>
            <a:r>
              <a:rPr lang="en-US"/>
              <a:t>Edit Master text styles</a:t>
            </a:r>
          </a:p>
          <a:p>
            <a:pPr lvl="1"/>
            <a:r>
              <a:rPr lang="en-US"/>
              <a:t>Second level</a:t>
            </a:r>
          </a:p>
        </p:txBody>
      </p:sp>
      <p:sp>
        <p:nvSpPr>
          <p:cNvPr id="3" name="Subtitle 2"/>
          <p:cNvSpPr>
            <a:spLocks noGrp="1"/>
          </p:cNvSpPr>
          <p:nvPr>
            <p:ph type="subTitle" idx="1"/>
          </p:nvPr>
        </p:nvSpPr>
        <p:spPr>
          <a:xfrm>
            <a:off x="701040" y="4738102"/>
            <a:ext cx="6461760" cy="225639"/>
          </a:xfrm>
        </p:spPr>
        <p:txBody>
          <a:bodyPr anchor="b" anchorCtr="0">
            <a:spAutoFit/>
          </a:bodyPr>
          <a:lstStyle>
            <a:lvl1pPr marL="0" indent="0" algn="l">
              <a:buNone/>
              <a:defRPr sz="1333" i="1">
                <a:solidFill>
                  <a:schemeClr val="bg1"/>
                </a:solidFill>
                <a:latin typeface="+mj-l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
        <p:nvSpPr>
          <p:cNvPr id="9" name="Freeform 5">
            <a:extLst>
              <a:ext uri="{FF2B5EF4-FFF2-40B4-BE49-F238E27FC236}">
                <a16:creationId xmlns:a16="http://schemas.microsoft.com/office/drawing/2014/main" id="{6EF64205-A64B-4137-BA41-5E5CFE0F359E}"/>
              </a:ext>
            </a:extLst>
          </p:cNvPr>
          <p:cNvSpPr>
            <a:spLocks noEditPoints="1"/>
          </p:cNvSpPr>
          <p:nvPr/>
        </p:nvSpPr>
        <p:spPr bwMode="auto">
          <a:xfrm>
            <a:off x="643609" y="578451"/>
            <a:ext cx="2922943" cy="547357"/>
          </a:xfrm>
          <a:custGeom>
            <a:avLst/>
            <a:gdLst>
              <a:gd name="T0" fmla="*/ 225 w 1440"/>
              <a:gd name="T1" fmla="*/ 110 h 267"/>
              <a:gd name="T2" fmla="*/ 317 w 1440"/>
              <a:gd name="T3" fmla="*/ 7 h 267"/>
              <a:gd name="T4" fmla="*/ 475 w 1440"/>
              <a:gd name="T5" fmla="*/ 19 h 267"/>
              <a:gd name="T6" fmla="*/ 830 w 1440"/>
              <a:gd name="T7" fmla="*/ 7 h 267"/>
              <a:gd name="T8" fmla="*/ 130 w 1440"/>
              <a:gd name="T9" fmla="*/ 210 h 267"/>
              <a:gd name="T10" fmla="*/ 437 w 1440"/>
              <a:gd name="T11" fmla="*/ 209 h 267"/>
              <a:gd name="T12" fmla="*/ 493 w 1440"/>
              <a:gd name="T13" fmla="*/ 198 h 267"/>
              <a:gd name="T14" fmla="*/ 866 w 1440"/>
              <a:gd name="T15" fmla="*/ 171 h 267"/>
              <a:gd name="T16" fmla="*/ 737 w 1440"/>
              <a:gd name="T17" fmla="*/ 261 h 267"/>
              <a:gd name="T18" fmla="*/ 958 w 1440"/>
              <a:gd name="T19" fmla="*/ 172 h 267"/>
              <a:gd name="T20" fmla="*/ 906 w 1440"/>
              <a:gd name="T21" fmla="*/ 254 h 267"/>
              <a:gd name="T22" fmla="*/ 309 w 1440"/>
              <a:gd name="T23" fmla="*/ 260 h 267"/>
              <a:gd name="T24" fmla="*/ 1053 w 1440"/>
              <a:gd name="T25" fmla="*/ 31 h 267"/>
              <a:gd name="T26" fmla="*/ 1075 w 1440"/>
              <a:gd name="T27" fmla="*/ 44 h 267"/>
              <a:gd name="T28" fmla="*/ 1091 w 1440"/>
              <a:gd name="T29" fmla="*/ 22 h 267"/>
              <a:gd name="T30" fmla="*/ 1107 w 1440"/>
              <a:gd name="T31" fmla="*/ 27 h 267"/>
              <a:gd name="T32" fmla="*/ 1125 w 1440"/>
              <a:gd name="T33" fmla="*/ 55 h 267"/>
              <a:gd name="T34" fmla="*/ 1159 w 1440"/>
              <a:gd name="T35" fmla="*/ 53 h 267"/>
              <a:gd name="T36" fmla="*/ 1160 w 1440"/>
              <a:gd name="T37" fmla="*/ 57 h 267"/>
              <a:gd name="T38" fmla="*/ 1177 w 1440"/>
              <a:gd name="T39" fmla="*/ 23 h 267"/>
              <a:gd name="T40" fmla="*/ 1207 w 1440"/>
              <a:gd name="T41" fmla="*/ 58 h 267"/>
              <a:gd name="T42" fmla="*/ 1245 w 1440"/>
              <a:gd name="T43" fmla="*/ 27 h 267"/>
              <a:gd name="T44" fmla="*/ 1225 w 1440"/>
              <a:gd name="T45" fmla="*/ 43 h 267"/>
              <a:gd name="T46" fmla="*/ 1271 w 1440"/>
              <a:gd name="T47" fmla="*/ 19 h 267"/>
              <a:gd name="T48" fmla="*/ 1259 w 1440"/>
              <a:gd name="T49" fmla="*/ 32 h 267"/>
              <a:gd name="T50" fmla="*/ 1290 w 1440"/>
              <a:gd name="T51" fmla="*/ 54 h 267"/>
              <a:gd name="T52" fmla="*/ 1310 w 1440"/>
              <a:gd name="T53" fmla="*/ 25 h 267"/>
              <a:gd name="T54" fmla="*/ 1059 w 1440"/>
              <a:gd name="T55" fmla="*/ 110 h 267"/>
              <a:gd name="T56" fmla="*/ 1099 w 1440"/>
              <a:gd name="T57" fmla="*/ 134 h 267"/>
              <a:gd name="T58" fmla="*/ 1120 w 1440"/>
              <a:gd name="T59" fmla="*/ 156 h 267"/>
              <a:gd name="T60" fmla="*/ 1141 w 1440"/>
              <a:gd name="T61" fmla="*/ 123 h 267"/>
              <a:gd name="T62" fmla="*/ 1148 w 1440"/>
              <a:gd name="T63" fmla="*/ 175 h 267"/>
              <a:gd name="T64" fmla="*/ 1184 w 1440"/>
              <a:gd name="T65" fmla="*/ 119 h 267"/>
              <a:gd name="T66" fmla="*/ 1181 w 1440"/>
              <a:gd name="T67" fmla="*/ 153 h 267"/>
              <a:gd name="T68" fmla="*/ 1201 w 1440"/>
              <a:gd name="T69" fmla="*/ 125 h 267"/>
              <a:gd name="T70" fmla="*/ 1230 w 1440"/>
              <a:gd name="T71" fmla="*/ 157 h 267"/>
              <a:gd name="T72" fmla="*/ 1260 w 1440"/>
              <a:gd name="T73" fmla="*/ 154 h 267"/>
              <a:gd name="T74" fmla="*/ 1261 w 1440"/>
              <a:gd name="T75" fmla="*/ 158 h 267"/>
              <a:gd name="T76" fmla="*/ 1284 w 1440"/>
              <a:gd name="T77" fmla="*/ 152 h 267"/>
              <a:gd name="T78" fmla="*/ 1294 w 1440"/>
              <a:gd name="T79" fmla="*/ 123 h 267"/>
              <a:gd name="T80" fmla="*/ 1317 w 1440"/>
              <a:gd name="T81" fmla="*/ 125 h 267"/>
              <a:gd name="T82" fmla="*/ 1342 w 1440"/>
              <a:gd name="T83" fmla="*/ 121 h 267"/>
              <a:gd name="T84" fmla="*/ 1351 w 1440"/>
              <a:gd name="T85" fmla="*/ 112 h 267"/>
              <a:gd name="T86" fmla="*/ 1364 w 1440"/>
              <a:gd name="T87" fmla="*/ 159 h 267"/>
              <a:gd name="T88" fmla="*/ 1399 w 1440"/>
              <a:gd name="T89" fmla="*/ 156 h 267"/>
              <a:gd name="T90" fmla="*/ 1432 w 1440"/>
              <a:gd name="T91" fmla="*/ 120 h 267"/>
              <a:gd name="T92" fmla="*/ 1410 w 1440"/>
              <a:gd name="T93" fmla="*/ 176 h 267"/>
              <a:gd name="T94" fmla="*/ 1076 w 1440"/>
              <a:gd name="T95" fmla="*/ 242 h 267"/>
              <a:gd name="T96" fmla="*/ 1062 w 1440"/>
              <a:gd name="T97" fmla="*/ 225 h 267"/>
              <a:gd name="T98" fmla="*/ 1091 w 1440"/>
              <a:gd name="T99" fmla="*/ 208 h 267"/>
              <a:gd name="T100" fmla="*/ 1112 w 1440"/>
              <a:gd name="T101" fmla="*/ 233 h 267"/>
              <a:gd name="T102" fmla="*/ 1128 w 1440"/>
              <a:gd name="T103" fmla="*/ 224 h 267"/>
              <a:gd name="T104" fmla="*/ 1168 w 1440"/>
              <a:gd name="T105" fmla="*/ 255 h 267"/>
              <a:gd name="T106" fmla="*/ 1154 w 1440"/>
              <a:gd name="T107" fmla="*/ 236 h 267"/>
              <a:gd name="T108" fmla="*/ 1203 w 1440"/>
              <a:gd name="T109" fmla="*/ 256 h 267"/>
              <a:gd name="T110" fmla="*/ 1200 w 1440"/>
              <a:gd name="T111" fmla="*/ 213 h 267"/>
              <a:gd name="T112" fmla="*/ 1227 w 1440"/>
              <a:gd name="T113" fmla="*/ 256 h 267"/>
              <a:gd name="T114" fmla="*/ 1249 w 1440"/>
              <a:gd name="T115" fmla="*/ 260 h 267"/>
              <a:gd name="T116" fmla="*/ 1255 w 1440"/>
              <a:gd name="T117" fmla="*/ 205 h 267"/>
              <a:gd name="T118" fmla="*/ 1297 w 1440"/>
              <a:gd name="T119" fmla="*/ 226 h 267"/>
              <a:gd name="T120" fmla="*/ 1303 w 1440"/>
              <a:gd name="T121" fmla="*/ 243 h 267"/>
              <a:gd name="T122" fmla="*/ 1344 w 1440"/>
              <a:gd name="T123" fmla="*/ 229 h 267"/>
              <a:gd name="T124" fmla="*/ 1328 w 1440"/>
              <a:gd name="T125" fmla="*/ 239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440" h="267">
                <a:moveTo>
                  <a:pt x="17" y="110"/>
                </a:moveTo>
                <a:cubicBezTo>
                  <a:pt x="3" y="110"/>
                  <a:pt x="3" y="110"/>
                  <a:pt x="3" y="110"/>
                </a:cubicBezTo>
                <a:cubicBezTo>
                  <a:pt x="3" y="1"/>
                  <a:pt x="3" y="1"/>
                  <a:pt x="3" y="1"/>
                </a:cubicBezTo>
                <a:cubicBezTo>
                  <a:pt x="81" y="83"/>
                  <a:pt x="81" y="83"/>
                  <a:pt x="81" y="83"/>
                </a:cubicBezTo>
                <a:cubicBezTo>
                  <a:pt x="81" y="7"/>
                  <a:pt x="81" y="7"/>
                  <a:pt x="81" y="7"/>
                </a:cubicBezTo>
                <a:cubicBezTo>
                  <a:pt x="95" y="7"/>
                  <a:pt x="95" y="7"/>
                  <a:pt x="95" y="7"/>
                </a:cubicBezTo>
                <a:cubicBezTo>
                  <a:pt x="95" y="117"/>
                  <a:pt x="95" y="117"/>
                  <a:pt x="95" y="117"/>
                </a:cubicBezTo>
                <a:cubicBezTo>
                  <a:pt x="17" y="35"/>
                  <a:pt x="17" y="35"/>
                  <a:pt x="17" y="35"/>
                </a:cubicBezTo>
                <a:lnTo>
                  <a:pt x="17" y="110"/>
                </a:lnTo>
                <a:close/>
                <a:moveTo>
                  <a:pt x="130" y="110"/>
                </a:moveTo>
                <a:cubicBezTo>
                  <a:pt x="145" y="110"/>
                  <a:pt x="145" y="110"/>
                  <a:pt x="145" y="110"/>
                </a:cubicBezTo>
                <a:cubicBezTo>
                  <a:pt x="178" y="33"/>
                  <a:pt x="178" y="33"/>
                  <a:pt x="178" y="33"/>
                </a:cubicBezTo>
                <a:cubicBezTo>
                  <a:pt x="210" y="109"/>
                  <a:pt x="210" y="109"/>
                  <a:pt x="210" y="109"/>
                </a:cubicBezTo>
                <a:cubicBezTo>
                  <a:pt x="210" y="110"/>
                  <a:pt x="210" y="110"/>
                  <a:pt x="210" y="110"/>
                </a:cubicBezTo>
                <a:cubicBezTo>
                  <a:pt x="225" y="110"/>
                  <a:pt x="225" y="110"/>
                  <a:pt x="225" y="110"/>
                </a:cubicBezTo>
                <a:cubicBezTo>
                  <a:pt x="178" y="0"/>
                  <a:pt x="178" y="0"/>
                  <a:pt x="178" y="0"/>
                </a:cubicBezTo>
                <a:lnTo>
                  <a:pt x="130" y="110"/>
                </a:lnTo>
                <a:close/>
                <a:moveTo>
                  <a:pt x="700" y="110"/>
                </a:moveTo>
                <a:cubicBezTo>
                  <a:pt x="715" y="110"/>
                  <a:pt x="715" y="110"/>
                  <a:pt x="715" y="110"/>
                </a:cubicBezTo>
                <a:cubicBezTo>
                  <a:pt x="748" y="33"/>
                  <a:pt x="748" y="33"/>
                  <a:pt x="748" y="33"/>
                </a:cubicBezTo>
                <a:cubicBezTo>
                  <a:pt x="780" y="109"/>
                  <a:pt x="780" y="109"/>
                  <a:pt x="780" y="109"/>
                </a:cubicBezTo>
                <a:cubicBezTo>
                  <a:pt x="780" y="110"/>
                  <a:pt x="780" y="110"/>
                  <a:pt x="780" y="110"/>
                </a:cubicBezTo>
                <a:cubicBezTo>
                  <a:pt x="795" y="110"/>
                  <a:pt x="795" y="110"/>
                  <a:pt x="795" y="110"/>
                </a:cubicBezTo>
                <a:cubicBezTo>
                  <a:pt x="748" y="0"/>
                  <a:pt x="748" y="0"/>
                  <a:pt x="748" y="0"/>
                </a:cubicBezTo>
                <a:lnTo>
                  <a:pt x="700" y="110"/>
                </a:lnTo>
                <a:close/>
                <a:moveTo>
                  <a:pt x="273" y="110"/>
                </a:moveTo>
                <a:cubicBezTo>
                  <a:pt x="286" y="110"/>
                  <a:pt x="286" y="110"/>
                  <a:pt x="286" y="110"/>
                </a:cubicBezTo>
                <a:cubicBezTo>
                  <a:pt x="286" y="20"/>
                  <a:pt x="286" y="20"/>
                  <a:pt x="286" y="20"/>
                </a:cubicBezTo>
                <a:cubicBezTo>
                  <a:pt x="317" y="20"/>
                  <a:pt x="317" y="20"/>
                  <a:pt x="317" y="20"/>
                </a:cubicBezTo>
                <a:cubicBezTo>
                  <a:pt x="317" y="7"/>
                  <a:pt x="317" y="7"/>
                  <a:pt x="317" y="7"/>
                </a:cubicBezTo>
                <a:cubicBezTo>
                  <a:pt x="242" y="7"/>
                  <a:pt x="242" y="7"/>
                  <a:pt x="242" y="7"/>
                </a:cubicBezTo>
                <a:cubicBezTo>
                  <a:pt x="242" y="20"/>
                  <a:pt x="242" y="20"/>
                  <a:pt x="242" y="20"/>
                </a:cubicBezTo>
                <a:cubicBezTo>
                  <a:pt x="273" y="20"/>
                  <a:pt x="273" y="20"/>
                  <a:pt x="273" y="20"/>
                </a:cubicBezTo>
                <a:lnTo>
                  <a:pt x="273" y="110"/>
                </a:lnTo>
                <a:close/>
                <a:moveTo>
                  <a:pt x="374" y="7"/>
                </a:moveTo>
                <a:cubicBezTo>
                  <a:pt x="360" y="7"/>
                  <a:pt x="360" y="7"/>
                  <a:pt x="360" y="7"/>
                </a:cubicBezTo>
                <a:cubicBezTo>
                  <a:pt x="360" y="110"/>
                  <a:pt x="360" y="110"/>
                  <a:pt x="360" y="110"/>
                </a:cubicBezTo>
                <a:cubicBezTo>
                  <a:pt x="374" y="110"/>
                  <a:pt x="374" y="110"/>
                  <a:pt x="374" y="110"/>
                </a:cubicBezTo>
                <a:lnTo>
                  <a:pt x="374" y="7"/>
                </a:lnTo>
                <a:close/>
                <a:moveTo>
                  <a:pt x="475" y="112"/>
                </a:moveTo>
                <a:cubicBezTo>
                  <a:pt x="445" y="112"/>
                  <a:pt x="421" y="88"/>
                  <a:pt x="421" y="59"/>
                </a:cubicBezTo>
                <a:cubicBezTo>
                  <a:pt x="421" y="29"/>
                  <a:pt x="445" y="5"/>
                  <a:pt x="475" y="5"/>
                </a:cubicBezTo>
                <a:cubicBezTo>
                  <a:pt x="505" y="5"/>
                  <a:pt x="528" y="29"/>
                  <a:pt x="528" y="59"/>
                </a:cubicBezTo>
                <a:cubicBezTo>
                  <a:pt x="528" y="88"/>
                  <a:pt x="505" y="112"/>
                  <a:pt x="475" y="112"/>
                </a:cubicBezTo>
                <a:close/>
                <a:moveTo>
                  <a:pt x="475" y="19"/>
                </a:moveTo>
                <a:cubicBezTo>
                  <a:pt x="453" y="19"/>
                  <a:pt x="435" y="37"/>
                  <a:pt x="435" y="59"/>
                </a:cubicBezTo>
                <a:cubicBezTo>
                  <a:pt x="435" y="81"/>
                  <a:pt x="453" y="99"/>
                  <a:pt x="475" y="99"/>
                </a:cubicBezTo>
                <a:cubicBezTo>
                  <a:pt x="497" y="99"/>
                  <a:pt x="514" y="81"/>
                  <a:pt x="514" y="59"/>
                </a:cubicBezTo>
                <a:cubicBezTo>
                  <a:pt x="514" y="37"/>
                  <a:pt x="497" y="19"/>
                  <a:pt x="475" y="19"/>
                </a:cubicBezTo>
                <a:close/>
                <a:moveTo>
                  <a:pt x="586" y="35"/>
                </a:moveTo>
                <a:cubicBezTo>
                  <a:pt x="664" y="117"/>
                  <a:pt x="664" y="117"/>
                  <a:pt x="664" y="117"/>
                </a:cubicBezTo>
                <a:cubicBezTo>
                  <a:pt x="664" y="7"/>
                  <a:pt x="664" y="7"/>
                  <a:pt x="664" y="7"/>
                </a:cubicBezTo>
                <a:cubicBezTo>
                  <a:pt x="650" y="7"/>
                  <a:pt x="650" y="7"/>
                  <a:pt x="650" y="7"/>
                </a:cubicBezTo>
                <a:cubicBezTo>
                  <a:pt x="650" y="83"/>
                  <a:pt x="650" y="83"/>
                  <a:pt x="650" y="83"/>
                </a:cubicBezTo>
                <a:cubicBezTo>
                  <a:pt x="572" y="1"/>
                  <a:pt x="572" y="1"/>
                  <a:pt x="572" y="1"/>
                </a:cubicBezTo>
                <a:cubicBezTo>
                  <a:pt x="572" y="110"/>
                  <a:pt x="572" y="110"/>
                  <a:pt x="572" y="110"/>
                </a:cubicBezTo>
                <a:cubicBezTo>
                  <a:pt x="586" y="110"/>
                  <a:pt x="586" y="110"/>
                  <a:pt x="586" y="110"/>
                </a:cubicBezTo>
                <a:lnTo>
                  <a:pt x="586" y="35"/>
                </a:lnTo>
                <a:close/>
                <a:moveTo>
                  <a:pt x="843" y="7"/>
                </a:moveTo>
                <a:cubicBezTo>
                  <a:pt x="830" y="7"/>
                  <a:pt x="830" y="7"/>
                  <a:pt x="830" y="7"/>
                </a:cubicBezTo>
                <a:cubicBezTo>
                  <a:pt x="830" y="110"/>
                  <a:pt x="830" y="110"/>
                  <a:pt x="830" y="110"/>
                </a:cubicBezTo>
                <a:cubicBezTo>
                  <a:pt x="885" y="110"/>
                  <a:pt x="885" y="110"/>
                  <a:pt x="885" y="110"/>
                </a:cubicBezTo>
                <a:cubicBezTo>
                  <a:pt x="885" y="97"/>
                  <a:pt x="885" y="97"/>
                  <a:pt x="885" y="97"/>
                </a:cubicBezTo>
                <a:cubicBezTo>
                  <a:pt x="843" y="97"/>
                  <a:pt x="843" y="97"/>
                  <a:pt x="843" y="97"/>
                </a:cubicBezTo>
                <a:lnTo>
                  <a:pt x="843" y="7"/>
                </a:lnTo>
                <a:close/>
                <a:moveTo>
                  <a:pt x="169" y="156"/>
                </a:moveTo>
                <a:cubicBezTo>
                  <a:pt x="139" y="156"/>
                  <a:pt x="116" y="179"/>
                  <a:pt x="116" y="209"/>
                </a:cubicBezTo>
                <a:cubicBezTo>
                  <a:pt x="116" y="240"/>
                  <a:pt x="139" y="262"/>
                  <a:pt x="169" y="262"/>
                </a:cubicBezTo>
                <a:cubicBezTo>
                  <a:pt x="175" y="262"/>
                  <a:pt x="188" y="261"/>
                  <a:pt x="200" y="252"/>
                </a:cubicBezTo>
                <a:cubicBezTo>
                  <a:pt x="200" y="252"/>
                  <a:pt x="200" y="252"/>
                  <a:pt x="200" y="252"/>
                </a:cubicBezTo>
                <a:cubicBezTo>
                  <a:pt x="200" y="234"/>
                  <a:pt x="200" y="234"/>
                  <a:pt x="200" y="234"/>
                </a:cubicBezTo>
                <a:cubicBezTo>
                  <a:pt x="198" y="236"/>
                  <a:pt x="198" y="236"/>
                  <a:pt x="198" y="236"/>
                </a:cubicBezTo>
                <a:cubicBezTo>
                  <a:pt x="196" y="239"/>
                  <a:pt x="192" y="242"/>
                  <a:pt x="187" y="245"/>
                </a:cubicBezTo>
                <a:cubicBezTo>
                  <a:pt x="181" y="247"/>
                  <a:pt x="175" y="249"/>
                  <a:pt x="169" y="249"/>
                </a:cubicBezTo>
                <a:cubicBezTo>
                  <a:pt x="142" y="249"/>
                  <a:pt x="130" y="226"/>
                  <a:pt x="130" y="210"/>
                </a:cubicBezTo>
                <a:cubicBezTo>
                  <a:pt x="130" y="187"/>
                  <a:pt x="147" y="169"/>
                  <a:pt x="169" y="169"/>
                </a:cubicBezTo>
                <a:cubicBezTo>
                  <a:pt x="174" y="169"/>
                  <a:pt x="180" y="170"/>
                  <a:pt x="185" y="173"/>
                </a:cubicBezTo>
                <a:cubicBezTo>
                  <a:pt x="190" y="175"/>
                  <a:pt x="194" y="178"/>
                  <a:pt x="198" y="182"/>
                </a:cubicBezTo>
                <a:cubicBezTo>
                  <a:pt x="200" y="184"/>
                  <a:pt x="200" y="184"/>
                  <a:pt x="200" y="184"/>
                </a:cubicBezTo>
                <a:cubicBezTo>
                  <a:pt x="200" y="166"/>
                  <a:pt x="200" y="166"/>
                  <a:pt x="200" y="166"/>
                </a:cubicBezTo>
                <a:cubicBezTo>
                  <a:pt x="200" y="166"/>
                  <a:pt x="200" y="166"/>
                  <a:pt x="200" y="166"/>
                </a:cubicBezTo>
                <a:cubicBezTo>
                  <a:pt x="191" y="159"/>
                  <a:pt x="181" y="156"/>
                  <a:pt x="169" y="156"/>
                </a:cubicBezTo>
                <a:close/>
                <a:moveTo>
                  <a:pt x="437" y="209"/>
                </a:moveTo>
                <a:cubicBezTo>
                  <a:pt x="437" y="225"/>
                  <a:pt x="431" y="238"/>
                  <a:pt x="419" y="249"/>
                </a:cubicBezTo>
                <a:cubicBezTo>
                  <a:pt x="409" y="257"/>
                  <a:pt x="399" y="261"/>
                  <a:pt x="382" y="261"/>
                </a:cubicBezTo>
                <a:cubicBezTo>
                  <a:pt x="360" y="261"/>
                  <a:pt x="360" y="261"/>
                  <a:pt x="360" y="261"/>
                </a:cubicBezTo>
                <a:cubicBezTo>
                  <a:pt x="360" y="157"/>
                  <a:pt x="360" y="157"/>
                  <a:pt x="360" y="157"/>
                </a:cubicBezTo>
                <a:cubicBezTo>
                  <a:pt x="382" y="157"/>
                  <a:pt x="382" y="157"/>
                  <a:pt x="382" y="157"/>
                </a:cubicBezTo>
                <a:cubicBezTo>
                  <a:pt x="393" y="157"/>
                  <a:pt x="407" y="159"/>
                  <a:pt x="420" y="170"/>
                </a:cubicBezTo>
                <a:cubicBezTo>
                  <a:pt x="426" y="175"/>
                  <a:pt x="437" y="187"/>
                  <a:pt x="437" y="209"/>
                </a:cubicBezTo>
                <a:close/>
                <a:moveTo>
                  <a:pt x="423" y="209"/>
                </a:moveTo>
                <a:cubicBezTo>
                  <a:pt x="423" y="186"/>
                  <a:pt x="407" y="171"/>
                  <a:pt x="382" y="171"/>
                </a:cubicBezTo>
                <a:cubicBezTo>
                  <a:pt x="374" y="171"/>
                  <a:pt x="374" y="171"/>
                  <a:pt x="374" y="171"/>
                </a:cubicBezTo>
                <a:cubicBezTo>
                  <a:pt x="374" y="247"/>
                  <a:pt x="374" y="247"/>
                  <a:pt x="374" y="247"/>
                </a:cubicBezTo>
                <a:cubicBezTo>
                  <a:pt x="382" y="247"/>
                  <a:pt x="382" y="247"/>
                  <a:pt x="382" y="247"/>
                </a:cubicBezTo>
                <a:cubicBezTo>
                  <a:pt x="390" y="247"/>
                  <a:pt x="401" y="246"/>
                  <a:pt x="410" y="239"/>
                </a:cubicBezTo>
                <a:cubicBezTo>
                  <a:pt x="416" y="234"/>
                  <a:pt x="423" y="224"/>
                  <a:pt x="423" y="209"/>
                </a:cubicBezTo>
                <a:close/>
                <a:moveTo>
                  <a:pt x="479" y="261"/>
                </a:moveTo>
                <a:cubicBezTo>
                  <a:pt x="541" y="261"/>
                  <a:pt x="541" y="261"/>
                  <a:pt x="541" y="261"/>
                </a:cubicBezTo>
                <a:cubicBezTo>
                  <a:pt x="541" y="247"/>
                  <a:pt x="541" y="247"/>
                  <a:pt x="541" y="247"/>
                </a:cubicBezTo>
                <a:cubicBezTo>
                  <a:pt x="493" y="247"/>
                  <a:pt x="493" y="247"/>
                  <a:pt x="493" y="247"/>
                </a:cubicBezTo>
                <a:cubicBezTo>
                  <a:pt x="493" y="211"/>
                  <a:pt x="493" y="211"/>
                  <a:pt x="493" y="211"/>
                </a:cubicBezTo>
                <a:cubicBezTo>
                  <a:pt x="535" y="211"/>
                  <a:pt x="535" y="211"/>
                  <a:pt x="535" y="211"/>
                </a:cubicBezTo>
                <a:cubicBezTo>
                  <a:pt x="535" y="198"/>
                  <a:pt x="535" y="198"/>
                  <a:pt x="535" y="198"/>
                </a:cubicBezTo>
                <a:cubicBezTo>
                  <a:pt x="493" y="198"/>
                  <a:pt x="493" y="198"/>
                  <a:pt x="493" y="198"/>
                </a:cubicBezTo>
                <a:cubicBezTo>
                  <a:pt x="493" y="171"/>
                  <a:pt x="493" y="171"/>
                  <a:pt x="493" y="171"/>
                </a:cubicBezTo>
                <a:cubicBezTo>
                  <a:pt x="541" y="171"/>
                  <a:pt x="541" y="171"/>
                  <a:pt x="541" y="171"/>
                </a:cubicBezTo>
                <a:cubicBezTo>
                  <a:pt x="541" y="157"/>
                  <a:pt x="541" y="157"/>
                  <a:pt x="541" y="157"/>
                </a:cubicBezTo>
                <a:cubicBezTo>
                  <a:pt x="479" y="157"/>
                  <a:pt x="479" y="157"/>
                  <a:pt x="479" y="157"/>
                </a:cubicBezTo>
                <a:lnTo>
                  <a:pt x="479" y="261"/>
                </a:lnTo>
                <a:close/>
                <a:moveTo>
                  <a:pt x="805" y="261"/>
                </a:moveTo>
                <a:cubicBezTo>
                  <a:pt x="866" y="261"/>
                  <a:pt x="866" y="261"/>
                  <a:pt x="866" y="261"/>
                </a:cubicBezTo>
                <a:cubicBezTo>
                  <a:pt x="866" y="247"/>
                  <a:pt x="866" y="247"/>
                  <a:pt x="866" y="247"/>
                </a:cubicBezTo>
                <a:cubicBezTo>
                  <a:pt x="819" y="247"/>
                  <a:pt x="819" y="247"/>
                  <a:pt x="819" y="247"/>
                </a:cubicBezTo>
                <a:cubicBezTo>
                  <a:pt x="819" y="211"/>
                  <a:pt x="819" y="211"/>
                  <a:pt x="819" y="211"/>
                </a:cubicBezTo>
                <a:cubicBezTo>
                  <a:pt x="860" y="211"/>
                  <a:pt x="860" y="211"/>
                  <a:pt x="860" y="211"/>
                </a:cubicBezTo>
                <a:cubicBezTo>
                  <a:pt x="860" y="198"/>
                  <a:pt x="860" y="198"/>
                  <a:pt x="860" y="198"/>
                </a:cubicBezTo>
                <a:cubicBezTo>
                  <a:pt x="819" y="198"/>
                  <a:pt x="819" y="198"/>
                  <a:pt x="819" y="198"/>
                </a:cubicBezTo>
                <a:cubicBezTo>
                  <a:pt x="819" y="171"/>
                  <a:pt x="819" y="171"/>
                  <a:pt x="819" y="171"/>
                </a:cubicBezTo>
                <a:cubicBezTo>
                  <a:pt x="866" y="171"/>
                  <a:pt x="866" y="171"/>
                  <a:pt x="866" y="171"/>
                </a:cubicBezTo>
                <a:cubicBezTo>
                  <a:pt x="866" y="157"/>
                  <a:pt x="866" y="157"/>
                  <a:pt x="866" y="157"/>
                </a:cubicBezTo>
                <a:cubicBezTo>
                  <a:pt x="805" y="157"/>
                  <a:pt x="805" y="157"/>
                  <a:pt x="805" y="157"/>
                </a:cubicBezTo>
                <a:lnTo>
                  <a:pt x="805" y="261"/>
                </a:lnTo>
                <a:close/>
                <a:moveTo>
                  <a:pt x="634" y="235"/>
                </a:moveTo>
                <a:cubicBezTo>
                  <a:pt x="595" y="149"/>
                  <a:pt x="595" y="149"/>
                  <a:pt x="595" y="149"/>
                </a:cubicBezTo>
                <a:cubicBezTo>
                  <a:pt x="578" y="261"/>
                  <a:pt x="578" y="261"/>
                  <a:pt x="578" y="261"/>
                </a:cubicBezTo>
                <a:cubicBezTo>
                  <a:pt x="592" y="261"/>
                  <a:pt x="592" y="261"/>
                  <a:pt x="592" y="261"/>
                </a:cubicBezTo>
                <a:cubicBezTo>
                  <a:pt x="601" y="194"/>
                  <a:pt x="601" y="194"/>
                  <a:pt x="601" y="194"/>
                </a:cubicBezTo>
                <a:cubicBezTo>
                  <a:pt x="634" y="267"/>
                  <a:pt x="634" y="267"/>
                  <a:pt x="634" y="267"/>
                </a:cubicBezTo>
                <a:cubicBezTo>
                  <a:pt x="668" y="194"/>
                  <a:pt x="668" y="194"/>
                  <a:pt x="668" y="194"/>
                </a:cubicBezTo>
                <a:cubicBezTo>
                  <a:pt x="677" y="261"/>
                  <a:pt x="677" y="261"/>
                  <a:pt x="677" y="261"/>
                </a:cubicBezTo>
                <a:cubicBezTo>
                  <a:pt x="691" y="261"/>
                  <a:pt x="691" y="261"/>
                  <a:pt x="691" y="261"/>
                </a:cubicBezTo>
                <a:cubicBezTo>
                  <a:pt x="674" y="148"/>
                  <a:pt x="674" y="148"/>
                  <a:pt x="674" y="148"/>
                </a:cubicBezTo>
                <a:lnTo>
                  <a:pt x="634" y="235"/>
                </a:lnTo>
                <a:close/>
                <a:moveTo>
                  <a:pt x="737" y="261"/>
                </a:moveTo>
                <a:cubicBezTo>
                  <a:pt x="751" y="261"/>
                  <a:pt x="751" y="261"/>
                  <a:pt x="751" y="261"/>
                </a:cubicBezTo>
                <a:cubicBezTo>
                  <a:pt x="751" y="157"/>
                  <a:pt x="751" y="157"/>
                  <a:pt x="751" y="157"/>
                </a:cubicBezTo>
                <a:cubicBezTo>
                  <a:pt x="737" y="157"/>
                  <a:pt x="737" y="157"/>
                  <a:pt x="737" y="157"/>
                </a:cubicBezTo>
                <a:lnTo>
                  <a:pt x="737" y="261"/>
                </a:lnTo>
                <a:close/>
                <a:moveTo>
                  <a:pt x="955" y="211"/>
                </a:moveTo>
                <a:cubicBezTo>
                  <a:pt x="950" y="207"/>
                  <a:pt x="945" y="204"/>
                  <a:pt x="939" y="201"/>
                </a:cubicBezTo>
                <a:cubicBezTo>
                  <a:pt x="929" y="197"/>
                  <a:pt x="929" y="197"/>
                  <a:pt x="929" y="197"/>
                </a:cubicBezTo>
                <a:cubicBezTo>
                  <a:pt x="925" y="195"/>
                  <a:pt x="922" y="194"/>
                  <a:pt x="919" y="191"/>
                </a:cubicBezTo>
                <a:cubicBezTo>
                  <a:pt x="916" y="189"/>
                  <a:pt x="916" y="187"/>
                  <a:pt x="916" y="183"/>
                </a:cubicBezTo>
                <a:cubicBezTo>
                  <a:pt x="916" y="175"/>
                  <a:pt x="922" y="169"/>
                  <a:pt x="931" y="169"/>
                </a:cubicBezTo>
                <a:cubicBezTo>
                  <a:pt x="936" y="169"/>
                  <a:pt x="940" y="171"/>
                  <a:pt x="942" y="172"/>
                </a:cubicBezTo>
                <a:cubicBezTo>
                  <a:pt x="944" y="174"/>
                  <a:pt x="946" y="177"/>
                  <a:pt x="947" y="179"/>
                </a:cubicBezTo>
                <a:cubicBezTo>
                  <a:pt x="948" y="181"/>
                  <a:pt x="948" y="181"/>
                  <a:pt x="948" y="181"/>
                </a:cubicBezTo>
                <a:cubicBezTo>
                  <a:pt x="959" y="173"/>
                  <a:pt x="959" y="173"/>
                  <a:pt x="959" y="173"/>
                </a:cubicBezTo>
                <a:cubicBezTo>
                  <a:pt x="958" y="172"/>
                  <a:pt x="958" y="172"/>
                  <a:pt x="958" y="172"/>
                </a:cubicBezTo>
                <a:cubicBezTo>
                  <a:pt x="956" y="167"/>
                  <a:pt x="952" y="163"/>
                  <a:pt x="948" y="161"/>
                </a:cubicBezTo>
                <a:cubicBezTo>
                  <a:pt x="943" y="157"/>
                  <a:pt x="938" y="156"/>
                  <a:pt x="931" y="156"/>
                </a:cubicBezTo>
                <a:cubicBezTo>
                  <a:pt x="914" y="156"/>
                  <a:pt x="902" y="167"/>
                  <a:pt x="902" y="183"/>
                </a:cubicBezTo>
                <a:cubicBezTo>
                  <a:pt x="902" y="190"/>
                  <a:pt x="904" y="195"/>
                  <a:pt x="909" y="200"/>
                </a:cubicBezTo>
                <a:cubicBezTo>
                  <a:pt x="913" y="205"/>
                  <a:pt x="918" y="207"/>
                  <a:pt x="922" y="209"/>
                </a:cubicBezTo>
                <a:cubicBezTo>
                  <a:pt x="932" y="213"/>
                  <a:pt x="932" y="213"/>
                  <a:pt x="932" y="213"/>
                </a:cubicBezTo>
                <a:cubicBezTo>
                  <a:pt x="937" y="215"/>
                  <a:pt x="941" y="217"/>
                  <a:pt x="944" y="220"/>
                </a:cubicBezTo>
                <a:cubicBezTo>
                  <a:pt x="947" y="223"/>
                  <a:pt x="948" y="226"/>
                  <a:pt x="948" y="231"/>
                </a:cubicBezTo>
                <a:cubicBezTo>
                  <a:pt x="948" y="240"/>
                  <a:pt x="942" y="249"/>
                  <a:pt x="929" y="249"/>
                </a:cubicBezTo>
                <a:cubicBezTo>
                  <a:pt x="924" y="249"/>
                  <a:pt x="919" y="247"/>
                  <a:pt x="916" y="244"/>
                </a:cubicBezTo>
                <a:cubicBezTo>
                  <a:pt x="913" y="241"/>
                  <a:pt x="911" y="236"/>
                  <a:pt x="910" y="232"/>
                </a:cubicBezTo>
                <a:cubicBezTo>
                  <a:pt x="910" y="230"/>
                  <a:pt x="910" y="230"/>
                  <a:pt x="910" y="230"/>
                </a:cubicBezTo>
                <a:cubicBezTo>
                  <a:pt x="896" y="234"/>
                  <a:pt x="896" y="234"/>
                  <a:pt x="896" y="234"/>
                </a:cubicBezTo>
                <a:cubicBezTo>
                  <a:pt x="897" y="235"/>
                  <a:pt x="897" y="235"/>
                  <a:pt x="897" y="235"/>
                </a:cubicBezTo>
                <a:cubicBezTo>
                  <a:pt x="898" y="243"/>
                  <a:pt x="902" y="249"/>
                  <a:pt x="906" y="254"/>
                </a:cubicBezTo>
                <a:cubicBezTo>
                  <a:pt x="912" y="260"/>
                  <a:pt x="920" y="262"/>
                  <a:pt x="929" y="262"/>
                </a:cubicBezTo>
                <a:cubicBezTo>
                  <a:pt x="948" y="262"/>
                  <a:pt x="962" y="249"/>
                  <a:pt x="962" y="230"/>
                </a:cubicBezTo>
                <a:cubicBezTo>
                  <a:pt x="962" y="222"/>
                  <a:pt x="960" y="216"/>
                  <a:pt x="955" y="211"/>
                </a:cubicBezTo>
                <a:close/>
                <a:moveTo>
                  <a:pt x="0" y="261"/>
                </a:moveTo>
                <a:cubicBezTo>
                  <a:pt x="15" y="261"/>
                  <a:pt x="15" y="261"/>
                  <a:pt x="15" y="261"/>
                </a:cubicBezTo>
                <a:cubicBezTo>
                  <a:pt x="48" y="184"/>
                  <a:pt x="48" y="184"/>
                  <a:pt x="48" y="184"/>
                </a:cubicBezTo>
                <a:cubicBezTo>
                  <a:pt x="79" y="260"/>
                  <a:pt x="79" y="260"/>
                  <a:pt x="79" y="260"/>
                </a:cubicBezTo>
                <a:cubicBezTo>
                  <a:pt x="80" y="261"/>
                  <a:pt x="80" y="261"/>
                  <a:pt x="80" y="261"/>
                </a:cubicBezTo>
                <a:cubicBezTo>
                  <a:pt x="95" y="261"/>
                  <a:pt x="95" y="261"/>
                  <a:pt x="95" y="261"/>
                </a:cubicBezTo>
                <a:cubicBezTo>
                  <a:pt x="48" y="151"/>
                  <a:pt x="48" y="151"/>
                  <a:pt x="48" y="151"/>
                </a:cubicBezTo>
                <a:lnTo>
                  <a:pt x="0" y="261"/>
                </a:lnTo>
                <a:close/>
                <a:moveTo>
                  <a:pt x="229" y="261"/>
                </a:moveTo>
                <a:cubicBezTo>
                  <a:pt x="244" y="261"/>
                  <a:pt x="244" y="261"/>
                  <a:pt x="244" y="261"/>
                </a:cubicBezTo>
                <a:cubicBezTo>
                  <a:pt x="277" y="184"/>
                  <a:pt x="277" y="184"/>
                  <a:pt x="277" y="184"/>
                </a:cubicBezTo>
                <a:cubicBezTo>
                  <a:pt x="309" y="260"/>
                  <a:pt x="309" y="260"/>
                  <a:pt x="309" y="260"/>
                </a:cubicBezTo>
                <a:cubicBezTo>
                  <a:pt x="309" y="261"/>
                  <a:pt x="309" y="261"/>
                  <a:pt x="309" y="261"/>
                </a:cubicBezTo>
                <a:cubicBezTo>
                  <a:pt x="324" y="261"/>
                  <a:pt x="324" y="261"/>
                  <a:pt x="324" y="261"/>
                </a:cubicBezTo>
                <a:cubicBezTo>
                  <a:pt x="277" y="151"/>
                  <a:pt x="277" y="151"/>
                  <a:pt x="277" y="151"/>
                </a:cubicBezTo>
                <a:lnTo>
                  <a:pt x="229" y="261"/>
                </a:lnTo>
                <a:close/>
                <a:moveTo>
                  <a:pt x="1071" y="11"/>
                </a:moveTo>
                <a:cubicBezTo>
                  <a:pt x="1071" y="18"/>
                  <a:pt x="1071" y="18"/>
                  <a:pt x="1071" y="18"/>
                </a:cubicBezTo>
                <a:cubicBezTo>
                  <a:pt x="1075" y="18"/>
                  <a:pt x="1075" y="18"/>
                  <a:pt x="1075" y="18"/>
                </a:cubicBezTo>
                <a:cubicBezTo>
                  <a:pt x="1077" y="9"/>
                  <a:pt x="1077" y="9"/>
                  <a:pt x="1077" y="9"/>
                </a:cubicBezTo>
                <a:cubicBezTo>
                  <a:pt x="1076" y="8"/>
                  <a:pt x="1074" y="7"/>
                  <a:pt x="1072" y="6"/>
                </a:cubicBezTo>
                <a:cubicBezTo>
                  <a:pt x="1070" y="6"/>
                  <a:pt x="1067" y="6"/>
                  <a:pt x="1064" y="6"/>
                </a:cubicBezTo>
                <a:cubicBezTo>
                  <a:pt x="1061" y="6"/>
                  <a:pt x="1058" y="6"/>
                  <a:pt x="1056" y="7"/>
                </a:cubicBezTo>
                <a:cubicBezTo>
                  <a:pt x="1053" y="9"/>
                  <a:pt x="1051" y="10"/>
                  <a:pt x="1049" y="12"/>
                </a:cubicBezTo>
                <a:cubicBezTo>
                  <a:pt x="1048" y="14"/>
                  <a:pt x="1047" y="17"/>
                  <a:pt x="1047" y="20"/>
                </a:cubicBezTo>
                <a:cubicBezTo>
                  <a:pt x="1047" y="22"/>
                  <a:pt x="1048" y="24"/>
                  <a:pt x="1049" y="26"/>
                </a:cubicBezTo>
                <a:cubicBezTo>
                  <a:pt x="1050" y="28"/>
                  <a:pt x="1051" y="30"/>
                  <a:pt x="1053" y="31"/>
                </a:cubicBezTo>
                <a:cubicBezTo>
                  <a:pt x="1055" y="32"/>
                  <a:pt x="1057" y="34"/>
                  <a:pt x="1059" y="35"/>
                </a:cubicBezTo>
                <a:cubicBezTo>
                  <a:pt x="1062" y="37"/>
                  <a:pt x="1064" y="39"/>
                  <a:pt x="1066" y="40"/>
                </a:cubicBezTo>
                <a:cubicBezTo>
                  <a:pt x="1067" y="42"/>
                  <a:pt x="1068" y="44"/>
                  <a:pt x="1068" y="47"/>
                </a:cubicBezTo>
                <a:cubicBezTo>
                  <a:pt x="1068" y="49"/>
                  <a:pt x="1067" y="52"/>
                  <a:pt x="1065" y="53"/>
                </a:cubicBezTo>
                <a:cubicBezTo>
                  <a:pt x="1062" y="55"/>
                  <a:pt x="1060" y="56"/>
                  <a:pt x="1057" y="56"/>
                </a:cubicBezTo>
                <a:cubicBezTo>
                  <a:pt x="1055" y="56"/>
                  <a:pt x="1053" y="56"/>
                  <a:pt x="1052" y="55"/>
                </a:cubicBezTo>
                <a:cubicBezTo>
                  <a:pt x="1050" y="55"/>
                  <a:pt x="1049" y="54"/>
                  <a:pt x="1048" y="54"/>
                </a:cubicBezTo>
                <a:cubicBezTo>
                  <a:pt x="1048" y="46"/>
                  <a:pt x="1048" y="46"/>
                  <a:pt x="1048" y="46"/>
                </a:cubicBezTo>
                <a:cubicBezTo>
                  <a:pt x="1044" y="46"/>
                  <a:pt x="1044" y="46"/>
                  <a:pt x="1044" y="46"/>
                </a:cubicBezTo>
                <a:cubicBezTo>
                  <a:pt x="1042" y="56"/>
                  <a:pt x="1042" y="56"/>
                  <a:pt x="1042" y="56"/>
                </a:cubicBezTo>
                <a:cubicBezTo>
                  <a:pt x="1043" y="57"/>
                  <a:pt x="1045" y="58"/>
                  <a:pt x="1048" y="58"/>
                </a:cubicBezTo>
                <a:cubicBezTo>
                  <a:pt x="1051" y="59"/>
                  <a:pt x="1054" y="59"/>
                  <a:pt x="1057" y="59"/>
                </a:cubicBezTo>
                <a:cubicBezTo>
                  <a:pt x="1060" y="59"/>
                  <a:pt x="1063" y="59"/>
                  <a:pt x="1066" y="57"/>
                </a:cubicBezTo>
                <a:cubicBezTo>
                  <a:pt x="1069" y="56"/>
                  <a:pt x="1071" y="54"/>
                  <a:pt x="1073" y="52"/>
                </a:cubicBezTo>
                <a:cubicBezTo>
                  <a:pt x="1074" y="50"/>
                  <a:pt x="1075" y="47"/>
                  <a:pt x="1075" y="44"/>
                </a:cubicBezTo>
                <a:cubicBezTo>
                  <a:pt x="1075" y="42"/>
                  <a:pt x="1074" y="40"/>
                  <a:pt x="1073" y="38"/>
                </a:cubicBezTo>
                <a:cubicBezTo>
                  <a:pt x="1072" y="36"/>
                  <a:pt x="1071" y="35"/>
                  <a:pt x="1069" y="34"/>
                </a:cubicBezTo>
                <a:cubicBezTo>
                  <a:pt x="1068" y="32"/>
                  <a:pt x="1066" y="31"/>
                  <a:pt x="1064" y="29"/>
                </a:cubicBezTo>
                <a:cubicBezTo>
                  <a:pt x="1060" y="27"/>
                  <a:pt x="1058" y="25"/>
                  <a:pt x="1056" y="24"/>
                </a:cubicBezTo>
                <a:cubicBezTo>
                  <a:pt x="1055" y="22"/>
                  <a:pt x="1054" y="20"/>
                  <a:pt x="1054" y="17"/>
                </a:cubicBezTo>
                <a:cubicBezTo>
                  <a:pt x="1054" y="15"/>
                  <a:pt x="1055" y="13"/>
                  <a:pt x="1057" y="11"/>
                </a:cubicBezTo>
                <a:cubicBezTo>
                  <a:pt x="1059" y="10"/>
                  <a:pt x="1061" y="9"/>
                  <a:pt x="1064" y="9"/>
                </a:cubicBezTo>
                <a:cubicBezTo>
                  <a:pt x="1065" y="9"/>
                  <a:pt x="1067" y="9"/>
                  <a:pt x="1068" y="10"/>
                </a:cubicBezTo>
                <a:cubicBezTo>
                  <a:pt x="1069" y="10"/>
                  <a:pt x="1070" y="10"/>
                  <a:pt x="1071" y="11"/>
                </a:cubicBezTo>
                <a:close/>
                <a:moveTo>
                  <a:pt x="1107" y="27"/>
                </a:moveTo>
                <a:cubicBezTo>
                  <a:pt x="1108" y="27"/>
                  <a:pt x="1108" y="27"/>
                  <a:pt x="1108" y="27"/>
                </a:cubicBezTo>
                <a:cubicBezTo>
                  <a:pt x="1110" y="20"/>
                  <a:pt x="1110" y="20"/>
                  <a:pt x="1110" y="20"/>
                </a:cubicBezTo>
                <a:cubicBezTo>
                  <a:pt x="1109" y="20"/>
                  <a:pt x="1108" y="19"/>
                  <a:pt x="1107" y="19"/>
                </a:cubicBezTo>
                <a:cubicBezTo>
                  <a:pt x="1105" y="19"/>
                  <a:pt x="1104" y="19"/>
                  <a:pt x="1102" y="19"/>
                </a:cubicBezTo>
                <a:cubicBezTo>
                  <a:pt x="1098" y="19"/>
                  <a:pt x="1094" y="20"/>
                  <a:pt x="1091" y="22"/>
                </a:cubicBezTo>
                <a:cubicBezTo>
                  <a:pt x="1088" y="25"/>
                  <a:pt x="1086" y="28"/>
                  <a:pt x="1084" y="32"/>
                </a:cubicBezTo>
                <a:cubicBezTo>
                  <a:pt x="1083" y="36"/>
                  <a:pt x="1082" y="40"/>
                  <a:pt x="1082" y="43"/>
                </a:cubicBezTo>
                <a:cubicBezTo>
                  <a:pt x="1082" y="48"/>
                  <a:pt x="1083" y="52"/>
                  <a:pt x="1085" y="55"/>
                </a:cubicBezTo>
                <a:cubicBezTo>
                  <a:pt x="1087" y="58"/>
                  <a:pt x="1091" y="59"/>
                  <a:pt x="1094" y="59"/>
                </a:cubicBezTo>
                <a:cubicBezTo>
                  <a:pt x="1098" y="59"/>
                  <a:pt x="1100" y="59"/>
                  <a:pt x="1102" y="57"/>
                </a:cubicBezTo>
                <a:cubicBezTo>
                  <a:pt x="1105" y="56"/>
                  <a:pt x="1106" y="54"/>
                  <a:pt x="1108" y="53"/>
                </a:cubicBezTo>
                <a:cubicBezTo>
                  <a:pt x="1106" y="50"/>
                  <a:pt x="1106" y="50"/>
                  <a:pt x="1106" y="50"/>
                </a:cubicBezTo>
                <a:cubicBezTo>
                  <a:pt x="1105" y="52"/>
                  <a:pt x="1103" y="53"/>
                  <a:pt x="1102" y="54"/>
                </a:cubicBezTo>
                <a:cubicBezTo>
                  <a:pt x="1100" y="54"/>
                  <a:pt x="1099" y="55"/>
                  <a:pt x="1097" y="55"/>
                </a:cubicBezTo>
                <a:cubicBezTo>
                  <a:pt x="1094" y="55"/>
                  <a:pt x="1092" y="54"/>
                  <a:pt x="1091" y="52"/>
                </a:cubicBezTo>
                <a:cubicBezTo>
                  <a:pt x="1090" y="50"/>
                  <a:pt x="1089" y="47"/>
                  <a:pt x="1089" y="43"/>
                </a:cubicBezTo>
                <a:cubicBezTo>
                  <a:pt x="1089" y="39"/>
                  <a:pt x="1090" y="35"/>
                  <a:pt x="1091" y="32"/>
                </a:cubicBezTo>
                <a:cubicBezTo>
                  <a:pt x="1092" y="30"/>
                  <a:pt x="1093" y="27"/>
                  <a:pt x="1095" y="26"/>
                </a:cubicBezTo>
                <a:cubicBezTo>
                  <a:pt x="1097" y="24"/>
                  <a:pt x="1099" y="23"/>
                  <a:pt x="1101" y="23"/>
                </a:cubicBezTo>
                <a:cubicBezTo>
                  <a:pt x="1102" y="23"/>
                  <a:pt x="1105" y="24"/>
                  <a:pt x="1107" y="27"/>
                </a:cubicBezTo>
                <a:close/>
                <a:moveTo>
                  <a:pt x="1124" y="52"/>
                </a:moveTo>
                <a:cubicBezTo>
                  <a:pt x="1129" y="19"/>
                  <a:pt x="1129" y="19"/>
                  <a:pt x="1129" y="19"/>
                </a:cubicBezTo>
                <a:cubicBezTo>
                  <a:pt x="1128" y="19"/>
                  <a:pt x="1128" y="19"/>
                  <a:pt x="1128" y="19"/>
                </a:cubicBezTo>
                <a:cubicBezTo>
                  <a:pt x="1118" y="20"/>
                  <a:pt x="1118" y="20"/>
                  <a:pt x="1118" y="20"/>
                </a:cubicBezTo>
                <a:cubicBezTo>
                  <a:pt x="1117" y="23"/>
                  <a:pt x="1117" y="23"/>
                  <a:pt x="1117" y="23"/>
                </a:cubicBezTo>
                <a:cubicBezTo>
                  <a:pt x="1122" y="24"/>
                  <a:pt x="1122" y="24"/>
                  <a:pt x="1122" y="24"/>
                </a:cubicBezTo>
                <a:cubicBezTo>
                  <a:pt x="1121" y="31"/>
                  <a:pt x="1120" y="37"/>
                  <a:pt x="1119" y="41"/>
                </a:cubicBezTo>
                <a:cubicBezTo>
                  <a:pt x="1118" y="49"/>
                  <a:pt x="1117" y="54"/>
                  <a:pt x="1117" y="55"/>
                </a:cubicBezTo>
                <a:cubicBezTo>
                  <a:pt x="1117" y="56"/>
                  <a:pt x="1118" y="57"/>
                  <a:pt x="1118" y="58"/>
                </a:cubicBezTo>
                <a:cubicBezTo>
                  <a:pt x="1119" y="59"/>
                  <a:pt x="1120" y="59"/>
                  <a:pt x="1122" y="59"/>
                </a:cubicBezTo>
                <a:cubicBezTo>
                  <a:pt x="1124" y="59"/>
                  <a:pt x="1125" y="59"/>
                  <a:pt x="1127" y="58"/>
                </a:cubicBezTo>
                <a:cubicBezTo>
                  <a:pt x="1128" y="57"/>
                  <a:pt x="1129" y="55"/>
                  <a:pt x="1130" y="54"/>
                </a:cubicBezTo>
                <a:cubicBezTo>
                  <a:pt x="1129" y="53"/>
                  <a:pt x="1129" y="53"/>
                  <a:pt x="1129" y="53"/>
                </a:cubicBezTo>
                <a:cubicBezTo>
                  <a:pt x="1128" y="54"/>
                  <a:pt x="1128" y="54"/>
                  <a:pt x="1127" y="54"/>
                </a:cubicBezTo>
                <a:cubicBezTo>
                  <a:pt x="1126" y="55"/>
                  <a:pt x="1126" y="55"/>
                  <a:pt x="1125" y="55"/>
                </a:cubicBezTo>
                <a:cubicBezTo>
                  <a:pt x="1125" y="55"/>
                  <a:pt x="1125" y="55"/>
                  <a:pt x="1125" y="54"/>
                </a:cubicBezTo>
                <a:cubicBezTo>
                  <a:pt x="1124" y="54"/>
                  <a:pt x="1124" y="54"/>
                  <a:pt x="1124" y="53"/>
                </a:cubicBezTo>
                <a:lnTo>
                  <a:pt x="1124" y="52"/>
                </a:lnTo>
                <a:close/>
                <a:moveTo>
                  <a:pt x="1127" y="11"/>
                </a:moveTo>
                <a:cubicBezTo>
                  <a:pt x="1128" y="11"/>
                  <a:pt x="1129" y="11"/>
                  <a:pt x="1130" y="10"/>
                </a:cubicBezTo>
                <a:cubicBezTo>
                  <a:pt x="1131" y="9"/>
                  <a:pt x="1131" y="7"/>
                  <a:pt x="1131" y="6"/>
                </a:cubicBezTo>
                <a:cubicBezTo>
                  <a:pt x="1131" y="5"/>
                  <a:pt x="1131" y="4"/>
                  <a:pt x="1130" y="3"/>
                </a:cubicBezTo>
                <a:cubicBezTo>
                  <a:pt x="1130" y="3"/>
                  <a:pt x="1129" y="2"/>
                  <a:pt x="1128" y="2"/>
                </a:cubicBezTo>
                <a:cubicBezTo>
                  <a:pt x="1126" y="2"/>
                  <a:pt x="1125" y="3"/>
                  <a:pt x="1124" y="4"/>
                </a:cubicBezTo>
                <a:cubicBezTo>
                  <a:pt x="1123" y="5"/>
                  <a:pt x="1123" y="6"/>
                  <a:pt x="1123" y="7"/>
                </a:cubicBezTo>
                <a:cubicBezTo>
                  <a:pt x="1123" y="8"/>
                  <a:pt x="1123" y="9"/>
                  <a:pt x="1124" y="10"/>
                </a:cubicBezTo>
                <a:cubicBezTo>
                  <a:pt x="1125" y="11"/>
                  <a:pt x="1126" y="11"/>
                  <a:pt x="1127" y="11"/>
                </a:cubicBezTo>
                <a:close/>
                <a:moveTo>
                  <a:pt x="1166" y="52"/>
                </a:moveTo>
                <a:cubicBezTo>
                  <a:pt x="1165" y="49"/>
                  <a:pt x="1165" y="49"/>
                  <a:pt x="1165" y="49"/>
                </a:cubicBezTo>
                <a:cubicBezTo>
                  <a:pt x="1163" y="51"/>
                  <a:pt x="1161" y="52"/>
                  <a:pt x="1159" y="53"/>
                </a:cubicBezTo>
                <a:cubicBezTo>
                  <a:pt x="1157" y="54"/>
                  <a:pt x="1155" y="55"/>
                  <a:pt x="1153" y="55"/>
                </a:cubicBezTo>
                <a:cubicBezTo>
                  <a:pt x="1150" y="55"/>
                  <a:pt x="1148" y="54"/>
                  <a:pt x="1147" y="51"/>
                </a:cubicBezTo>
                <a:cubicBezTo>
                  <a:pt x="1145" y="49"/>
                  <a:pt x="1145" y="46"/>
                  <a:pt x="1145" y="43"/>
                </a:cubicBezTo>
                <a:cubicBezTo>
                  <a:pt x="1148" y="43"/>
                  <a:pt x="1151" y="42"/>
                  <a:pt x="1155" y="41"/>
                </a:cubicBezTo>
                <a:cubicBezTo>
                  <a:pt x="1158" y="40"/>
                  <a:pt x="1162" y="38"/>
                  <a:pt x="1164" y="36"/>
                </a:cubicBezTo>
                <a:cubicBezTo>
                  <a:pt x="1167" y="33"/>
                  <a:pt x="1168" y="31"/>
                  <a:pt x="1168" y="27"/>
                </a:cubicBezTo>
                <a:cubicBezTo>
                  <a:pt x="1168" y="25"/>
                  <a:pt x="1167" y="23"/>
                  <a:pt x="1166" y="21"/>
                </a:cubicBezTo>
                <a:cubicBezTo>
                  <a:pt x="1164" y="19"/>
                  <a:pt x="1162" y="19"/>
                  <a:pt x="1158" y="19"/>
                </a:cubicBezTo>
                <a:cubicBezTo>
                  <a:pt x="1154" y="19"/>
                  <a:pt x="1151" y="20"/>
                  <a:pt x="1148" y="22"/>
                </a:cubicBezTo>
                <a:cubicBezTo>
                  <a:pt x="1145" y="24"/>
                  <a:pt x="1142" y="28"/>
                  <a:pt x="1140" y="31"/>
                </a:cubicBezTo>
                <a:cubicBezTo>
                  <a:pt x="1138" y="35"/>
                  <a:pt x="1138" y="40"/>
                  <a:pt x="1138" y="44"/>
                </a:cubicBezTo>
                <a:cubicBezTo>
                  <a:pt x="1138" y="47"/>
                  <a:pt x="1138" y="49"/>
                  <a:pt x="1139" y="52"/>
                </a:cubicBezTo>
                <a:cubicBezTo>
                  <a:pt x="1140" y="54"/>
                  <a:pt x="1142" y="56"/>
                  <a:pt x="1144" y="57"/>
                </a:cubicBezTo>
                <a:cubicBezTo>
                  <a:pt x="1146" y="59"/>
                  <a:pt x="1148" y="59"/>
                  <a:pt x="1151" y="59"/>
                </a:cubicBezTo>
                <a:cubicBezTo>
                  <a:pt x="1155" y="59"/>
                  <a:pt x="1158" y="58"/>
                  <a:pt x="1160" y="57"/>
                </a:cubicBezTo>
                <a:cubicBezTo>
                  <a:pt x="1163" y="55"/>
                  <a:pt x="1165" y="54"/>
                  <a:pt x="1166" y="52"/>
                </a:cubicBezTo>
                <a:close/>
                <a:moveTo>
                  <a:pt x="1157" y="22"/>
                </a:moveTo>
                <a:cubicBezTo>
                  <a:pt x="1158" y="22"/>
                  <a:pt x="1159" y="23"/>
                  <a:pt x="1160" y="24"/>
                </a:cubicBezTo>
                <a:cubicBezTo>
                  <a:pt x="1161" y="25"/>
                  <a:pt x="1161" y="26"/>
                  <a:pt x="1161" y="28"/>
                </a:cubicBezTo>
                <a:cubicBezTo>
                  <a:pt x="1161" y="30"/>
                  <a:pt x="1161" y="32"/>
                  <a:pt x="1159" y="34"/>
                </a:cubicBezTo>
                <a:cubicBezTo>
                  <a:pt x="1157" y="35"/>
                  <a:pt x="1155" y="37"/>
                  <a:pt x="1152" y="38"/>
                </a:cubicBezTo>
                <a:cubicBezTo>
                  <a:pt x="1150" y="39"/>
                  <a:pt x="1147" y="39"/>
                  <a:pt x="1145" y="39"/>
                </a:cubicBezTo>
                <a:cubicBezTo>
                  <a:pt x="1145" y="37"/>
                  <a:pt x="1146" y="34"/>
                  <a:pt x="1147" y="32"/>
                </a:cubicBezTo>
                <a:cubicBezTo>
                  <a:pt x="1148" y="29"/>
                  <a:pt x="1149" y="27"/>
                  <a:pt x="1151" y="25"/>
                </a:cubicBezTo>
                <a:cubicBezTo>
                  <a:pt x="1152" y="23"/>
                  <a:pt x="1154" y="22"/>
                  <a:pt x="1157" y="22"/>
                </a:cubicBezTo>
                <a:close/>
                <a:moveTo>
                  <a:pt x="1187" y="28"/>
                </a:moveTo>
                <a:cubicBezTo>
                  <a:pt x="1188" y="19"/>
                  <a:pt x="1188" y="19"/>
                  <a:pt x="1188" y="19"/>
                </a:cubicBezTo>
                <a:cubicBezTo>
                  <a:pt x="1186" y="19"/>
                  <a:pt x="1186" y="19"/>
                  <a:pt x="1186" y="19"/>
                </a:cubicBezTo>
                <a:cubicBezTo>
                  <a:pt x="1178" y="20"/>
                  <a:pt x="1178" y="20"/>
                  <a:pt x="1178" y="20"/>
                </a:cubicBezTo>
                <a:cubicBezTo>
                  <a:pt x="1177" y="23"/>
                  <a:pt x="1177" y="23"/>
                  <a:pt x="1177" y="23"/>
                </a:cubicBezTo>
                <a:cubicBezTo>
                  <a:pt x="1180" y="25"/>
                  <a:pt x="1180" y="25"/>
                  <a:pt x="1180" y="25"/>
                </a:cubicBezTo>
                <a:cubicBezTo>
                  <a:pt x="1176" y="58"/>
                  <a:pt x="1176" y="58"/>
                  <a:pt x="1176" y="58"/>
                </a:cubicBezTo>
                <a:cubicBezTo>
                  <a:pt x="1183" y="58"/>
                  <a:pt x="1183" y="58"/>
                  <a:pt x="1183" y="58"/>
                </a:cubicBezTo>
                <a:cubicBezTo>
                  <a:pt x="1186" y="33"/>
                  <a:pt x="1186" y="33"/>
                  <a:pt x="1186" y="33"/>
                </a:cubicBezTo>
                <a:cubicBezTo>
                  <a:pt x="1188" y="31"/>
                  <a:pt x="1190" y="28"/>
                  <a:pt x="1192" y="26"/>
                </a:cubicBezTo>
                <a:cubicBezTo>
                  <a:pt x="1194" y="25"/>
                  <a:pt x="1196" y="24"/>
                  <a:pt x="1198" y="24"/>
                </a:cubicBezTo>
                <a:cubicBezTo>
                  <a:pt x="1200" y="24"/>
                  <a:pt x="1201" y="24"/>
                  <a:pt x="1202" y="25"/>
                </a:cubicBezTo>
                <a:cubicBezTo>
                  <a:pt x="1202" y="26"/>
                  <a:pt x="1203" y="27"/>
                  <a:pt x="1203" y="29"/>
                </a:cubicBezTo>
                <a:cubicBezTo>
                  <a:pt x="1203" y="31"/>
                  <a:pt x="1202" y="33"/>
                  <a:pt x="1202" y="35"/>
                </a:cubicBezTo>
                <a:cubicBezTo>
                  <a:pt x="1202" y="37"/>
                  <a:pt x="1201" y="39"/>
                  <a:pt x="1201" y="41"/>
                </a:cubicBezTo>
                <a:cubicBezTo>
                  <a:pt x="1201" y="43"/>
                  <a:pt x="1201" y="43"/>
                  <a:pt x="1201" y="43"/>
                </a:cubicBezTo>
                <a:cubicBezTo>
                  <a:pt x="1200" y="46"/>
                  <a:pt x="1200" y="46"/>
                  <a:pt x="1200" y="46"/>
                </a:cubicBezTo>
                <a:cubicBezTo>
                  <a:pt x="1199" y="51"/>
                  <a:pt x="1199" y="54"/>
                  <a:pt x="1199" y="55"/>
                </a:cubicBezTo>
                <a:cubicBezTo>
                  <a:pt x="1199" y="58"/>
                  <a:pt x="1200" y="59"/>
                  <a:pt x="1203" y="59"/>
                </a:cubicBezTo>
                <a:cubicBezTo>
                  <a:pt x="1205" y="59"/>
                  <a:pt x="1206" y="59"/>
                  <a:pt x="1207" y="58"/>
                </a:cubicBezTo>
                <a:cubicBezTo>
                  <a:pt x="1208" y="58"/>
                  <a:pt x="1209" y="57"/>
                  <a:pt x="1210" y="57"/>
                </a:cubicBezTo>
                <a:cubicBezTo>
                  <a:pt x="1210" y="56"/>
                  <a:pt x="1211" y="55"/>
                  <a:pt x="1211" y="55"/>
                </a:cubicBezTo>
                <a:cubicBezTo>
                  <a:pt x="1210" y="53"/>
                  <a:pt x="1210" y="53"/>
                  <a:pt x="1210" y="53"/>
                </a:cubicBezTo>
                <a:cubicBezTo>
                  <a:pt x="1209" y="54"/>
                  <a:pt x="1208" y="55"/>
                  <a:pt x="1207" y="55"/>
                </a:cubicBezTo>
                <a:cubicBezTo>
                  <a:pt x="1206" y="55"/>
                  <a:pt x="1206" y="54"/>
                  <a:pt x="1206" y="53"/>
                </a:cubicBezTo>
                <a:cubicBezTo>
                  <a:pt x="1206" y="51"/>
                  <a:pt x="1206" y="48"/>
                  <a:pt x="1207" y="45"/>
                </a:cubicBezTo>
                <a:cubicBezTo>
                  <a:pt x="1208" y="41"/>
                  <a:pt x="1208" y="41"/>
                  <a:pt x="1208" y="41"/>
                </a:cubicBezTo>
                <a:cubicBezTo>
                  <a:pt x="1208" y="40"/>
                  <a:pt x="1208" y="40"/>
                  <a:pt x="1208" y="40"/>
                </a:cubicBezTo>
                <a:cubicBezTo>
                  <a:pt x="1209" y="34"/>
                  <a:pt x="1210" y="31"/>
                  <a:pt x="1210" y="29"/>
                </a:cubicBezTo>
                <a:cubicBezTo>
                  <a:pt x="1210" y="25"/>
                  <a:pt x="1209" y="23"/>
                  <a:pt x="1207" y="21"/>
                </a:cubicBezTo>
                <a:cubicBezTo>
                  <a:pt x="1206" y="19"/>
                  <a:pt x="1204" y="19"/>
                  <a:pt x="1201" y="19"/>
                </a:cubicBezTo>
                <a:cubicBezTo>
                  <a:pt x="1199" y="19"/>
                  <a:pt x="1196" y="19"/>
                  <a:pt x="1193" y="21"/>
                </a:cubicBezTo>
                <a:cubicBezTo>
                  <a:pt x="1191" y="23"/>
                  <a:pt x="1189" y="25"/>
                  <a:pt x="1187" y="28"/>
                </a:cubicBezTo>
                <a:close/>
                <a:moveTo>
                  <a:pt x="1243" y="27"/>
                </a:moveTo>
                <a:cubicBezTo>
                  <a:pt x="1245" y="27"/>
                  <a:pt x="1245" y="27"/>
                  <a:pt x="1245" y="27"/>
                </a:cubicBezTo>
                <a:cubicBezTo>
                  <a:pt x="1247" y="20"/>
                  <a:pt x="1247" y="20"/>
                  <a:pt x="1247" y="20"/>
                </a:cubicBezTo>
                <a:cubicBezTo>
                  <a:pt x="1246" y="20"/>
                  <a:pt x="1244" y="19"/>
                  <a:pt x="1243" y="19"/>
                </a:cubicBezTo>
                <a:cubicBezTo>
                  <a:pt x="1241" y="19"/>
                  <a:pt x="1240" y="19"/>
                  <a:pt x="1239" y="19"/>
                </a:cubicBezTo>
                <a:cubicBezTo>
                  <a:pt x="1234" y="19"/>
                  <a:pt x="1231" y="20"/>
                  <a:pt x="1228" y="22"/>
                </a:cubicBezTo>
                <a:cubicBezTo>
                  <a:pt x="1224" y="25"/>
                  <a:pt x="1222" y="28"/>
                  <a:pt x="1220" y="32"/>
                </a:cubicBezTo>
                <a:cubicBezTo>
                  <a:pt x="1219" y="36"/>
                  <a:pt x="1218" y="40"/>
                  <a:pt x="1218" y="43"/>
                </a:cubicBezTo>
                <a:cubicBezTo>
                  <a:pt x="1218" y="48"/>
                  <a:pt x="1219" y="52"/>
                  <a:pt x="1221" y="55"/>
                </a:cubicBezTo>
                <a:cubicBezTo>
                  <a:pt x="1224" y="58"/>
                  <a:pt x="1227" y="59"/>
                  <a:pt x="1231" y="59"/>
                </a:cubicBezTo>
                <a:cubicBezTo>
                  <a:pt x="1234" y="59"/>
                  <a:pt x="1236" y="59"/>
                  <a:pt x="1239" y="57"/>
                </a:cubicBezTo>
                <a:cubicBezTo>
                  <a:pt x="1241" y="56"/>
                  <a:pt x="1243" y="54"/>
                  <a:pt x="1244" y="53"/>
                </a:cubicBezTo>
                <a:cubicBezTo>
                  <a:pt x="1242" y="50"/>
                  <a:pt x="1242" y="50"/>
                  <a:pt x="1242" y="50"/>
                </a:cubicBezTo>
                <a:cubicBezTo>
                  <a:pt x="1241" y="52"/>
                  <a:pt x="1239" y="53"/>
                  <a:pt x="1238" y="54"/>
                </a:cubicBezTo>
                <a:cubicBezTo>
                  <a:pt x="1236" y="54"/>
                  <a:pt x="1235" y="55"/>
                  <a:pt x="1233" y="55"/>
                </a:cubicBezTo>
                <a:cubicBezTo>
                  <a:pt x="1230" y="55"/>
                  <a:pt x="1228" y="54"/>
                  <a:pt x="1227" y="52"/>
                </a:cubicBezTo>
                <a:cubicBezTo>
                  <a:pt x="1226" y="50"/>
                  <a:pt x="1225" y="47"/>
                  <a:pt x="1225" y="43"/>
                </a:cubicBezTo>
                <a:cubicBezTo>
                  <a:pt x="1225" y="39"/>
                  <a:pt x="1226" y="35"/>
                  <a:pt x="1227" y="32"/>
                </a:cubicBezTo>
                <a:cubicBezTo>
                  <a:pt x="1228" y="30"/>
                  <a:pt x="1229" y="27"/>
                  <a:pt x="1231" y="26"/>
                </a:cubicBezTo>
                <a:cubicBezTo>
                  <a:pt x="1233" y="24"/>
                  <a:pt x="1235" y="23"/>
                  <a:pt x="1237" y="23"/>
                </a:cubicBezTo>
                <a:cubicBezTo>
                  <a:pt x="1239" y="23"/>
                  <a:pt x="1241" y="24"/>
                  <a:pt x="1243" y="27"/>
                </a:cubicBezTo>
                <a:close/>
                <a:moveTo>
                  <a:pt x="1279" y="52"/>
                </a:moveTo>
                <a:cubicBezTo>
                  <a:pt x="1277" y="49"/>
                  <a:pt x="1277" y="49"/>
                  <a:pt x="1277" y="49"/>
                </a:cubicBezTo>
                <a:cubicBezTo>
                  <a:pt x="1276" y="51"/>
                  <a:pt x="1274" y="52"/>
                  <a:pt x="1272" y="53"/>
                </a:cubicBezTo>
                <a:cubicBezTo>
                  <a:pt x="1270" y="54"/>
                  <a:pt x="1268" y="55"/>
                  <a:pt x="1266" y="55"/>
                </a:cubicBezTo>
                <a:cubicBezTo>
                  <a:pt x="1263" y="55"/>
                  <a:pt x="1261" y="54"/>
                  <a:pt x="1259" y="51"/>
                </a:cubicBezTo>
                <a:cubicBezTo>
                  <a:pt x="1258" y="49"/>
                  <a:pt x="1257" y="46"/>
                  <a:pt x="1258" y="43"/>
                </a:cubicBezTo>
                <a:cubicBezTo>
                  <a:pt x="1260" y="43"/>
                  <a:pt x="1264" y="42"/>
                  <a:pt x="1267" y="41"/>
                </a:cubicBezTo>
                <a:cubicBezTo>
                  <a:pt x="1271" y="40"/>
                  <a:pt x="1274" y="38"/>
                  <a:pt x="1277" y="36"/>
                </a:cubicBezTo>
                <a:cubicBezTo>
                  <a:pt x="1280" y="33"/>
                  <a:pt x="1281" y="31"/>
                  <a:pt x="1281" y="27"/>
                </a:cubicBezTo>
                <a:cubicBezTo>
                  <a:pt x="1281" y="25"/>
                  <a:pt x="1280" y="23"/>
                  <a:pt x="1278" y="21"/>
                </a:cubicBezTo>
                <a:cubicBezTo>
                  <a:pt x="1277" y="19"/>
                  <a:pt x="1274" y="19"/>
                  <a:pt x="1271" y="19"/>
                </a:cubicBezTo>
                <a:cubicBezTo>
                  <a:pt x="1267" y="19"/>
                  <a:pt x="1264" y="20"/>
                  <a:pt x="1260" y="22"/>
                </a:cubicBezTo>
                <a:cubicBezTo>
                  <a:pt x="1257" y="24"/>
                  <a:pt x="1255" y="28"/>
                  <a:pt x="1253" y="31"/>
                </a:cubicBezTo>
                <a:cubicBezTo>
                  <a:pt x="1251" y="35"/>
                  <a:pt x="1250" y="40"/>
                  <a:pt x="1250" y="44"/>
                </a:cubicBezTo>
                <a:cubicBezTo>
                  <a:pt x="1250" y="47"/>
                  <a:pt x="1251" y="49"/>
                  <a:pt x="1252" y="52"/>
                </a:cubicBezTo>
                <a:cubicBezTo>
                  <a:pt x="1253" y="54"/>
                  <a:pt x="1254" y="56"/>
                  <a:pt x="1256" y="57"/>
                </a:cubicBezTo>
                <a:cubicBezTo>
                  <a:pt x="1258" y="59"/>
                  <a:pt x="1261" y="59"/>
                  <a:pt x="1264" y="59"/>
                </a:cubicBezTo>
                <a:cubicBezTo>
                  <a:pt x="1267" y="59"/>
                  <a:pt x="1270" y="58"/>
                  <a:pt x="1273" y="57"/>
                </a:cubicBezTo>
                <a:cubicBezTo>
                  <a:pt x="1276" y="55"/>
                  <a:pt x="1278" y="54"/>
                  <a:pt x="1279" y="52"/>
                </a:cubicBezTo>
                <a:close/>
                <a:moveTo>
                  <a:pt x="1269" y="22"/>
                </a:moveTo>
                <a:cubicBezTo>
                  <a:pt x="1271" y="22"/>
                  <a:pt x="1272" y="23"/>
                  <a:pt x="1273" y="24"/>
                </a:cubicBezTo>
                <a:cubicBezTo>
                  <a:pt x="1274" y="25"/>
                  <a:pt x="1274" y="26"/>
                  <a:pt x="1274" y="28"/>
                </a:cubicBezTo>
                <a:cubicBezTo>
                  <a:pt x="1274" y="30"/>
                  <a:pt x="1273" y="32"/>
                  <a:pt x="1272" y="34"/>
                </a:cubicBezTo>
                <a:cubicBezTo>
                  <a:pt x="1270" y="35"/>
                  <a:pt x="1268" y="37"/>
                  <a:pt x="1265" y="38"/>
                </a:cubicBezTo>
                <a:cubicBezTo>
                  <a:pt x="1263" y="39"/>
                  <a:pt x="1260" y="39"/>
                  <a:pt x="1258" y="39"/>
                </a:cubicBezTo>
                <a:cubicBezTo>
                  <a:pt x="1258" y="37"/>
                  <a:pt x="1259" y="34"/>
                  <a:pt x="1259" y="32"/>
                </a:cubicBezTo>
                <a:cubicBezTo>
                  <a:pt x="1260" y="29"/>
                  <a:pt x="1262" y="27"/>
                  <a:pt x="1263" y="25"/>
                </a:cubicBezTo>
                <a:cubicBezTo>
                  <a:pt x="1265" y="23"/>
                  <a:pt x="1267" y="22"/>
                  <a:pt x="1269" y="22"/>
                </a:cubicBezTo>
                <a:close/>
                <a:moveTo>
                  <a:pt x="1310" y="25"/>
                </a:moveTo>
                <a:cubicBezTo>
                  <a:pt x="1311" y="20"/>
                  <a:pt x="1311" y="20"/>
                  <a:pt x="1311" y="20"/>
                </a:cubicBezTo>
                <a:cubicBezTo>
                  <a:pt x="1311" y="20"/>
                  <a:pt x="1309" y="19"/>
                  <a:pt x="1308" y="19"/>
                </a:cubicBezTo>
                <a:cubicBezTo>
                  <a:pt x="1306" y="19"/>
                  <a:pt x="1304" y="19"/>
                  <a:pt x="1303" y="19"/>
                </a:cubicBezTo>
                <a:cubicBezTo>
                  <a:pt x="1300" y="19"/>
                  <a:pt x="1298" y="19"/>
                  <a:pt x="1296" y="20"/>
                </a:cubicBezTo>
                <a:cubicBezTo>
                  <a:pt x="1293" y="21"/>
                  <a:pt x="1292" y="22"/>
                  <a:pt x="1291" y="24"/>
                </a:cubicBezTo>
                <a:cubicBezTo>
                  <a:pt x="1289" y="26"/>
                  <a:pt x="1289" y="27"/>
                  <a:pt x="1289" y="30"/>
                </a:cubicBezTo>
                <a:cubicBezTo>
                  <a:pt x="1289" y="34"/>
                  <a:pt x="1291" y="38"/>
                  <a:pt x="1296" y="41"/>
                </a:cubicBezTo>
                <a:cubicBezTo>
                  <a:pt x="1298" y="43"/>
                  <a:pt x="1300" y="44"/>
                  <a:pt x="1301" y="45"/>
                </a:cubicBezTo>
                <a:cubicBezTo>
                  <a:pt x="1302" y="46"/>
                  <a:pt x="1303" y="48"/>
                  <a:pt x="1303" y="50"/>
                </a:cubicBezTo>
                <a:cubicBezTo>
                  <a:pt x="1303" y="51"/>
                  <a:pt x="1302" y="53"/>
                  <a:pt x="1301" y="54"/>
                </a:cubicBezTo>
                <a:cubicBezTo>
                  <a:pt x="1299" y="55"/>
                  <a:pt x="1297" y="55"/>
                  <a:pt x="1295" y="55"/>
                </a:cubicBezTo>
                <a:cubicBezTo>
                  <a:pt x="1293" y="55"/>
                  <a:pt x="1292" y="55"/>
                  <a:pt x="1290" y="54"/>
                </a:cubicBezTo>
                <a:cubicBezTo>
                  <a:pt x="1288" y="53"/>
                  <a:pt x="1287" y="53"/>
                  <a:pt x="1286" y="52"/>
                </a:cubicBezTo>
                <a:cubicBezTo>
                  <a:pt x="1285" y="57"/>
                  <a:pt x="1285" y="57"/>
                  <a:pt x="1285" y="57"/>
                </a:cubicBezTo>
                <a:cubicBezTo>
                  <a:pt x="1285" y="58"/>
                  <a:pt x="1287" y="58"/>
                  <a:pt x="1289" y="58"/>
                </a:cubicBezTo>
                <a:cubicBezTo>
                  <a:pt x="1291" y="59"/>
                  <a:pt x="1293" y="59"/>
                  <a:pt x="1295" y="59"/>
                </a:cubicBezTo>
                <a:cubicBezTo>
                  <a:pt x="1299" y="59"/>
                  <a:pt x="1303" y="58"/>
                  <a:pt x="1305" y="56"/>
                </a:cubicBezTo>
                <a:cubicBezTo>
                  <a:pt x="1308" y="54"/>
                  <a:pt x="1309" y="52"/>
                  <a:pt x="1309" y="48"/>
                </a:cubicBezTo>
                <a:cubicBezTo>
                  <a:pt x="1309" y="46"/>
                  <a:pt x="1309" y="45"/>
                  <a:pt x="1308" y="43"/>
                </a:cubicBezTo>
                <a:cubicBezTo>
                  <a:pt x="1307" y="42"/>
                  <a:pt x="1306" y="41"/>
                  <a:pt x="1305" y="40"/>
                </a:cubicBezTo>
                <a:cubicBezTo>
                  <a:pt x="1304" y="39"/>
                  <a:pt x="1303" y="38"/>
                  <a:pt x="1301" y="36"/>
                </a:cubicBezTo>
                <a:cubicBezTo>
                  <a:pt x="1299" y="35"/>
                  <a:pt x="1298" y="34"/>
                  <a:pt x="1297" y="32"/>
                </a:cubicBezTo>
                <a:cubicBezTo>
                  <a:pt x="1296" y="31"/>
                  <a:pt x="1295" y="30"/>
                  <a:pt x="1295" y="28"/>
                </a:cubicBezTo>
                <a:cubicBezTo>
                  <a:pt x="1295" y="26"/>
                  <a:pt x="1296" y="25"/>
                  <a:pt x="1297" y="24"/>
                </a:cubicBezTo>
                <a:cubicBezTo>
                  <a:pt x="1299" y="23"/>
                  <a:pt x="1300" y="23"/>
                  <a:pt x="1303" y="23"/>
                </a:cubicBezTo>
                <a:cubicBezTo>
                  <a:pt x="1304" y="23"/>
                  <a:pt x="1306" y="23"/>
                  <a:pt x="1307" y="24"/>
                </a:cubicBezTo>
                <a:cubicBezTo>
                  <a:pt x="1309" y="24"/>
                  <a:pt x="1310" y="25"/>
                  <a:pt x="1310" y="25"/>
                </a:cubicBezTo>
                <a:close/>
                <a:moveTo>
                  <a:pt x="1047" y="110"/>
                </a:moveTo>
                <a:cubicBezTo>
                  <a:pt x="1052" y="111"/>
                  <a:pt x="1052" y="111"/>
                  <a:pt x="1052" y="111"/>
                </a:cubicBezTo>
                <a:cubicBezTo>
                  <a:pt x="1046" y="156"/>
                  <a:pt x="1046" y="156"/>
                  <a:pt x="1046" y="156"/>
                </a:cubicBezTo>
                <a:cubicBezTo>
                  <a:pt x="1041" y="157"/>
                  <a:pt x="1041" y="157"/>
                  <a:pt x="1041" y="157"/>
                </a:cubicBezTo>
                <a:cubicBezTo>
                  <a:pt x="1041" y="159"/>
                  <a:pt x="1041" y="159"/>
                  <a:pt x="1041" y="159"/>
                </a:cubicBezTo>
                <a:cubicBezTo>
                  <a:pt x="1078" y="159"/>
                  <a:pt x="1078" y="159"/>
                  <a:pt x="1078" y="159"/>
                </a:cubicBezTo>
                <a:cubicBezTo>
                  <a:pt x="1081" y="147"/>
                  <a:pt x="1081" y="147"/>
                  <a:pt x="1081" y="147"/>
                </a:cubicBezTo>
                <a:cubicBezTo>
                  <a:pt x="1077" y="146"/>
                  <a:pt x="1077" y="146"/>
                  <a:pt x="1077" y="146"/>
                </a:cubicBezTo>
                <a:cubicBezTo>
                  <a:pt x="1073" y="155"/>
                  <a:pt x="1073" y="155"/>
                  <a:pt x="1073" y="155"/>
                </a:cubicBezTo>
                <a:cubicBezTo>
                  <a:pt x="1053" y="156"/>
                  <a:pt x="1053" y="156"/>
                  <a:pt x="1053" y="156"/>
                </a:cubicBezTo>
                <a:cubicBezTo>
                  <a:pt x="1056" y="134"/>
                  <a:pt x="1056" y="134"/>
                  <a:pt x="1056" y="134"/>
                </a:cubicBezTo>
                <a:cubicBezTo>
                  <a:pt x="1072" y="135"/>
                  <a:pt x="1072" y="135"/>
                  <a:pt x="1072" y="135"/>
                </a:cubicBezTo>
                <a:cubicBezTo>
                  <a:pt x="1073" y="130"/>
                  <a:pt x="1073" y="130"/>
                  <a:pt x="1073" y="130"/>
                </a:cubicBezTo>
                <a:cubicBezTo>
                  <a:pt x="1057" y="130"/>
                  <a:pt x="1057" y="130"/>
                  <a:pt x="1057" y="130"/>
                </a:cubicBezTo>
                <a:cubicBezTo>
                  <a:pt x="1059" y="110"/>
                  <a:pt x="1059" y="110"/>
                  <a:pt x="1059" y="110"/>
                </a:cubicBezTo>
                <a:cubicBezTo>
                  <a:pt x="1075" y="111"/>
                  <a:pt x="1075" y="111"/>
                  <a:pt x="1075" y="111"/>
                </a:cubicBezTo>
                <a:cubicBezTo>
                  <a:pt x="1076" y="118"/>
                  <a:pt x="1076" y="118"/>
                  <a:pt x="1076" y="118"/>
                </a:cubicBezTo>
                <a:cubicBezTo>
                  <a:pt x="1080" y="118"/>
                  <a:pt x="1080" y="118"/>
                  <a:pt x="1080" y="118"/>
                </a:cubicBezTo>
                <a:cubicBezTo>
                  <a:pt x="1081" y="107"/>
                  <a:pt x="1081" y="107"/>
                  <a:pt x="1081" y="107"/>
                </a:cubicBezTo>
                <a:cubicBezTo>
                  <a:pt x="1048" y="107"/>
                  <a:pt x="1048" y="107"/>
                  <a:pt x="1048" y="107"/>
                </a:cubicBezTo>
                <a:lnTo>
                  <a:pt x="1047" y="110"/>
                </a:lnTo>
                <a:close/>
                <a:moveTo>
                  <a:pt x="1100" y="129"/>
                </a:moveTo>
                <a:cubicBezTo>
                  <a:pt x="1100" y="120"/>
                  <a:pt x="1100" y="120"/>
                  <a:pt x="1100" y="120"/>
                </a:cubicBezTo>
                <a:cubicBezTo>
                  <a:pt x="1099" y="119"/>
                  <a:pt x="1099" y="119"/>
                  <a:pt x="1099" y="119"/>
                </a:cubicBezTo>
                <a:cubicBezTo>
                  <a:pt x="1090" y="121"/>
                  <a:pt x="1090" y="121"/>
                  <a:pt x="1090" y="121"/>
                </a:cubicBezTo>
                <a:cubicBezTo>
                  <a:pt x="1090" y="124"/>
                  <a:pt x="1090" y="124"/>
                  <a:pt x="1090" y="124"/>
                </a:cubicBezTo>
                <a:cubicBezTo>
                  <a:pt x="1093" y="125"/>
                  <a:pt x="1093" y="125"/>
                  <a:pt x="1093" y="125"/>
                </a:cubicBezTo>
                <a:cubicBezTo>
                  <a:pt x="1089" y="159"/>
                  <a:pt x="1089" y="159"/>
                  <a:pt x="1089" y="159"/>
                </a:cubicBezTo>
                <a:cubicBezTo>
                  <a:pt x="1095" y="159"/>
                  <a:pt x="1095" y="159"/>
                  <a:pt x="1095" y="159"/>
                </a:cubicBezTo>
                <a:cubicBezTo>
                  <a:pt x="1099" y="134"/>
                  <a:pt x="1099" y="134"/>
                  <a:pt x="1099" y="134"/>
                </a:cubicBezTo>
                <a:cubicBezTo>
                  <a:pt x="1101" y="131"/>
                  <a:pt x="1103" y="129"/>
                  <a:pt x="1105" y="127"/>
                </a:cubicBezTo>
                <a:cubicBezTo>
                  <a:pt x="1107" y="125"/>
                  <a:pt x="1109" y="124"/>
                  <a:pt x="1111" y="124"/>
                </a:cubicBezTo>
                <a:cubicBezTo>
                  <a:pt x="1113" y="124"/>
                  <a:pt x="1114" y="125"/>
                  <a:pt x="1114" y="126"/>
                </a:cubicBezTo>
                <a:cubicBezTo>
                  <a:pt x="1115" y="127"/>
                  <a:pt x="1115" y="128"/>
                  <a:pt x="1115" y="130"/>
                </a:cubicBezTo>
                <a:cubicBezTo>
                  <a:pt x="1115" y="132"/>
                  <a:pt x="1115" y="134"/>
                  <a:pt x="1115" y="135"/>
                </a:cubicBezTo>
                <a:cubicBezTo>
                  <a:pt x="1115" y="137"/>
                  <a:pt x="1114" y="140"/>
                  <a:pt x="1114" y="142"/>
                </a:cubicBezTo>
                <a:cubicBezTo>
                  <a:pt x="1114" y="144"/>
                  <a:pt x="1114" y="144"/>
                  <a:pt x="1114" y="144"/>
                </a:cubicBezTo>
                <a:cubicBezTo>
                  <a:pt x="1113" y="147"/>
                  <a:pt x="1113" y="147"/>
                  <a:pt x="1113" y="147"/>
                </a:cubicBezTo>
                <a:cubicBezTo>
                  <a:pt x="1112" y="151"/>
                  <a:pt x="1112" y="154"/>
                  <a:pt x="1112" y="156"/>
                </a:cubicBezTo>
                <a:cubicBezTo>
                  <a:pt x="1112" y="159"/>
                  <a:pt x="1113" y="160"/>
                  <a:pt x="1116" y="160"/>
                </a:cubicBezTo>
                <a:cubicBezTo>
                  <a:pt x="1117" y="160"/>
                  <a:pt x="1119" y="160"/>
                  <a:pt x="1120" y="159"/>
                </a:cubicBezTo>
                <a:cubicBezTo>
                  <a:pt x="1121" y="159"/>
                  <a:pt x="1122" y="158"/>
                  <a:pt x="1123" y="157"/>
                </a:cubicBezTo>
                <a:cubicBezTo>
                  <a:pt x="1123" y="157"/>
                  <a:pt x="1124" y="156"/>
                  <a:pt x="1124" y="156"/>
                </a:cubicBezTo>
                <a:cubicBezTo>
                  <a:pt x="1123" y="154"/>
                  <a:pt x="1123" y="154"/>
                  <a:pt x="1123" y="154"/>
                </a:cubicBezTo>
                <a:cubicBezTo>
                  <a:pt x="1122" y="155"/>
                  <a:pt x="1121" y="156"/>
                  <a:pt x="1120" y="156"/>
                </a:cubicBezTo>
                <a:cubicBezTo>
                  <a:pt x="1119" y="156"/>
                  <a:pt x="1119" y="155"/>
                  <a:pt x="1119" y="154"/>
                </a:cubicBezTo>
                <a:cubicBezTo>
                  <a:pt x="1119" y="152"/>
                  <a:pt x="1119" y="149"/>
                  <a:pt x="1120" y="145"/>
                </a:cubicBezTo>
                <a:cubicBezTo>
                  <a:pt x="1121" y="142"/>
                  <a:pt x="1121" y="142"/>
                  <a:pt x="1121" y="142"/>
                </a:cubicBezTo>
                <a:cubicBezTo>
                  <a:pt x="1121" y="140"/>
                  <a:pt x="1121" y="140"/>
                  <a:pt x="1121" y="140"/>
                </a:cubicBezTo>
                <a:cubicBezTo>
                  <a:pt x="1122" y="135"/>
                  <a:pt x="1122" y="132"/>
                  <a:pt x="1122" y="130"/>
                </a:cubicBezTo>
                <a:cubicBezTo>
                  <a:pt x="1122" y="126"/>
                  <a:pt x="1122" y="123"/>
                  <a:pt x="1120" y="122"/>
                </a:cubicBezTo>
                <a:cubicBezTo>
                  <a:pt x="1119" y="120"/>
                  <a:pt x="1117" y="119"/>
                  <a:pt x="1114" y="119"/>
                </a:cubicBezTo>
                <a:cubicBezTo>
                  <a:pt x="1112" y="119"/>
                  <a:pt x="1109" y="120"/>
                  <a:pt x="1106" y="122"/>
                </a:cubicBezTo>
                <a:cubicBezTo>
                  <a:pt x="1104" y="124"/>
                  <a:pt x="1102" y="126"/>
                  <a:pt x="1100" y="129"/>
                </a:cubicBezTo>
                <a:close/>
                <a:moveTo>
                  <a:pt x="1159" y="162"/>
                </a:moveTo>
                <a:cubicBezTo>
                  <a:pt x="1165" y="119"/>
                  <a:pt x="1165" y="119"/>
                  <a:pt x="1165" y="119"/>
                </a:cubicBezTo>
                <a:cubicBezTo>
                  <a:pt x="1160" y="121"/>
                  <a:pt x="1160" y="121"/>
                  <a:pt x="1160" y="121"/>
                </a:cubicBezTo>
                <a:cubicBezTo>
                  <a:pt x="1159" y="121"/>
                  <a:pt x="1158" y="120"/>
                  <a:pt x="1157" y="120"/>
                </a:cubicBezTo>
                <a:cubicBezTo>
                  <a:pt x="1155" y="120"/>
                  <a:pt x="1154" y="119"/>
                  <a:pt x="1153" y="119"/>
                </a:cubicBezTo>
                <a:cubicBezTo>
                  <a:pt x="1148" y="119"/>
                  <a:pt x="1144" y="121"/>
                  <a:pt x="1141" y="123"/>
                </a:cubicBezTo>
                <a:cubicBezTo>
                  <a:pt x="1137" y="126"/>
                  <a:pt x="1135" y="129"/>
                  <a:pt x="1133" y="133"/>
                </a:cubicBezTo>
                <a:cubicBezTo>
                  <a:pt x="1131" y="137"/>
                  <a:pt x="1130" y="141"/>
                  <a:pt x="1130" y="145"/>
                </a:cubicBezTo>
                <a:cubicBezTo>
                  <a:pt x="1130" y="150"/>
                  <a:pt x="1131" y="153"/>
                  <a:pt x="1133" y="156"/>
                </a:cubicBezTo>
                <a:cubicBezTo>
                  <a:pt x="1135" y="159"/>
                  <a:pt x="1138" y="160"/>
                  <a:pt x="1142" y="160"/>
                </a:cubicBezTo>
                <a:cubicBezTo>
                  <a:pt x="1144" y="160"/>
                  <a:pt x="1146" y="159"/>
                  <a:pt x="1148" y="158"/>
                </a:cubicBezTo>
                <a:cubicBezTo>
                  <a:pt x="1150" y="157"/>
                  <a:pt x="1152" y="156"/>
                  <a:pt x="1153" y="155"/>
                </a:cubicBezTo>
                <a:cubicBezTo>
                  <a:pt x="1151" y="164"/>
                  <a:pt x="1151" y="164"/>
                  <a:pt x="1151" y="164"/>
                </a:cubicBezTo>
                <a:cubicBezTo>
                  <a:pt x="1151" y="167"/>
                  <a:pt x="1150" y="169"/>
                  <a:pt x="1149" y="170"/>
                </a:cubicBezTo>
                <a:cubicBezTo>
                  <a:pt x="1147" y="172"/>
                  <a:pt x="1145" y="172"/>
                  <a:pt x="1142" y="172"/>
                </a:cubicBezTo>
                <a:cubicBezTo>
                  <a:pt x="1140" y="172"/>
                  <a:pt x="1139" y="172"/>
                  <a:pt x="1137" y="171"/>
                </a:cubicBezTo>
                <a:cubicBezTo>
                  <a:pt x="1136" y="171"/>
                  <a:pt x="1134" y="170"/>
                  <a:pt x="1133" y="170"/>
                </a:cubicBezTo>
                <a:cubicBezTo>
                  <a:pt x="1132" y="175"/>
                  <a:pt x="1132" y="175"/>
                  <a:pt x="1132" y="175"/>
                </a:cubicBezTo>
                <a:cubicBezTo>
                  <a:pt x="1132" y="176"/>
                  <a:pt x="1134" y="176"/>
                  <a:pt x="1135" y="176"/>
                </a:cubicBezTo>
                <a:cubicBezTo>
                  <a:pt x="1137" y="177"/>
                  <a:pt x="1138" y="177"/>
                  <a:pt x="1140" y="177"/>
                </a:cubicBezTo>
                <a:cubicBezTo>
                  <a:pt x="1142" y="177"/>
                  <a:pt x="1145" y="176"/>
                  <a:pt x="1148" y="175"/>
                </a:cubicBezTo>
                <a:cubicBezTo>
                  <a:pt x="1150" y="174"/>
                  <a:pt x="1153" y="173"/>
                  <a:pt x="1155" y="170"/>
                </a:cubicBezTo>
                <a:cubicBezTo>
                  <a:pt x="1157" y="168"/>
                  <a:pt x="1158" y="165"/>
                  <a:pt x="1159" y="162"/>
                </a:cubicBezTo>
                <a:close/>
                <a:moveTo>
                  <a:pt x="1157" y="125"/>
                </a:moveTo>
                <a:cubicBezTo>
                  <a:pt x="1154" y="150"/>
                  <a:pt x="1154" y="150"/>
                  <a:pt x="1154" y="150"/>
                </a:cubicBezTo>
                <a:cubicBezTo>
                  <a:pt x="1152" y="151"/>
                  <a:pt x="1151" y="153"/>
                  <a:pt x="1149" y="154"/>
                </a:cubicBezTo>
                <a:cubicBezTo>
                  <a:pt x="1148" y="155"/>
                  <a:pt x="1146" y="155"/>
                  <a:pt x="1144" y="155"/>
                </a:cubicBezTo>
                <a:cubicBezTo>
                  <a:pt x="1142" y="155"/>
                  <a:pt x="1140" y="155"/>
                  <a:pt x="1139" y="153"/>
                </a:cubicBezTo>
                <a:cubicBezTo>
                  <a:pt x="1138" y="151"/>
                  <a:pt x="1138" y="148"/>
                  <a:pt x="1138" y="145"/>
                </a:cubicBezTo>
                <a:cubicBezTo>
                  <a:pt x="1138" y="142"/>
                  <a:pt x="1138" y="138"/>
                  <a:pt x="1139" y="135"/>
                </a:cubicBezTo>
                <a:cubicBezTo>
                  <a:pt x="1140" y="132"/>
                  <a:pt x="1142" y="129"/>
                  <a:pt x="1144" y="127"/>
                </a:cubicBezTo>
                <a:cubicBezTo>
                  <a:pt x="1146" y="124"/>
                  <a:pt x="1149" y="123"/>
                  <a:pt x="1152" y="123"/>
                </a:cubicBezTo>
                <a:cubicBezTo>
                  <a:pt x="1154" y="123"/>
                  <a:pt x="1156" y="124"/>
                  <a:pt x="1157" y="125"/>
                </a:cubicBezTo>
                <a:close/>
                <a:moveTo>
                  <a:pt x="1181" y="153"/>
                </a:moveTo>
                <a:cubicBezTo>
                  <a:pt x="1185" y="120"/>
                  <a:pt x="1185" y="120"/>
                  <a:pt x="1185" y="120"/>
                </a:cubicBezTo>
                <a:cubicBezTo>
                  <a:pt x="1184" y="119"/>
                  <a:pt x="1184" y="119"/>
                  <a:pt x="1184" y="119"/>
                </a:cubicBezTo>
                <a:cubicBezTo>
                  <a:pt x="1174" y="121"/>
                  <a:pt x="1174" y="121"/>
                  <a:pt x="1174" y="121"/>
                </a:cubicBezTo>
                <a:cubicBezTo>
                  <a:pt x="1173" y="123"/>
                  <a:pt x="1173" y="123"/>
                  <a:pt x="1173" y="123"/>
                </a:cubicBezTo>
                <a:cubicBezTo>
                  <a:pt x="1178" y="125"/>
                  <a:pt x="1178" y="125"/>
                  <a:pt x="1178" y="125"/>
                </a:cubicBezTo>
                <a:cubicBezTo>
                  <a:pt x="1177" y="132"/>
                  <a:pt x="1176" y="138"/>
                  <a:pt x="1175" y="142"/>
                </a:cubicBezTo>
                <a:cubicBezTo>
                  <a:pt x="1174" y="150"/>
                  <a:pt x="1174" y="154"/>
                  <a:pt x="1173" y="156"/>
                </a:cubicBezTo>
                <a:cubicBezTo>
                  <a:pt x="1173" y="157"/>
                  <a:pt x="1174" y="158"/>
                  <a:pt x="1174" y="159"/>
                </a:cubicBezTo>
                <a:cubicBezTo>
                  <a:pt x="1175" y="160"/>
                  <a:pt x="1176" y="160"/>
                  <a:pt x="1178" y="160"/>
                </a:cubicBezTo>
                <a:cubicBezTo>
                  <a:pt x="1180" y="160"/>
                  <a:pt x="1182" y="159"/>
                  <a:pt x="1183" y="158"/>
                </a:cubicBezTo>
                <a:cubicBezTo>
                  <a:pt x="1184" y="157"/>
                  <a:pt x="1185" y="156"/>
                  <a:pt x="1186" y="155"/>
                </a:cubicBezTo>
                <a:cubicBezTo>
                  <a:pt x="1185" y="154"/>
                  <a:pt x="1185" y="154"/>
                  <a:pt x="1185" y="154"/>
                </a:cubicBezTo>
                <a:cubicBezTo>
                  <a:pt x="1184" y="154"/>
                  <a:pt x="1184" y="155"/>
                  <a:pt x="1183" y="155"/>
                </a:cubicBezTo>
                <a:cubicBezTo>
                  <a:pt x="1183" y="156"/>
                  <a:pt x="1182" y="156"/>
                  <a:pt x="1182" y="156"/>
                </a:cubicBezTo>
                <a:cubicBezTo>
                  <a:pt x="1181" y="156"/>
                  <a:pt x="1181" y="156"/>
                  <a:pt x="1181" y="155"/>
                </a:cubicBezTo>
                <a:cubicBezTo>
                  <a:pt x="1181" y="155"/>
                  <a:pt x="1180" y="155"/>
                  <a:pt x="1180" y="154"/>
                </a:cubicBezTo>
                <a:lnTo>
                  <a:pt x="1181" y="153"/>
                </a:lnTo>
                <a:close/>
                <a:moveTo>
                  <a:pt x="1183" y="112"/>
                </a:moveTo>
                <a:cubicBezTo>
                  <a:pt x="1184" y="112"/>
                  <a:pt x="1185" y="111"/>
                  <a:pt x="1186" y="110"/>
                </a:cubicBezTo>
                <a:cubicBezTo>
                  <a:pt x="1187" y="109"/>
                  <a:pt x="1188" y="108"/>
                  <a:pt x="1188" y="107"/>
                </a:cubicBezTo>
                <a:cubicBezTo>
                  <a:pt x="1188" y="106"/>
                  <a:pt x="1187" y="105"/>
                  <a:pt x="1187" y="104"/>
                </a:cubicBezTo>
                <a:cubicBezTo>
                  <a:pt x="1186" y="103"/>
                  <a:pt x="1185" y="103"/>
                  <a:pt x="1184" y="103"/>
                </a:cubicBezTo>
                <a:cubicBezTo>
                  <a:pt x="1182" y="103"/>
                  <a:pt x="1181" y="103"/>
                  <a:pt x="1180" y="104"/>
                </a:cubicBezTo>
                <a:cubicBezTo>
                  <a:pt x="1180" y="105"/>
                  <a:pt x="1179" y="107"/>
                  <a:pt x="1179" y="108"/>
                </a:cubicBezTo>
                <a:cubicBezTo>
                  <a:pt x="1179" y="109"/>
                  <a:pt x="1179" y="110"/>
                  <a:pt x="1180" y="111"/>
                </a:cubicBezTo>
                <a:cubicBezTo>
                  <a:pt x="1181" y="111"/>
                  <a:pt x="1182" y="112"/>
                  <a:pt x="1183" y="112"/>
                </a:cubicBezTo>
                <a:close/>
                <a:moveTo>
                  <a:pt x="1207" y="129"/>
                </a:moveTo>
                <a:cubicBezTo>
                  <a:pt x="1208" y="120"/>
                  <a:pt x="1208" y="120"/>
                  <a:pt x="1208" y="120"/>
                </a:cubicBezTo>
                <a:cubicBezTo>
                  <a:pt x="1207" y="119"/>
                  <a:pt x="1207" y="119"/>
                  <a:pt x="1207" y="119"/>
                </a:cubicBezTo>
                <a:cubicBezTo>
                  <a:pt x="1198" y="121"/>
                  <a:pt x="1198" y="121"/>
                  <a:pt x="1198" y="121"/>
                </a:cubicBezTo>
                <a:cubicBezTo>
                  <a:pt x="1198" y="124"/>
                  <a:pt x="1198" y="124"/>
                  <a:pt x="1198" y="124"/>
                </a:cubicBezTo>
                <a:cubicBezTo>
                  <a:pt x="1201" y="125"/>
                  <a:pt x="1201" y="125"/>
                  <a:pt x="1201" y="125"/>
                </a:cubicBezTo>
                <a:cubicBezTo>
                  <a:pt x="1196" y="159"/>
                  <a:pt x="1196" y="159"/>
                  <a:pt x="1196" y="159"/>
                </a:cubicBezTo>
                <a:cubicBezTo>
                  <a:pt x="1203" y="159"/>
                  <a:pt x="1203" y="159"/>
                  <a:pt x="1203" y="159"/>
                </a:cubicBezTo>
                <a:cubicBezTo>
                  <a:pt x="1207" y="134"/>
                  <a:pt x="1207" y="134"/>
                  <a:pt x="1207" y="134"/>
                </a:cubicBezTo>
                <a:cubicBezTo>
                  <a:pt x="1208" y="131"/>
                  <a:pt x="1210" y="129"/>
                  <a:pt x="1213" y="127"/>
                </a:cubicBezTo>
                <a:cubicBezTo>
                  <a:pt x="1215" y="125"/>
                  <a:pt x="1217" y="124"/>
                  <a:pt x="1219" y="124"/>
                </a:cubicBezTo>
                <a:cubicBezTo>
                  <a:pt x="1220" y="124"/>
                  <a:pt x="1221" y="125"/>
                  <a:pt x="1222" y="126"/>
                </a:cubicBezTo>
                <a:cubicBezTo>
                  <a:pt x="1223" y="127"/>
                  <a:pt x="1223" y="128"/>
                  <a:pt x="1223" y="130"/>
                </a:cubicBezTo>
                <a:cubicBezTo>
                  <a:pt x="1223" y="132"/>
                  <a:pt x="1223" y="134"/>
                  <a:pt x="1223" y="135"/>
                </a:cubicBezTo>
                <a:cubicBezTo>
                  <a:pt x="1222" y="137"/>
                  <a:pt x="1222" y="140"/>
                  <a:pt x="1222" y="142"/>
                </a:cubicBezTo>
                <a:cubicBezTo>
                  <a:pt x="1221" y="144"/>
                  <a:pt x="1221" y="144"/>
                  <a:pt x="1221" y="144"/>
                </a:cubicBezTo>
                <a:cubicBezTo>
                  <a:pt x="1221" y="147"/>
                  <a:pt x="1221" y="147"/>
                  <a:pt x="1221" y="147"/>
                </a:cubicBezTo>
                <a:cubicBezTo>
                  <a:pt x="1220" y="151"/>
                  <a:pt x="1219" y="154"/>
                  <a:pt x="1219" y="156"/>
                </a:cubicBezTo>
                <a:cubicBezTo>
                  <a:pt x="1219" y="159"/>
                  <a:pt x="1221" y="160"/>
                  <a:pt x="1224" y="160"/>
                </a:cubicBezTo>
                <a:cubicBezTo>
                  <a:pt x="1225" y="160"/>
                  <a:pt x="1226" y="160"/>
                  <a:pt x="1227" y="159"/>
                </a:cubicBezTo>
                <a:cubicBezTo>
                  <a:pt x="1228" y="159"/>
                  <a:pt x="1229" y="158"/>
                  <a:pt x="1230" y="157"/>
                </a:cubicBezTo>
                <a:cubicBezTo>
                  <a:pt x="1231" y="157"/>
                  <a:pt x="1231" y="156"/>
                  <a:pt x="1232" y="156"/>
                </a:cubicBezTo>
                <a:cubicBezTo>
                  <a:pt x="1231" y="154"/>
                  <a:pt x="1231" y="154"/>
                  <a:pt x="1231" y="154"/>
                </a:cubicBezTo>
                <a:cubicBezTo>
                  <a:pt x="1229" y="155"/>
                  <a:pt x="1228" y="156"/>
                  <a:pt x="1227" y="156"/>
                </a:cubicBezTo>
                <a:cubicBezTo>
                  <a:pt x="1227" y="156"/>
                  <a:pt x="1227" y="155"/>
                  <a:pt x="1227" y="154"/>
                </a:cubicBezTo>
                <a:cubicBezTo>
                  <a:pt x="1227" y="152"/>
                  <a:pt x="1227" y="149"/>
                  <a:pt x="1228" y="145"/>
                </a:cubicBezTo>
                <a:cubicBezTo>
                  <a:pt x="1228" y="142"/>
                  <a:pt x="1228" y="142"/>
                  <a:pt x="1228" y="142"/>
                </a:cubicBezTo>
                <a:cubicBezTo>
                  <a:pt x="1229" y="140"/>
                  <a:pt x="1229" y="140"/>
                  <a:pt x="1229" y="140"/>
                </a:cubicBezTo>
                <a:cubicBezTo>
                  <a:pt x="1230" y="135"/>
                  <a:pt x="1230" y="132"/>
                  <a:pt x="1230" y="130"/>
                </a:cubicBezTo>
                <a:cubicBezTo>
                  <a:pt x="1230" y="126"/>
                  <a:pt x="1229" y="123"/>
                  <a:pt x="1228" y="122"/>
                </a:cubicBezTo>
                <a:cubicBezTo>
                  <a:pt x="1227" y="120"/>
                  <a:pt x="1225" y="119"/>
                  <a:pt x="1222" y="119"/>
                </a:cubicBezTo>
                <a:cubicBezTo>
                  <a:pt x="1219" y="119"/>
                  <a:pt x="1217" y="120"/>
                  <a:pt x="1214" y="122"/>
                </a:cubicBezTo>
                <a:cubicBezTo>
                  <a:pt x="1211" y="124"/>
                  <a:pt x="1209" y="126"/>
                  <a:pt x="1207" y="129"/>
                </a:cubicBezTo>
                <a:close/>
                <a:moveTo>
                  <a:pt x="1267" y="153"/>
                </a:moveTo>
                <a:cubicBezTo>
                  <a:pt x="1266" y="150"/>
                  <a:pt x="1266" y="150"/>
                  <a:pt x="1266" y="150"/>
                </a:cubicBezTo>
                <a:cubicBezTo>
                  <a:pt x="1264" y="152"/>
                  <a:pt x="1262" y="153"/>
                  <a:pt x="1260" y="154"/>
                </a:cubicBezTo>
                <a:cubicBezTo>
                  <a:pt x="1258" y="155"/>
                  <a:pt x="1256" y="156"/>
                  <a:pt x="1254" y="156"/>
                </a:cubicBezTo>
                <a:cubicBezTo>
                  <a:pt x="1251" y="156"/>
                  <a:pt x="1249" y="154"/>
                  <a:pt x="1248" y="152"/>
                </a:cubicBezTo>
                <a:cubicBezTo>
                  <a:pt x="1246" y="150"/>
                  <a:pt x="1246" y="147"/>
                  <a:pt x="1246" y="143"/>
                </a:cubicBezTo>
                <a:cubicBezTo>
                  <a:pt x="1249" y="143"/>
                  <a:pt x="1252" y="143"/>
                  <a:pt x="1256" y="142"/>
                </a:cubicBezTo>
                <a:cubicBezTo>
                  <a:pt x="1259" y="140"/>
                  <a:pt x="1263" y="139"/>
                  <a:pt x="1265" y="136"/>
                </a:cubicBezTo>
                <a:cubicBezTo>
                  <a:pt x="1268" y="134"/>
                  <a:pt x="1269" y="131"/>
                  <a:pt x="1269" y="128"/>
                </a:cubicBezTo>
                <a:cubicBezTo>
                  <a:pt x="1269" y="125"/>
                  <a:pt x="1268" y="123"/>
                  <a:pt x="1267" y="122"/>
                </a:cubicBezTo>
                <a:cubicBezTo>
                  <a:pt x="1265" y="120"/>
                  <a:pt x="1263" y="119"/>
                  <a:pt x="1259" y="119"/>
                </a:cubicBezTo>
                <a:cubicBezTo>
                  <a:pt x="1255" y="119"/>
                  <a:pt x="1252" y="121"/>
                  <a:pt x="1249" y="123"/>
                </a:cubicBezTo>
                <a:cubicBezTo>
                  <a:pt x="1246" y="125"/>
                  <a:pt x="1243" y="128"/>
                  <a:pt x="1241" y="132"/>
                </a:cubicBezTo>
                <a:cubicBezTo>
                  <a:pt x="1240" y="136"/>
                  <a:pt x="1239" y="140"/>
                  <a:pt x="1239" y="145"/>
                </a:cubicBezTo>
                <a:cubicBezTo>
                  <a:pt x="1239" y="147"/>
                  <a:pt x="1239" y="150"/>
                  <a:pt x="1240" y="152"/>
                </a:cubicBezTo>
                <a:cubicBezTo>
                  <a:pt x="1241" y="155"/>
                  <a:pt x="1243" y="156"/>
                  <a:pt x="1245" y="158"/>
                </a:cubicBezTo>
                <a:cubicBezTo>
                  <a:pt x="1247" y="159"/>
                  <a:pt x="1249" y="160"/>
                  <a:pt x="1253" y="160"/>
                </a:cubicBezTo>
                <a:cubicBezTo>
                  <a:pt x="1256" y="160"/>
                  <a:pt x="1259" y="159"/>
                  <a:pt x="1261" y="158"/>
                </a:cubicBezTo>
                <a:cubicBezTo>
                  <a:pt x="1264" y="156"/>
                  <a:pt x="1266" y="154"/>
                  <a:pt x="1267" y="153"/>
                </a:cubicBezTo>
                <a:close/>
                <a:moveTo>
                  <a:pt x="1258" y="123"/>
                </a:moveTo>
                <a:cubicBezTo>
                  <a:pt x="1259" y="123"/>
                  <a:pt x="1260" y="124"/>
                  <a:pt x="1261" y="125"/>
                </a:cubicBezTo>
                <a:cubicBezTo>
                  <a:pt x="1262" y="125"/>
                  <a:pt x="1263" y="127"/>
                  <a:pt x="1263" y="129"/>
                </a:cubicBezTo>
                <a:cubicBezTo>
                  <a:pt x="1263" y="131"/>
                  <a:pt x="1262" y="133"/>
                  <a:pt x="1260" y="135"/>
                </a:cubicBezTo>
                <a:cubicBezTo>
                  <a:pt x="1258" y="136"/>
                  <a:pt x="1256" y="138"/>
                  <a:pt x="1253" y="139"/>
                </a:cubicBezTo>
                <a:cubicBezTo>
                  <a:pt x="1251" y="139"/>
                  <a:pt x="1248" y="140"/>
                  <a:pt x="1246" y="140"/>
                </a:cubicBezTo>
                <a:cubicBezTo>
                  <a:pt x="1246" y="138"/>
                  <a:pt x="1247" y="135"/>
                  <a:pt x="1248" y="132"/>
                </a:cubicBezTo>
                <a:cubicBezTo>
                  <a:pt x="1249" y="130"/>
                  <a:pt x="1250" y="127"/>
                  <a:pt x="1252" y="126"/>
                </a:cubicBezTo>
                <a:cubicBezTo>
                  <a:pt x="1254" y="124"/>
                  <a:pt x="1255" y="123"/>
                  <a:pt x="1258" y="123"/>
                </a:cubicBezTo>
                <a:close/>
                <a:moveTo>
                  <a:pt x="1303" y="153"/>
                </a:moveTo>
                <a:cubicBezTo>
                  <a:pt x="1302" y="150"/>
                  <a:pt x="1302" y="150"/>
                  <a:pt x="1302" y="150"/>
                </a:cubicBezTo>
                <a:cubicBezTo>
                  <a:pt x="1300" y="152"/>
                  <a:pt x="1298" y="153"/>
                  <a:pt x="1296" y="154"/>
                </a:cubicBezTo>
                <a:cubicBezTo>
                  <a:pt x="1294" y="155"/>
                  <a:pt x="1292" y="156"/>
                  <a:pt x="1290" y="156"/>
                </a:cubicBezTo>
                <a:cubicBezTo>
                  <a:pt x="1287" y="156"/>
                  <a:pt x="1285" y="154"/>
                  <a:pt x="1284" y="152"/>
                </a:cubicBezTo>
                <a:cubicBezTo>
                  <a:pt x="1282" y="150"/>
                  <a:pt x="1282" y="147"/>
                  <a:pt x="1282" y="143"/>
                </a:cubicBezTo>
                <a:cubicBezTo>
                  <a:pt x="1285" y="143"/>
                  <a:pt x="1288" y="143"/>
                  <a:pt x="1292" y="142"/>
                </a:cubicBezTo>
                <a:cubicBezTo>
                  <a:pt x="1295" y="140"/>
                  <a:pt x="1299" y="139"/>
                  <a:pt x="1301" y="136"/>
                </a:cubicBezTo>
                <a:cubicBezTo>
                  <a:pt x="1304" y="134"/>
                  <a:pt x="1305" y="131"/>
                  <a:pt x="1305" y="128"/>
                </a:cubicBezTo>
                <a:cubicBezTo>
                  <a:pt x="1305" y="125"/>
                  <a:pt x="1304" y="123"/>
                  <a:pt x="1303" y="122"/>
                </a:cubicBezTo>
                <a:cubicBezTo>
                  <a:pt x="1301" y="120"/>
                  <a:pt x="1299" y="119"/>
                  <a:pt x="1295" y="119"/>
                </a:cubicBezTo>
                <a:cubicBezTo>
                  <a:pt x="1291" y="119"/>
                  <a:pt x="1288" y="121"/>
                  <a:pt x="1285" y="123"/>
                </a:cubicBezTo>
                <a:cubicBezTo>
                  <a:pt x="1282" y="125"/>
                  <a:pt x="1279" y="128"/>
                  <a:pt x="1277" y="132"/>
                </a:cubicBezTo>
                <a:cubicBezTo>
                  <a:pt x="1275" y="136"/>
                  <a:pt x="1275" y="140"/>
                  <a:pt x="1275" y="145"/>
                </a:cubicBezTo>
                <a:cubicBezTo>
                  <a:pt x="1275" y="147"/>
                  <a:pt x="1275" y="150"/>
                  <a:pt x="1276" y="152"/>
                </a:cubicBezTo>
                <a:cubicBezTo>
                  <a:pt x="1277" y="155"/>
                  <a:pt x="1279" y="156"/>
                  <a:pt x="1281" y="158"/>
                </a:cubicBezTo>
                <a:cubicBezTo>
                  <a:pt x="1283" y="159"/>
                  <a:pt x="1285" y="160"/>
                  <a:pt x="1288" y="160"/>
                </a:cubicBezTo>
                <a:cubicBezTo>
                  <a:pt x="1292" y="160"/>
                  <a:pt x="1295" y="159"/>
                  <a:pt x="1297" y="158"/>
                </a:cubicBezTo>
                <a:cubicBezTo>
                  <a:pt x="1300" y="156"/>
                  <a:pt x="1302" y="154"/>
                  <a:pt x="1303" y="153"/>
                </a:cubicBezTo>
                <a:close/>
                <a:moveTo>
                  <a:pt x="1294" y="123"/>
                </a:moveTo>
                <a:cubicBezTo>
                  <a:pt x="1295" y="123"/>
                  <a:pt x="1296" y="124"/>
                  <a:pt x="1297" y="125"/>
                </a:cubicBezTo>
                <a:cubicBezTo>
                  <a:pt x="1298" y="125"/>
                  <a:pt x="1298" y="127"/>
                  <a:pt x="1298" y="129"/>
                </a:cubicBezTo>
                <a:cubicBezTo>
                  <a:pt x="1298" y="131"/>
                  <a:pt x="1298" y="133"/>
                  <a:pt x="1296" y="135"/>
                </a:cubicBezTo>
                <a:cubicBezTo>
                  <a:pt x="1294" y="136"/>
                  <a:pt x="1292" y="138"/>
                  <a:pt x="1289" y="139"/>
                </a:cubicBezTo>
                <a:cubicBezTo>
                  <a:pt x="1287" y="139"/>
                  <a:pt x="1284" y="140"/>
                  <a:pt x="1282" y="140"/>
                </a:cubicBezTo>
                <a:cubicBezTo>
                  <a:pt x="1282" y="138"/>
                  <a:pt x="1283" y="135"/>
                  <a:pt x="1284" y="132"/>
                </a:cubicBezTo>
                <a:cubicBezTo>
                  <a:pt x="1285" y="130"/>
                  <a:pt x="1286" y="127"/>
                  <a:pt x="1288" y="126"/>
                </a:cubicBezTo>
                <a:cubicBezTo>
                  <a:pt x="1289" y="124"/>
                  <a:pt x="1291" y="123"/>
                  <a:pt x="1294" y="123"/>
                </a:cubicBezTo>
                <a:close/>
                <a:moveTo>
                  <a:pt x="1322" y="129"/>
                </a:moveTo>
                <a:cubicBezTo>
                  <a:pt x="1323" y="127"/>
                  <a:pt x="1323" y="127"/>
                  <a:pt x="1323" y="127"/>
                </a:cubicBezTo>
                <a:cubicBezTo>
                  <a:pt x="1323" y="120"/>
                  <a:pt x="1323" y="120"/>
                  <a:pt x="1323" y="120"/>
                </a:cubicBezTo>
                <a:cubicBezTo>
                  <a:pt x="1322" y="119"/>
                  <a:pt x="1322" y="119"/>
                  <a:pt x="1322" y="119"/>
                </a:cubicBezTo>
                <a:cubicBezTo>
                  <a:pt x="1314" y="121"/>
                  <a:pt x="1314" y="121"/>
                  <a:pt x="1314" y="121"/>
                </a:cubicBezTo>
                <a:cubicBezTo>
                  <a:pt x="1313" y="124"/>
                  <a:pt x="1313" y="124"/>
                  <a:pt x="1313" y="124"/>
                </a:cubicBezTo>
                <a:cubicBezTo>
                  <a:pt x="1317" y="125"/>
                  <a:pt x="1317" y="125"/>
                  <a:pt x="1317" y="125"/>
                </a:cubicBezTo>
                <a:cubicBezTo>
                  <a:pt x="1312" y="159"/>
                  <a:pt x="1312" y="159"/>
                  <a:pt x="1312" y="159"/>
                </a:cubicBezTo>
                <a:cubicBezTo>
                  <a:pt x="1319" y="159"/>
                  <a:pt x="1319" y="159"/>
                  <a:pt x="1319" y="159"/>
                </a:cubicBezTo>
                <a:cubicBezTo>
                  <a:pt x="1322" y="134"/>
                  <a:pt x="1322" y="134"/>
                  <a:pt x="1322" y="134"/>
                </a:cubicBezTo>
                <a:cubicBezTo>
                  <a:pt x="1323" y="132"/>
                  <a:pt x="1325" y="130"/>
                  <a:pt x="1327" y="129"/>
                </a:cubicBezTo>
                <a:cubicBezTo>
                  <a:pt x="1329" y="127"/>
                  <a:pt x="1331" y="127"/>
                  <a:pt x="1333" y="127"/>
                </a:cubicBezTo>
                <a:cubicBezTo>
                  <a:pt x="1334" y="127"/>
                  <a:pt x="1335" y="127"/>
                  <a:pt x="1336" y="127"/>
                </a:cubicBezTo>
                <a:cubicBezTo>
                  <a:pt x="1338" y="120"/>
                  <a:pt x="1338" y="120"/>
                  <a:pt x="1338" y="120"/>
                </a:cubicBezTo>
                <a:cubicBezTo>
                  <a:pt x="1337" y="120"/>
                  <a:pt x="1336" y="119"/>
                  <a:pt x="1335" y="119"/>
                </a:cubicBezTo>
                <a:cubicBezTo>
                  <a:pt x="1333" y="119"/>
                  <a:pt x="1331" y="120"/>
                  <a:pt x="1330" y="121"/>
                </a:cubicBezTo>
                <a:cubicBezTo>
                  <a:pt x="1328" y="122"/>
                  <a:pt x="1326" y="123"/>
                  <a:pt x="1325" y="125"/>
                </a:cubicBezTo>
                <a:cubicBezTo>
                  <a:pt x="1324" y="126"/>
                  <a:pt x="1323" y="128"/>
                  <a:pt x="1322" y="129"/>
                </a:cubicBezTo>
                <a:close/>
                <a:moveTo>
                  <a:pt x="1349" y="153"/>
                </a:moveTo>
                <a:cubicBezTo>
                  <a:pt x="1354" y="120"/>
                  <a:pt x="1354" y="120"/>
                  <a:pt x="1354" y="120"/>
                </a:cubicBezTo>
                <a:cubicBezTo>
                  <a:pt x="1352" y="119"/>
                  <a:pt x="1352" y="119"/>
                  <a:pt x="1352" y="119"/>
                </a:cubicBezTo>
                <a:cubicBezTo>
                  <a:pt x="1342" y="121"/>
                  <a:pt x="1342" y="121"/>
                  <a:pt x="1342" y="121"/>
                </a:cubicBezTo>
                <a:cubicBezTo>
                  <a:pt x="1342" y="123"/>
                  <a:pt x="1342" y="123"/>
                  <a:pt x="1342" y="123"/>
                </a:cubicBezTo>
                <a:cubicBezTo>
                  <a:pt x="1346" y="125"/>
                  <a:pt x="1346" y="125"/>
                  <a:pt x="1346" y="125"/>
                </a:cubicBezTo>
                <a:cubicBezTo>
                  <a:pt x="1345" y="132"/>
                  <a:pt x="1345" y="138"/>
                  <a:pt x="1344" y="142"/>
                </a:cubicBezTo>
                <a:cubicBezTo>
                  <a:pt x="1343" y="150"/>
                  <a:pt x="1342" y="154"/>
                  <a:pt x="1342" y="156"/>
                </a:cubicBezTo>
                <a:cubicBezTo>
                  <a:pt x="1342" y="157"/>
                  <a:pt x="1342" y="158"/>
                  <a:pt x="1343" y="159"/>
                </a:cubicBezTo>
                <a:cubicBezTo>
                  <a:pt x="1344" y="160"/>
                  <a:pt x="1345" y="160"/>
                  <a:pt x="1347" y="160"/>
                </a:cubicBezTo>
                <a:cubicBezTo>
                  <a:pt x="1349" y="160"/>
                  <a:pt x="1350" y="159"/>
                  <a:pt x="1352" y="158"/>
                </a:cubicBezTo>
                <a:cubicBezTo>
                  <a:pt x="1353" y="157"/>
                  <a:pt x="1354" y="156"/>
                  <a:pt x="1355" y="155"/>
                </a:cubicBezTo>
                <a:cubicBezTo>
                  <a:pt x="1354" y="154"/>
                  <a:pt x="1354" y="154"/>
                  <a:pt x="1354" y="154"/>
                </a:cubicBezTo>
                <a:cubicBezTo>
                  <a:pt x="1353" y="154"/>
                  <a:pt x="1352" y="155"/>
                  <a:pt x="1352" y="155"/>
                </a:cubicBezTo>
                <a:cubicBezTo>
                  <a:pt x="1351" y="156"/>
                  <a:pt x="1351" y="156"/>
                  <a:pt x="1350" y="156"/>
                </a:cubicBezTo>
                <a:cubicBezTo>
                  <a:pt x="1350" y="156"/>
                  <a:pt x="1350" y="156"/>
                  <a:pt x="1349" y="155"/>
                </a:cubicBezTo>
                <a:cubicBezTo>
                  <a:pt x="1349" y="155"/>
                  <a:pt x="1349" y="155"/>
                  <a:pt x="1349" y="154"/>
                </a:cubicBezTo>
                <a:lnTo>
                  <a:pt x="1349" y="153"/>
                </a:lnTo>
                <a:close/>
                <a:moveTo>
                  <a:pt x="1351" y="112"/>
                </a:moveTo>
                <a:cubicBezTo>
                  <a:pt x="1353" y="112"/>
                  <a:pt x="1354" y="111"/>
                  <a:pt x="1355" y="110"/>
                </a:cubicBezTo>
                <a:cubicBezTo>
                  <a:pt x="1356" y="109"/>
                  <a:pt x="1356" y="108"/>
                  <a:pt x="1356" y="107"/>
                </a:cubicBezTo>
                <a:cubicBezTo>
                  <a:pt x="1356" y="106"/>
                  <a:pt x="1356" y="105"/>
                  <a:pt x="1355" y="104"/>
                </a:cubicBezTo>
                <a:cubicBezTo>
                  <a:pt x="1354" y="103"/>
                  <a:pt x="1353" y="103"/>
                  <a:pt x="1352" y="103"/>
                </a:cubicBezTo>
                <a:cubicBezTo>
                  <a:pt x="1351" y="103"/>
                  <a:pt x="1350" y="103"/>
                  <a:pt x="1349" y="104"/>
                </a:cubicBezTo>
                <a:cubicBezTo>
                  <a:pt x="1348" y="105"/>
                  <a:pt x="1348" y="107"/>
                  <a:pt x="1348" y="108"/>
                </a:cubicBezTo>
                <a:cubicBezTo>
                  <a:pt x="1348" y="109"/>
                  <a:pt x="1348" y="110"/>
                  <a:pt x="1349" y="111"/>
                </a:cubicBezTo>
                <a:cubicBezTo>
                  <a:pt x="1350" y="111"/>
                  <a:pt x="1350" y="112"/>
                  <a:pt x="1351" y="112"/>
                </a:cubicBezTo>
                <a:close/>
                <a:moveTo>
                  <a:pt x="1374" y="129"/>
                </a:moveTo>
                <a:cubicBezTo>
                  <a:pt x="1375" y="120"/>
                  <a:pt x="1375" y="120"/>
                  <a:pt x="1375" y="120"/>
                </a:cubicBezTo>
                <a:cubicBezTo>
                  <a:pt x="1374" y="119"/>
                  <a:pt x="1374" y="119"/>
                  <a:pt x="1374" y="119"/>
                </a:cubicBezTo>
                <a:cubicBezTo>
                  <a:pt x="1365" y="121"/>
                  <a:pt x="1365" y="121"/>
                  <a:pt x="1365" y="121"/>
                </a:cubicBezTo>
                <a:cubicBezTo>
                  <a:pt x="1365" y="124"/>
                  <a:pt x="1365" y="124"/>
                  <a:pt x="1365" y="124"/>
                </a:cubicBezTo>
                <a:cubicBezTo>
                  <a:pt x="1368" y="125"/>
                  <a:pt x="1368" y="125"/>
                  <a:pt x="1368" y="125"/>
                </a:cubicBezTo>
                <a:cubicBezTo>
                  <a:pt x="1364" y="159"/>
                  <a:pt x="1364" y="159"/>
                  <a:pt x="1364" y="159"/>
                </a:cubicBezTo>
                <a:cubicBezTo>
                  <a:pt x="1370" y="159"/>
                  <a:pt x="1370" y="159"/>
                  <a:pt x="1370" y="159"/>
                </a:cubicBezTo>
                <a:cubicBezTo>
                  <a:pt x="1374" y="134"/>
                  <a:pt x="1374" y="134"/>
                  <a:pt x="1374" y="134"/>
                </a:cubicBezTo>
                <a:cubicBezTo>
                  <a:pt x="1375" y="131"/>
                  <a:pt x="1377" y="129"/>
                  <a:pt x="1380" y="127"/>
                </a:cubicBezTo>
                <a:cubicBezTo>
                  <a:pt x="1382" y="125"/>
                  <a:pt x="1384" y="124"/>
                  <a:pt x="1386" y="124"/>
                </a:cubicBezTo>
                <a:cubicBezTo>
                  <a:pt x="1388" y="124"/>
                  <a:pt x="1389" y="125"/>
                  <a:pt x="1389" y="126"/>
                </a:cubicBezTo>
                <a:cubicBezTo>
                  <a:pt x="1390" y="127"/>
                  <a:pt x="1390" y="128"/>
                  <a:pt x="1390" y="130"/>
                </a:cubicBezTo>
                <a:cubicBezTo>
                  <a:pt x="1390" y="132"/>
                  <a:pt x="1390" y="134"/>
                  <a:pt x="1390" y="135"/>
                </a:cubicBezTo>
                <a:cubicBezTo>
                  <a:pt x="1390" y="137"/>
                  <a:pt x="1389" y="140"/>
                  <a:pt x="1389" y="142"/>
                </a:cubicBezTo>
                <a:cubicBezTo>
                  <a:pt x="1388" y="144"/>
                  <a:pt x="1388" y="144"/>
                  <a:pt x="1388" y="144"/>
                </a:cubicBezTo>
                <a:cubicBezTo>
                  <a:pt x="1388" y="147"/>
                  <a:pt x="1388" y="147"/>
                  <a:pt x="1388" y="147"/>
                </a:cubicBezTo>
                <a:cubicBezTo>
                  <a:pt x="1387" y="151"/>
                  <a:pt x="1387" y="154"/>
                  <a:pt x="1387" y="156"/>
                </a:cubicBezTo>
                <a:cubicBezTo>
                  <a:pt x="1387" y="159"/>
                  <a:pt x="1388" y="160"/>
                  <a:pt x="1391" y="160"/>
                </a:cubicBezTo>
                <a:cubicBezTo>
                  <a:pt x="1392" y="160"/>
                  <a:pt x="1394" y="160"/>
                  <a:pt x="1395" y="159"/>
                </a:cubicBezTo>
                <a:cubicBezTo>
                  <a:pt x="1396" y="159"/>
                  <a:pt x="1397" y="158"/>
                  <a:pt x="1397" y="157"/>
                </a:cubicBezTo>
                <a:cubicBezTo>
                  <a:pt x="1398" y="157"/>
                  <a:pt x="1399" y="156"/>
                  <a:pt x="1399" y="156"/>
                </a:cubicBezTo>
                <a:cubicBezTo>
                  <a:pt x="1398" y="154"/>
                  <a:pt x="1398" y="154"/>
                  <a:pt x="1398" y="154"/>
                </a:cubicBezTo>
                <a:cubicBezTo>
                  <a:pt x="1397" y="155"/>
                  <a:pt x="1396" y="156"/>
                  <a:pt x="1395" y="156"/>
                </a:cubicBezTo>
                <a:cubicBezTo>
                  <a:pt x="1394" y="156"/>
                  <a:pt x="1394" y="155"/>
                  <a:pt x="1394" y="154"/>
                </a:cubicBezTo>
                <a:cubicBezTo>
                  <a:pt x="1394" y="152"/>
                  <a:pt x="1394" y="149"/>
                  <a:pt x="1395" y="145"/>
                </a:cubicBezTo>
                <a:cubicBezTo>
                  <a:pt x="1395" y="142"/>
                  <a:pt x="1395" y="142"/>
                  <a:pt x="1395" y="142"/>
                </a:cubicBezTo>
                <a:cubicBezTo>
                  <a:pt x="1396" y="140"/>
                  <a:pt x="1396" y="140"/>
                  <a:pt x="1396" y="140"/>
                </a:cubicBezTo>
                <a:cubicBezTo>
                  <a:pt x="1397" y="135"/>
                  <a:pt x="1397" y="132"/>
                  <a:pt x="1397" y="130"/>
                </a:cubicBezTo>
                <a:cubicBezTo>
                  <a:pt x="1397" y="126"/>
                  <a:pt x="1397" y="123"/>
                  <a:pt x="1395" y="122"/>
                </a:cubicBezTo>
                <a:cubicBezTo>
                  <a:pt x="1394" y="120"/>
                  <a:pt x="1392" y="119"/>
                  <a:pt x="1389" y="119"/>
                </a:cubicBezTo>
                <a:cubicBezTo>
                  <a:pt x="1386" y="119"/>
                  <a:pt x="1384" y="120"/>
                  <a:pt x="1381" y="122"/>
                </a:cubicBezTo>
                <a:cubicBezTo>
                  <a:pt x="1379" y="124"/>
                  <a:pt x="1376" y="126"/>
                  <a:pt x="1374" y="129"/>
                </a:cubicBezTo>
                <a:close/>
                <a:moveTo>
                  <a:pt x="1433" y="162"/>
                </a:moveTo>
                <a:cubicBezTo>
                  <a:pt x="1440" y="119"/>
                  <a:pt x="1440" y="119"/>
                  <a:pt x="1440" y="119"/>
                </a:cubicBezTo>
                <a:cubicBezTo>
                  <a:pt x="1435" y="121"/>
                  <a:pt x="1435" y="121"/>
                  <a:pt x="1435" y="121"/>
                </a:cubicBezTo>
                <a:cubicBezTo>
                  <a:pt x="1434" y="121"/>
                  <a:pt x="1433" y="120"/>
                  <a:pt x="1432" y="120"/>
                </a:cubicBezTo>
                <a:cubicBezTo>
                  <a:pt x="1430" y="120"/>
                  <a:pt x="1429" y="119"/>
                  <a:pt x="1428" y="119"/>
                </a:cubicBezTo>
                <a:cubicBezTo>
                  <a:pt x="1423" y="119"/>
                  <a:pt x="1419" y="121"/>
                  <a:pt x="1416" y="123"/>
                </a:cubicBezTo>
                <a:cubicBezTo>
                  <a:pt x="1412" y="126"/>
                  <a:pt x="1410" y="129"/>
                  <a:pt x="1408" y="133"/>
                </a:cubicBezTo>
                <a:cubicBezTo>
                  <a:pt x="1406" y="137"/>
                  <a:pt x="1405" y="141"/>
                  <a:pt x="1405" y="145"/>
                </a:cubicBezTo>
                <a:cubicBezTo>
                  <a:pt x="1405" y="150"/>
                  <a:pt x="1406" y="153"/>
                  <a:pt x="1408" y="156"/>
                </a:cubicBezTo>
                <a:cubicBezTo>
                  <a:pt x="1410" y="159"/>
                  <a:pt x="1413" y="160"/>
                  <a:pt x="1417" y="160"/>
                </a:cubicBezTo>
                <a:cubicBezTo>
                  <a:pt x="1419" y="160"/>
                  <a:pt x="1421" y="159"/>
                  <a:pt x="1423" y="158"/>
                </a:cubicBezTo>
                <a:cubicBezTo>
                  <a:pt x="1425" y="157"/>
                  <a:pt x="1426" y="156"/>
                  <a:pt x="1428" y="155"/>
                </a:cubicBezTo>
                <a:cubicBezTo>
                  <a:pt x="1426" y="164"/>
                  <a:pt x="1426" y="164"/>
                  <a:pt x="1426" y="164"/>
                </a:cubicBezTo>
                <a:cubicBezTo>
                  <a:pt x="1426" y="167"/>
                  <a:pt x="1425" y="169"/>
                  <a:pt x="1424" y="170"/>
                </a:cubicBezTo>
                <a:cubicBezTo>
                  <a:pt x="1422" y="172"/>
                  <a:pt x="1420" y="172"/>
                  <a:pt x="1417" y="172"/>
                </a:cubicBezTo>
                <a:cubicBezTo>
                  <a:pt x="1415" y="172"/>
                  <a:pt x="1414" y="172"/>
                  <a:pt x="1412" y="171"/>
                </a:cubicBezTo>
                <a:cubicBezTo>
                  <a:pt x="1410" y="171"/>
                  <a:pt x="1409" y="170"/>
                  <a:pt x="1408" y="170"/>
                </a:cubicBezTo>
                <a:cubicBezTo>
                  <a:pt x="1406" y="175"/>
                  <a:pt x="1406" y="175"/>
                  <a:pt x="1406" y="175"/>
                </a:cubicBezTo>
                <a:cubicBezTo>
                  <a:pt x="1407" y="176"/>
                  <a:pt x="1408" y="176"/>
                  <a:pt x="1410" y="176"/>
                </a:cubicBezTo>
                <a:cubicBezTo>
                  <a:pt x="1411" y="177"/>
                  <a:pt x="1413" y="177"/>
                  <a:pt x="1414" y="177"/>
                </a:cubicBezTo>
                <a:cubicBezTo>
                  <a:pt x="1417" y="177"/>
                  <a:pt x="1420" y="176"/>
                  <a:pt x="1423" y="175"/>
                </a:cubicBezTo>
                <a:cubicBezTo>
                  <a:pt x="1425" y="174"/>
                  <a:pt x="1428" y="173"/>
                  <a:pt x="1430" y="170"/>
                </a:cubicBezTo>
                <a:cubicBezTo>
                  <a:pt x="1432" y="168"/>
                  <a:pt x="1433" y="165"/>
                  <a:pt x="1433" y="162"/>
                </a:cubicBezTo>
                <a:close/>
                <a:moveTo>
                  <a:pt x="1432" y="125"/>
                </a:moveTo>
                <a:cubicBezTo>
                  <a:pt x="1428" y="150"/>
                  <a:pt x="1428" y="150"/>
                  <a:pt x="1428" y="150"/>
                </a:cubicBezTo>
                <a:cubicBezTo>
                  <a:pt x="1427" y="151"/>
                  <a:pt x="1426" y="153"/>
                  <a:pt x="1424" y="154"/>
                </a:cubicBezTo>
                <a:cubicBezTo>
                  <a:pt x="1423" y="155"/>
                  <a:pt x="1421" y="155"/>
                  <a:pt x="1419" y="155"/>
                </a:cubicBezTo>
                <a:cubicBezTo>
                  <a:pt x="1417" y="155"/>
                  <a:pt x="1415" y="155"/>
                  <a:pt x="1414" y="153"/>
                </a:cubicBezTo>
                <a:cubicBezTo>
                  <a:pt x="1413" y="151"/>
                  <a:pt x="1412" y="148"/>
                  <a:pt x="1412" y="145"/>
                </a:cubicBezTo>
                <a:cubicBezTo>
                  <a:pt x="1412" y="142"/>
                  <a:pt x="1413" y="138"/>
                  <a:pt x="1414" y="135"/>
                </a:cubicBezTo>
                <a:cubicBezTo>
                  <a:pt x="1415" y="132"/>
                  <a:pt x="1417" y="129"/>
                  <a:pt x="1419" y="127"/>
                </a:cubicBezTo>
                <a:cubicBezTo>
                  <a:pt x="1421" y="124"/>
                  <a:pt x="1424" y="123"/>
                  <a:pt x="1427" y="123"/>
                </a:cubicBezTo>
                <a:cubicBezTo>
                  <a:pt x="1429" y="123"/>
                  <a:pt x="1431" y="124"/>
                  <a:pt x="1432" y="125"/>
                </a:cubicBezTo>
                <a:close/>
                <a:moveTo>
                  <a:pt x="1076" y="242"/>
                </a:moveTo>
                <a:cubicBezTo>
                  <a:pt x="1072" y="249"/>
                  <a:pt x="1072" y="249"/>
                  <a:pt x="1072" y="249"/>
                </a:cubicBezTo>
                <a:cubicBezTo>
                  <a:pt x="1072" y="242"/>
                  <a:pt x="1072" y="242"/>
                  <a:pt x="1072" y="242"/>
                </a:cubicBezTo>
                <a:cubicBezTo>
                  <a:pt x="1066" y="208"/>
                  <a:pt x="1066" y="208"/>
                  <a:pt x="1066" y="208"/>
                </a:cubicBezTo>
                <a:cubicBezTo>
                  <a:pt x="1050" y="208"/>
                  <a:pt x="1050" y="208"/>
                  <a:pt x="1050" y="208"/>
                </a:cubicBezTo>
                <a:cubicBezTo>
                  <a:pt x="1049" y="211"/>
                  <a:pt x="1049" y="211"/>
                  <a:pt x="1049" y="211"/>
                </a:cubicBezTo>
                <a:cubicBezTo>
                  <a:pt x="1056" y="212"/>
                  <a:pt x="1056" y="212"/>
                  <a:pt x="1056" y="212"/>
                </a:cubicBezTo>
                <a:cubicBezTo>
                  <a:pt x="1045" y="256"/>
                  <a:pt x="1045" y="256"/>
                  <a:pt x="1045" y="256"/>
                </a:cubicBezTo>
                <a:cubicBezTo>
                  <a:pt x="1039" y="257"/>
                  <a:pt x="1039" y="257"/>
                  <a:pt x="1039" y="257"/>
                </a:cubicBezTo>
                <a:cubicBezTo>
                  <a:pt x="1039" y="260"/>
                  <a:pt x="1039" y="260"/>
                  <a:pt x="1039" y="260"/>
                </a:cubicBezTo>
                <a:cubicBezTo>
                  <a:pt x="1057" y="260"/>
                  <a:pt x="1057" y="260"/>
                  <a:pt x="1057" y="260"/>
                </a:cubicBezTo>
                <a:cubicBezTo>
                  <a:pt x="1057" y="257"/>
                  <a:pt x="1057" y="257"/>
                  <a:pt x="1057" y="257"/>
                </a:cubicBezTo>
                <a:cubicBezTo>
                  <a:pt x="1050" y="256"/>
                  <a:pt x="1050" y="256"/>
                  <a:pt x="1050" y="256"/>
                </a:cubicBezTo>
                <a:cubicBezTo>
                  <a:pt x="1057" y="225"/>
                  <a:pt x="1057" y="225"/>
                  <a:pt x="1057" y="225"/>
                </a:cubicBezTo>
                <a:cubicBezTo>
                  <a:pt x="1060" y="211"/>
                  <a:pt x="1060" y="211"/>
                  <a:pt x="1060" y="211"/>
                </a:cubicBezTo>
                <a:cubicBezTo>
                  <a:pt x="1062" y="225"/>
                  <a:pt x="1062" y="225"/>
                  <a:pt x="1062" y="225"/>
                </a:cubicBezTo>
                <a:cubicBezTo>
                  <a:pt x="1068" y="261"/>
                  <a:pt x="1068" y="261"/>
                  <a:pt x="1068" y="261"/>
                </a:cubicBezTo>
                <a:cubicBezTo>
                  <a:pt x="1072" y="260"/>
                  <a:pt x="1072" y="260"/>
                  <a:pt x="1072" y="260"/>
                </a:cubicBezTo>
                <a:cubicBezTo>
                  <a:pt x="1088" y="224"/>
                  <a:pt x="1088" y="224"/>
                  <a:pt x="1088" y="224"/>
                </a:cubicBezTo>
                <a:cubicBezTo>
                  <a:pt x="1094" y="211"/>
                  <a:pt x="1094" y="211"/>
                  <a:pt x="1094" y="211"/>
                </a:cubicBezTo>
                <a:cubicBezTo>
                  <a:pt x="1093" y="225"/>
                  <a:pt x="1093" y="225"/>
                  <a:pt x="1093" y="225"/>
                </a:cubicBezTo>
                <a:cubicBezTo>
                  <a:pt x="1091" y="256"/>
                  <a:pt x="1091" y="256"/>
                  <a:pt x="1091" y="256"/>
                </a:cubicBezTo>
                <a:cubicBezTo>
                  <a:pt x="1085" y="257"/>
                  <a:pt x="1085" y="257"/>
                  <a:pt x="1085" y="257"/>
                </a:cubicBezTo>
                <a:cubicBezTo>
                  <a:pt x="1084" y="260"/>
                  <a:pt x="1084" y="260"/>
                  <a:pt x="1084" y="260"/>
                </a:cubicBezTo>
                <a:cubicBezTo>
                  <a:pt x="1104" y="260"/>
                  <a:pt x="1104" y="260"/>
                  <a:pt x="1104" y="260"/>
                </a:cubicBezTo>
                <a:cubicBezTo>
                  <a:pt x="1104" y="257"/>
                  <a:pt x="1104" y="257"/>
                  <a:pt x="1104" y="257"/>
                </a:cubicBezTo>
                <a:cubicBezTo>
                  <a:pt x="1098" y="256"/>
                  <a:pt x="1098" y="256"/>
                  <a:pt x="1098" y="256"/>
                </a:cubicBezTo>
                <a:cubicBezTo>
                  <a:pt x="1099" y="212"/>
                  <a:pt x="1099" y="212"/>
                  <a:pt x="1099" y="212"/>
                </a:cubicBezTo>
                <a:cubicBezTo>
                  <a:pt x="1106" y="211"/>
                  <a:pt x="1106" y="211"/>
                  <a:pt x="1106" y="211"/>
                </a:cubicBezTo>
                <a:cubicBezTo>
                  <a:pt x="1106" y="208"/>
                  <a:pt x="1106" y="208"/>
                  <a:pt x="1106" y="208"/>
                </a:cubicBezTo>
                <a:cubicBezTo>
                  <a:pt x="1091" y="208"/>
                  <a:pt x="1091" y="208"/>
                  <a:pt x="1091" y="208"/>
                </a:cubicBezTo>
                <a:cubicBezTo>
                  <a:pt x="1090" y="211"/>
                  <a:pt x="1087" y="217"/>
                  <a:pt x="1083" y="225"/>
                </a:cubicBezTo>
                <a:cubicBezTo>
                  <a:pt x="1079" y="233"/>
                  <a:pt x="1077" y="239"/>
                  <a:pt x="1076" y="242"/>
                </a:cubicBezTo>
                <a:close/>
                <a:moveTo>
                  <a:pt x="1138" y="253"/>
                </a:moveTo>
                <a:cubicBezTo>
                  <a:pt x="1136" y="251"/>
                  <a:pt x="1136" y="251"/>
                  <a:pt x="1136" y="251"/>
                </a:cubicBezTo>
                <a:cubicBezTo>
                  <a:pt x="1134" y="253"/>
                  <a:pt x="1133" y="254"/>
                  <a:pt x="1131" y="255"/>
                </a:cubicBezTo>
                <a:cubicBezTo>
                  <a:pt x="1129" y="256"/>
                  <a:pt x="1126" y="256"/>
                  <a:pt x="1124" y="256"/>
                </a:cubicBezTo>
                <a:cubicBezTo>
                  <a:pt x="1121" y="256"/>
                  <a:pt x="1119" y="255"/>
                  <a:pt x="1118" y="253"/>
                </a:cubicBezTo>
                <a:cubicBezTo>
                  <a:pt x="1117" y="250"/>
                  <a:pt x="1116" y="247"/>
                  <a:pt x="1116" y="244"/>
                </a:cubicBezTo>
                <a:cubicBezTo>
                  <a:pt x="1119" y="244"/>
                  <a:pt x="1123" y="244"/>
                  <a:pt x="1126" y="242"/>
                </a:cubicBezTo>
                <a:cubicBezTo>
                  <a:pt x="1130" y="241"/>
                  <a:pt x="1133" y="240"/>
                  <a:pt x="1136" y="237"/>
                </a:cubicBezTo>
                <a:cubicBezTo>
                  <a:pt x="1138" y="235"/>
                  <a:pt x="1140" y="232"/>
                  <a:pt x="1140" y="229"/>
                </a:cubicBezTo>
                <a:cubicBezTo>
                  <a:pt x="1140" y="226"/>
                  <a:pt x="1139" y="224"/>
                  <a:pt x="1137" y="223"/>
                </a:cubicBezTo>
                <a:cubicBezTo>
                  <a:pt x="1135" y="221"/>
                  <a:pt x="1133" y="220"/>
                  <a:pt x="1130" y="220"/>
                </a:cubicBezTo>
                <a:cubicBezTo>
                  <a:pt x="1126" y="220"/>
                  <a:pt x="1122" y="221"/>
                  <a:pt x="1119" y="224"/>
                </a:cubicBezTo>
                <a:cubicBezTo>
                  <a:pt x="1116" y="226"/>
                  <a:pt x="1114" y="229"/>
                  <a:pt x="1112" y="233"/>
                </a:cubicBezTo>
                <a:cubicBezTo>
                  <a:pt x="1110" y="237"/>
                  <a:pt x="1109" y="241"/>
                  <a:pt x="1109" y="246"/>
                </a:cubicBezTo>
                <a:cubicBezTo>
                  <a:pt x="1109" y="248"/>
                  <a:pt x="1110" y="251"/>
                  <a:pt x="1111" y="253"/>
                </a:cubicBezTo>
                <a:cubicBezTo>
                  <a:pt x="1111" y="255"/>
                  <a:pt x="1113" y="257"/>
                  <a:pt x="1115" y="259"/>
                </a:cubicBezTo>
                <a:cubicBezTo>
                  <a:pt x="1117" y="260"/>
                  <a:pt x="1120" y="261"/>
                  <a:pt x="1123" y="261"/>
                </a:cubicBezTo>
                <a:cubicBezTo>
                  <a:pt x="1126" y="261"/>
                  <a:pt x="1129" y="260"/>
                  <a:pt x="1132" y="258"/>
                </a:cubicBezTo>
                <a:cubicBezTo>
                  <a:pt x="1135" y="257"/>
                  <a:pt x="1136" y="255"/>
                  <a:pt x="1138" y="253"/>
                </a:cubicBezTo>
                <a:close/>
                <a:moveTo>
                  <a:pt x="1128" y="224"/>
                </a:moveTo>
                <a:cubicBezTo>
                  <a:pt x="1130" y="224"/>
                  <a:pt x="1131" y="224"/>
                  <a:pt x="1132" y="225"/>
                </a:cubicBezTo>
                <a:cubicBezTo>
                  <a:pt x="1132" y="226"/>
                  <a:pt x="1133" y="228"/>
                  <a:pt x="1133" y="229"/>
                </a:cubicBezTo>
                <a:cubicBezTo>
                  <a:pt x="1133" y="232"/>
                  <a:pt x="1132" y="234"/>
                  <a:pt x="1130" y="235"/>
                </a:cubicBezTo>
                <a:cubicBezTo>
                  <a:pt x="1129" y="237"/>
                  <a:pt x="1126" y="238"/>
                  <a:pt x="1124" y="239"/>
                </a:cubicBezTo>
                <a:cubicBezTo>
                  <a:pt x="1121" y="240"/>
                  <a:pt x="1119" y="241"/>
                  <a:pt x="1116" y="241"/>
                </a:cubicBezTo>
                <a:cubicBezTo>
                  <a:pt x="1117" y="238"/>
                  <a:pt x="1117" y="236"/>
                  <a:pt x="1118" y="233"/>
                </a:cubicBezTo>
                <a:cubicBezTo>
                  <a:pt x="1119" y="230"/>
                  <a:pt x="1121" y="228"/>
                  <a:pt x="1122" y="226"/>
                </a:cubicBezTo>
                <a:cubicBezTo>
                  <a:pt x="1124" y="225"/>
                  <a:pt x="1126" y="224"/>
                  <a:pt x="1128" y="224"/>
                </a:cubicBezTo>
                <a:close/>
                <a:moveTo>
                  <a:pt x="1175" y="254"/>
                </a:moveTo>
                <a:cubicBezTo>
                  <a:pt x="1182" y="204"/>
                  <a:pt x="1182" y="204"/>
                  <a:pt x="1182" y="204"/>
                </a:cubicBezTo>
                <a:cubicBezTo>
                  <a:pt x="1181" y="204"/>
                  <a:pt x="1181" y="204"/>
                  <a:pt x="1181" y="204"/>
                </a:cubicBezTo>
                <a:cubicBezTo>
                  <a:pt x="1171" y="205"/>
                  <a:pt x="1171" y="205"/>
                  <a:pt x="1171" y="205"/>
                </a:cubicBezTo>
                <a:cubicBezTo>
                  <a:pt x="1170" y="207"/>
                  <a:pt x="1170" y="207"/>
                  <a:pt x="1170" y="207"/>
                </a:cubicBezTo>
                <a:cubicBezTo>
                  <a:pt x="1175" y="208"/>
                  <a:pt x="1175" y="208"/>
                  <a:pt x="1175" y="208"/>
                </a:cubicBezTo>
                <a:cubicBezTo>
                  <a:pt x="1173" y="221"/>
                  <a:pt x="1173" y="221"/>
                  <a:pt x="1173" y="221"/>
                </a:cubicBezTo>
                <a:cubicBezTo>
                  <a:pt x="1171" y="220"/>
                  <a:pt x="1169" y="220"/>
                  <a:pt x="1168" y="220"/>
                </a:cubicBezTo>
                <a:cubicBezTo>
                  <a:pt x="1163" y="220"/>
                  <a:pt x="1159" y="222"/>
                  <a:pt x="1156" y="224"/>
                </a:cubicBezTo>
                <a:cubicBezTo>
                  <a:pt x="1152" y="227"/>
                  <a:pt x="1150" y="230"/>
                  <a:pt x="1148" y="234"/>
                </a:cubicBezTo>
                <a:cubicBezTo>
                  <a:pt x="1146" y="238"/>
                  <a:pt x="1145" y="242"/>
                  <a:pt x="1145" y="246"/>
                </a:cubicBezTo>
                <a:cubicBezTo>
                  <a:pt x="1145" y="250"/>
                  <a:pt x="1146" y="254"/>
                  <a:pt x="1148" y="257"/>
                </a:cubicBezTo>
                <a:cubicBezTo>
                  <a:pt x="1150" y="259"/>
                  <a:pt x="1153" y="261"/>
                  <a:pt x="1157" y="261"/>
                </a:cubicBezTo>
                <a:cubicBezTo>
                  <a:pt x="1159" y="261"/>
                  <a:pt x="1162" y="260"/>
                  <a:pt x="1163" y="259"/>
                </a:cubicBezTo>
                <a:cubicBezTo>
                  <a:pt x="1165" y="258"/>
                  <a:pt x="1167" y="256"/>
                  <a:pt x="1168" y="255"/>
                </a:cubicBezTo>
                <a:cubicBezTo>
                  <a:pt x="1168" y="256"/>
                  <a:pt x="1168" y="256"/>
                  <a:pt x="1168" y="256"/>
                </a:cubicBezTo>
                <a:cubicBezTo>
                  <a:pt x="1168" y="259"/>
                  <a:pt x="1170" y="261"/>
                  <a:pt x="1173" y="261"/>
                </a:cubicBezTo>
                <a:cubicBezTo>
                  <a:pt x="1174" y="261"/>
                  <a:pt x="1176" y="260"/>
                  <a:pt x="1177" y="259"/>
                </a:cubicBezTo>
                <a:cubicBezTo>
                  <a:pt x="1178" y="258"/>
                  <a:pt x="1179" y="257"/>
                  <a:pt x="1180" y="256"/>
                </a:cubicBezTo>
                <a:cubicBezTo>
                  <a:pt x="1179" y="255"/>
                  <a:pt x="1179" y="255"/>
                  <a:pt x="1179" y="255"/>
                </a:cubicBezTo>
                <a:cubicBezTo>
                  <a:pt x="1178" y="256"/>
                  <a:pt x="1177" y="256"/>
                  <a:pt x="1176" y="256"/>
                </a:cubicBezTo>
                <a:cubicBezTo>
                  <a:pt x="1175" y="256"/>
                  <a:pt x="1175" y="256"/>
                  <a:pt x="1175" y="255"/>
                </a:cubicBezTo>
                <a:cubicBezTo>
                  <a:pt x="1175" y="254"/>
                  <a:pt x="1175" y="254"/>
                  <a:pt x="1175" y="254"/>
                </a:cubicBezTo>
                <a:close/>
                <a:moveTo>
                  <a:pt x="1172" y="225"/>
                </a:moveTo>
                <a:cubicBezTo>
                  <a:pt x="1169" y="250"/>
                  <a:pt x="1169" y="250"/>
                  <a:pt x="1169" y="250"/>
                </a:cubicBezTo>
                <a:cubicBezTo>
                  <a:pt x="1168" y="252"/>
                  <a:pt x="1166" y="253"/>
                  <a:pt x="1164" y="254"/>
                </a:cubicBezTo>
                <a:cubicBezTo>
                  <a:pt x="1163" y="256"/>
                  <a:pt x="1161" y="256"/>
                  <a:pt x="1159" y="256"/>
                </a:cubicBezTo>
                <a:cubicBezTo>
                  <a:pt x="1157" y="256"/>
                  <a:pt x="1155" y="255"/>
                  <a:pt x="1154" y="253"/>
                </a:cubicBezTo>
                <a:cubicBezTo>
                  <a:pt x="1153" y="252"/>
                  <a:pt x="1153" y="249"/>
                  <a:pt x="1153" y="246"/>
                </a:cubicBezTo>
                <a:cubicBezTo>
                  <a:pt x="1153" y="242"/>
                  <a:pt x="1153" y="239"/>
                  <a:pt x="1154" y="236"/>
                </a:cubicBezTo>
                <a:cubicBezTo>
                  <a:pt x="1155" y="232"/>
                  <a:pt x="1157" y="230"/>
                  <a:pt x="1159" y="227"/>
                </a:cubicBezTo>
                <a:cubicBezTo>
                  <a:pt x="1161" y="225"/>
                  <a:pt x="1164" y="224"/>
                  <a:pt x="1167" y="224"/>
                </a:cubicBezTo>
                <a:cubicBezTo>
                  <a:pt x="1169" y="224"/>
                  <a:pt x="1171" y="224"/>
                  <a:pt x="1172" y="225"/>
                </a:cubicBezTo>
                <a:close/>
                <a:moveTo>
                  <a:pt x="1198" y="254"/>
                </a:moveTo>
                <a:cubicBezTo>
                  <a:pt x="1202" y="221"/>
                  <a:pt x="1202" y="221"/>
                  <a:pt x="1202" y="221"/>
                </a:cubicBezTo>
                <a:cubicBezTo>
                  <a:pt x="1201" y="220"/>
                  <a:pt x="1201" y="220"/>
                  <a:pt x="1201" y="220"/>
                </a:cubicBezTo>
                <a:cubicBezTo>
                  <a:pt x="1191" y="222"/>
                  <a:pt x="1191" y="222"/>
                  <a:pt x="1191" y="222"/>
                </a:cubicBezTo>
                <a:cubicBezTo>
                  <a:pt x="1190" y="224"/>
                  <a:pt x="1190" y="224"/>
                  <a:pt x="1190" y="224"/>
                </a:cubicBezTo>
                <a:cubicBezTo>
                  <a:pt x="1195" y="226"/>
                  <a:pt x="1195" y="226"/>
                  <a:pt x="1195" y="226"/>
                </a:cubicBezTo>
                <a:cubicBezTo>
                  <a:pt x="1194" y="233"/>
                  <a:pt x="1193" y="239"/>
                  <a:pt x="1192" y="243"/>
                </a:cubicBezTo>
                <a:cubicBezTo>
                  <a:pt x="1191" y="251"/>
                  <a:pt x="1191" y="255"/>
                  <a:pt x="1191" y="256"/>
                </a:cubicBezTo>
                <a:cubicBezTo>
                  <a:pt x="1190" y="258"/>
                  <a:pt x="1191" y="259"/>
                  <a:pt x="1192" y="260"/>
                </a:cubicBezTo>
                <a:cubicBezTo>
                  <a:pt x="1192" y="260"/>
                  <a:pt x="1194" y="261"/>
                  <a:pt x="1195" y="261"/>
                </a:cubicBezTo>
                <a:cubicBezTo>
                  <a:pt x="1197" y="261"/>
                  <a:pt x="1199" y="260"/>
                  <a:pt x="1200" y="259"/>
                </a:cubicBezTo>
                <a:cubicBezTo>
                  <a:pt x="1202" y="258"/>
                  <a:pt x="1203" y="257"/>
                  <a:pt x="1203" y="256"/>
                </a:cubicBezTo>
                <a:cubicBezTo>
                  <a:pt x="1202" y="254"/>
                  <a:pt x="1202" y="254"/>
                  <a:pt x="1202" y="254"/>
                </a:cubicBezTo>
                <a:cubicBezTo>
                  <a:pt x="1202" y="255"/>
                  <a:pt x="1201" y="256"/>
                  <a:pt x="1200" y="256"/>
                </a:cubicBezTo>
                <a:cubicBezTo>
                  <a:pt x="1200" y="256"/>
                  <a:pt x="1199" y="256"/>
                  <a:pt x="1199" y="256"/>
                </a:cubicBezTo>
                <a:cubicBezTo>
                  <a:pt x="1198" y="256"/>
                  <a:pt x="1198" y="256"/>
                  <a:pt x="1198" y="256"/>
                </a:cubicBezTo>
                <a:cubicBezTo>
                  <a:pt x="1198" y="256"/>
                  <a:pt x="1198" y="255"/>
                  <a:pt x="1198" y="255"/>
                </a:cubicBezTo>
                <a:lnTo>
                  <a:pt x="1198" y="254"/>
                </a:lnTo>
                <a:close/>
                <a:moveTo>
                  <a:pt x="1200" y="213"/>
                </a:moveTo>
                <a:cubicBezTo>
                  <a:pt x="1201" y="213"/>
                  <a:pt x="1202" y="212"/>
                  <a:pt x="1203" y="211"/>
                </a:cubicBezTo>
                <a:cubicBezTo>
                  <a:pt x="1204" y="210"/>
                  <a:pt x="1205" y="209"/>
                  <a:pt x="1205" y="207"/>
                </a:cubicBezTo>
                <a:cubicBezTo>
                  <a:pt x="1205" y="206"/>
                  <a:pt x="1204" y="206"/>
                  <a:pt x="1204" y="205"/>
                </a:cubicBezTo>
                <a:cubicBezTo>
                  <a:pt x="1203" y="204"/>
                  <a:pt x="1202" y="204"/>
                  <a:pt x="1201" y="204"/>
                </a:cubicBezTo>
                <a:cubicBezTo>
                  <a:pt x="1200" y="204"/>
                  <a:pt x="1198" y="204"/>
                  <a:pt x="1198" y="205"/>
                </a:cubicBezTo>
                <a:cubicBezTo>
                  <a:pt x="1197" y="206"/>
                  <a:pt x="1196" y="207"/>
                  <a:pt x="1196" y="209"/>
                </a:cubicBezTo>
                <a:cubicBezTo>
                  <a:pt x="1196" y="210"/>
                  <a:pt x="1197" y="211"/>
                  <a:pt x="1197" y="212"/>
                </a:cubicBezTo>
                <a:cubicBezTo>
                  <a:pt x="1198" y="212"/>
                  <a:pt x="1199" y="213"/>
                  <a:pt x="1200" y="213"/>
                </a:cubicBezTo>
                <a:close/>
                <a:moveTo>
                  <a:pt x="1237" y="228"/>
                </a:moveTo>
                <a:cubicBezTo>
                  <a:pt x="1238" y="229"/>
                  <a:pt x="1238" y="229"/>
                  <a:pt x="1238" y="229"/>
                </a:cubicBezTo>
                <a:cubicBezTo>
                  <a:pt x="1240" y="222"/>
                  <a:pt x="1240" y="222"/>
                  <a:pt x="1240" y="222"/>
                </a:cubicBezTo>
                <a:cubicBezTo>
                  <a:pt x="1239" y="221"/>
                  <a:pt x="1238" y="221"/>
                  <a:pt x="1237" y="221"/>
                </a:cubicBezTo>
                <a:cubicBezTo>
                  <a:pt x="1235" y="220"/>
                  <a:pt x="1234" y="220"/>
                  <a:pt x="1232" y="220"/>
                </a:cubicBezTo>
                <a:cubicBezTo>
                  <a:pt x="1228" y="220"/>
                  <a:pt x="1224" y="221"/>
                  <a:pt x="1221" y="224"/>
                </a:cubicBezTo>
                <a:cubicBezTo>
                  <a:pt x="1218" y="227"/>
                  <a:pt x="1216" y="230"/>
                  <a:pt x="1214" y="234"/>
                </a:cubicBezTo>
                <a:cubicBezTo>
                  <a:pt x="1213" y="237"/>
                  <a:pt x="1212" y="241"/>
                  <a:pt x="1212" y="245"/>
                </a:cubicBezTo>
                <a:cubicBezTo>
                  <a:pt x="1212" y="250"/>
                  <a:pt x="1213" y="254"/>
                  <a:pt x="1215" y="257"/>
                </a:cubicBezTo>
                <a:cubicBezTo>
                  <a:pt x="1217" y="259"/>
                  <a:pt x="1220" y="261"/>
                  <a:pt x="1224" y="261"/>
                </a:cubicBezTo>
                <a:cubicBezTo>
                  <a:pt x="1227" y="261"/>
                  <a:pt x="1230" y="260"/>
                  <a:pt x="1232" y="259"/>
                </a:cubicBezTo>
                <a:cubicBezTo>
                  <a:pt x="1235" y="257"/>
                  <a:pt x="1236" y="256"/>
                  <a:pt x="1238" y="254"/>
                </a:cubicBezTo>
                <a:cubicBezTo>
                  <a:pt x="1236" y="252"/>
                  <a:pt x="1236" y="252"/>
                  <a:pt x="1236" y="252"/>
                </a:cubicBezTo>
                <a:cubicBezTo>
                  <a:pt x="1235" y="253"/>
                  <a:pt x="1233" y="254"/>
                  <a:pt x="1232" y="255"/>
                </a:cubicBezTo>
                <a:cubicBezTo>
                  <a:pt x="1230" y="256"/>
                  <a:pt x="1229" y="256"/>
                  <a:pt x="1227" y="256"/>
                </a:cubicBezTo>
                <a:cubicBezTo>
                  <a:pt x="1224" y="256"/>
                  <a:pt x="1222" y="255"/>
                  <a:pt x="1221" y="253"/>
                </a:cubicBezTo>
                <a:cubicBezTo>
                  <a:pt x="1220" y="251"/>
                  <a:pt x="1219" y="248"/>
                  <a:pt x="1219" y="244"/>
                </a:cubicBezTo>
                <a:cubicBezTo>
                  <a:pt x="1219" y="240"/>
                  <a:pt x="1219" y="237"/>
                  <a:pt x="1221" y="234"/>
                </a:cubicBezTo>
                <a:cubicBezTo>
                  <a:pt x="1222" y="231"/>
                  <a:pt x="1223" y="229"/>
                  <a:pt x="1225" y="227"/>
                </a:cubicBezTo>
                <a:cubicBezTo>
                  <a:pt x="1227" y="225"/>
                  <a:pt x="1229" y="225"/>
                  <a:pt x="1231" y="225"/>
                </a:cubicBezTo>
                <a:cubicBezTo>
                  <a:pt x="1232" y="225"/>
                  <a:pt x="1235" y="226"/>
                  <a:pt x="1237" y="228"/>
                </a:cubicBezTo>
                <a:close/>
                <a:moveTo>
                  <a:pt x="1255" y="254"/>
                </a:moveTo>
                <a:cubicBezTo>
                  <a:pt x="1260" y="221"/>
                  <a:pt x="1260" y="221"/>
                  <a:pt x="1260" y="221"/>
                </a:cubicBezTo>
                <a:cubicBezTo>
                  <a:pt x="1259" y="220"/>
                  <a:pt x="1259" y="220"/>
                  <a:pt x="1259" y="220"/>
                </a:cubicBezTo>
                <a:cubicBezTo>
                  <a:pt x="1249" y="222"/>
                  <a:pt x="1249" y="222"/>
                  <a:pt x="1249" y="222"/>
                </a:cubicBezTo>
                <a:cubicBezTo>
                  <a:pt x="1248" y="224"/>
                  <a:pt x="1248" y="224"/>
                  <a:pt x="1248" y="224"/>
                </a:cubicBezTo>
                <a:cubicBezTo>
                  <a:pt x="1253" y="226"/>
                  <a:pt x="1253" y="226"/>
                  <a:pt x="1253" y="226"/>
                </a:cubicBezTo>
                <a:cubicBezTo>
                  <a:pt x="1252" y="233"/>
                  <a:pt x="1251" y="239"/>
                  <a:pt x="1250" y="243"/>
                </a:cubicBezTo>
                <a:cubicBezTo>
                  <a:pt x="1249" y="251"/>
                  <a:pt x="1248" y="255"/>
                  <a:pt x="1248" y="256"/>
                </a:cubicBezTo>
                <a:cubicBezTo>
                  <a:pt x="1248" y="258"/>
                  <a:pt x="1249" y="259"/>
                  <a:pt x="1249" y="260"/>
                </a:cubicBezTo>
                <a:cubicBezTo>
                  <a:pt x="1250" y="260"/>
                  <a:pt x="1251" y="261"/>
                  <a:pt x="1253" y="261"/>
                </a:cubicBezTo>
                <a:cubicBezTo>
                  <a:pt x="1255" y="261"/>
                  <a:pt x="1256" y="260"/>
                  <a:pt x="1258" y="259"/>
                </a:cubicBezTo>
                <a:cubicBezTo>
                  <a:pt x="1259" y="258"/>
                  <a:pt x="1260" y="257"/>
                  <a:pt x="1261" y="256"/>
                </a:cubicBezTo>
                <a:cubicBezTo>
                  <a:pt x="1260" y="254"/>
                  <a:pt x="1260" y="254"/>
                  <a:pt x="1260" y="254"/>
                </a:cubicBezTo>
                <a:cubicBezTo>
                  <a:pt x="1259" y="255"/>
                  <a:pt x="1259" y="256"/>
                  <a:pt x="1258" y="256"/>
                </a:cubicBezTo>
                <a:cubicBezTo>
                  <a:pt x="1258" y="256"/>
                  <a:pt x="1257" y="256"/>
                  <a:pt x="1256" y="256"/>
                </a:cubicBezTo>
                <a:cubicBezTo>
                  <a:pt x="1256" y="256"/>
                  <a:pt x="1256" y="256"/>
                  <a:pt x="1256" y="256"/>
                </a:cubicBezTo>
                <a:cubicBezTo>
                  <a:pt x="1255" y="256"/>
                  <a:pt x="1255" y="255"/>
                  <a:pt x="1255" y="255"/>
                </a:cubicBezTo>
                <a:lnTo>
                  <a:pt x="1255" y="254"/>
                </a:lnTo>
                <a:close/>
                <a:moveTo>
                  <a:pt x="1258" y="213"/>
                </a:moveTo>
                <a:cubicBezTo>
                  <a:pt x="1259" y="213"/>
                  <a:pt x="1260" y="212"/>
                  <a:pt x="1261" y="211"/>
                </a:cubicBezTo>
                <a:cubicBezTo>
                  <a:pt x="1262" y="210"/>
                  <a:pt x="1262" y="209"/>
                  <a:pt x="1262" y="207"/>
                </a:cubicBezTo>
                <a:cubicBezTo>
                  <a:pt x="1262" y="206"/>
                  <a:pt x="1262" y="206"/>
                  <a:pt x="1261" y="205"/>
                </a:cubicBezTo>
                <a:cubicBezTo>
                  <a:pt x="1261" y="204"/>
                  <a:pt x="1260" y="204"/>
                  <a:pt x="1259" y="204"/>
                </a:cubicBezTo>
                <a:cubicBezTo>
                  <a:pt x="1257" y="204"/>
                  <a:pt x="1256" y="204"/>
                  <a:pt x="1255" y="205"/>
                </a:cubicBezTo>
                <a:cubicBezTo>
                  <a:pt x="1254" y="206"/>
                  <a:pt x="1254" y="207"/>
                  <a:pt x="1254" y="209"/>
                </a:cubicBezTo>
                <a:cubicBezTo>
                  <a:pt x="1254" y="210"/>
                  <a:pt x="1254" y="211"/>
                  <a:pt x="1255" y="212"/>
                </a:cubicBezTo>
                <a:cubicBezTo>
                  <a:pt x="1256" y="212"/>
                  <a:pt x="1257" y="213"/>
                  <a:pt x="1258" y="213"/>
                </a:cubicBezTo>
                <a:close/>
                <a:moveTo>
                  <a:pt x="1282" y="229"/>
                </a:moveTo>
                <a:cubicBezTo>
                  <a:pt x="1283" y="221"/>
                  <a:pt x="1283" y="221"/>
                  <a:pt x="1283" y="221"/>
                </a:cubicBezTo>
                <a:cubicBezTo>
                  <a:pt x="1281" y="220"/>
                  <a:pt x="1281" y="220"/>
                  <a:pt x="1281" y="220"/>
                </a:cubicBezTo>
                <a:cubicBezTo>
                  <a:pt x="1273" y="222"/>
                  <a:pt x="1273" y="222"/>
                  <a:pt x="1273" y="222"/>
                </a:cubicBezTo>
                <a:cubicBezTo>
                  <a:pt x="1272" y="224"/>
                  <a:pt x="1272" y="224"/>
                  <a:pt x="1272" y="224"/>
                </a:cubicBezTo>
                <a:cubicBezTo>
                  <a:pt x="1275" y="226"/>
                  <a:pt x="1275" y="226"/>
                  <a:pt x="1275" y="226"/>
                </a:cubicBezTo>
                <a:cubicBezTo>
                  <a:pt x="1271" y="260"/>
                  <a:pt x="1271" y="260"/>
                  <a:pt x="1271" y="260"/>
                </a:cubicBezTo>
                <a:cubicBezTo>
                  <a:pt x="1278" y="260"/>
                  <a:pt x="1278" y="260"/>
                  <a:pt x="1278" y="260"/>
                </a:cubicBezTo>
                <a:cubicBezTo>
                  <a:pt x="1281" y="235"/>
                  <a:pt x="1281" y="235"/>
                  <a:pt x="1281" y="235"/>
                </a:cubicBezTo>
                <a:cubicBezTo>
                  <a:pt x="1283" y="232"/>
                  <a:pt x="1285" y="230"/>
                  <a:pt x="1287" y="228"/>
                </a:cubicBezTo>
                <a:cubicBezTo>
                  <a:pt x="1289" y="226"/>
                  <a:pt x="1291" y="225"/>
                  <a:pt x="1293" y="225"/>
                </a:cubicBezTo>
                <a:cubicBezTo>
                  <a:pt x="1295" y="225"/>
                  <a:pt x="1296" y="226"/>
                  <a:pt x="1297" y="226"/>
                </a:cubicBezTo>
                <a:cubicBezTo>
                  <a:pt x="1297" y="227"/>
                  <a:pt x="1298" y="229"/>
                  <a:pt x="1298" y="231"/>
                </a:cubicBezTo>
                <a:cubicBezTo>
                  <a:pt x="1298" y="233"/>
                  <a:pt x="1297" y="234"/>
                  <a:pt x="1297" y="236"/>
                </a:cubicBezTo>
                <a:cubicBezTo>
                  <a:pt x="1297" y="238"/>
                  <a:pt x="1297" y="240"/>
                  <a:pt x="1296" y="243"/>
                </a:cubicBezTo>
                <a:cubicBezTo>
                  <a:pt x="1296" y="245"/>
                  <a:pt x="1296" y="245"/>
                  <a:pt x="1296" y="245"/>
                </a:cubicBezTo>
                <a:cubicBezTo>
                  <a:pt x="1295" y="248"/>
                  <a:pt x="1295" y="248"/>
                  <a:pt x="1295" y="248"/>
                </a:cubicBezTo>
                <a:cubicBezTo>
                  <a:pt x="1294" y="252"/>
                  <a:pt x="1294" y="255"/>
                  <a:pt x="1294" y="256"/>
                </a:cubicBezTo>
                <a:cubicBezTo>
                  <a:pt x="1294" y="259"/>
                  <a:pt x="1295" y="261"/>
                  <a:pt x="1298" y="261"/>
                </a:cubicBezTo>
                <a:cubicBezTo>
                  <a:pt x="1300" y="261"/>
                  <a:pt x="1301" y="260"/>
                  <a:pt x="1302" y="260"/>
                </a:cubicBezTo>
                <a:cubicBezTo>
                  <a:pt x="1303" y="259"/>
                  <a:pt x="1304" y="259"/>
                  <a:pt x="1305" y="258"/>
                </a:cubicBezTo>
                <a:cubicBezTo>
                  <a:pt x="1305" y="258"/>
                  <a:pt x="1306" y="257"/>
                  <a:pt x="1306" y="257"/>
                </a:cubicBezTo>
                <a:cubicBezTo>
                  <a:pt x="1305" y="255"/>
                  <a:pt x="1305" y="255"/>
                  <a:pt x="1305" y="255"/>
                </a:cubicBezTo>
                <a:cubicBezTo>
                  <a:pt x="1304" y="256"/>
                  <a:pt x="1303" y="256"/>
                  <a:pt x="1302" y="256"/>
                </a:cubicBezTo>
                <a:cubicBezTo>
                  <a:pt x="1301" y="256"/>
                  <a:pt x="1301" y="256"/>
                  <a:pt x="1301" y="255"/>
                </a:cubicBezTo>
                <a:cubicBezTo>
                  <a:pt x="1301" y="253"/>
                  <a:pt x="1301" y="250"/>
                  <a:pt x="1302" y="246"/>
                </a:cubicBezTo>
                <a:cubicBezTo>
                  <a:pt x="1303" y="243"/>
                  <a:pt x="1303" y="243"/>
                  <a:pt x="1303" y="243"/>
                </a:cubicBezTo>
                <a:cubicBezTo>
                  <a:pt x="1303" y="241"/>
                  <a:pt x="1303" y="241"/>
                  <a:pt x="1303" y="241"/>
                </a:cubicBezTo>
                <a:cubicBezTo>
                  <a:pt x="1304" y="236"/>
                  <a:pt x="1305" y="232"/>
                  <a:pt x="1305" y="230"/>
                </a:cubicBezTo>
                <a:cubicBezTo>
                  <a:pt x="1305" y="227"/>
                  <a:pt x="1304" y="224"/>
                  <a:pt x="1302" y="223"/>
                </a:cubicBezTo>
                <a:cubicBezTo>
                  <a:pt x="1301" y="221"/>
                  <a:pt x="1299" y="220"/>
                  <a:pt x="1296" y="220"/>
                </a:cubicBezTo>
                <a:cubicBezTo>
                  <a:pt x="1294" y="220"/>
                  <a:pt x="1291" y="221"/>
                  <a:pt x="1289" y="223"/>
                </a:cubicBezTo>
                <a:cubicBezTo>
                  <a:pt x="1286" y="224"/>
                  <a:pt x="1284" y="227"/>
                  <a:pt x="1282" y="229"/>
                </a:cubicBezTo>
                <a:close/>
                <a:moveTo>
                  <a:pt x="1342" y="253"/>
                </a:moveTo>
                <a:cubicBezTo>
                  <a:pt x="1340" y="251"/>
                  <a:pt x="1340" y="251"/>
                  <a:pt x="1340" y="251"/>
                </a:cubicBezTo>
                <a:cubicBezTo>
                  <a:pt x="1339" y="253"/>
                  <a:pt x="1337" y="254"/>
                  <a:pt x="1335" y="255"/>
                </a:cubicBezTo>
                <a:cubicBezTo>
                  <a:pt x="1333" y="256"/>
                  <a:pt x="1331" y="256"/>
                  <a:pt x="1329" y="256"/>
                </a:cubicBezTo>
                <a:cubicBezTo>
                  <a:pt x="1326" y="256"/>
                  <a:pt x="1323" y="255"/>
                  <a:pt x="1322" y="253"/>
                </a:cubicBezTo>
                <a:cubicBezTo>
                  <a:pt x="1321" y="250"/>
                  <a:pt x="1320" y="247"/>
                  <a:pt x="1320" y="244"/>
                </a:cubicBezTo>
                <a:cubicBezTo>
                  <a:pt x="1323" y="244"/>
                  <a:pt x="1327" y="244"/>
                  <a:pt x="1330" y="242"/>
                </a:cubicBezTo>
                <a:cubicBezTo>
                  <a:pt x="1334" y="241"/>
                  <a:pt x="1337" y="240"/>
                  <a:pt x="1340" y="237"/>
                </a:cubicBezTo>
                <a:cubicBezTo>
                  <a:pt x="1342" y="235"/>
                  <a:pt x="1344" y="232"/>
                  <a:pt x="1344" y="229"/>
                </a:cubicBezTo>
                <a:cubicBezTo>
                  <a:pt x="1344" y="226"/>
                  <a:pt x="1343" y="224"/>
                  <a:pt x="1341" y="223"/>
                </a:cubicBezTo>
                <a:cubicBezTo>
                  <a:pt x="1340" y="221"/>
                  <a:pt x="1337" y="220"/>
                  <a:pt x="1334" y="220"/>
                </a:cubicBezTo>
                <a:cubicBezTo>
                  <a:pt x="1330" y="220"/>
                  <a:pt x="1326" y="221"/>
                  <a:pt x="1323" y="224"/>
                </a:cubicBezTo>
                <a:cubicBezTo>
                  <a:pt x="1320" y="226"/>
                  <a:pt x="1318" y="229"/>
                  <a:pt x="1316" y="233"/>
                </a:cubicBezTo>
                <a:cubicBezTo>
                  <a:pt x="1314" y="237"/>
                  <a:pt x="1313" y="241"/>
                  <a:pt x="1313" y="246"/>
                </a:cubicBezTo>
                <a:cubicBezTo>
                  <a:pt x="1313" y="248"/>
                  <a:pt x="1314" y="251"/>
                  <a:pt x="1315" y="253"/>
                </a:cubicBezTo>
                <a:cubicBezTo>
                  <a:pt x="1316" y="255"/>
                  <a:pt x="1317" y="257"/>
                  <a:pt x="1319" y="259"/>
                </a:cubicBezTo>
                <a:cubicBezTo>
                  <a:pt x="1321" y="260"/>
                  <a:pt x="1324" y="261"/>
                  <a:pt x="1327" y="261"/>
                </a:cubicBezTo>
                <a:cubicBezTo>
                  <a:pt x="1330" y="261"/>
                  <a:pt x="1333" y="260"/>
                  <a:pt x="1336" y="258"/>
                </a:cubicBezTo>
                <a:cubicBezTo>
                  <a:pt x="1339" y="257"/>
                  <a:pt x="1341" y="255"/>
                  <a:pt x="1342" y="253"/>
                </a:cubicBezTo>
                <a:close/>
                <a:moveTo>
                  <a:pt x="1332" y="224"/>
                </a:moveTo>
                <a:cubicBezTo>
                  <a:pt x="1334" y="224"/>
                  <a:pt x="1335" y="224"/>
                  <a:pt x="1336" y="225"/>
                </a:cubicBezTo>
                <a:cubicBezTo>
                  <a:pt x="1337" y="226"/>
                  <a:pt x="1337" y="228"/>
                  <a:pt x="1337" y="229"/>
                </a:cubicBezTo>
                <a:cubicBezTo>
                  <a:pt x="1337" y="232"/>
                  <a:pt x="1336" y="234"/>
                  <a:pt x="1334" y="235"/>
                </a:cubicBezTo>
                <a:cubicBezTo>
                  <a:pt x="1333" y="237"/>
                  <a:pt x="1331" y="238"/>
                  <a:pt x="1328" y="239"/>
                </a:cubicBezTo>
                <a:cubicBezTo>
                  <a:pt x="1325" y="240"/>
                  <a:pt x="1323" y="241"/>
                  <a:pt x="1321" y="241"/>
                </a:cubicBezTo>
                <a:cubicBezTo>
                  <a:pt x="1321" y="238"/>
                  <a:pt x="1321" y="236"/>
                  <a:pt x="1322" y="233"/>
                </a:cubicBezTo>
                <a:cubicBezTo>
                  <a:pt x="1323" y="230"/>
                  <a:pt x="1325" y="228"/>
                  <a:pt x="1326" y="226"/>
                </a:cubicBezTo>
                <a:cubicBezTo>
                  <a:pt x="1328" y="225"/>
                  <a:pt x="1330" y="224"/>
                  <a:pt x="1332" y="224"/>
                </a:cubicBezTo>
                <a:close/>
              </a:path>
            </a:pathLst>
          </a:custGeom>
          <a:solidFill>
            <a:schemeClr val="bg1"/>
          </a:solidFill>
          <a:ln>
            <a:noFill/>
          </a:ln>
        </p:spPr>
        <p:txBody>
          <a:bodyPr vert="horz" wrap="square" lIns="121920" tIns="60960" rIns="121920" bIns="60960" numCol="1" anchor="t" anchorCtr="0" compatLnSpc="1">
            <a:prstTxWarp prst="textNoShape">
              <a:avLst/>
            </a:prstTxWarp>
          </a:bodyPr>
          <a:lstStyle/>
          <a:p>
            <a:endParaRPr lang="en-US" sz="2400"/>
          </a:p>
        </p:txBody>
      </p:sp>
      <p:sp>
        <p:nvSpPr>
          <p:cNvPr id="17" name="Text Placeholder 16">
            <a:extLst>
              <a:ext uri="{FF2B5EF4-FFF2-40B4-BE49-F238E27FC236}">
                <a16:creationId xmlns:a16="http://schemas.microsoft.com/office/drawing/2014/main" id="{FCA018DF-7EFB-4D08-89D5-E61FB47F425E}"/>
              </a:ext>
            </a:extLst>
          </p:cNvPr>
          <p:cNvSpPr>
            <a:spLocks noGrp="1"/>
          </p:cNvSpPr>
          <p:nvPr>
            <p:ph type="body" sz="quarter" idx="12" hasCustomPrompt="1"/>
          </p:nvPr>
        </p:nvSpPr>
        <p:spPr>
          <a:xfrm>
            <a:off x="7995920" y="6515586"/>
            <a:ext cx="3222413" cy="169277"/>
          </a:xfrm>
        </p:spPr>
        <p:txBody>
          <a:bodyPr wrap="square">
            <a:spAutoFit/>
          </a:bodyPr>
          <a:lstStyle>
            <a:lvl1pPr marL="0" indent="0">
              <a:buNone/>
              <a:defRPr sz="1000" cap="all" spc="147" baseline="0">
                <a:solidFill>
                  <a:schemeClr val="tx2"/>
                </a:solidFill>
              </a:defRPr>
            </a:lvl1pPr>
          </a:lstStyle>
          <a:p>
            <a:pPr lvl="0"/>
            <a:r>
              <a:rPr lang="en-US"/>
              <a:t>CLICK TO EDIT MASTER TEXT</a:t>
            </a:r>
          </a:p>
        </p:txBody>
      </p:sp>
    </p:spTree>
    <p:extLst>
      <p:ext uri="{BB962C8B-B14F-4D97-AF65-F5344CB8AC3E}">
        <p14:creationId xmlns:p14="http://schemas.microsoft.com/office/powerpoint/2010/main" val="1633148398"/>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p:cSld name="Section Header - Deep Purpl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60400" y="1874075"/>
            <a:ext cx="4794739" cy="2363591"/>
          </a:xfrm>
        </p:spPr>
        <p:txBody>
          <a:bodyPr anchor="t" anchorCtr="0">
            <a:normAutofit/>
          </a:bodyPr>
          <a:lstStyle>
            <a:lvl1pPr>
              <a:defRPr sz="3733">
                <a:solidFill>
                  <a:schemeClr val="bg1"/>
                </a:solidFill>
              </a:defRPr>
            </a:lvl1pPr>
          </a:lstStyle>
          <a:p>
            <a:r>
              <a:rPr lang="en-US"/>
              <a:t>Click to edit Master title style</a:t>
            </a:r>
          </a:p>
        </p:txBody>
      </p:sp>
      <p:sp>
        <p:nvSpPr>
          <p:cNvPr id="3" name="Text Placeholder 2"/>
          <p:cNvSpPr>
            <a:spLocks noGrp="1"/>
          </p:cNvSpPr>
          <p:nvPr>
            <p:ph type="body" idx="1" hasCustomPrompt="1"/>
          </p:nvPr>
        </p:nvSpPr>
        <p:spPr>
          <a:xfrm>
            <a:off x="9759493" y="1524037"/>
            <a:ext cx="1547447" cy="1249231"/>
          </a:xfrm>
        </p:spPr>
        <p:txBody>
          <a:bodyPr>
            <a:noAutofit/>
          </a:bodyPr>
          <a:lstStyle>
            <a:lvl1pPr marL="0" indent="0" algn="r">
              <a:buNone/>
              <a:defRPr sz="8000">
                <a:solidFill>
                  <a:srgbClr val="B6BDBD"/>
                </a:solidFill>
                <a:latin typeface="+mj-lt"/>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a:t>XX</a:t>
            </a:r>
          </a:p>
        </p:txBody>
      </p:sp>
      <p:sp>
        <p:nvSpPr>
          <p:cNvPr id="6" name="Slide Number Placeholder 5"/>
          <p:cNvSpPr>
            <a:spLocks noGrp="1"/>
          </p:cNvSpPr>
          <p:nvPr>
            <p:ph type="sldNum" sz="quarter" idx="12"/>
          </p:nvPr>
        </p:nvSpPr>
        <p:spPr/>
        <p:txBody>
          <a:bodyPr/>
          <a:lstStyle/>
          <a:p>
            <a:fld id="{2F687C33-47E0-407C-B61F-DB8DDD78F4C7}" type="slidenum">
              <a:rPr lang="en-US" smtClean="0"/>
              <a:t>‹#›</a:t>
            </a:fld>
            <a:endParaRPr lang="en-US"/>
          </a:p>
        </p:txBody>
      </p:sp>
      <p:sp>
        <p:nvSpPr>
          <p:cNvPr id="10" name="Picture Placeholder 9">
            <a:extLst>
              <a:ext uri="{FF2B5EF4-FFF2-40B4-BE49-F238E27FC236}">
                <a16:creationId xmlns:a16="http://schemas.microsoft.com/office/drawing/2014/main" id="{8113BA2E-092B-4BF2-8FB1-0AAC0955C2BB}"/>
              </a:ext>
            </a:extLst>
          </p:cNvPr>
          <p:cNvSpPr>
            <a:spLocks noGrp="1"/>
          </p:cNvSpPr>
          <p:nvPr>
            <p:ph type="pic" sz="quarter" idx="13"/>
          </p:nvPr>
        </p:nvSpPr>
        <p:spPr>
          <a:xfrm>
            <a:off x="5831418" y="1873251"/>
            <a:ext cx="4116916" cy="4984749"/>
          </a:xfrm>
          <a:solidFill>
            <a:schemeClr val="bg2">
              <a:lumMod val="90000"/>
            </a:schemeClr>
          </a:solidFill>
        </p:spPr>
        <p:txBody>
          <a:bodyPr tIns="548640"/>
          <a:lstStyle>
            <a:lvl1pPr marL="0" indent="0" algn="ctr">
              <a:buNone/>
              <a:defRPr/>
            </a:lvl1pPr>
          </a:lstStyle>
          <a:p>
            <a:r>
              <a:rPr lang="en-US"/>
              <a:t>Click icon to add picture</a:t>
            </a:r>
          </a:p>
        </p:txBody>
      </p:sp>
      <p:sp>
        <p:nvSpPr>
          <p:cNvPr id="11" name="Text Placeholder 16">
            <a:extLst>
              <a:ext uri="{FF2B5EF4-FFF2-40B4-BE49-F238E27FC236}">
                <a16:creationId xmlns:a16="http://schemas.microsoft.com/office/drawing/2014/main" id="{D8F21E1D-5F95-4EE3-B551-B64B1E8EA4BC}"/>
              </a:ext>
            </a:extLst>
          </p:cNvPr>
          <p:cNvSpPr>
            <a:spLocks noGrp="1"/>
          </p:cNvSpPr>
          <p:nvPr>
            <p:ph type="body" sz="quarter" idx="14" hasCustomPrompt="1"/>
          </p:nvPr>
        </p:nvSpPr>
        <p:spPr>
          <a:xfrm>
            <a:off x="660400" y="637244"/>
            <a:ext cx="3222413" cy="180627"/>
          </a:xfrm>
        </p:spPr>
        <p:txBody>
          <a:bodyPr wrap="square">
            <a:spAutoFit/>
          </a:bodyPr>
          <a:lstStyle>
            <a:lvl1pPr marL="0" indent="0">
              <a:buNone/>
              <a:defRPr sz="1067" cap="all" spc="147" baseline="0">
                <a:solidFill>
                  <a:schemeClr val="bg1"/>
                </a:solidFill>
              </a:defRPr>
            </a:lvl1pPr>
          </a:lstStyle>
          <a:p>
            <a:pPr lvl="0"/>
            <a:r>
              <a:rPr lang="en-US"/>
              <a:t>CLICK TO EDIT MASTER TEXT</a:t>
            </a:r>
          </a:p>
        </p:txBody>
      </p:sp>
    </p:spTree>
    <p:extLst>
      <p:ext uri="{BB962C8B-B14F-4D97-AF65-F5344CB8AC3E}">
        <p14:creationId xmlns:p14="http://schemas.microsoft.com/office/powerpoint/2010/main" val="122805884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3">
            <a:extLst>
              <a:ext uri="{FF2B5EF4-FFF2-40B4-BE49-F238E27FC236}">
                <a16:creationId xmlns:a16="http://schemas.microsoft.com/office/drawing/2014/main" id="{BDC12434-5BEC-7540-2EB9-D4A71ECBFBA8}"/>
              </a:ext>
            </a:extLst>
          </p:cNvPr>
          <p:cNvSpPr>
            <a:spLocks noGrp="1"/>
          </p:cNvSpPr>
          <p:nvPr>
            <p:ph type="dt" sz="half" idx="10"/>
          </p:nvPr>
        </p:nvSpPr>
        <p:spPr/>
        <p:txBody>
          <a:bodyPr/>
          <a:lstStyle>
            <a:lvl1pPr>
              <a:defRPr/>
            </a:lvl1pPr>
          </a:lstStyle>
          <a:p>
            <a:pPr>
              <a:defRPr/>
            </a:pPr>
            <a:r>
              <a:rPr lang="en-US"/>
              <a:t>May 5 and 6, 2020</a:t>
            </a:r>
          </a:p>
        </p:txBody>
      </p:sp>
      <p:sp>
        <p:nvSpPr>
          <p:cNvPr id="6" name="Footer Placeholder 4">
            <a:extLst>
              <a:ext uri="{FF2B5EF4-FFF2-40B4-BE49-F238E27FC236}">
                <a16:creationId xmlns:a16="http://schemas.microsoft.com/office/drawing/2014/main" id="{D2F4E248-EE64-94F8-E988-49A71C7FC93C}"/>
              </a:ext>
            </a:extLst>
          </p:cNvPr>
          <p:cNvSpPr>
            <a:spLocks noGrp="1"/>
          </p:cNvSpPr>
          <p:nvPr>
            <p:ph type="ftr" sz="quarter" idx="11"/>
          </p:nvPr>
        </p:nvSpPr>
        <p:spPr/>
        <p:txBody>
          <a:bodyPr/>
          <a:lstStyle>
            <a:lvl1pPr>
              <a:defRPr/>
            </a:lvl1pPr>
          </a:lstStyle>
          <a:p>
            <a:pPr>
              <a:defRPr/>
            </a:pPr>
            <a:r>
              <a:rPr lang="en-US"/>
              <a:t>FY 2022 Strategy Session  [Name of Campaign] Campaign</a:t>
            </a:r>
          </a:p>
        </p:txBody>
      </p:sp>
      <p:sp>
        <p:nvSpPr>
          <p:cNvPr id="7" name="Slide Number Placeholder 5">
            <a:extLst>
              <a:ext uri="{FF2B5EF4-FFF2-40B4-BE49-F238E27FC236}">
                <a16:creationId xmlns:a16="http://schemas.microsoft.com/office/drawing/2014/main" id="{89884E2F-FC35-0E88-593D-9BF9E0EA4DD6}"/>
              </a:ext>
            </a:extLst>
          </p:cNvPr>
          <p:cNvSpPr>
            <a:spLocks noGrp="1"/>
          </p:cNvSpPr>
          <p:nvPr>
            <p:ph type="sldNum" sz="quarter" idx="12"/>
          </p:nvPr>
        </p:nvSpPr>
        <p:spPr/>
        <p:txBody>
          <a:bodyPr/>
          <a:lstStyle>
            <a:lvl1pPr>
              <a:defRPr/>
            </a:lvl1pPr>
          </a:lstStyle>
          <a:p>
            <a:pPr>
              <a:defRPr/>
            </a:pPr>
            <a:fld id="{754FE4A9-7520-4A23-9D33-1C264A74BBE4}" type="slidenum">
              <a:rPr lang="en-US"/>
              <a:pPr>
                <a:defRPr/>
              </a:pPr>
              <a:t>‹#›</a:t>
            </a:fld>
            <a:endParaRPr lang="en-US"/>
          </a:p>
        </p:txBody>
      </p:sp>
    </p:spTree>
    <p:extLst>
      <p:ext uri="{BB962C8B-B14F-4D97-AF65-F5344CB8AC3E}">
        <p14:creationId xmlns:p14="http://schemas.microsoft.com/office/powerpoint/2010/main" val="1210278129"/>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p:cSld name="Section Header - Deep Blue">
    <p:bg>
      <p:bgPr>
        <a:solidFill>
          <a:srgbClr val="31547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60400" y="1874075"/>
            <a:ext cx="4794739" cy="2363591"/>
          </a:xfrm>
        </p:spPr>
        <p:txBody>
          <a:bodyPr anchor="t" anchorCtr="0">
            <a:normAutofit/>
          </a:bodyPr>
          <a:lstStyle>
            <a:lvl1pPr>
              <a:defRPr sz="3733">
                <a:solidFill>
                  <a:schemeClr val="bg1"/>
                </a:solidFill>
              </a:defRPr>
            </a:lvl1pPr>
          </a:lstStyle>
          <a:p>
            <a:r>
              <a:rPr lang="en-US"/>
              <a:t>Click to edit Master title style</a:t>
            </a:r>
          </a:p>
        </p:txBody>
      </p:sp>
      <p:sp>
        <p:nvSpPr>
          <p:cNvPr id="3" name="Text Placeholder 2"/>
          <p:cNvSpPr>
            <a:spLocks noGrp="1"/>
          </p:cNvSpPr>
          <p:nvPr>
            <p:ph type="body" idx="1" hasCustomPrompt="1"/>
          </p:nvPr>
        </p:nvSpPr>
        <p:spPr>
          <a:xfrm>
            <a:off x="9759493" y="1524037"/>
            <a:ext cx="1547447" cy="1249231"/>
          </a:xfrm>
        </p:spPr>
        <p:txBody>
          <a:bodyPr>
            <a:noAutofit/>
          </a:bodyPr>
          <a:lstStyle>
            <a:lvl1pPr marL="0" indent="0" algn="r">
              <a:buNone/>
              <a:defRPr sz="8000">
                <a:solidFill>
                  <a:srgbClr val="B6BDBD"/>
                </a:solidFill>
                <a:latin typeface="+mj-lt"/>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a:t>XX</a:t>
            </a:r>
          </a:p>
        </p:txBody>
      </p:sp>
      <p:sp>
        <p:nvSpPr>
          <p:cNvPr id="6" name="Slide Number Placeholder 5"/>
          <p:cNvSpPr>
            <a:spLocks noGrp="1"/>
          </p:cNvSpPr>
          <p:nvPr>
            <p:ph type="sldNum" sz="quarter" idx="12"/>
          </p:nvPr>
        </p:nvSpPr>
        <p:spPr/>
        <p:txBody>
          <a:bodyPr/>
          <a:lstStyle/>
          <a:p>
            <a:fld id="{2F687C33-47E0-407C-B61F-DB8DDD78F4C7}" type="slidenum">
              <a:rPr lang="en-US" smtClean="0"/>
              <a:t>‹#›</a:t>
            </a:fld>
            <a:endParaRPr lang="en-US"/>
          </a:p>
        </p:txBody>
      </p:sp>
      <p:sp>
        <p:nvSpPr>
          <p:cNvPr id="10" name="Picture Placeholder 9">
            <a:extLst>
              <a:ext uri="{FF2B5EF4-FFF2-40B4-BE49-F238E27FC236}">
                <a16:creationId xmlns:a16="http://schemas.microsoft.com/office/drawing/2014/main" id="{8113BA2E-092B-4BF2-8FB1-0AAC0955C2BB}"/>
              </a:ext>
            </a:extLst>
          </p:cNvPr>
          <p:cNvSpPr>
            <a:spLocks noGrp="1"/>
          </p:cNvSpPr>
          <p:nvPr>
            <p:ph type="pic" sz="quarter" idx="13"/>
          </p:nvPr>
        </p:nvSpPr>
        <p:spPr>
          <a:xfrm>
            <a:off x="5831418" y="1873251"/>
            <a:ext cx="4116916" cy="4984749"/>
          </a:xfrm>
          <a:solidFill>
            <a:schemeClr val="bg2">
              <a:lumMod val="90000"/>
            </a:schemeClr>
          </a:solidFill>
        </p:spPr>
        <p:txBody>
          <a:bodyPr tIns="548640"/>
          <a:lstStyle>
            <a:lvl1pPr marL="0" indent="0" algn="ctr">
              <a:buNone/>
              <a:defRPr/>
            </a:lvl1pPr>
          </a:lstStyle>
          <a:p>
            <a:r>
              <a:rPr lang="en-US"/>
              <a:t>Click icon to add picture</a:t>
            </a:r>
          </a:p>
        </p:txBody>
      </p:sp>
      <p:sp>
        <p:nvSpPr>
          <p:cNvPr id="11" name="Text Placeholder 16">
            <a:extLst>
              <a:ext uri="{FF2B5EF4-FFF2-40B4-BE49-F238E27FC236}">
                <a16:creationId xmlns:a16="http://schemas.microsoft.com/office/drawing/2014/main" id="{D8F21E1D-5F95-4EE3-B551-B64B1E8EA4BC}"/>
              </a:ext>
            </a:extLst>
          </p:cNvPr>
          <p:cNvSpPr>
            <a:spLocks noGrp="1"/>
          </p:cNvSpPr>
          <p:nvPr>
            <p:ph type="body" sz="quarter" idx="14" hasCustomPrompt="1"/>
          </p:nvPr>
        </p:nvSpPr>
        <p:spPr>
          <a:xfrm>
            <a:off x="660400" y="637244"/>
            <a:ext cx="3222413" cy="180627"/>
          </a:xfrm>
        </p:spPr>
        <p:txBody>
          <a:bodyPr wrap="square">
            <a:spAutoFit/>
          </a:bodyPr>
          <a:lstStyle>
            <a:lvl1pPr marL="0" indent="0">
              <a:buNone/>
              <a:defRPr sz="1067" cap="all" spc="147" baseline="0">
                <a:solidFill>
                  <a:schemeClr val="bg1"/>
                </a:solidFill>
              </a:defRPr>
            </a:lvl1pPr>
          </a:lstStyle>
          <a:p>
            <a:pPr lvl="0"/>
            <a:r>
              <a:rPr lang="en-US"/>
              <a:t>CLICK TO EDIT MASTER TEXT</a:t>
            </a:r>
          </a:p>
        </p:txBody>
      </p:sp>
    </p:spTree>
    <p:extLst>
      <p:ext uri="{BB962C8B-B14F-4D97-AF65-F5344CB8AC3E}">
        <p14:creationId xmlns:p14="http://schemas.microsoft.com/office/powerpoint/2010/main" val="3193971125"/>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p:cSld name="Section Header - Deep Violet">
    <p:bg>
      <p:bgPr>
        <a:solidFill>
          <a:srgbClr val="683B5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60400" y="1874075"/>
            <a:ext cx="4794739" cy="2363591"/>
          </a:xfrm>
        </p:spPr>
        <p:txBody>
          <a:bodyPr anchor="t" anchorCtr="0">
            <a:normAutofit/>
          </a:bodyPr>
          <a:lstStyle>
            <a:lvl1pPr>
              <a:defRPr sz="3733">
                <a:solidFill>
                  <a:schemeClr val="bg1"/>
                </a:solidFill>
              </a:defRPr>
            </a:lvl1pPr>
          </a:lstStyle>
          <a:p>
            <a:r>
              <a:rPr lang="en-US"/>
              <a:t>Click to edit Master title style</a:t>
            </a:r>
          </a:p>
        </p:txBody>
      </p:sp>
      <p:sp>
        <p:nvSpPr>
          <p:cNvPr id="3" name="Text Placeholder 2"/>
          <p:cNvSpPr>
            <a:spLocks noGrp="1"/>
          </p:cNvSpPr>
          <p:nvPr>
            <p:ph type="body" idx="1" hasCustomPrompt="1"/>
          </p:nvPr>
        </p:nvSpPr>
        <p:spPr>
          <a:xfrm>
            <a:off x="9759493" y="1524037"/>
            <a:ext cx="1547447" cy="1249231"/>
          </a:xfrm>
        </p:spPr>
        <p:txBody>
          <a:bodyPr>
            <a:noAutofit/>
          </a:bodyPr>
          <a:lstStyle>
            <a:lvl1pPr marL="0" indent="0" algn="r">
              <a:buNone/>
              <a:defRPr sz="8000">
                <a:solidFill>
                  <a:srgbClr val="B6BDBD"/>
                </a:solidFill>
                <a:latin typeface="+mj-lt"/>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a:t>XX</a:t>
            </a:r>
          </a:p>
        </p:txBody>
      </p:sp>
      <p:sp>
        <p:nvSpPr>
          <p:cNvPr id="6" name="Slide Number Placeholder 5"/>
          <p:cNvSpPr>
            <a:spLocks noGrp="1"/>
          </p:cNvSpPr>
          <p:nvPr>
            <p:ph type="sldNum" sz="quarter" idx="12"/>
          </p:nvPr>
        </p:nvSpPr>
        <p:spPr/>
        <p:txBody>
          <a:bodyPr/>
          <a:lstStyle/>
          <a:p>
            <a:fld id="{2F687C33-47E0-407C-B61F-DB8DDD78F4C7}" type="slidenum">
              <a:rPr lang="en-US" smtClean="0"/>
              <a:t>‹#›</a:t>
            </a:fld>
            <a:endParaRPr lang="en-US"/>
          </a:p>
        </p:txBody>
      </p:sp>
      <p:sp>
        <p:nvSpPr>
          <p:cNvPr id="10" name="Picture Placeholder 9">
            <a:extLst>
              <a:ext uri="{FF2B5EF4-FFF2-40B4-BE49-F238E27FC236}">
                <a16:creationId xmlns:a16="http://schemas.microsoft.com/office/drawing/2014/main" id="{8113BA2E-092B-4BF2-8FB1-0AAC0955C2BB}"/>
              </a:ext>
            </a:extLst>
          </p:cNvPr>
          <p:cNvSpPr>
            <a:spLocks noGrp="1"/>
          </p:cNvSpPr>
          <p:nvPr>
            <p:ph type="pic" sz="quarter" idx="13"/>
          </p:nvPr>
        </p:nvSpPr>
        <p:spPr>
          <a:xfrm>
            <a:off x="5831418" y="1873251"/>
            <a:ext cx="4116916" cy="4984749"/>
          </a:xfrm>
          <a:solidFill>
            <a:schemeClr val="bg2">
              <a:lumMod val="90000"/>
            </a:schemeClr>
          </a:solidFill>
        </p:spPr>
        <p:txBody>
          <a:bodyPr tIns="548640"/>
          <a:lstStyle>
            <a:lvl1pPr marL="0" indent="0" algn="ctr">
              <a:buNone/>
              <a:defRPr/>
            </a:lvl1pPr>
          </a:lstStyle>
          <a:p>
            <a:r>
              <a:rPr lang="en-US"/>
              <a:t>Click icon to add picture</a:t>
            </a:r>
          </a:p>
        </p:txBody>
      </p:sp>
      <p:sp>
        <p:nvSpPr>
          <p:cNvPr id="11" name="Text Placeholder 16">
            <a:extLst>
              <a:ext uri="{FF2B5EF4-FFF2-40B4-BE49-F238E27FC236}">
                <a16:creationId xmlns:a16="http://schemas.microsoft.com/office/drawing/2014/main" id="{D8F21E1D-5F95-4EE3-B551-B64B1E8EA4BC}"/>
              </a:ext>
            </a:extLst>
          </p:cNvPr>
          <p:cNvSpPr>
            <a:spLocks noGrp="1"/>
          </p:cNvSpPr>
          <p:nvPr>
            <p:ph type="body" sz="quarter" idx="14" hasCustomPrompt="1"/>
          </p:nvPr>
        </p:nvSpPr>
        <p:spPr>
          <a:xfrm>
            <a:off x="660400" y="637244"/>
            <a:ext cx="3222413" cy="180627"/>
          </a:xfrm>
        </p:spPr>
        <p:txBody>
          <a:bodyPr wrap="square">
            <a:spAutoFit/>
          </a:bodyPr>
          <a:lstStyle>
            <a:lvl1pPr marL="0" indent="0">
              <a:buNone/>
              <a:defRPr sz="1067" cap="all" spc="147" baseline="0">
                <a:solidFill>
                  <a:schemeClr val="bg1"/>
                </a:solidFill>
              </a:defRPr>
            </a:lvl1pPr>
          </a:lstStyle>
          <a:p>
            <a:pPr lvl="0"/>
            <a:r>
              <a:rPr lang="en-US"/>
              <a:t>CLICK TO EDIT MASTER TEXT</a:t>
            </a:r>
          </a:p>
        </p:txBody>
      </p:sp>
    </p:spTree>
    <p:extLst>
      <p:ext uri="{BB962C8B-B14F-4D97-AF65-F5344CB8AC3E}">
        <p14:creationId xmlns:p14="http://schemas.microsoft.com/office/powerpoint/2010/main" val="2566854972"/>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p:cSld name="Section Header - Deep Green">
    <p:bg>
      <p:bgPr>
        <a:solidFill>
          <a:srgbClr val="34484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60400" y="1874075"/>
            <a:ext cx="4794739" cy="2363591"/>
          </a:xfrm>
        </p:spPr>
        <p:txBody>
          <a:bodyPr anchor="t" anchorCtr="0">
            <a:normAutofit/>
          </a:bodyPr>
          <a:lstStyle>
            <a:lvl1pPr>
              <a:defRPr sz="3733">
                <a:solidFill>
                  <a:schemeClr val="bg1"/>
                </a:solidFill>
              </a:defRPr>
            </a:lvl1pPr>
          </a:lstStyle>
          <a:p>
            <a:r>
              <a:rPr lang="en-US"/>
              <a:t>Click to edit Master title style</a:t>
            </a:r>
          </a:p>
        </p:txBody>
      </p:sp>
      <p:sp>
        <p:nvSpPr>
          <p:cNvPr id="3" name="Text Placeholder 2"/>
          <p:cNvSpPr>
            <a:spLocks noGrp="1"/>
          </p:cNvSpPr>
          <p:nvPr>
            <p:ph type="body" idx="1" hasCustomPrompt="1"/>
          </p:nvPr>
        </p:nvSpPr>
        <p:spPr>
          <a:xfrm>
            <a:off x="9759493" y="1524037"/>
            <a:ext cx="1547447" cy="1249231"/>
          </a:xfrm>
        </p:spPr>
        <p:txBody>
          <a:bodyPr>
            <a:noAutofit/>
          </a:bodyPr>
          <a:lstStyle>
            <a:lvl1pPr marL="0" indent="0" algn="r">
              <a:buNone/>
              <a:defRPr sz="8000">
                <a:solidFill>
                  <a:srgbClr val="B6BDBD"/>
                </a:solidFill>
                <a:latin typeface="+mj-lt"/>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a:t>XX</a:t>
            </a:r>
          </a:p>
        </p:txBody>
      </p:sp>
      <p:sp>
        <p:nvSpPr>
          <p:cNvPr id="6" name="Slide Number Placeholder 5"/>
          <p:cNvSpPr>
            <a:spLocks noGrp="1"/>
          </p:cNvSpPr>
          <p:nvPr>
            <p:ph type="sldNum" sz="quarter" idx="12"/>
          </p:nvPr>
        </p:nvSpPr>
        <p:spPr/>
        <p:txBody>
          <a:bodyPr/>
          <a:lstStyle/>
          <a:p>
            <a:fld id="{2F687C33-47E0-407C-B61F-DB8DDD78F4C7}" type="slidenum">
              <a:rPr lang="en-US" smtClean="0"/>
              <a:t>‹#›</a:t>
            </a:fld>
            <a:endParaRPr lang="en-US"/>
          </a:p>
        </p:txBody>
      </p:sp>
      <p:sp>
        <p:nvSpPr>
          <p:cNvPr id="10" name="Picture Placeholder 9">
            <a:extLst>
              <a:ext uri="{FF2B5EF4-FFF2-40B4-BE49-F238E27FC236}">
                <a16:creationId xmlns:a16="http://schemas.microsoft.com/office/drawing/2014/main" id="{8113BA2E-092B-4BF2-8FB1-0AAC0955C2BB}"/>
              </a:ext>
            </a:extLst>
          </p:cNvPr>
          <p:cNvSpPr>
            <a:spLocks noGrp="1"/>
          </p:cNvSpPr>
          <p:nvPr>
            <p:ph type="pic" sz="quarter" idx="13"/>
          </p:nvPr>
        </p:nvSpPr>
        <p:spPr>
          <a:xfrm>
            <a:off x="5831418" y="1873251"/>
            <a:ext cx="4116916" cy="4984749"/>
          </a:xfrm>
          <a:solidFill>
            <a:schemeClr val="bg2">
              <a:lumMod val="90000"/>
            </a:schemeClr>
          </a:solidFill>
        </p:spPr>
        <p:txBody>
          <a:bodyPr tIns="548640"/>
          <a:lstStyle>
            <a:lvl1pPr marL="0" indent="0" algn="ctr">
              <a:buNone/>
              <a:defRPr/>
            </a:lvl1pPr>
          </a:lstStyle>
          <a:p>
            <a:r>
              <a:rPr lang="en-US"/>
              <a:t>Click icon to add picture</a:t>
            </a:r>
          </a:p>
        </p:txBody>
      </p:sp>
      <p:sp>
        <p:nvSpPr>
          <p:cNvPr id="11" name="Text Placeholder 16">
            <a:extLst>
              <a:ext uri="{FF2B5EF4-FFF2-40B4-BE49-F238E27FC236}">
                <a16:creationId xmlns:a16="http://schemas.microsoft.com/office/drawing/2014/main" id="{D8F21E1D-5F95-4EE3-B551-B64B1E8EA4BC}"/>
              </a:ext>
            </a:extLst>
          </p:cNvPr>
          <p:cNvSpPr>
            <a:spLocks noGrp="1"/>
          </p:cNvSpPr>
          <p:nvPr>
            <p:ph type="body" sz="quarter" idx="14" hasCustomPrompt="1"/>
          </p:nvPr>
        </p:nvSpPr>
        <p:spPr>
          <a:xfrm>
            <a:off x="660400" y="637244"/>
            <a:ext cx="3222413" cy="180627"/>
          </a:xfrm>
        </p:spPr>
        <p:txBody>
          <a:bodyPr wrap="square">
            <a:spAutoFit/>
          </a:bodyPr>
          <a:lstStyle>
            <a:lvl1pPr marL="0" indent="0">
              <a:buNone/>
              <a:defRPr sz="1067" cap="all" spc="147" baseline="0">
                <a:solidFill>
                  <a:schemeClr val="bg1"/>
                </a:solidFill>
              </a:defRPr>
            </a:lvl1pPr>
          </a:lstStyle>
          <a:p>
            <a:pPr lvl="0"/>
            <a:r>
              <a:rPr lang="en-US"/>
              <a:t>CLICK TO EDIT MASTER TEXT</a:t>
            </a:r>
          </a:p>
        </p:txBody>
      </p:sp>
    </p:spTree>
    <p:extLst>
      <p:ext uri="{BB962C8B-B14F-4D97-AF65-F5344CB8AC3E}">
        <p14:creationId xmlns:p14="http://schemas.microsoft.com/office/powerpoint/2010/main" val="4134592296"/>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p:cSld name="Section Header - Deep Red">
    <p:bg>
      <p:bgPr>
        <a:solidFill>
          <a:srgbClr val="7C2629"/>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60400" y="1874075"/>
            <a:ext cx="4794739" cy="2363591"/>
          </a:xfrm>
        </p:spPr>
        <p:txBody>
          <a:bodyPr anchor="t" anchorCtr="0">
            <a:normAutofit/>
          </a:bodyPr>
          <a:lstStyle>
            <a:lvl1pPr>
              <a:defRPr sz="3733">
                <a:solidFill>
                  <a:schemeClr val="bg1"/>
                </a:solidFill>
              </a:defRPr>
            </a:lvl1pPr>
          </a:lstStyle>
          <a:p>
            <a:r>
              <a:rPr lang="en-US"/>
              <a:t>Click to edit Master title style</a:t>
            </a:r>
          </a:p>
        </p:txBody>
      </p:sp>
      <p:sp>
        <p:nvSpPr>
          <p:cNvPr id="3" name="Text Placeholder 2"/>
          <p:cNvSpPr>
            <a:spLocks noGrp="1"/>
          </p:cNvSpPr>
          <p:nvPr>
            <p:ph type="body" idx="1" hasCustomPrompt="1"/>
          </p:nvPr>
        </p:nvSpPr>
        <p:spPr>
          <a:xfrm>
            <a:off x="9759493" y="1524037"/>
            <a:ext cx="1547447" cy="1249231"/>
          </a:xfrm>
        </p:spPr>
        <p:txBody>
          <a:bodyPr>
            <a:noAutofit/>
          </a:bodyPr>
          <a:lstStyle>
            <a:lvl1pPr marL="0" indent="0" algn="r">
              <a:buNone/>
              <a:defRPr sz="8000">
                <a:solidFill>
                  <a:srgbClr val="B6BDBD"/>
                </a:solidFill>
                <a:latin typeface="+mj-lt"/>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a:t>XX</a:t>
            </a:r>
          </a:p>
        </p:txBody>
      </p:sp>
      <p:sp>
        <p:nvSpPr>
          <p:cNvPr id="6" name="Slide Number Placeholder 5"/>
          <p:cNvSpPr>
            <a:spLocks noGrp="1"/>
          </p:cNvSpPr>
          <p:nvPr>
            <p:ph type="sldNum" sz="quarter" idx="12"/>
          </p:nvPr>
        </p:nvSpPr>
        <p:spPr/>
        <p:txBody>
          <a:bodyPr/>
          <a:lstStyle/>
          <a:p>
            <a:fld id="{2F687C33-47E0-407C-B61F-DB8DDD78F4C7}" type="slidenum">
              <a:rPr lang="en-US" smtClean="0"/>
              <a:t>‹#›</a:t>
            </a:fld>
            <a:endParaRPr lang="en-US"/>
          </a:p>
        </p:txBody>
      </p:sp>
      <p:sp>
        <p:nvSpPr>
          <p:cNvPr id="10" name="Picture Placeholder 9">
            <a:extLst>
              <a:ext uri="{FF2B5EF4-FFF2-40B4-BE49-F238E27FC236}">
                <a16:creationId xmlns:a16="http://schemas.microsoft.com/office/drawing/2014/main" id="{8113BA2E-092B-4BF2-8FB1-0AAC0955C2BB}"/>
              </a:ext>
            </a:extLst>
          </p:cNvPr>
          <p:cNvSpPr>
            <a:spLocks noGrp="1"/>
          </p:cNvSpPr>
          <p:nvPr>
            <p:ph type="pic" sz="quarter" idx="13"/>
          </p:nvPr>
        </p:nvSpPr>
        <p:spPr>
          <a:xfrm>
            <a:off x="5831418" y="1873251"/>
            <a:ext cx="4116916" cy="4984749"/>
          </a:xfrm>
          <a:solidFill>
            <a:schemeClr val="bg2">
              <a:lumMod val="90000"/>
            </a:schemeClr>
          </a:solidFill>
        </p:spPr>
        <p:txBody>
          <a:bodyPr tIns="548640"/>
          <a:lstStyle>
            <a:lvl1pPr marL="0" indent="0" algn="ctr">
              <a:buNone/>
              <a:defRPr/>
            </a:lvl1pPr>
          </a:lstStyle>
          <a:p>
            <a:r>
              <a:rPr lang="en-US"/>
              <a:t>Click icon to add picture</a:t>
            </a:r>
          </a:p>
        </p:txBody>
      </p:sp>
      <p:sp>
        <p:nvSpPr>
          <p:cNvPr id="11" name="Text Placeholder 16">
            <a:extLst>
              <a:ext uri="{FF2B5EF4-FFF2-40B4-BE49-F238E27FC236}">
                <a16:creationId xmlns:a16="http://schemas.microsoft.com/office/drawing/2014/main" id="{D8F21E1D-5F95-4EE3-B551-B64B1E8EA4BC}"/>
              </a:ext>
            </a:extLst>
          </p:cNvPr>
          <p:cNvSpPr>
            <a:spLocks noGrp="1"/>
          </p:cNvSpPr>
          <p:nvPr>
            <p:ph type="body" sz="quarter" idx="14" hasCustomPrompt="1"/>
          </p:nvPr>
        </p:nvSpPr>
        <p:spPr>
          <a:xfrm>
            <a:off x="660400" y="637244"/>
            <a:ext cx="3222413" cy="180627"/>
          </a:xfrm>
        </p:spPr>
        <p:txBody>
          <a:bodyPr wrap="square">
            <a:spAutoFit/>
          </a:bodyPr>
          <a:lstStyle>
            <a:lvl1pPr marL="0" indent="0">
              <a:buNone/>
              <a:defRPr sz="1067" cap="all" spc="147" baseline="0">
                <a:solidFill>
                  <a:schemeClr val="bg1"/>
                </a:solidFill>
              </a:defRPr>
            </a:lvl1pPr>
          </a:lstStyle>
          <a:p>
            <a:pPr lvl="0"/>
            <a:r>
              <a:rPr lang="en-US"/>
              <a:t>CLICK TO EDIT MASTER TEXT</a:t>
            </a:r>
          </a:p>
        </p:txBody>
      </p:sp>
    </p:spTree>
    <p:extLst>
      <p:ext uri="{BB962C8B-B14F-4D97-AF65-F5344CB8AC3E}">
        <p14:creationId xmlns:p14="http://schemas.microsoft.com/office/powerpoint/2010/main" val="2332812611"/>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p:cSld name="Section Header - Deep Gold">
    <p:bg>
      <p:bgPr>
        <a:solidFill>
          <a:srgbClr val="73531D"/>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60400" y="1874075"/>
            <a:ext cx="4794739" cy="2363591"/>
          </a:xfrm>
        </p:spPr>
        <p:txBody>
          <a:bodyPr anchor="t" anchorCtr="0">
            <a:normAutofit/>
          </a:bodyPr>
          <a:lstStyle>
            <a:lvl1pPr>
              <a:defRPr sz="3733">
                <a:solidFill>
                  <a:schemeClr val="bg1"/>
                </a:solidFill>
              </a:defRPr>
            </a:lvl1pPr>
          </a:lstStyle>
          <a:p>
            <a:r>
              <a:rPr lang="en-US"/>
              <a:t>Click to edit Master title style</a:t>
            </a:r>
          </a:p>
        </p:txBody>
      </p:sp>
      <p:sp>
        <p:nvSpPr>
          <p:cNvPr id="3" name="Text Placeholder 2"/>
          <p:cNvSpPr>
            <a:spLocks noGrp="1"/>
          </p:cNvSpPr>
          <p:nvPr>
            <p:ph type="body" idx="1" hasCustomPrompt="1"/>
          </p:nvPr>
        </p:nvSpPr>
        <p:spPr>
          <a:xfrm>
            <a:off x="9759493" y="1524037"/>
            <a:ext cx="1547447" cy="1249231"/>
          </a:xfrm>
        </p:spPr>
        <p:txBody>
          <a:bodyPr>
            <a:noAutofit/>
          </a:bodyPr>
          <a:lstStyle>
            <a:lvl1pPr marL="0" indent="0" algn="r">
              <a:buNone/>
              <a:defRPr sz="8000">
                <a:solidFill>
                  <a:srgbClr val="B6BDBD"/>
                </a:solidFill>
                <a:latin typeface="+mj-lt"/>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a:t>XX</a:t>
            </a:r>
          </a:p>
        </p:txBody>
      </p:sp>
      <p:sp>
        <p:nvSpPr>
          <p:cNvPr id="6" name="Slide Number Placeholder 5"/>
          <p:cNvSpPr>
            <a:spLocks noGrp="1"/>
          </p:cNvSpPr>
          <p:nvPr>
            <p:ph type="sldNum" sz="quarter" idx="12"/>
          </p:nvPr>
        </p:nvSpPr>
        <p:spPr/>
        <p:txBody>
          <a:bodyPr/>
          <a:lstStyle/>
          <a:p>
            <a:fld id="{2F687C33-47E0-407C-B61F-DB8DDD78F4C7}" type="slidenum">
              <a:rPr lang="en-US" smtClean="0"/>
              <a:t>‹#›</a:t>
            </a:fld>
            <a:endParaRPr lang="en-US"/>
          </a:p>
        </p:txBody>
      </p:sp>
      <p:sp>
        <p:nvSpPr>
          <p:cNvPr id="10" name="Picture Placeholder 9">
            <a:extLst>
              <a:ext uri="{FF2B5EF4-FFF2-40B4-BE49-F238E27FC236}">
                <a16:creationId xmlns:a16="http://schemas.microsoft.com/office/drawing/2014/main" id="{8113BA2E-092B-4BF2-8FB1-0AAC0955C2BB}"/>
              </a:ext>
            </a:extLst>
          </p:cNvPr>
          <p:cNvSpPr>
            <a:spLocks noGrp="1"/>
          </p:cNvSpPr>
          <p:nvPr>
            <p:ph type="pic" sz="quarter" idx="13"/>
          </p:nvPr>
        </p:nvSpPr>
        <p:spPr>
          <a:xfrm>
            <a:off x="5831418" y="1873251"/>
            <a:ext cx="4116916" cy="4984749"/>
          </a:xfrm>
          <a:solidFill>
            <a:schemeClr val="bg2">
              <a:lumMod val="90000"/>
            </a:schemeClr>
          </a:solidFill>
        </p:spPr>
        <p:txBody>
          <a:bodyPr tIns="548640"/>
          <a:lstStyle>
            <a:lvl1pPr marL="0" indent="0" algn="ctr">
              <a:buNone/>
              <a:defRPr/>
            </a:lvl1pPr>
          </a:lstStyle>
          <a:p>
            <a:r>
              <a:rPr lang="en-US"/>
              <a:t>Click icon to add picture</a:t>
            </a:r>
          </a:p>
        </p:txBody>
      </p:sp>
      <p:sp>
        <p:nvSpPr>
          <p:cNvPr id="11" name="Text Placeholder 16">
            <a:extLst>
              <a:ext uri="{FF2B5EF4-FFF2-40B4-BE49-F238E27FC236}">
                <a16:creationId xmlns:a16="http://schemas.microsoft.com/office/drawing/2014/main" id="{D8F21E1D-5F95-4EE3-B551-B64B1E8EA4BC}"/>
              </a:ext>
            </a:extLst>
          </p:cNvPr>
          <p:cNvSpPr>
            <a:spLocks noGrp="1"/>
          </p:cNvSpPr>
          <p:nvPr>
            <p:ph type="body" sz="quarter" idx="14" hasCustomPrompt="1"/>
          </p:nvPr>
        </p:nvSpPr>
        <p:spPr>
          <a:xfrm>
            <a:off x="660400" y="637244"/>
            <a:ext cx="3222413" cy="180627"/>
          </a:xfrm>
        </p:spPr>
        <p:txBody>
          <a:bodyPr wrap="square">
            <a:spAutoFit/>
          </a:bodyPr>
          <a:lstStyle>
            <a:lvl1pPr marL="0" indent="0">
              <a:buNone/>
              <a:defRPr sz="1067" cap="all" spc="147" baseline="0">
                <a:solidFill>
                  <a:schemeClr val="bg1"/>
                </a:solidFill>
              </a:defRPr>
            </a:lvl1pPr>
          </a:lstStyle>
          <a:p>
            <a:pPr lvl="0"/>
            <a:r>
              <a:rPr lang="en-US"/>
              <a:t>CLICK TO EDIT MASTER TEXT</a:t>
            </a:r>
          </a:p>
        </p:txBody>
      </p:sp>
    </p:spTree>
    <p:extLst>
      <p:ext uri="{BB962C8B-B14F-4D97-AF65-F5344CB8AC3E}">
        <p14:creationId xmlns:p14="http://schemas.microsoft.com/office/powerpoint/2010/main" val="2229644999"/>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Quote">
    <p:spTree>
      <p:nvGrpSpPr>
        <p:cNvPr id="1" name=""/>
        <p:cNvGrpSpPr/>
        <p:nvPr/>
      </p:nvGrpSpPr>
      <p:grpSpPr>
        <a:xfrm>
          <a:off x="0" y="0"/>
          <a:ext cx="0" cy="0"/>
          <a:chOff x="0" y="0"/>
          <a:chExt cx="0" cy="0"/>
        </a:xfrm>
      </p:grpSpPr>
      <p:sp>
        <p:nvSpPr>
          <p:cNvPr id="15" name="Picture Placeholder 14">
            <a:extLst>
              <a:ext uri="{FF2B5EF4-FFF2-40B4-BE49-F238E27FC236}">
                <a16:creationId xmlns:a16="http://schemas.microsoft.com/office/drawing/2014/main" id="{BB92FFCA-85D1-4CA5-A797-87F6F998E12D}"/>
              </a:ext>
            </a:extLst>
          </p:cNvPr>
          <p:cNvSpPr>
            <a:spLocks noGrp="1"/>
          </p:cNvSpPr>
          <p:nvPr>
            <p:ph type="pic" sz="quarter" idx="13"/>
          </p:nvPr>
        </p:nvSpPr>
        <p:spPr>
          <a:xfrm>
            <a:off x="0" y="1"/>
            <a:ext cx="12192000" cy="3329353"/>
          </a:xfrm>
          <a:solidFill>
            <a:schemeClr val="bg2">
              <a:lumMod val="90000"/>
            </a:schemeClr>
          </a:solidFill>
        </p:spPr>
        <p:txBody>
          <a:bodyPr lIns="274320" tIns="182880"/>
          <a:lstStyle>
            <a:lvl1pPr marL="0" indent="0">
              <a:buNone/>
              <a:defRPr/>
            </a:lvl1pPr>
          </a:lstStyle>
          <a:p>
            <a:r>
              <a:rPr lang="en-US"/>
              <a:t>Click icon to add picture</a:t>
            </a:r>
          </a:p>
        </p:txBody>
      </p:sp>
      <p:sp>
        <p:nvSpPr>
          <p:cNvPr id="21" name="Text Placeholder 20">
            <a:extLst>
              <a:ext uri="{FF2B5EF4-FFF2-40B4-BE49-F238E27FC236}">
                <a16:creationId xmlns:a16="http://schemas.microsoft.com/office/drawing/2014/main" id="{31E953C3-1002-4E09-BA10-86FC589FF3FC}"/>
              </a:ext>
            </a:extLst>
          </p:cNvPr>
          <p:cNvSpPr>
            <a:spLocks noGrp="1"/>
          </p:cNvSpPr>
          <p:nvPr>
            <p:ph type="body" sz="quarter" idx="14"/>
          </p:nvPr>
        </p:nvSpPr>
        <p:spPr>
          <a:xfrm>
            <a:off x="596900" y="569649"/>
            <a:ext cx="10996115" cy="5715000"/>
          </a:xfrm>
          <a:solidFill>
            <a:schemeClr val="bg2"/>
          </a:solidFill>
        </p:spPr>
        <p:txBody>
          <a:bodyPr lIns="1097280" tIns="1005840" rIns="1097280" bIns="457200"/>
          <a:lstStyle>
            <a:lvl1pPr marL="0" indent="0" algn="ctr">
              <a:buNone/>
              <a:defRPr sz="3200">
                <a:solidFill>
                  <a:schemeClr val="tx2"/>
                </a:solidFill>
                <a:latin typeface="+mj-lt"/>
              </a:defRPr>
            </a:lvl1pPr>
          </a:lstStyle>
          <a:p>
            <a:pPr lvl="0"/>
            <a:r>
              <a:rPr lang="en-US"/>
              <a:t>Edit Master text styles</a:t>
            </a:r>
          </a:p>
        </p:txBody>
      </p:sp>
      <p:sp>
        <p:nvSpPr>
          <p:cNvPr id="3" name="Content Placeholder 2"/>
          <p:cNvSpPr>
            <a:spLocks noGrp="1"/>
          </p:cNvSpPr>
          <p:nvPr>
            <p:ph idx="1" hasCustomPrompt="1"/>
          </p:nvPr>
        </p:nvSpPr>
        <p:spPr>
          <a:xfrm>
            <a:off x="975360" y="4407023"/>
            <a:ext cx="10557933" cy="844916"/>
          </a:xfrm>
        </p:spPr>
        <p:txBody>
          <a:bodyPr/>
          <a:lstStyle>
            <a:lvl1pPr marL="0" indent="0" algn="ctr">
              <a:buNone/>
              <a:defRPr sz="1200" cap="all" baseline="0">
                <a:solidFill>
                  <a:schemeClr val="tx1"/>
                </a:solidFill>
              </a:defRPr>
            </a:lvl1pPr>
          </a:lstStyle>
          <a:p>
            <a:pPr lvl="0"/>
            <a:r>
              <a:rPr lang="en-US"/>
              <a:t>CLICK TO EDIT MASTER TEXT STYLES</a:t>
            </a:r>
          </a:p>
        </p:txBody>
      </p:sp>
      <p:sp>
        <p:nvSpPr>
          <p:cNvPr id="6" name="Slide Number Placeholder 5"/>
          <p:cNvSpPr>
            <a:spLocks noGrp="1"/>
          </p:cNvSpPr>
          <p:nvPr>
            <p:ph type="sldNum" sz="quarter" idx="12"/>
          </p:nvPr>
        </p:nvSpPr>
        <p:spPr/>
        <p:txBody>
          <a:bodyPr/>
          <a:lstStyle/>
          <a:p>
            <a:fld id="{2F687C33-47E0-407C-B61F-DB8DDD78F4C7}" type="slidenum">
              <a:rPr lang="en-US" smtClean="0"/>
              <a:t>‹#›</a:t>
            </a:fld>
            <a:endParaRPr lang="en-US"/>
          </a:p>
        </p:txBody>
      </p:sp>
      <p:cxnSp>
        <p:nvCxnSpPr>
          <p:cNvPr id="11" name="Straight Connector 10">
            <a:extLst>
              <a:ext uri="{FF2B5EF4-FFF2-40B4-BE49-F238E27FC236}">
                <a16:creationId xmlns:a16="http://schemas.microsoft.com/office/drawing/2014/main" id="{CB4A3CA8-0675-4C7A-87AF-4DB85AF9EED9}"/>
              </a:ext>
            </a:extLst>
          </p:cNvPr>
          <p:cNvCxnSpPr>
            <a:cxnSpLocks/>
          </p:cNvCxnSpPr>
          <p:nvPr/>
        </p:nvCxnSpPr>
        <p:spPr>
          <a:xfrm>
            <a:off x="5942232" y="3940712"/>
            <a:ext cx="417928" cy="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56049166"/>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2F687C33-47E0-407C-B61F-DB8DDD78F4C7}" type="slidenum">
              <a:rPr lang="en-US" smtClean="0"/>
              <a:t>‹#›</a:t>
            </a:fld>
            <a:endParaRPr lang="en-US"/>
          </a:p>
        </p:txBody>
      </p:sp>
    </p:spTree>
    <p:extLst>
      <p:ext uri="{BB962C8B-B14F-4D97-AF65-F5344CB8AC3E}">
        <p14:creationId xmlns:p14="http://schemas.microsoft.com/office/powerpoint/2010/main" val="3665619104"/>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661052" y="2423585"/>
            <a:ext cx="4809717" cy="372211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2F687C33-47E0-407C-B61F-DB8DDD78F4C7}" type="slidenum">
              <a:rPr lang="en-US" smtClean="0"/>
              <a:t>‹#›</a:t>
            </a:fld>
            <a:endParaRPr lang="en-US"/>
          </a:p>
        </p:txBody>
      </p:sp>
      <p:sp>
        <p:nvSpPr>
          <p:cNvPr id="5" name="Content Placeholder 2">
            <a:extLst>
              <a:ext uri="{FF2B5EF4-FFF2-40B4-BE49-F238E27FC236}">
                <a16:creationId xmlns:a16="http://schemas.microsoft.com/office/drawing/2014/main" id="{BA822995-1844-4B85-89FD-F70A7096EEBE}"/>
              </a:ext>
            </a:extLst>
          </p:cNvPr>
          <p:cNvSpPr>
            <a:spLocks noGrp="1"/>
          </p:cNvSpPr>
          <p:nvPr>
            <p:ph idx="13"/>
          </p:nvPr>
        </p:nvSpPr>
        <p:spPr>
          <a:xfrm>
            <a:off x="5919007" y="2423585"/>
            <a:ext cx="4809717" cy="372211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66769108"/>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obj" preserve="1">
  <p:cSld name="Three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661052" y="2423585"/>
            <a:ext cx="3146072" cy="372211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2F687C33-47E0-407C-B61F-DB8DDD78F4C7}" type="slidenum">
              <a:rPr lang="en-US" smtClean="0"/>
              <a:t>‹#›</a:t>
            </a:fld>
            <a:endParaRPr lang="en-US"/>
          </a:p>
        </p:txBody>
      </p:sp>
      <p:sp>
        <p:nvSpPr>
          <p:cNvPr id="5" name="Content Placeholder 2">
            <a:extLst>
              <a:ext uri="{FF2B5EF4-FFF2-40B4-BE49-F238E27FC236}">
                <a16:creationId xmlns:a16="http://schemas.microsoft.com/office/drawing/2014/main" id="{BA822995-1844-4B85-89FD-F70A7096EEBE}"/>
              </a:ext>
            </a:extLst>
          </p:cNvPr>
          <p:cNvSpPr>
            <a:spLocks noGrp="1"/>
          </p:cNvSpPr>
          <p:nvPr>
            <p:ph idx="13"/>
          </p:nvPr>
        </p:nvSpPr>
        <p:spPr>
          <a:xfrm>
            <a:off x="4365809" y="2423585"/>
            <a:ext cx="3146072" cy="372211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2">
            <a:extLst>
              <a:ext uri="{FF2B5EF4-FFF2-40B4-BE49-F238E27FC236}">
                <a16:creationId xmlns:a16="http://schemas.microsoft.com/office/drawing/2014/main" id="{FE843150-ADE4-4964-8B5C-777665BC9CFE}"/>
              </a:ext>
            </a:extLst>
          </p:cNvPr>
          <p:cNvSpPr>
            <a:spLocks noGrp="1"/>
          </p:cNvSpPr>
          <p:nvPr>
            <p:ph idx="14"/>
          </p:nvPr>
        </p:nvSpPr>
        <p:spPr>
          <a:xfrm>
            <a:off x="8070567" y="2423585"/>
            <a:ext cx="3146072" cy="372211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64054428"/>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Four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661053" y="2423585"/>
            <a:ext cx="2352443" cy="3722119"/>
          </a:xfrm>
        </p:spPr>
        <p:txBody>
          <a:bodyPr/>
          <a:lstStyle>
            <a:lvl1pPr marL="230712" indent="-230712">
              <a:defRPr sz="1733"/>
            </a:lvl1pPr>
            <a:lvl2pPr marL="459306" indent="-228594">
              <a:defRPr sz="1600"/>
            </a:lvl2pPr>
            <a:lvl3pPr marL="690016" indent="-230712">
              <a:defRPr/>
            </a:lvl3pPr>
            <a:lvl4pPr marL="920728" indent="-230712">
              <a:defRPr sz="1333"/>
            </a:lvl4pPr>
            <a:lvl5pPr marL="1138738" indent="-218012">
              <a:defRPr/>
            </a:lvl5pPr>
          </a:lstStyle>
          <a:p>
            <a:pPr lvl="0"/>
            <a:r>
              <a:rPr lang="en-US"/>
              <a:t>Edit Master text styles</a:t>
            </a:r>
          </a:p>
          <a:p>
            <a:pPr lvl="1"/>
            <a:r>
              <a:rPr lang="en-US"/>
              <a:t>Second level</a:t>
            </a:r>
          </a:p>
          <a:p>
            <a:pPr lvl="2"/>
            <a:r>
              <a:rPr lang="en-US"/>
              <a:t>Third level</a:t>
            </a:r>
          </a:p>
          <a:p>
            <a:pPr lvl="3"/>
            <a:r>
              <a:rPr lang="en-US"/>
              <a:t>Fourth level</a:t>
            </a:r>
          </a:p>
        </p:txBody>
      </p:sp>
      <p:sp>
        <p:nvSpPr>
          <p:cNvPr id="6" name="Slide Number Placeholder 5"/>
          <p:cNvSpPr>
            <a:spLocks noGrp="1"/>
          </p:cNvSpPr>
          <p:nvPr>
            <p:ph type="sldNum" sz="quarter" idx="12"/>
          </p:nvPr>
        </p:nvSpPr>
        <p:spPr/>
        <p:txBody>
          <a:bodyPr/>
          <a:lstStyle/>
          <a:p>
            <a:fld id="{2F687C33-47E0-407C-B61F-DB8DDD78F4C7}" type="slidenum">
              <a:rPr lang="en-US" smtClean="0"/>
              <a:t>‹#›</a:t>
            </a:fld>
            <a:endParaRPr lang="en-US"/>
          </a:p>
        </p:txBody>
      </p:sp>
      <p:sp>
        <p:nvSpPr>
          <p:cNvPr id="12" name="Content Placeholder 2">
            <a:extLst>
              <a:ext uri="{FF2B5EF4-FFF2-40B4-BE49-F238E27FC236}">
                <a16:creationId xmlns:a16="http://schemas.microsoft.com/office/drawing/2014/main" id="{5F7BB18F-7847-4709-B159-588F3CA5D57D}"/>
              </a:ext>
            </a:extLst>
          </p:cNvPr>
          <p:cNvSpPr>
            <a:spLocks noGrp="1"/>
          </p:cNvSpPr>
          <p:nvPr>
            <p:ph idx="13"/>
          </p:nvPr>
        </p:nvSpPr>
        <p:spPr>
          <a:xfrm>
            <a:off x="3395435" y="2423585"/>
            <a:ext cx="2352443" cy="3722119"/>
          </a:xfrm>
        </p:spPr>
        <p:txBody>
          <a:bodyPr/>
          <a:lstStyle>
            <a:lvl1pPr marL="230712" indent="-230712">
              <a:defRPr sz="1733"/>
            </a:lvl1pPr>
            <a:lvl2pPr marL="459306" indent="-228594">
              <a:defRPr sz="1600"/>
            </a:lvl2pPr>
            <a:lvl3pPr marL="690016" indent="-230712">
              <a:defRPr/>
            </a:lvl3pPr>
            <a:lvl4pPr marL="920728" indent="-230712">
              <a:defRPr sz="1333"/>
            </a:lvl4pPr>
            <a:lvl5pPr marL="1138738" indent="-218012">
              <a:defRPr/>
            </a:lvl5pPr>
          </a:lstStyle>
          <a:p>
            <a:pPr lvl="0"/>
            <a:r>
              <a:rPr lang="en-US"/>
              <a:t>Edit Master text styles</a:t>
            </a:r>
          </a:p>
          <a:p>
            <a:pPr lvl="1"/>
            <a:r>
              <a:rPr lang="en-US"/>
              <a:t>Second level</a:t>
            </a:r>
          </a:p>
          <a:p>
            <a:pPr lvl="2"/>
            <a:r>
              <a:rPr lang="en-US"/>
              <a:t>Third level</a:t>
            </a:r>
          </a:p>
          <a:p>
            <a:pPr lvl="3"/>
            <a:r>
              <a:rPr lang="en-US"/>
              <a:t>Fourth level</a:t>
            </a:r>
          </a:p>
        </p:txBody>
      </p:sp>
      <p:sp>
        <p:nvSpPr>
          <p:cNvPr id="13" name="Content Placeholder 2">
            <a:extLst>
              <a:ext uri="{FF2B5EF4-FFF2-40B4-BE49-F238E27FC236}">
                <a16:creationId xmlns:a16="http://schemas.microsoft.com/office/drawing/2014/main" id="{D974D9DD-910B-4846-A2BB-F0F43AEC4720}"/>
              </a:ext>
            </a:extLst>
          </p:cNvPr>
          <p:cNvSpPr>
            <a:spLocks noGrp="1"/>
          </p:cNvSpPr>
          <p:nvPr>
            <p:ph idx="14"/>
          </p:nvPr>
        </p:nvSpPr>
        <p:spPr>
          <a:xfrm>
            <a:off x="6129816" y="2423585"/>
            <a:ext cx="2352443" cy="3722119"/>
          </a:xfrm>
        </p:spPr>
        <p:txBody>
          <a:bodyPr/>
          <a:lstStyle>
            <a:lvl1pPr marL="230712" indent="-230712">
              <a:defRPr sz="1733"/>
            </a:lvl1pPr>
            <a:lvl2pPr marL="459306" indent="-228594">
              <a:defRPr sz="1600"/>
            </a:lvl2pPr>
            <a:lvl3pPr marL="690016" indent="-230712">
              <a:defRPr/>
            </a:lvl3pPr>
            <a:lvl4pPr marL="920728" indent="-230712">
              <a:defRPr sz="1333"/>
            </a:lvl4pPr>
            <a:lvl5pPr marL="1138738" indent="-218012">
              <a:defRPr/>
            </a:lvl5pPr>
          </a:lstStyle>
          <a:p>
            <a:pPr lvl="0"/>
            <a:r>
              <a:rPr lang="en-US"/>
              <a:t>Edit Master text styles</a:t>
            </a:r>
          </a:p>
          <a:p>
            <a:pPr lvl="1"/>
            <a:r>
              <a:rPr lang="en-US"/>
              <a:t>Second level</a:t>
            </a:r>
          </a:p>
          <a:p>
            <a:pPr lvl="2"/>
            <a:r>
              <a:rPr lang="en-US"/>
              <a:t>Third level</a:t>
            </a:r>
          </a:p>
          <a:p>
            <a:pPr lvl="3"/>
            <a:r>
              <a:rPr lang="en-US"/>
              <a:t>Fourth level</a:t>
            </a:r>
          </a:p>
        </p:txBody>
      </p:sp>
      <p:sp>
        <p:nvSpPr>
          <p:cNvPr id="14" name="Content Placeholder 2">
            <a:extLst>
              <a:ext uri="{FF2B5EF4-FFF2-40B4-BE49-F238E27FC236}">
                <a16:creationId xmlns:a16="http://schemas.microsoft.com/office/drawing/2014/main" id="{0D08DDAC-45DA-407C-952A-1A0B402D35DE}"/>
              </a:ext>
            </a:extLst>
          </p:cNvPr>
          <p:cNvSpPr>
            <a:spLocks noGrp="1"/>
          </p:cNvSpPr>
          <p:nvPr>
            <p:ph idx="15"/>
          </p:nvPr>
        </p:nvSpPr>
        <p:spPr>
          <a:xfrm>
            <a:off x="8864196" y="2423585"/>
            <a:ext cx="2352443" cy="3722119"/>
          </a:xfrm>
        </p:spPr>
        <p:txBody>
          <a:bodyPr/>
          <a:lstStyle>
            <a:lvl1pPr marL="230712" indent="-230712">
              <a:defRPr sz="1733"/>
            </a:lvl1pPr>
            <a:lvl2pPr marL="459306" indent="-228594">
              <a:defRPr sz="1600"/>
            </a:lvl2pPr>
            <a:lvl3pPr marL="690016" indent="-230712">
              <a:defRPr/>
            </a:lvl3pPr>
            <a:lvl4pPr marL="920728" indent="-230712">
              <a:defRPr sz="1333"/>
            </a:lvl4pPr>
            <a:lvl5pPr marL="1138738" indent="-218012">
              <a:defRPr/>
            </a:lvl5pPr>
          </a:lstStyle>
          <a:p>
            <a:pPr lvl="0"/>
            <a:r>
              <a:rPr lang="en-US"/>
              <a:t>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99355839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9"/>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9" y="1681163"/>
            <a:ext cx="5157787" cy="82391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4" name="Content Placeholder 3"/>
          <p:cNvSpPr>
            <a:spLocks noGrp="1"/>
          </p:cNvSpPr>
          <p:nvPr>
            <p:ph sz="half" idx="2"/>
          </p:nvPr>
        </p:nvSpPr>
        <p:spPr>
          <a:xfrm>
            <a:off x="839789"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3" y="1681163"/>
            <a:ext cx="5183188" cy="82391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6" name="Content Placeholder 5"/>
          <p:cNvSpPr>
            <a:spLocks noGrp="1"/>
          </p:cNvSpPr>
          <p:nvPr>
            <p:ph sz="quarter" idx="4"/>
          </p:nvPr>
        </p:nvSpPr>
        <p:spPr>
          <a:xfrm>
            <a:off x="6172203"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3">
            <a:extLst>
              <a:ext uri="{FF2B5EF4-FFF2-40B4-BE49-F238E27FC236}">
                <a16:creationId xmlns:a16="http://schemas.microsoft.com/office/drawing/2014/main" id="{AA51B38F-E2DF-6E78-EAD5-ECD809AEF4AE}"/>
              </a:ext>
            </a:extLst>
          </p:cNvPr>
          <p:cNvSpPr>
            <a:spLocks noGrp="1"/>
          </p:cNvSpPr>
          <p:nvPr>
            <p:ph type="dt" sz="half" idx="10"/>
          </p:nvPr>
        </p:nvSpPr>
        <p:spPr/>
        <p:txBody>
          <a:bodyPr/>
          <a:lstStyle>
            <a:lvl1pPr>
              <a:defRPr/>
            </a:lvl1pPr>
          </a:lstStyle>
          <a:p>
            <a:pPr>
              <a:defRPr/>
            </a:pPr>
            <a:r>
              <a:rPr lang="en-US"/>
              <a:t>May 5 and 6, 2020</a:t>
            </a:r>
          </a:p>
        </p:txBody>
      </p:sp>
      <p:sp>
        <p:nvSpPr>
          <p:cNvPr id="8" name="Footer Placeholder 4">
            <a:extLst>
              <a:ext uri="{FF2B5EF4-FFF2-40B4-BE49-F238E27FC236}">
                <a16:creationId xmlns:a16="http://schemas.microsoft.com/office/drawing/2014/main" id="{5F20DBFF-E7DD-3B3C-D4EE-15367ADC1B36}"/>
              </a:ext>
            </a:extLst>
          </p:cNvPr>
          <p:cNvSpPr>
            <a:spLocks noGrp="1"/>
          </p:cNvSpPr>
          <p:nvPr>
            <p:ph type="ftr" sz="quarter" idx="11"/>
          </p:nvPr>
        </p:nvSpPr>
        <p:spPr/>
        <p:txBody>
          <a:bodyPr/>
          <a:lstStyle>
            <a:lvl1pPr>
              <a:defRPr/>
            </a:lvl1pPr>
          </a:lstStyle>
          <a:p>
            <a:pPr>
              <a:defRPr/>
            </a:pPr>
            <a:r>
              <a:rPr lang="en-US"/>
              <a:t>FY 2022 Strategy Session  [Name of Campaign] Campaign</a:t>
            </a:r>
          </a:p>
        </p:txBody>
      </p:sp>
      <p:sp>
        <p:nvSpPr>
          <p:cNvPr id="9" name="Slide Number Placeholder 5">
            <a:extLst>
              <a:ext uri="{FF2B5EF4-FFF2-40B4-BE49-F238E27FC236}">
                <a16:creationId xmlns:a16="http://schemas.microsoft.com/office/drawing/2014/main" id="{96E8D7DD-B6B1-3FEB-BFB6-80BBEF7CB782}"/>
              </a:ext>
            </a:extLst>
          </p:cNvPr>
          <p:cNvSpPr>
            <a:spLocks noGrp="1"/>
          </p:cNvSpPr>
          <p:nvPr>
            <p:ph type="sldNum" sz="quarter" idx="12"/>
          </p:nvPr>
        </p:nvSpPr>
        <p:spPr/>
        <p:txBody>
          <a:bodyPr/>
          <a:lstStyle>
            <a:lvl1pPr>
              <a:defRPr/>
            </a:lvl1pPr>
          </a:lstStyle>
          <a:p>
            <a:pPr>
              <a:defRPr/>
            </a:pPr>
            <a:fld id="{1346E8BB-3D6E-49AB-ABBB-FF6533AECF3D}" type="slidenum">
              <a:rPr lang="en-US"/>
              <a:pPr>
                <a:defRPr/>
              </a:pPr>
              <a:t>‹#›</a:t>
            </a:fld>
            <a:endParaRPr lang="en-US"/>
          </a:p>
        </p:txBody>
      </p:sp>
    </p:spTree>
    <p:extLst>
      <p:ext uri="{BB962C8B-B14F-4D97-AF65-F5344CB8AC3E}">
        <p14:creationId xmlns:p14="http://schemas.microsoft.com/office/powerpoint/2010/main" val="1476583170"/>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Five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661054" y="2423585"/>
            <a:ext cx="1926871" cy="3722119"/>
          </a:xfrm>
        </p:spPr>
        <p:txBody>
          <a:bodyPr/>
          <a:lstStyle>
            <a:lvl1pPr marL="150280" indent="-150280">
              <a:defRPr sz="1467"/>
            </a:lvl1pPr>
            <a:lvl2pPr marL="311143" indent="-160863">
              <a:defRPr sz="1333"/>
            </a:lvl2pPr>
            <a:lvl3pPr marL="459306" indent="-148163">
              <a:defRPr sz="1200"/>
            </a:lvl3pPr>
            <a:lvl4pPr marL="609585" indent="-150280">
              <a:defRPr sz="1067"/>
            </a:lvl4pPr>
            <a:lvl5pPr marL="1138738" indent="-218012">
              <a:defRPr/>
            </a:lvl5pPr>
          </a:lstStyle>
          <a:p>
            <a:pPr lvl="0"/>
            <a:r>
              <a:rPr lang="en-US"/>
              <a:t>Edit Master text styles</a:t>
            </a:r>
          </a:p>
          <a:p>
            <a:pPr lvl="1"/>
            <a:r>
              <a:rPr lang="en-US"/>
              <a:t>Second level</a:t>
            </a:r>
          </a:p>
          <a:p>
            <a:pPr lvl="2"/>
            <a:r>
              <a:rPr lang="en-US"/>
              <a:t>Third level</a:t>
            </a:r>
          </a:p>
          <a:p>
            <a:pPr lvl="3"/>
            <a:r>
              <a:rPr lang="en-US"/>
              <a:t>Fourth level</a:t>
            </a:r>
          </a:p>
        </p:txBody>
      </p:sp>
      <p:sp>
        <p:nvSpPr>
          <p:cNvPr id="6" name="Slide Number Placeholder 5"/>
          <p:cNvSpPr>
            <a:spLocks noGrp="1"/>
          </p:cNvSpPr>
          <p:nvPr>
            <p:ph type="sldNum" sz="quarter" idx="12"/>
          </p:nvPr>
        </p:nvSpPr>
        <p:spPr/>
        <p:txBody>
          <a:bodyPr/>
          <a:lstStyle/>
          <a:p>
            <a:fld id="{2F687C33-47E0-407C-B61F-DB8DDD78F4C7}" type="slidenum">
              <a:rPr lang="en-US" smtClean="0"/>
              <a:t>‹#›</a:t>
            </a:fld>
            <a:endParaRPr lang="en-US"/>
          </a:p>
        </p:txBody>
      </p:sp>
      <p:sp>
        <p:nvSpPr>
          <p:cNvPr id="19" name="Content Placeholder 2">
            <a:extLst>
              <a:ext uri="{FF2B5EF4-FFF2-40B4-BE49-F238E27FC236}">
                <a16:creationId xmlns:a16="http://schemas.microsoft.com/office/drawing/2014/main" id="{4EB108D6-7313-4C37-8D4F-6A49FA0933B4}"/>
              </a:ext>
            </a:extLst>
          </p:cNvPr>
          <p:cNvSpPr>
            <a:spLocks noGrp="1"/>
          </p:cNvSpPr>
          <p:nvPr>
            <p:ph idx="13"/>
          </p:nvPr>
        </p:nvSpPr>
        <p:spPr>
          <a:xfrm>
            <a:off x="2817658" y="2423585"/>
            <a:ext cx="1926871" cy="3722119"/>
          </a:xfrm>
        </p:spPr>
        <p:txBody>
          <a:bodyPr/>
          <a:lstStyle>
            <a:lvl1pPr marL="150280" indent="-150280">
              <a:defRPr sz="1467"/>
            </a:lvl1pPr>
            <a:lvl2pPr marL="311143" indent="-160863">
              <a:defRPr sz="1333"/>
            </a:lvl2pPr>
            <a:lvl3pPr marL="459306" indent="-148163">
              <a:defRPr sz="1200"/>
            </a:lvl3pPr>
            <a:lvl4pPr marL="609585" indent="-150280">
              <a:defRPr sz="1067"/>
            </a:lvl4pPr>
            <a:lvl5pPr marL="1138738" indent="-218012">
              <a:defRPr/>
            </a:lvl5pPr>
          </a:lstStyle>
          <a:p>
            <a:pPr lvl="0"/>
            <a:r>
              <a:rPr lang="en-US"/>
              <a:t>Edit Master text styles</a:t>
            </a:r>
          </a:p>
          <a:p>
            <a:pPr lvl="1"/>
            <a:r>
              <a:rPr lang="en-US"/>
              <a:t>Second level</a:t>
            </a:r>
          </a:p>
          <a:p>
            <a:pPr lvl="2"/>
            <a:r>
              <a:rPr lang="en-US"/>
              <a:t>Third level</a:t>
            </a:r>
          </a:p>
          <a:p>
            <a:pPr lvl="3"/>
            <a:r>
              <a:rPr lang="en-US"/>
              <a:t>Fourth level</a:t>
            </a:r>
          </a:p>
        </p:txBody>
      </p:sp>
      <p:sp>
        <p:nvSpPr>
          <p:cNvPr id="20" name="Content Placeholder 2">
            <a:extLst>
              <a:ext uri="{FF2B5EF4-FFF2-40B4-BE49-F238E27FC236}">
                <a16:creationId xmlns:a16="http://schemas.microsoft.com/office/drawing/2014/main" id="{0B17ECF6-30D7-4B4B-B670-FEB84C8130C1}"/>
              </a:ext>
            </a:extLst>
          </p:cNvPr>
          <p:cNvSpPr>
            <a:spLocks noGrp="1"/>
          </p:cNvSpPr>
          <p:nvPr>
            <p:ph idx="14"/>
          </p:nvPr>
        </p:nvSpPr>
        <p:spPr>
          <a:xfrm>
            <a:off x="4974262" y="2423585"/>
            <a:ext cx="1926871" cy="3722119"/>
          </a:xfrm>
        </p:spPr>
        <p:txBody>
          <a:bodyPr/>
          <a:lstStyle>
            <a:lvl1pPr marL="150280" indent="-150280">
              <a:defRPr sz="1467"/>
            </a:lvl1pPr>
            <a:lvl2pPr marL="311143" indent="-160863">
              <a:defRPr sz="1333"/>
            </a:lvl2pPr>
            <a:lvl3pPr marL="459306" indent="-148163">
              <a:defRPr sz="1200"/>
            </a:lvl3pPr>
            <a:lvl4pPr marL="609585" indent="-150280">
              <a:defRPr sz="1067"/>
            </a:lvl4pPr>
            <a:lvl5pPr marL="1138738" indent="-218012">
              <a:defRPr/>
            </a:lvl5pPr>
          </a:lstStyle>
          <a:p>
            <a:pPr lvl="0"/>
            <a:r>
              <a:rPr lang="en-US"/>
              <a:t>Edit Master text styles</a:t>
            </a:r>
          </a:p>
          <a:p>
            <a:pPr lvl="1"/>
            <a:r>
              <a:rPr lang="en-US"/>
              <a:t>Second level</a:t>
            </a:r>
          </a:p>
          <a:p>
            <a:pPr lvl="2"/>
            <a:r>
              <a:rPr lang="en-US"/>
              <a:t>Third level</a:t>
            </a:r>
          </a:p>
          <a:p>
            <a:pPr lvl="3"/>
            <a:r>
              <a:rPr lang="en-US"/>
              <a:t>Fourth level</a:t>
            </a:r>
          </a:p>
        </p:txBody>
      </p:sp>
      <p:sp>
        <p:nvSpPr>
          <p:cNvPr id="21" name="Content Placeholder 2">
            <a:extLst>
              <a:ext uri="{FF2B5EF4-FFF2-40B4-BE49-F238E27FC236}">
                <a16:creationId xmlns:a16="http://schemas.microsoft.com/office/drawing/2014/main" id="{78E053DB-CB79-4834-9B82-A2B4B03B099F}"/>
              </a:ext>
            </a:extLst>
          </p:cNvPr>
          <p:cNvSpPr>
            <a:spLocks noGrp="1"/>
          </p:cNvSpPr>
          <p:nvPr>
            <p:ph idx="15"/>
          </p:nvPr>
        </p:nvSpPr>
        <p:spPr>
          <a:xfrm>
            <a:off x="7130866" y="2423585"/>
            <a:ext cx="1926871" cy="3722119"/>
          </a:xfrm>
        </p:spPr>
        <p:txBody>
          <a:bodyPr/>
          <a:lstStyle>
            <a:lvl1pPr marL="150280" indent="-150280">
              <a:defRPr sz="1467"/>
            </a:lvl1pPr>
            <a:lvl2pPr marL="311143" indent="-160863">
              <a:defRPr sz="1333"/>
            </a:lvl2pPr>
            <a:lvl3pPr marL="459306" indent="-148163">
              <a:defRPr sz="1200"/>
            </a:lvl3pPr>
            <a:lvl4pPr marL="609585" indent="-150280">
              <a:defRPr sz="1067"/>
            </a:lvl4pPr>
            <a:lvl5pPr marL="1138738" indent="-218012">
              <a:defRPr/>
            </a:lvl5pPr>
          </a:lstStyle>
          <a:p>
            <a:pPr lvl="0"/>
            <a:r>
              <a:rPr lang="en-US"/>
              <a:t>Edit Master text styles</a:t>
            </a:r>
          </a:p>
          <a:p>
            <a:pPr lvl="1"/>
            <a:r>
              <a:rPr lang="en-US"/>
              <a:t>Second level</a:t>
            </a:r>
          </a:p>
          <a:p>
            <a:pPr lvl="2"/>
            <a:r>
              <a:rPr lang="en-US"/>
              <a:t>Third level</a:t>
            </a:r>
          </a:p>
          <a:p>
            <a:pPr lvl="3"/>
            <a:r>
              <a:rPr lang="en-US"/>
              <a:t>Fourth level</a:t>
            </a:r>
          </a:p>
        </p:txBody>
      </p:sp>
      <p:sp>
        <p:nvSpPr>
          <p:cNvPr id="22" name="Content Placeholder 2">
            <a:extLst>
              <a:ext uri="{FF2B5EF4-FFF2-40B4-BE49-F238E27FC236}">
                <a16:creationId xmlns:a16="http://schemas.microsoft.com/office/drawing/2014/main" id="{042BD6AF-288E-4274-8225-4F8B273CA565}"/>
              </a:ext>
            </a:extLst>
          </p:cNvPr>
          <p:cNvSpPr>
            <a:spLocks noGrp="1"/>
          </p:cNvSpPr>
          <p:nvPr>
            <p:ph idx="16"/>
          </p:nvPr>
        </p:nvSpPr>
        <p:spPr>
          <a:xfrm>
            <a:off x="9287467" y="2423585"/>
            <a:ext cx="1926871" cy="3722119"/>
          </a:xfrm>
        </p:spPr>
        <p:txBody>
          <a:bodyPr/>
          <a:lstStyle>
            <a:lvl1pPr marL="150280" indent="-150280">
              <a:defRPr sz="1467"/>
            </a:lvl1pPr>
            <a:lvl2pPr marL="311143" indent="-160863">
              <a:defRPr sz="1333"/>
            </a:lvl2pPr>
            <a:lvl3pPr marL="459306" indent="-148163">
              <a:defRPr sz="1200"/>
            </a:lvl3pPr>
            <a:lvl4pPr marL="609585" indent="-150280">
              <a:defRPr sz="1067"/>
            </a:lvl4pPr>
            <a:lvl5pPr marL="1138738" indent="-218012">
              <a:defRPr/>
            </a:lvl5pPr>
          </a:lstStyle>
          <a:p>
            <a:pPr lvl="0"/>
            <a:r>
              <a:rPr lang="en-US"/>
              <a:t>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2628205917"/>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obj" preserve="1">
  <p:cSld name="Title and Content_Heavy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660400" y="2260601"/>
            <a:ext cx="9602483" cy="3885103"/>
          </a:xfrm>
        </p:spPr>
        <p:txBody>
          <a:bodyPr/>
          <a:lstStyle>
            <a:lvl1pPr marL="230712" indent="-230712">
              <a:lnSpc>
                <a:spcPct val="100000"/>
              </a:lnSpc>
              <a:spcBef>
                <a:spcPts val="800"/>
              </a:spcBef>
              <a:defRPr sz="1600"/>
            </a:lvl1pPr>
            <a:lvl2pPr marL="459306" indent="-228594">
              <a:lnSpc>
                <a:spcPct val="100000"/>
              </a:lnSpc>
              <a:spcBef>
                <a:spcPts val="400"/>
              </a:spcBef>
              <a:defRPr sz="1467"/>
            </a:lvl2pPr>
            <a:lvl3pPr marL="690016" indent="-230712">
              <a:lnSpc>
                <a:spcPct val="100000"/>
              </a:lnSpc>
              <a:spcBef>
                <a:spcPts val="400"/>
              </a:spcBef>
              <a:defRPr sz="1333"/>
            </a:lvl3pPr>
            <a:lvl4pPr marL="920728" indent="-230712">
              <a:lnSpc>
                <a:spcPct val="100000"/>
              </a:lnSpc>
              <a:spcBef>
                <a:spcPts val="400"/>
              </a:spcBef>
              <a:defRPr sz="1200"/>
            </a:lvl4pPr>
            <a:lvl5pPr marL="1138738" indent="-218012">
              <a:lnSpc>
                <a:spcPct val="100000"/>
              </a:lnSpc>
              <a:spcBef>
                <a:spcPts val="400"/>
              </a:spcBef>
              <a:defRPr sz="1067"/>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2F687C33-47E0-407C-B61F-DB8DDD78F4C7}" type="slidenum">
              <a:rPr lang="en-US" smtClean="0"/>
              <a:t>‹#›</a:t>
            </a:fld>
            <a:endParaRPr lang="en-US"/>
          </a:p>
        </p:txBody>
      </p:sp>
    </p:spTree>
    <p:extLst>
      <p:ext uri="{BB962C8B-B14F-4D97-AF65-F5344CB8AC3E}">
        <p14:creationId xmlns:p14="http://schemas.microsoft.com/office/powerpoint/2010/main" val="837145050"/>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obj" preserve="1">
  <p:cSld name="Two Content_Heavy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660400" y="2260601"/>
            <a:ext cx="4815840" cy="3885103"/>
          </a:xfrm>
        </p:spPr>
        <p:txBody>
          <a:bodyPr/>
          <a:lstStyle>
            <a:lvl1pPr marL="230712" indent="-230712">
              <a:lnSpc>
                <a:spcPct val="100000"/>
              </a:lnSpc>
              <a:spcBef>
                <a:spcPts val="800"/>
              </a:spcBef>
              <a:defRPr sz="1600"/>
            </a:lvl1pPr>
            <a:lvl2pPr marL="459306" indent="-228594">
              <a:lnSpc>
                <a:spcPct val="100000"/>
              </a:lnSpc>
              <a:spcBef>
                <a:spcPts val="400"/>
              </a:spcBef>
              <a:defRPr sz="1467"/>
            </a:lvl2pPr>
            <a:lvl3pPr marL="690016" indent="-230712">
              <a:lnSpc>
                <a:spcPct val="100000"/>
              </a:lnSpc>
              <a:spcBef>
                <a:spcPts val="400"/>
              </a:spcBef>
              <a:defRPr sz="1333"/>
            </a:lvl3pPr>
            <a:lvl4pPr marL="920728" indent="-230712">
              <a:lnSpc>
                <a:spcPct val="100000"/>
              </a:lnSpc>
              <a:spcBef>
                <a:spcPts val="400"/>
              </a:spcBef>
              <a:defRPr sz="1200"/>
            </a:lvl4pPr>
            <a:lvl5pPr marL="1138738" indent="-218012">
              <a:lnSpc>
                <a:spcPct val="100000"/>
              </a:lnSpc>
              <a:spcBef>
                <a:spcPts val="400"/>
              </a:spcBef>
              <a:defRPr sz="1067"/>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2F687C33-47E0-407C-B61F-DB8DDD78F4C7}" type="slidenum">
              <a:rPr lang="en-US" smtClean="0"/>
              <a:t>‹#›</a:t>
            </a:fld>
            <a:endParaRPr lang="en-US"/>
          </a:p>
        </p:txBody>
      </p:sp>
      <p:sp>
        <p:nvSpPr>
          <p:cNvPr id="5" name="Content Placeholder 2">
            <a:extLst>
              <a:ext uri="{FF2B5EF4-FFF2-40B4-BE49-F238E27FC236}">
                <a16:creationId xmlns:a16="http://schemas.microsoft.com/office/drawing/2014/main" id="{07CECDB5-813F-44A7-A308-C2E59BAB2159}"/>
              </a:ext>
            </a:extLst>
          </p:cNvPr>
          <p:cNvSpPr>
            <a:spLocks noGrp="1"/>
          </p:cNvSpPr>
          <p:nvPr>
            <p:ph idx="13"/>
          </p:nvPr>
        </p:nvSpPr>
        <p:spPr>
          <a:xfrm>
            <a:off x="5904752" y="2260601"/>
            <a:ext cx="4815840" cy="3885103"/>
          </a:xfrm>
        </p:spPr>
        <p:txBody>
          <a:bodyPr/>
          <a:lstStyle>
            <a:lvl1pPr marL="230712" indent="-230712">
              <a:lnSpc>
                <a:spcPct val="100000"/>
              </a:lnSpc>
              <a:spcBef>
                <a:spcPts val="800"/>
              </a:spcBef>
              <a:defRPr sz="1600"/>
            </a:lvl1pPr>
            <a:lvl2pPr marL="459306" indent="-228594">
              <a:lnSpc>
                <a:spcPct val="100000"/>
              </a:lnSpc>
              <a:spcBef>
                <a:spcPts val="400"/>
              </a:spcBef>
              <a:defRPr sz="1467"/>
            </a:lvl2pPr>
            <a:lvl3pPr marL="690016" indent="-230712">
              <a:lnSpc>
                <a:spcPct val="100000"/>
              </a:lnSpc>
              <a:spcBef>
                <a:spcPts val="400"/>
              </a:spcBef>
              <a:defRPr sz="1333"/>
            </a:lvl3pPr>
            <a:lvl4pPr marL="920728" indent="-230712">
              <a:lnSpc>
                <a:spcPct val="100000"/>
              </a:lnSpc>
              <a:spcBef>
                <a:spcPts val="400"/>
              </a:spcBef>
              <a:defRPr sz="1200"/>
            </a:lvl4pPr>
            <a:lvl5pPr marL="1138738" indent="-218012">
              <a:lnSpc>
                <a:spcPct val="100000"/>
              </a:lnSpc>
              <a:spcBef>
                <a:spcPts val="400"/>
              </a:spcBef>
              <a:defRPr sz="1067"/>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20095496"/>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obj" preserve="1">
  <p:cSld name="Three Content_Heavy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660400" y="2260601"/>
            <a:ext cx="3145536" cy="3885103"/>
          </a:xfrm>
        </p:spPr>
        <p:txBody>
          <a:bodyPr/>
          <a:lstStyle>
            <a:lvl1pPr marL="230712" indent="-230712">
              <a:lnSpc>
                <a:spcPct val="100000"/>
              </a:lnSpc>
              <a:spcBef>
                <a:spcPts val="800"/>
              </a:spcBef>
              <a:defRPr sz="1600"/>
            </a:lvl1pPr>
            <a:lvl2pPr marL="459306" indent="-228594">
              <a:lnSpc>
                <a:spcPct val="100000"/>
              </a:lnSpc>
              <a:spcBef>
                <a:spcPts val="400"/>
              </a:spcBef>
              <a:defRPr sz="1467"/>
            </a:lvl2pPr>
            <a:lvl3pPr marL="690016" indent="-230712">
              <a:lnSpc>
                <a:spcPct val="100000"/>
              </a:lnSpc>
              <a:spcBef>
                <a:spcPts val="400"/>
              </a:spcBef>
              <a:defRPr sz="1333"/>
            </a:lvl3pPr>
            <a:lvl4pPr marL="920728" indent="-230712">
              <a:lnSpc>
                <a:spcPct val="100000"/>
              </a:lnSpc>
              <a:spcBef>
                <a:spcPts val="400"/>
              </a:spcBef>
              <a:defRPr sz="1200"/>
            </a:lvl4pPr>
            <a:lvl5pPr marL="1138738" indent="-218012">
              <a:lnSpc>
                <a:spcPct val="100000"/>
              </a:lnSpc>
              <a:spcBef>
                <a:spcPts val="400"/>
              </a:spcBef>
              <a:defRPr sz="1067"/>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2F687C33-47E0-407C-B61F-DB8DDD78F4C7}" type="slidenum">
              <a:rPr lang="en-US" smtClean="0"/>
              <a:t>‹#›</a:t>
            </a:fld>
            <a:endParaRPr lang="en-US"/>
          </a:p>
        </p:txBody>
      </p:sp>
      <p:sp>
        <p:nvSpPr>
          <p:cNvPr id="5" name="Content Placeholder 2">
            <a:extLst>
              <a:ext uri="{FF2B5EF4-FFF2-40B4-BE49-F238E27FC236}">
                <a16:creationId xmlns:a16="http://schemas.microsoft.com/office/drawing/2014/main" id="{07CECDB5-813F-44A7-A308-C2E59BAB2159}"/>
              </a:ext>
            </a:extLst>
          </p:cNvPr>
          <p:cNvSpPr>
            <a:spLocks noGrp="1"/>
          </p:cNvSpPr>
          <p:nvPr>
            <p:ph idx="13"/>
          </p:nvPr>
        </p:nvSpPr>
        <p:spPr>
          <a:xfrm>
            <a:off x="4365752" y="2260601"/>
            <a:ext cx="3145536" cy="3885103"/>
          </a:xfrm>
        </p:spPr>
        <p:txBody>
          <a:bodyPr/>
          <a:lstStyle>
            <a:lvl1pPr marL="230712" indent="-230712">
              <a:lnSpc>
                <a:spcPct val="100000"/>
              </a:lnSpc>
              <a:spcBef>
                <a:spcPts val="800"/>
              </a:spcBef>
              <a:defRPr sz="1600"/>
            </a:lvl1pPr>
            <a:lvl2pPr marL="459306" indent="-228594">
              <a:lnSpc>
                <a:spcPct val="100000"/>
              </a:lnSpc>
              <a:spcBef>
                <a:spcPts val="400"/>
              </a:spcBef>
              <a:defRPr sz="1467"/>
            </a:lvl2pPr>
            <a:lvl3pPr marL="690016" indent="-230712">
              <a:lnSpc>
                <a:spcPct val="100000"/>
              </a:lnSpc>
              <a:spcBef>
                <a:spcPts val="400"/>
              </a:spcBef>
              <a:defRPr sz="1333"/>
            </a:lvl3pPr>
            <a:lvl4pPr marL="920728" indent="-230712">
              <a:lnSpc>
                <a:spcPct val="100000"/>
              </a:lnSpc>
              <a:spcBef>
                <a:spcPts val="400"/>
              </a:spcBef>
              <a:defRPr sz="1200"/>
            </a:lvl4pPr>
            <a:lvl5pPr marL="1138738" indent="-218012">
              <a:lnSpc>
                <a:spcPct val="100000"/>
              </a:lnSpc>
              <a:spcBef>
                <a:spcPts val="400"/>
              </a:spcBef>
              <a:defRPr sz="1067"/>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2">
            <a:extLst>
              <a:ext uri="{FF2B5EF4-FFF2-40B4-BE49-F238E27FC236}">
                <a16:creationId xmlns:a16="http://schemas.microsoft.com/office/drawing/2014/main" id="{5596E2F6-FF82-441A-919C-438C1BEE4F3E}"/>
              </a:ext>
            </a:extLst>
          </p:cNvPr>
          <p:cNvSpPr>
            <a:spLocks noGrp="1"/>
          </p:cNvSpPr>
          <p:nvPr>
            <p:ph idx="14"/>
          </p:nvPr>
        </p:nvSpPr>
        <p:spPr>
          <a:xfrm>
            <a:off x="8071103" y="2260601"/>
            <a:ext cx="3145536" cy="3885103"/>
          </a:xfrm>
        </p:spPr>
        <p:txBody>
          <a:bodyPr/>
          <a:lstStyle>
            <a:lvl1pPr marL="230712" indent="-230712">
              <a:lnSpc>
                <a:spcPct val="100000"/>
              </a:lnSpc>
              <a:spcBef>
                <a:spcPts val="800"/>
              </a:spcBef>
              <a:defRPr sz="1600"/>
            </a:lvl1pPr>
            <a:lvl2pPr marL="459306" indent="-228594">
              <a:lnSpc>
                <a:spcPct val="100000"/>
              </a:lnSpc>
              <a:spcBef>
                <a:spcPts val="400"/>
              </a:spcBef>
              <a:defRPr sz="1467"/>
            </a:lvl2pPr>
            <a:lvl3pPr marL="690016" indent="-230712">
              <a:lnSpc>
                <a:spcPct val="100000"/>
              </a:lnSpc>
              <a:spcBef>
                <a:spcPts val="400"/>
              </a:spcBef>
              <a:defRPr sz="1333"/>
            </a:lvl3pPr>
            <a:lvl4pPr marL="920728" indent="-230712">
              <a:lnSpc>
                <a:spcPct val="100000"/>
              </a:lnSpc>
              <a:spcBef>
                <a:spcPts val="400"/>
              </a:spcBef>
              <a:defRPr sz="1200"/>
            </a:lvl4pPr>
            <a:lvl5pPr marL="1138738" indent="-218012">
              <a:lnSpc>
                <a:spcPct val="100000"/>
              </a:lnSpc>
              <a:spcBef>
                <a:spcPts val="400"/>
              </a:spcBef>
              <a:defRPr sz="1067"/>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08478806"/>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obj" preserve="1">
  <p:cSld name="Four Content_Heavy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660400" y="2260601"/>
            <a:ext cx="2353056" cy="3885103"/>
          </a:xfrm>
        </p:spPr>
        <p:txBody>
          <a:bodyPr/>
          <a:lstStyle>
            <a:lvl1pPr marL="230712" indent="-230712">
              <a:lnSpc>
                <a:spcPct val="100000"/>
              </a:lnSpc>
              <a:spcBef>
                <a:spcPts val="800"/>
              </a:spcBef>
              <a:defRPr sz="1600"/>
            </a:lvl1pPr>
            <a:lvl2pPr marL="459306" indent="-228594">
              <a:lnSpc>
                <a:spcPct val="100000"/>
              </a:lnSpc>
              <a:spcBef>
                <a:spcPts val="400"/>
              </a:spcBef>
              <a:defRPr sz="1467"/>
            </a:lvl2pPr>
            <a:lvl3pPr marL="690016" indent="-230712">
              <a:lnSpc>
                <a:spcPct val="100000"/>
              </a:lnSpc>
              <a:spcBef>
                <a:spcPts val="400"/>
              </a:spcBef>
              <a:defRPr sz="1333"/>
            </a:lvl3pPr>
            <a:lvl4pPr marL="920728" indent="-230712">
              <a:lnSpc>
                <a:spcPct val="100000"/>
              </a:lnSpc>
              <a:spcBef>
                <a:spcPts val="400"/>
              </a:spcBef>
              <a:defRPr sz="1200"/>
            </a:lvl4pPr>
            <a:lvl5pPr marL="1138738" indent="-218012">
              <a:lnSpc>
                <a:spcPct val="100000"/>
              </a:lnSpc>
              <a:spcBef>
                <a:spcPts val="400"/>
              </a:spcBef>
              <a:defRPr sz="1067"/>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2F687C33-47E0-407C-B61F-DB8DDD78F4C7}" type="slidenum">
              <a:rPr lang="en-US" smtClean="0"/>
              <a:t>‹#›</a:t>
            </a:fld>
            <a:endParaRPr lang="en-US"/>
          </a:p>
        </p:txBody>
      </p:sp>
      <p:sp>
        <p:nvSpPr>
          <p:cNvPr id="5" name="Content Placeholder 2">
            <a:extLst>
              <a:ext uri="{FF2B5EF4-FFF2-40B4-BE49-F238E27FC236}">
                <a16:creationId xmlns:a16="http://schemas.microsoft.com/office/drawing/2014/main" id="{07CECDB5-813F-44A7-A308-C2E59BAB2159}"/>
              </a:ext>
            </a:extLst>
          </p:cNvPr>
          <p:cNvSpPr>
            <a:spLocks noGrp="1"/>
          </p:cNvSpPr>
          <p:nvPr>
            <p:ph idx="13"/>
          </p:nvPr>
        </p:nvSpPr>
        <p:spPr>
          <a:xfrm>
            <a:off x="3394795" y="2260601"/>
            <a:ext cx="2353056" cy="3885103"/>
          </a:xfrm>
        </p:spPr>
        <p:txBody>
          <a:bodyPr/>
          <a:lstStyle>
            <a:lvl1pPr marL="230712" indent="-230712">
              <a:lnSpc>
                <a:spcPct val="100000"/>
              </a:lnSpc>
              <a:spcBef>
                <a:spcPts val="800"/>
              </a:spcBef>
              <a:defRPr sz="1600"/>
            </a:lvl1pPr>
            <a:lvl2pPr marL="459306" indent="-228594">
              <a:lnSpc>
                <a:spcPct val="100000"/>
              </a:lnSpc>
              <a:spcBef>
                <a:spcPts val="400"/>
              </a:spcBef>
              <a:defRPr sz="1467"/>
            </a:lvl2pPr>
            <a:lvl3pPr marL="690016" indent="-230712">
              <a:lnSpc>
                <a:spcPct val="100000"/>
              </a:lnSpc>
              <a:spcBef>
                <a:spcPts val="400"/>
              </a:spcBef>
              <a:defRPr sz="1333"/>
            </a:lvl3pPr>
            <a:lvl4pPr marL="920728" indent="-230712">
              <a:lnSpc>
                <a:spcPct val="100000"/>
              </a:lnSpc>
              <a:spcBef>
                <a:spcPts val="400"/>
              </a:spcBef>
              <a:defRPr sz="1200"/>
            </a:lvl4pPr>
            <a:lvl5pPr marL="1138738" indent="-218012">
              <a:lnSpc>
                <a:spcPct val="100000"/>
              </a:lnSpc>
              <a:spcBef>
                <a:spcPts val="400"/>
              </a:spcBef>
              <a:defRPr sz="1067"/>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2">
            <a:extLst>
              <a:ext uri="{FF2B5EF4-FFF2-40B4-BE49-F238E27FC236}">
                <a16:creationId xmlns:a16="http://schemas.microsoft.com/office/drawing/2014/main" id="{5596E2F6-FF82-441A-919C-438C1BEE4F3E}"/>
              </a:ext>
            </a:extLst>
          </p:cNvPr>
          <p:cNvSpPr>
            <a:spLocks noGrp="1"/>
          </p:cNvSpPr>
          <p:nvPr>
            <p:ph idx="14"/>
          </p:nvPr>
        </p:nvSpPr>
        <p:spPr>
          <a:xfrm>
            <a:off x="6129189" y="2260601"/>
            <a:ext cx="2353056" cy="3885103"/>
          </a:xfrm>
        </p:spPr>
        <p:txBody>
          <a:bodyPr/>
          <a:lstStyle>
            <a:lvl1pPr marL="230712" indent="-230712">
              <a:lnSpc>
                <a:spcPct val="100000"/>
              </a:lnSpc>
              <a:spcBef>
                <a:spcPts val="800"/>
              </a:spcBef>
              <a:defRPr sz="1600"/>
            </a:lvl1pPr>
            <a:lvl2pPr marL="459306" indent="-228594">
              <a:lnSpc>
                <a:spcPct val="100000"/>
              </a:lnSpc>
              <a:spcBef>
                <a:spcPts val="400"/>
              </a:spcBef>
              <a:defRPr sz="1467"/>
            </a:lvl2pPr>
            <a:lvl3pPr marL="690016" indent="-230712">
              <a:lnSpc>
                <a:spcPct val="100000"/>
              </a:lnSpc>
              <a:spcBef>
                <a:spcPts val="400"/>
              </a:spcBef>
              <a:defRPr sz="1333"/>
            </a:lvl3pPr>
            <a:lvl4pPr marL="920728" indent="-230712">
              <a:lnSpc>
                <a:spcPct val="100000"/>
              </a:lnSpc>
              <a:spcBef>
                <a:spcPts val="400"/>
              </a:spcBef>
              <a:defRPr sz="1200"/>
            </a:lvl4pPr>
            <a:lvl5pPr marL="1138738" indent="-218012">
              <a:lnSpc>
                <a:spcPct val="100000"/>
              </a:lnSpc>
              <a:spcBef>
                <a:spcPts val="400"/>
              </a:spcBef>
              <a:defRPr sz="1067"/>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Content Placeholder 2">
            <a:extLst>
              <a:ext uri="{FF2B5EF4-FFF2-40B4-BE49-F238E27FC236}">
                <a16:creationId xmlns:a16="http://schemas.microsoft.com/office/drawing/2014/main" id="{75F2E673-F52C-4F78-BAC9-56503F69B59A}"/>
              </a:ext>
            </a:extLst>
          </p:cNvPr>
          <p:cNvSpPr>
            <a:spLocks noGrp="1"/>
          </p:cNvSpPr>
          <p:nvPr>
            <p:ph idx="15"/>
          </p:nvPr>
        </p:nvSpPr>
        <p:spPr>
          <a:xfrm>
            <a:off x="8863583" y="2260601"/>
            <a:ext cx="2353056" cy="3885103"/>
          </a:xfrm>
        </p:spPr>
        <p:txBody>
          <a:bodyPr/>
          <a:lstStyle>
            <a:lvl1pPr marL="230712" indent="-230712">
              <a:lnSpc>
                <a:spcPct val="100000"/>
              </a:lnSpc>
              <a:spcBef>
                <a:spcPts val="800"/>
              </a:spcBef>
              <a:defRPr sz="1600"/>
            </a:lvl1pPr>
            <a:lvl2pPr marL="459306" indent="-228594">
              <a:lnSpc>
                <a:spcPct val="100000"/>
              </a:lnSpc>
              <a:spcBef>
                <a:spcPts val="400"/>
              </a:spcBef>
              <a:defRPr sz="1467"/>
            </a:lvl2pPr>
            <a:lvl3pPr marL="690016" indent="-230712">
              <a:lnSpc>
                <a:spcPct val="100000"/>
              </a:lnSpc>
              <a:spcBef>
                <a:spcPts val="400"/>
              </a:spcBef>
              <a:defRPr sz="1333"/>
            </a:lvl3pPr>
            <a:lvl4pPr marL="920728" indent="-230712">
              <a:lnSpc>
                <a:spcPct val="100000"/>
              </a:lnSpc>
              <a:spcBef>
                <a:spcPts val="400"/>
              </a:spcBef>
              <a:defRPr sz="1200"/>
            </a:lvl4pPr>
            <a:lvl5pPr marL="1138738" indent="-218012">
              <a:lnSpc>
                <a:spcPct val="100000"/>
              </a:lnSpc>
              <a:spcBef>
                <a:spcPts val="400"/>
              </a:spcBef>
              <a:defRPr sz="1067"/>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32011381"/>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obj" preserve="1">
  <p:cSld name="Department description">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B7FB1027-BCD9-449C-A98B-33364CB17664}"/>
              </a:ext>
            </a:extLst>
          </p:cNvPr>
          <p:cNvSpPr/>
          <p:nvPr/>
        </p:nvSpPr>
        <p:spPr>
          <a:xfrm>
            <a:off x="1" y="1"/>
            <a:ext cx="5767753" cy="6246524"/>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2" name="Title 1"/>
          <p:cNvSpPr>
            <a:spLocks noGrp="1"/>
          </p:cNvSpPr>
          <p:nvPr>
            <p:ph type="title"/>
          </p:nvPr>
        </p:nvSpPr>
        <p:spPr>
          <a:xfrm>
            <a:off x="662940" y="437896"/>
            <a:ext cx="4809717" cy="1217861"/>
          </a:xfrm>
        </p:spPr>
        <p:txBody>
          <a:bodyPr anchor="t" anchorCtr="0"/>
          <a:lstStyle/>
          <a:p>
            <a:r>
              <a:rPr lang="en-US"/>
              <a:t>Click to edit Master title style</a:t>
            </a:r>
          </a:p>
        </p:txBody>
      </p:sp>
      <p:sp>
        <p:nvSpPr>
          <p:cNvPr id="3" name="Content Placeholder 2"/>
          <p:cNvSpPr>
            <a:spLocks noGrp="1"/>
          </p:cNvSpPr>
          <p:nvPr>
            <p:ph idx="1"/>
          </p:nvPr>
        </p:nvSpPr>
        <p:spPr>
          <a:xfrm>
            <a:off x="661052" y="2260601"/>
            <a:ext cx="4809717" cy="3885103"/>
          </a:xfrm>
        </p:spPr>
        <p:txBody>
          <a:bodyPr/>
          <a:lstStyle>
            <a:lvl1pPr marL="0" indent="0">
              <a:lnSpc>
                <a:spcPct val="120000"/>
              </a:lnSpc>
              <a:buNone/>
              <a:defRPr sz="2133">
                <a:solidFill>
                  <a:schemeClr val="tx2"/>
                </a:solidFill>
                <a:latin typeface="+mj-lt"/>
              </a:defRPr>
            </a:lvl1pPr>
            <a:lvl2pPr marL="313259" indent="-313259">
              <a:buFont typeface="Arial" panose="020B0604020202020204" pitchFamily="34" charset="0"/>
              <a:buChar char="•"/>
              <a:defRPr sz="1867"/>
            </a:lvl2pPr>
            <a:lvl3pPr marL="609585" indent="-296326">
              <a:buFont typeface="Arial" panose="020B0604020202020204" pitchFamily="34" charset="0"/>
              <a:buChar char="–"/>
              <a:defRPr sz="1600"/>
            </a:lvl3pPr>
            <a:lvl4pPr marL="922844" indent="-313259">
              <a:buNone/>
              <a:defRPr sz="1467"/>
            </a:lvl4pPr>
            <a:lvl5pPr marL="1219170" indent="-296326">
              <a:buNone/>
              <a:defRPr sz="1333"/>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2F687C33-47E0-407C-B61F-DB8DDD78F4C7}" type="slidenum">
              <a:rPr lang="en-US" smtClean="0"/>
              <a:t>‹#›</a:t>
            </a:fld>
            <a:endParaRPr lang="en-US"/>
          </a:p>
        </p:txBody>
      </p:sp>
      <p:sp>
        <p:nvSpPr>
          <p:cNvPr id="5" name="Content Placeholder 2">
            <a:extLst>
              <a:ext uri="{FF2B5EF4-FFF2-40B4-BE49-F238E27FC236}">
                <a16:creationId xmlns:a16="http://schemas.microsoft.com/office/drawing/2014/main" id="{BA822995-1844-4B85-89FD-F70A7096EEBE}"/>
              </a:ext>
            </a:extLst>
          </p:cNvPr>
          <p:cNvSpPr>
            <a:spLocks noGrp="1"/>
          </p:cNvSpPr>
          <p:nvPr>
            <p:ph idx="13"/>
          </p:nvPr>
        </p:nvSpPr>
        <p:spPr>
          <a:xfrm>
            <a:off x="6252310" y="1047262"/>
            <a:ext cx="4809717" cy="5098441"/>
          </a:xfrm>
        </p:spPr>
        <p:txBody>
          <a:bodyPr/>
          <a:lstStyle>
            <a:lvl1pPr marL="0" indent="0">
              <a:lnSpc>
                <a:spcPct val="120000"/>
              </a:lnSpc>
              <a:spcAft>
                <a:spcPts val="2400"/>
              </a:spcAft>
              <a:buNone/>
              <a:defRPr sz="1400"/>
            </a:lvl1pPr>
            <a:lvl2pPr marL="156629" indent="-156629">
              <a:lnSpc>
                <a:spcPct val="100000"/>
              </a:lnSpc>
              <a:spcBef>
                <a:spcPts val="2000"/>
              </a:spcBef>
              <a:buFont typeface="Arial" panose="020B0604020202020204" pitchFamily="34" charset="0"/>
              <a:buChar char="•"/>
              <a:defRPr sz="1400"/>
            </a:lvl2pPr>
            <a:lvl3pPr>
              <a:defRPr sz="1200"/>
            </a:lvl3pPr>
            <a:lvl4pPr>
              <a:defRPr sz="1067"/>
            </a:lvl4pPr>
          </a:lstStyle>
          <a:p>
            <a:pPr lvl="0"/>
            <a:r>
              <a:rPr lang="en-US"/>
              <a:t>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3662353657"/>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obj" preserve="1">
  <p:cSld name="Department description Purple">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B7FB1027-BCD9-449C-A98B-33364CB17664}"/>
              </a:ext>
            </a:extLst>
          </p:cNvPr>
          <p:cNvSpPr/>
          <p:nvPr/>
        </p:nvSpPr>
        <p:spPr>
          <a:xfrm>
            <a:off x="1" y="1"/>
            <a:ext cx="5767753" cy="624652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2" name="Title 1"/>
          <p:cNvSpPr>
            <a:spLocks noGrp="1"/>
          </p:cNvSpPr>
          <p:nvPr>
            <p:ph type="title"/>
          </p:nvPr>
        </p:nvSpPr>
        <p:spPr>
          <a:xfrm>
            <a:off x="662940" y="437896"/>
            <a:ext cx="4809717" cy="1217861"/>
          </a:xfrm>
        </p:spPr>
        <p:txBody>
          <a:bodyPr anchor="t" anchorCtr="0"/>
          <a:lstStyle>
            <a:lvl1pPr>
              <a:defRPr>
                <a:solidFill>
                  <a:schemeClr val="bg1"/>
                </a:solidFill>
              </a:defRPr>
            </a:lvl1pPr>
          </a:lstStyle>
          <a:p>
            <a:r>
              <a:rPr lang="en-US"/>
              <a:t>Click to edit Master title style</a:t>
            </a:r>
          </a:p>
        </p:txBody>
      </p:sp>
      <p:sp>
        <p:nvSpPr>
          <p:cNvPr id="3" name="Content Placeholder 2"/>
          <p:cNvSpPr>
            <a:spLocks noGrp="1"/>
          </p:cNvSpPr>
          <p:nvPr>
            <p:ph idx="1"/>
          </p:nvPr>
        </p:nvSpPr>
        <p:spPr>
          <a:xfrm>
            <a:off x="661052" y="2260601"/>
            <a:ext cx="4809717" cy="3885103"/>
          </a:xfrm>
        </p:spPr>
        <p:txBody>
          <a:bodyPr/>
          <a:lstStyle>
            <a:lvl1pPr marL="0" indent="0">
              <a:lnSpc>
                <a:spcPct val="120000"/>
              </a:lnSpc>
              <a:buNone/>
              <a:defRPr sz="2133">
                <a:solidFill>
                  <a:schemeClr val="bg1"/>
                </a:solidFill>
                <a:latin typeface="+mj-lt"/>
              </a:defRPr>
            </a:lvl1pPr>
            <a:lvl2pPr marL="313259" indent="-313259">
              <a:buFont typeface="Arial" panose="020B0604020202020204" pitchFamily="34" charset="0"/>
              <a:buChar char="•"/>
              <a:defRPr sz="1867">
                <a:solidFill>
                  <a:schemeClr val="bg1"/>
                </a:solidFill>
              </a:defRPr>
            </a:lvl2pPr>
            <a:lvl3pPr marL="609585" indent="-296326">
              <a:buFont typeface="Arial" panose="020B0604020202020204" pitchFamily="34" charset="0"/>
              <a:buChar char="–"/>
              <a:defRPr sz="1600">
                <a:solidFill>
                  <a:schemeClr val="bg1"/>
                </a:solidFill>
              </a:defRPr>
            </a:lvl3pPr>
            <a:lvl4pPr marL="922844" indent="-313259">
              <a:buNone/>
              <a:defRPr sz="1467">
                <a:solidFill>
                  <a:schemeClr val="bg1"/>
                </a:solidFill>
              </a:defRPr>
            </a:lvl4pPr>
            <a:lvl5pPr marL="1219170" indent="-296326">
              <a:buNone/>
              <a:defRPr sz="1333">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2F687C33-47E0-407C-B61F-DB8DDD78F4C7}" type="slidenum">
              <a:rPr lang="en-US" smtClean="0"/>
              <a:t>‹#›</a:t>
            </a:fld>
            <a:endParaRPr lang="en-US"/>
          </a:p>
        </p:txBody>
      </p:sp>
      <p:sp>
        <p:nvSpPr>
          <p:cNvPr id="5" name="Content Placeholder 2">
            <a:extLst>
              <a:ext uri="{FF2B5EF4-FFF2-40B4-BE49-F238E27FC236}">
                <a16:creationId xmlns:a16="http://schemas.microsoft.com/office/drawing/2014/main" id="{BA822995-1844-4B85-89FD-F70A7096EEBE}"/>
              </a:ext>
            </a:extLst>
          </p:cNvPr>
          <p:cNvSpPr>
            <a:spLocks noGrp="1"/>
          </p:cNvSpPr>
          <p:nvPr>
            <p:ph idx="13"/>
          </p:nvPr>
        </p:nvSpPr>
        <p:spPr>
          <a:xfrm>
            <a:off x="6252310" y="1047262"/>
            <a:ext cx="4809717" cy="5098441"/>
          </a:xfrm>
        </p:spPr>
        <p:txBody>
          <a:bodyPr/>
          <a:lstStyle>
            <a:lvl1pPr marL="0" indent="0">
              <a:lnSpc>
                <a:spcPct val="120000"/>
              </a:lnSpc>
              <a:spcAft>
                <a:spcPts val="2400"/>
              </a:spcAft>
              <a:buNone/>
              <a:defRPr sz="1400"/>
            </a:lvl1pPr>
            <a:lvl2pPr marL="156629" indent="-156629">
              <a:lnSpc>
                <a:spcPct val="100000"/>
              </a:lnSpc>
              <a:spcBef>
                <a:spcPts val="2000"/>
              </a:spcBef>
              <a:buFont typeface="Arial" panose="020B0604020202020204" pitchFamily="34" charset="0"/>
              <a:buChar char="•"/>
              <a:defRPr sz="1400"/>
            </a:lvl2pPr>
            <a:lvl3pPr>
              <a:defRPr sz="1200"/>
            </a:lvl3pPr>
            <a:lvl4pPr>
              <a:defRPr sz="1067"/>
            </a:lvl4pPr>
          </a:lstStyle>
          <a:p>
            <a:pPr lvl="0"/>
            <a:r>
              <a:rPr lang="en-US"/>
              <a:t>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2117065234"/>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p:cSld name="Full page image">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EDC0698F-EBDF-49FA-A73A-1B335440AF10}"/>
              </a:ext>
            </a:extLst>
          </p:cNvPr>
          <p:cNvSpPr>
            <a:spLocks noGrp="1"/>
          </p:cNvSpPr>
          <p:nvPr>
            <p:ph type="pic" sz="quarter" idx="13"/>
          </p:nvPr>
        </p:nvSpPr>
        <p:spPr>
          <a:xfrm>
            <a:off x="0" y="0"/>
            <a:ext cx="12192000" cy="6858000"/>
          </a:xfrm>
          <a:solidFill>
            <a:schemeClr val="bg2">
              <a:lumMod val="90000"/>
            </a:schemeClr>
          </a:solidFill>
        </p:spPr>
        <p:txBody>
          <a:bodyPr tIns="1554480"/>
          <a:lstStyle>
            <a:lvl1pPr marL="0" indent="0" algn="ctr">
              <a:buNone/>
              <a:defRPr/>
            </a:lvl1pPr>
          </a:lstStyle>
          <a:p>
            <a:r>
              <a:rPr lang="en-US"/>
              <a:t>Click icon to add picture</a:t>
            </a:r>
          </a:p>
        </p:txBody>
      </p:sp>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5" name="Slide Number Placeholder 4"/>
          <p:cNvSpPr>
            <a:spLocks noGrp="1"/>
          </p:cNvSpPr>
          <p:nvPr>
            <p:ph type="sldNum" sz="quarter" idx="12"/>
          </p:nvPr>
        </p:nvSpPr>
        <p:spPr/>
        <p:txBody>
          <a:bodyPr/>
          <a:lstStyle>
            <a:lvl1pPr>
              <a:defRPr>
                <a:solidFill>
                  <a:schemeClr val="bg1"/>
                </a:solidFill>
              </a:defRPr>
            </a:lvl1pPr>
          </a:lstStyle>
          <a:p>
            <a:fld id="{2F687C33-47E0-407C-B61F-DB8DDD78F4C7}" type="slidenum">
              <a:rPr lang="en-US" smtClean="0"/>
              <a:t>‹#›</a:t>
            </a:fld>
            <a:endParaRPr lang="en-US"/>
          </a:p>
        </p:txBody>
      </p:sp>
      <p:sp>
        <p:nvSpPr>
          <p:cNvPr id="6" name="Freeform 5">
            <a:extLst>
              <a:ext uri="{FF2B5EF4-FFF2-40B4-BE49-F238E27FC236}">
                <a16:creationId xmlns:a16="http://schemas.microsoft.com/office/drawing/2014/main" id="{EB0A5C7A-CAA8-43DD-B541-DCF02544DCA8}"/>
              </a:ext>
            </a:extLst>
          </p:cNvPr>
          <p:cNvSpPr>
            <a:spLocks noEditPoints="1"/>
          </p:cNvSpPr>
          <p:nvPr/>
        </p:nvSpPr>
        <p:spPr bwMode="auto">
          <a:xfrm>
            <a:off x="725855" y="6393957"/>
            <a:ext cx="1669365" cy="312609"/>
          </a:xfrm>
          <a:custGeom>
            <a:avLst/>
            <a:gdLst>
              <a:gd name="T0" fmla="*/ 225 w 1440"/>
              <a:gd name="T1" fmla="*/ 110 h 267"/>
              <a:gd name="T2" fmla="*/ 317 w 1440"/>
              <a:gd name="T3" fmla="*/ 7 h 267"/>
              <a:gd name="T4" fmla="*/ 475 w 1440"/>
              <a:gd name="T5" fmla="*/ 19 h 267"/>
              <a:gd name="T6" fmla="*/ 830 w 1440"/>
              <a:gd name="T7" fmla="*/ 7 h 267"/>
              <a:gd name="T8" fmla="*/ 130 w 1440"/>
              <a:gd name="T9" fmla="*/ 210 h 267"/>
              <a:gd name="T10" fmla="*/ 437 w 1440"/>
              <a:gd name="T11" fmla="*/ 209 h 267"/>
              <a:gd name="T12" fmla="*/ 493 w 1440"/>
              <a:gd name="T13" fmla="*/ 198 h 267"/>
              <a:gd name="T14" fmla="*/ 866 w 1440"/>
              <a:gd name="T15" fmla="*/ 171 h 267"/>
              <a:gd name="T16" fmla="*/ 737 w 1440"/>
              <a:gd name="T17" fmla="*/ 261 h 267"/>
              <a:gd name="T18" fmla="*/ 958 w 1440"/>
              <a:gd name="T19" fmla="*/ 172 h 267"/>
              <a:gd name="T20" fmla="*/ 906 w 1440"/>
              <a:gd name="T21" fmla="*/ 254 h 267"/>
              <a:gd name="T22" fmla="*/ 309 w 1440"/>
              <a:gd name="T23" fmla="*/ 260 h 267"/>
              <a:gd name="T24" fmla="*/ 1053 w 1440"/>
              <a:gd name="T25" fmla="*/ 31 h 267"/>
              <a:gd name="T26" fmla="*/ 1075 w 1440"/>
              <a:gd name="T27" fmla="*/ 44 h 267"/>
              <a:gd name="T28" fmla="*/ 1091 w 1440"/>
              <a:gd name="T29" fmla="*/ 22 h 267"/>
              <a:gd name="T30" fmla="*/ 1107 w 1440"/>
              <a:gd name="T31" fmla="*/ 27 h 267"/>
              <a:gd name="T32" fmla="*/ 1125 w 1440"/>
              <a:gd name="T33" fmla="*/ 55 h 267"/>
              <a:gd name="T34" fmla="*/ 1159 w 1440"/>
              <a:gd name="T35" fmla="*/ 53 h 267"/>
              <a:gd name="T36" fmla="*/ 1160 w 1440"/>
              <a:gd name="T37" fmla="*/ 57 h 267"/>
              <a:gd name="T38" fmla="*/ 1177 w 1440"/>
              <a:gd name="T39" fmla="*/ 23 h 267"/>
              <a:gd name="T40" fmla="*/ 1207 w 1440"/>
              <a:gd name="T41" fmla="*/ 58 h 267"/>
              <a:gd name="T42" fmla="*/ 1245 w 1440"/>
              <a:gd name="T43" fmla="*/ 27 h 267"/>
              <a:gd name="T44" fmla="*/ 1225 w 1440"/>
              <a:gd name="T45" fmla="*/ 43 h 267"/>
              <a:gd name="T46" fmla="*/ 1271 w 1440"/>
              <a:gd name="T47" fmla="*/ 19 h 267"/>
              <a:gd name="T48" fmla="*/ 1259 w 1440"/>
              <a:gd name="T49" fmla="*/ 32 h 267"/>
              <a:gd name="T50" fmla="*/ 1290 w 1440"/>
              <a:gd name="T51" fmla="*/ 54 h 267"/>
              <a:gd name="T52" fmla="*/ 1310 w 1440"/>
              <a:gd name="T53" fmla="*/ 25 h 267"/>
              <a:gd name="T54" fmla="*/ 1059 w 1440"/>
              <a:gd name="T55" fmla="*/ 110 h 267"/>
              <a:gd name="T56" fmla="*/ 1099 w 1440"/>
              <a:gd name="T57" fmla="*/ 134 h 267"/>
              <a:gd name="T58" fmla="*/ 1120 w 1440"/>
              <a:gd name="T59" fmla="*/ 156 h 267"/>
              <a:gd name="T60" fmla="*/ 1141 w 1440"/>
              <a:gd name="T61" fmla="*/ 123 h 267"/>
              <a:gd name="T62" fmla="*/ 1148 w 1440"/>
              <a:gd name="T63" fmla="*/ 175 h 267"/>
              <a:gd name="T64" fmla="*/ 1184 w 1440"/>
              <a:gd name="T65" fmla="*/ 119 h 267"/>
              <a:gd name="T66" fmla="*/ 1181 w 1440"/>
              <a:gd name="T67" fmla="*/ 153 h 267"/>
              <a:gd name="T68" fmla="*/ 1201 w 1440"/>
              <a:gd name="T69" fmla="*/ 125 h 267"/>
              <a:gd name="T70" fmla="*/ 1230 w 1440"/>
              <a:gd name="T71" fmla="*/ 157 h 267"/>
              <a:gd name="T72" fmla="*/ 1260 w 1440"/>
              <a:gd name="T73" fmla="*/ 154 h 267"/>
              <a:gd name="T74" fmla="*/ 1261 w 1440"/>
              <a:gd name="T75" fmla="*/ 158 h 267"/>
              <a:gd name="T76" fmla="*/ 1284 w 1440"/>
              <a:gd name="T77" fmla="*/ 152 h 267"/>
              <a:gd name="T78" fmla="*/ 1294 w 1440"/>
              <a:gd name="T79" fmla="*/ 123 h 267"/>
              <a:gd name="T80" fmla="*/ 1317 w 1440"/>
              <a:gd name="T81" fmla="*/ 125 h 267"/>
              <a:gd name="T82" fmla="*/ 1342 w 1440"/>
              <a:gd name="T83" fmla="*/ 121 h 267"/>
              <a:gd name="T84" fmla="*/ 1351 w 1440"/>
              <a:gd name="T85" fmla="*/ 112 h 267"/>
              <a:gd name="T86" fmla="*/ 1364 w 1440"/>
              <a:gd name="T87" fmla="*/ 159 h 267"/>
              <a:gd name="T88" fmla="*/ 1399 w 1440"/>
              <a:gd name="T89" fmla="*/ 156 h 267"/>
              <a:gd name="T90" fmla="*/ 1432 w 1440"/>
              <a:gd name="T91" fmla="*/ 120 h 267"/>
              <a:gd name="T92" fmla="*/ 1410 w 1440"/>
              <a:gd name="T93" fmla="*/ 176 h 267"/>
              <a:gd name="T94" fmla="*/ 1076 w 1440"/>
              <a:gd name="T95" fmla="*/ 242 h 267"/>
              <a:gd name="T96" fmla="*/ 1062 w 1440"/>
              <a:gd name="T97" fmla="*/ 225 h 267"/>
              <a:gd name="T98" fmla="*/ 1091 w 1440"/>
              <a:gd name="T99" fmla="*/ 208 h 267"/>
              <a:gd name="T100" fmla="*/ 1112 w 1440"/>
              <a:gd name="T101" fmla="*/ 233 h 267"/>
              <a:gd name="T102" fmla="*/ 1128 w 1440"/>
              <a:gd name="T103" fmla="*/ 224 h 267"/>
              <a:gd name="T104" fmla="*/ 1168 w 1440"/>
              <a:gd name="T105" fmla="*/ 255 h 267"/>
              <a:gd name="T106" fmla="*/ 1154 w 1440"/>
              <a:gd name="T107" fmla="*/ 236 h 267"/>
              <a:gd name="T108" fmla="*/ 1203 w 1440"/>
              <a:gd name="T109" fmla="*/ 256 h 267"/>
              <a:gd name="T110" fmla="*/ 1200 w 1440"/>
              <a:gd name="T111" fmla="*/ 213 h 267"/>
              <a:gd name="T112" fmla="*/ 1227 w 1440"/>
              <a:gd name="T113" fmla="*/ 256 h 267"/>
              <a:gd name="T114" fmla="*/ 1249 w 1440"/>
              <a:gd name="T115" fmla="*/ 260 h 267"/>
              <a:gd name="T116" fmla="*/ 1255 w 1440"/>
              <a:gd name="T117" fmla="*/ 205 h 267"/>
              <a:gd name="T118" fmla="*/ 1297 w 1440"/>
              <a:gd name="T119" fmla="*/ 226 h 267"/>
              <a:gd name="T120" fmla="*/ 1303 w 1440"/>
              <a:gd name="T121" fmla="*/ 243 h 267"/>
              <a:gd name="T122" fmla="*/ 1344 w 1440"/>
              <a:gd name="T123" fmla="*/ 229 h 267"/>
              <a:gd name="T124" fmla="*/ 1328 w 1440"/>
              <a:gd name="T125" fmla="*/ 239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440" h="267">
                <a:moveTo>
                  <a:pt x="17" y="110"/>
                </a:moveTo>
                <a:cubicBezTo>
                  <a:pt x="3" y="110"/>
                  <a:pt x="3" y="110"/>
                  <a:pt x="3" y="110"/>
                </a:cubicBezTo>
                <a:cubicBezTo>
                  <a:pt x="3" y="1"/>
                  <a:pt x="3" y="1"/>
                  <a:pt x="3" y="1"/>
                </a:cubicBezTo>
                <a:cubicBezTo>
                  <a:pt x="81" y="83"/>
                  <a:pt x="81" y="83"/>
                  <a:pt x="81" y="83"/>
                </a:cubicBezTo>
                <a:cubicBezTo>
                  <a:pt x="81" y="7"/>
                  <a:pt x="81" y="7"/>
                  <a:pt x="81" y="7"/>
                </a:cubicBezTo>
                <a:cubicBezTo>
                  <a:pt x="95" y="7"/>
                  <a:pt x="95" y="7"/>
                  <a:pt x="95" y="7"/>
                </a:cubicBezTo>
                <a:cubicBezTo>
                  <a:pt x="95" y="117"/>
                  <a:pt x="95" y="117"/>
                  <a:pt x="95" y="117"/>
                </a:cubicBezTo>
                <a:cubicBezTo>
                  <a:pt x="17" y="35"/>
                  <a:pt x="17" y="35"/>
                  <a:pt x="17" y="35"/>
                </a:cubicBezTo>
                <a:lnTo>
                  <a:pt x="17" y="110"/>
                </a:lnTo>
                <a:close/>
                <a:moveTo>
                  <a:pt x="130" y="110"/>
                </a:moveTo>
                <a:cubicBezTo>
                  <a:pt x="145" y="110"/>
                  <a:pt x="145" y="110"/>
                  <a:pt x="145" y="110"/>
                </a:cubicBezTo>
                <a:cubicBezTo>
                  <a:pt x="178" y="33"/>
                  <a:pt x="178" y="33"/>
                  <a:pt x="178" y="33"/>
                </a:cubicBezTo>
                <a:cubicBezTo>
                  <a:pt x="210" y="109"/>
                  <a:pt x="210" y="109"/>
                  <a:pt x="210" y="109"/>
                </a:cubicBezTo>
                <a:cubicBezTo>
                  <a:pt x="210" y="110"/>
                  <a:pt x="210" y="110"/>
                  <a:pt x="210" y="110"/>
                </a:cubicBezTo>
                <a:cubicBezTo>
                  <a:pt x="225" y="110"/>
                  <a:pt x="225" y="110"/>
                  <a:pt x="225" y="110"/>
                </a:cubicBezTo>
                <a:cubicBezTo>
                  <a:pt x="178" y="0"/>
                  <a:pt x="178" y="0"/>
                  <a:pt x="178" y="0"/>
                </a:cubicBezTo>
                <a:lnTo>
                  <a:pt x="130" y="110"/>
                </a:lnTo>
                <a:close/>
                <a:moveTo>
                  <a:pt x="700" y="110"/>
                </a:moveTo>
                <a:cubicBezTo>
                  <a:pt x="715" y="110"/>
                  <a:pt x="715" y="110"/>
                  <a:pt x="715" y="110"/>
                </a:cubicBezTo>
                <a:cubicBezTo>
                  <a:pt x="748" y="33"/>
                  <a:pt x="748" y="33"/>
                  <a:pt x="748" y="33"/>
                </a:cubicBezTo>
                <a:cubicBezTo>
                  <a:pt x="780" y="109"/>
                  <a:pt x="780" y="109"/>
                  <a:pt x="780" y="109"/>
                </a:cubicBezTo>
                <a:cubicBezTo>
                  <a:pt x="780" y="110"/>
                  <a:pt x="780" y="110"/>
                  <a:pt x="780" y="110"/>
                </a:cubicBezTo>
                <a:cubicBezTo>
                  <a:pt x="795" y="110"/>
                  <a:pt x="795" y="110"/>
                  <a:pt x="795" y="110"/>
                </a:cubicBezTo>
                <a:cubicBezTo>
                  <a:pt x="748" y="0"/>
                  <a:pt x="748" y="0"/>
                  <a:pt x="748" y="0"/>
                </a:cubicBezTo>
                <a:lnTo>
                  <a:pt x="700" y="110"/>
                </a:lnTo>
                <a:close/>
                <a:moveTo>
                  <a:pt x="273" y="110"/>
                </a:moveTo>
                <a:cubicBezTo>
                  <a:pt x="286" y="110"/>
                  <a:pt x="286" y="110"/>
                  <a:pt x="286" y="110"/>
                </a:cubicBezTo>
                <a:cubicBezTo>
                  <a:pt x="286" y="20"/>
                  <a:pt x="286" y="20"/>
                  <a:pt x="286" y="20"/>
                </a:cubicBezTo>
                <a:cubicBezTo>
                  <a:pt x="317" y="20"/>
                  <a:pt x="317" y="20"/>
                  <a:pt x="317" y="20"/>
                </a:cubicBezTo>
                <a:cubicBezTo>
                  <a:pt x="317" y="7"/>
                  <a:pt x="317" y="7"/>
                  <a:pt x="317" y="7"/>
                </a:cubicBezTo>
                <a:cubicBezTo>
                  <a:pt x="242" y="7"/>
                  <a:pt x="242" y="7"/>
                  <a:pt x="242" y="7"/>
                </a:cubicBezTo>
                <a:cubicBezTo>
                  <a:pt x="242" y="20"/>
                  <a:pt x="242" y="20"/>
                  <a:pt x="242" y="20"/>
                </a:cubicBezTo>
                <a:cubicBezTo>
                  <a:pt x="273" y="20"/>
                  <a:pt x="273" y="20"/>
                  <a:pt x="273" y="20"/>
                </a:cubicBezTo>
                <a:lnTo>
                  <a:pt x="273" y="110"/>
                </a:lnTo>
                <a:close/>
                <a:moveTo>
                  <a:pt x="374" y="7"/>
                </a:moveTo>
                <a:cubicBezTo>
                  <a:pt x="360" y="7"/>
                  <a:pt x="360" y="7"/>
                  <a:pt x="360" y="7"/>
                </a:cubicBezTo>
                <a:cubicBezTo>
                  <a:pt x="360" y="110"/>
                  <a:pt x="360" y="110"/>
                  <a:pt x="360" y="110"/>
                </a:cubicBezTo>
                <a:cubicBezTo>
                  <a:pt x="374" y="110"/>
                  <a:pt x="374" y="110"/>
                  <a:pt x="374" y="110"/>
                </a:cubicBezTo>
                <a:lnTo>
                  <a:pt x="374" y="7"/>
                </a:lnTo>
                <a:close/>
                <a:moveTo>
                  <a:pt x="475" y="112"/>
                </a:moveTo>
                <a:cubicBezTo>
                  <a:pt x="445" y="112"/>
                  <a:pt x="421" y="88"/>
                  <a:pt x="421" y="59"/>
                </a:cubicBezTo>
                <a:cubicBezTo>
                  <a:pt x="421" y="29"/>
                  <a:pt x="445" y="5"/>
                  <a:pt x="475" y="5"/>
                </a:cubicBezTo>
                <a:cubicBezTo>
                  <a:pt x="505" y="5"/>
                  <a:pt x="528" y="29"/>
                  <a:pt x="528" y="59"/>
                </a:cubicBezTo>
                <a:cubicBezTo>
                  <a:pt x="528" y="88"/>
                  <a:pt x="505" y="112"/>
                  <a:pt x="475" y="112"/>
                </a:cubicBezTo>
                <a:close/>
                <a:moveTo>
                  <a:pt x="475" y="19"/>
                </a:moveTo>
                <a:cubicBezTo>
                  <a:pt x="453" y="19"/>
                  <a:pt x="435" y="37"/>
                  <a:pt x="435" y="59"/>
                </a:cubicBezTo>
                <a:cubicBezTo>
                  <a:pt x="435" y="81"/>
                  <a:pt x="453" y="99"/>
                  <a:pt x="475" y="99"/>
                </a:cubicBezTo>
                <a:cubicBezTo>
                  <a:pt x="497" y="99"/>
                  <a:pt x="514" y="81"/>
                  <a:pt x="514" y="59"/>
                </a:cubicBezTo>
                <a:cubicBezTo>
                  <a:pt x="514" y="37"/>
                  <a:pt x="497" y="19"/>
                  <a:pt x="475" y="19"/>
                </a:cubicBezTo>
                <a:close/>
                <a:moveTo>
                  <a:pt x="586" y="35"/>
                </a:moveTo>
                <a:cubicBezTo>
                  <a:pt x="664" y="117"/>
                  <a:pt x="664" y="117"/>
                  <a:pt x="664" y="117"/>
                </a:cubicBezTo>
                <a:cubicBezTo>
                  <a:pt x="664" y="7"/>
                  <a:pt x="664" y="7"/>
                  <a:pt x="664" y="7"/>
                </a:cubicBezTo>
                <a:cubicBezTo>
                  <a:pt x="650" y="7"/>
                  <a:pt x="650" y="7"/>
                  <a:pt x="650" y="7"/>
                </a:cubicBezTo>
                <a:cubicBezTo>
                  <a:pt x="650" y="83"/>
                  <a:pt x="650" y="83"/>
                  <a:pt x="650" y="83"/>
                </a:cubicBezTo>
                <a:cubicBezTo>
                  <a:pt x="572" y="1"/>
                  <a:pt x="572" y="1"/>
                  <a:pt x="572" y="1"/>
                </a:cubicBezTo>
                <a:cubicBezTo>
                  <a:pt x="572" y="110"/>
                  <a:pt x="572" y="110"/>
                  <a:pt x="572" y="110"/>
                </a:cubicBezTo>
                <a:cubicBezTo>
                  <a:pt x="586" y="110"/>
                  <a:pt x="586" y="110"/>
                  <a:pt x="586" y="110"/>
                </a:cubicBezTo>
                <a:lnTo>
                  <a:pt x="586" y="35"/>
                </a:lnTo>
                <a:close/>
                <a:moveTo>
                  <a:pt x="843" y="7"/>
                </a:moveTo>
                <a:cubicBezTo>
                  <a:pt x="830" y="7"/>
                  <a:pt x="830" y="7"/>
                  <a:pt x="830" y="7"/>
                </a:cubicBezTo>
                <a:cubicBezTo>
                  <a:pt x="830" y="110"/>
                  <a:pt x="830" y="110"/>
                  <a:pt x="830" y="110"/>
                </a:cubicBezTo>
                <a:cubicBezTo>
                  <a:pt x="885" y="110"/>
                  <a:pt x="885" y="110"/>
                  <a:pt x="885" y="110"/>
                </a:cubicBezTo>
                <a:cubicBezTo>
                  <a:pt x="885" y="97"/>
                  <a:pt x="885" y="97"/>
                  <a:pt x="885" y="97"/>
                </a:cubicBezTo>
                <a:cubicBezTo>
                  <a:pt x="843" y="97"/>
                  <a:pt x="843" y="97"/>
                  <a:pt x="843" y="97"/>
                </a:cubicBezTo>
                <a:lnTo>
                  <a:pt x="843" y="7"/>
                </a:lnTo>
                <a:close/>
                <a:moveTo>
                  <a:pt x="169" y="156"/>
                </a:moveTo>
                <a:cubicBezTo>
                  <a:pt x="139" y="156"/>
                  <a:pt x="116" y="179"/>
                  <a:pt x="116" y="209"/>
                </a:cubicBezTo>
                <a:cubicBezTo>
                  <a:pt x="116" y="240"/>
                  <a:pt x="139" y="262"/>
                  <a:pt x="169" y="262"/>
                </a:cubicBezTo>
                <a:cubicBezTo>
                  <a:pt x="175" y="262"/>
                  <a:pt x="188" y="261"/>
                  <a:pt x="200" y="252"/>
                </a:cubicBezTo>
                <a:cubicBezTo>
                  <a:pt x="200" y="252"/>
                  <a:pt x="200" y="252"/>
                  <a:pt x="200" y="252"/>
                </a:cubicBezTo>
                <a:cubicBezTo>
                  <a:pt x="200" y="234"/>
                  <a:pt x="200" y="234"/>
                  <a:pt x="200" y="234"/>
                </a:cubicBezTo>
                <a:cubicBezTo>
                  <a:pt x="198" y="236"/>
                  <a:pt x="198" y="236"/>
                  <a:pt x="198" y="236"/>
                </a:cubicBezTo>
                <a:cubicBezTo>
                  <a:pt x="196" y="239"/>
                  <a:pt x="192" y="242"/>
                  <a:pt x="187" y="245"/>
                </a:cubicBezTo>
                <a:cubicBezTo>
                  <a:pt x="181" y="247"/>
                  <a:pt x="175" y="249"/>
                  <a:pt x="169" y="249"/>
                </a:cubicBezTo>
                <a:cubicBezTo>
                  <a:pt x="142" y="249"/>
                  <a:pt x="130" y="226"/>
                  <a:pt x="130" y="210"/>
                </a:cubicBezTo>
                <a:cubicBezTo>
                  <a:pt x="130" y="187"/>
                  <a:pt x="147" y="169"/>
                  <a:pt x="169" y="169"/>
                </a:cubicBezTo>
                <a:cubicBezTo>
                  <a:pt x="174" y="169"/>
                  <a:pt x="180" y="170"/>
                  <a:pt x="185" y="173"/>
                </a:cubicBezTo>
                <a:cubicBezTo>
                  <a:pt x="190" y="175"/>
                  <a:pt x="194" y="178"/>
                  <a:pt x="198" y="182"/>
                </a:cubicBezTo>
                <a:cubicBezTo>
                  <a:pt x="200" y="184"/>
                  <a:pt x="200" y="184"/>
                  <a:pt x="200" y="184"/>
                </a:cubicBezTo>
                <a:cubicBezTo>
                  <a:pt x="200" y="166"/>
                  <a:pt x="200" y="166"/>
                  <a:pt x="200" y="166"/>
                </a:cubicBezTo>
                <a:cubicBezTo>
                  <a:pt x="200" y="166"/>
                  <a:pt x="200" y="166"/>
                  <a:pt x="200" y="166"/>
                </a:cubicBezTo>
                <a:cubicBezTo>
                  <a:pt x="191" y="159"/>
                  <a:pt x="181" y="156"/>
                  <a:pt x="169" y="156"/>
                </a:cubicBezTo>
                <a:close/>
                <a:moveTo>
                  <a:pt x="437" y="209"/>
                </a:moveTo>
                <a:cubicBezTo>
                  <a:pt x="437" y="225"/>
                  <a:pt x="431" y="238"/>
                  <a:pt x="419" y="249"/>
                </a:cubicBezTo>
                <a:cubicBezTo>
                  <a:pt x="409" y="257"/>
                  <a:pt x="399" y="261"/>
                  <a:pt x="382" y="261"/>
                </a:cubicBezTo>
                <a:cubicBezTo>
                  <a:pt x="360" y="261"/>
                  <a:pt x="360" y="261"/>
                  <a:pt x="360" y="261"/>
                </a:cubicBezTo>
                <a:cubicBezTo>
                  <a:pt x="360" y="157"/>
                  <a:pt x="360" y="157"/>
                  <a:pt x="360" y="157"/>
                </a:cubicBezTo>
                <a:cubicBezTo>
                  <a:pt x="382" y="157"/>
                  <a:pt x="382" y="157"/>
                  <a:pt x="382" y="157"/>
                </a:cubicBezTo>
                <a:cubicBezTo>
                  <a:pt x="393" y="157"/>
                  <a:pt x="407" y="159"/>
                  <a:pt x="420" y="170"/>
                </a:cubicBezTo>
                <a:cubicBezTo>
                  <a:pt x="426" y="175"/>
                  <a:pt x="437" y="187"/>
                  <a:pt x="437" y="209"/>
                </a:cubicBezTo>
                <a:close/>
                <a:moveTo>
                  <a:pt x="423" y="209"/>
                </a:moveTo>
                <a:cubicBezTo>
                  <a:pt x="423" y="186"/>
                  <a:pt x="407" y="171"/>
                  <a:pt x="382" y="171"/>
                </a:cubicBezTo>
                <a:cubicBezTo>
                  <a:pt x="374" y="171"/>
                  <a:pt x="374" y="171"/>
                  <a:pt x="374" y="171"/>
                </a:cubicBezTo>
                <a:cubicBezTo>
                  <a:pt x="374" y="247"/>
                  <a:pt x="374" y="247"/>
                  <a:pt x="374" y="247"/>
                </a:cubicBezTo>
                <a:cubicBezTo>
                  <a:pt x="382" y="247"/>
                  <a:pt x="382" y="247"/>
                  <a:pt x="382" y="247"/>
                </a:cubicBezTo>
                <a:cubicBezTo>
                  <a:pt x="390" y="247"/>
                  <a:pt x="401" y="246"/>
                  <a:pt x="410" y="239"/>
                </a:cubicBezTo>
                <a:cubicBezTo>
                  <a:pt x="416" y="234"/>
                  <a:pt x="423" y="224"/>
                  <a:pt x="423" y="209"/>
                </a:cubicBezTo>
                <a:close/>
                <a:moveTo>
                  <a:pt x="479" y="261"/>
                </a:moveTo>
                <a:cubicBezTo>
                  <a:pt x="541" y="261"/>
                  <a:pt x="541" y="261"/>
                  <a:pt x="541" y="261"/>
                </a:cubicBezTo>
                <a:cubicBezTo>
                  <a:pt x="541" y="247"/>
                  <a:pt x="541" y="247"/>
                  <a:pt x="541" y="247"/>
                </a:cubicBezTo>
                <a:cubicBezTo>
                  <a:pt x="493" y="247"/>
                  <a:pt x="493" y="247"/>
                  <a:pt x="493" y="247"/>
                </a:cubicBezTo>
                <a:cubicBezTo>
                  <a:pt x="493" y="211"/>
                  <a:pt x="493" y="211"/>
                  <a:pt x="493" y="211"/>
                </a:cubicBezTo>
                <a:cubicBezTo>
                  <a:pt x="535" y="211"/>
                  <a:pt x="535" y="211"/>
                  <a:pt x="535" y="211"/>
                </a:cubicBezTo>
                <a:cubicBezTo>
                  <a:pt x="535" y="198"/>
                  <a:pt x="535" y="198"/>
                  <a:pt x="535" y="198"/>
                </a:cubicBezTo>
                <a:cubicBezTo>
                  <a:pt x="493" y="198"/>
                  <a:pt x="493" y="198"/>
                  <a:pt x="493" y="198"/>
                </a:cubicBezTo>
                <a:cubicBezTo>
                  <a:pt x="493" y="171"/>
                  <a:pt x="493" y="171"/>
                  <a:pt x="493" y="171"/>
                </a:cubicBezTo>
                <a:cubicBezTo>
                  <a:pt x="541" y="171"/>
                  <a:pt x="541" y="171"/>
                  <a:pt x="541" y="171"/>
                </a:cubicBezTo>
                <a:cubicBezTo>
                  <a:pt x="541" y="157"/>
                  <a:pt x="541" y="157"/>
                  <a:pt x="541" y="157"/>
                </a:cubicBezTo>
                <a:cubicBezTo>
                  <a:pt x="479" y="157"/>
                  <a:pt x="479" y="157"/>
                  <a:pt x="479" y="157"/>
                </a:cubicBezTo>
                <a:lnTo>
                  <a:pt x="479" y="261"/>
                </a:lnTo>
                <a:close/>
                <a:moveTo>
                  <a:pt x="805" y="261"/>
                </a:moveTo>
                <a:cubicBezTo>
                  <a:pt x="866" y="261"/>
                  <a:pt x="866" y="261"/>
                  <a:pt x="866" y="261"/>
                </a:cubicBezTo>
                <a:cubicBezTo>
                  <a:pt x="866" y="247"/>
                  <a:pt x="866" y="247"/>
                  <a:pt x="866" y="247"/>
                </a:cubicBezTo>
                <a:cubicBezTo>
                  <a:pt x="819" y="247"/>
                  <a:pt x="819" y="247"/>
                  <a:pt x="819" y="247"/>
                </a:cubicBezTo>
                <a:cubicBezTo>
                  <a:pt x="819" y="211"/>
                  <a:pt x="819" y="211"/>
                  <a:pt x="819" y="211"/>
                </a:cubicBezTo>
                <a:cubicBezTo>
                  <a:pt x="860" y="211"/>
                  <a:pt x="860" y="211"/>
                  <a:pt x="860" y="211"/>
                </a:cubicBezTo>
                <a:cubicBezTo>
                  <a:pt x="860" y="198"/>
                  <a:pt x="860" y="198"/>
                  <a:pt x="860" y="198"/>
                </a:cubicBezTo>
                <a:cubicBezTo>
                  <a:pt x="819" y="198"/>
                  <a:pt x="819" y="198"/>
                  <a:pt x="819" y="198"/>
                </a:cubicBezTo>
                <a:cubicBezTo>
                  <a:pt x="819" y="171"/>
                  <a:pt x="819" y="171"/>
                  <a:pt x="819" y="171"/>
                </a:cubicBezTo>
                <a:cubicBezTo>
                  <a:pt x="866" y="171"/>
                  <a:pt x="866" y="171"/>
                  <a:pt x="866" y="171"/>
                </a:cubicBezTo>
                <a:cubicBezTo>
                  <a:pt x="866" y="157"/>
                  <a:pt x="866" y="157"/>
                  <a:pt x="866" y="157"/>
                </a:cubicBezTo>
                <a:cubicBezTo>
                  <a:pt x="805" y="157"/>
                  <a:pt x="805" y="157"/>
                  <a:pt x="805" y="157"/>
                </a:cubicBezTo>
                <a:lnTo>
                  <a:pt x="805" y="261"/>
                </a:lnTo>
                <a:close/>
                <a:moveTo>
                  <a:pt x="634" y="235"/>
                </a:moveTo>
                <a:cubicBezTo>
                  <a:pt x="595" y="149"/>
                  <a:pt x="595" y="149"/>
                  <a:pt x="595" y="149"/>
                </a:cubicBezTo>
                <a:cubicBezTo>
                  <a:pt x="578" y="261"/>
                  <a:pt x="578" y="261"/>
                  <a:pt x="578" y="261"/>
                </a:cubicBezTo>
                <a:cubicBezTo>
                  <a:pt x="592" y="261"/>
                  <a:pt x="592" y="261"/>
                  <a:pt x="592" y="261"/>
                </a:cubicBezTo>
                <a:cubicBezTo>
                  <a:pt x="601" y="194"/>
                  <a:pt x="601" y="194"/>
                  <a:pt x="601" y="194"/>
                </a:cubicBezTo>
                <a:cubicBezTo>
                  <a:pt x="634" y="267"/>
                  <a:pt x="634" y="267"/>
                  <a:pt x="634" y="267"/>
                </a:cubicBezTo>
                <a:cubicBezTo>
                  <a:pt x="668" y="194"/>
                  <a:pt x="668" y="194"/>
                  <a:pt x="668" y="194"/>
                </a:cubicBezTo>
                <a:cubicBezTo>
                  <a:pt x="677" y="261"/>
                  <a:pt x="677" y="261"/>
                  <a:pt x="677" y="261"/>
                </a:cubicBezTo>
                <a:cubicBezTo>
                  <a:pt x="691" y="261"/>
                  <a:pt x="691" y="261"/>
                  <a:pt x="691" y="261"/>
                </a:cubicBezTo>
                <a:cubicBezTo>
                  <a:pt x="674" y="148"/>
                  <a:pt x="674" y="148"/>
                  <a:pt x="674" y="148"/>
                </a:cubicBezTo>
                <a:lnTo>
                  <a:pt x="634" y="235"/>
                </a:lnTo>
                <a:close/>
                <a:moveTo>
                  <a:pt x="737" y="261"/>
                </a:moveTo>
                <a:cubicBezTo>
                  <a:pt x="751" y="261"/>
                  <a:pt x="751" y="261"/>
                  <a:pt x="751" y="261"/>
                </a:cubicBezTo>
                <a:cubicBezTo>
                  <a:pt x="751" y="157"/>
                  <a:pt x="751" y="157"/>
                  <a:pt x="751" y="157"/>
                </a:cubicBezTo>
                <a:cubicBezTo>
                  <a:pt x="737" y="157"/>
                  <a:pt x="737" y="157"/>
                  <a:pt x="737" y="157"/>
                </a:cubicBezTo>
                <a:lnTo>
                  <a:pt x="737" y="261"/>
                </a:lnTo>
                <a:close/>
                <a:moveTo>
                  <a:pt x="955" y="211"/>
                </a:moveTo>
                <a:cubicBezTo>
                  <a:pt x="950" y="207"/>
                  <a:pt x="945" y="204"/>
                  <a:pt x="939" y="201"/>
                </a:cubicBezTo>
                <a:cubicBezTo>
                  <a:pt x="929" y="197"/>
                  <a:pt x="929" y="197"/>
                  <a:pt x="929" y="197"/>
                </a:cubicBezTo>
                <a:cubicBezTo>
                  <a:pt x="925" y="195"/>
                  <a:pt x="922" y="194"/>
                  <a:pt x="919" y="191"/>
                </a:cubicBezTo>
                <a:cubicBezTo>
                  <a:pt x="916" y="189"/>
                  <a:pt x="916" y="187"/>
                  <a:pt x="916" y="183"/>
                </a:cubicBezTo>
                <a:cubicBezTo>
                  <a:pt x="916" y="175"/>
                  <a:pt x="922" y="169"/>
                  <a:pt x="931" y="169"/>
                </a:cubicBezTo>
                <a:cubicBezTo>
                  <a:pt x="936" y="169"/>
                  <a:pt x="940" y="171"/>
                  <a:pt x="942" y="172"/>
                </a:cubicBezTo>
                <a:cubicBezTo>
                  <a:pt x="944" y="174"/>
                  <a:pt x="946" y="177"/>
                  <a:pt x="947" y="179"/>
                </a:cubicBezTo>
                <a:cubicBezTo>
                  <a:pt x="948" y="181"/>
                  <a:pt x="948" y="181"/>
                  <a:pt x="948" y="181"/>
                </a:cubicBezTo>
                <a:cubicBezTo>
                  <a:pt x="959" y="173"/>
                  <a:pt x="959" y="173"/>
                  <a:pt x="959" y="173"/>
                </a:cubicBezTo>
                <a:cubicBezTo>
                  <a:pt x="958" y="172"/>
                  <a:pt x="958" y="172"/>
                  <a:pt x="958" y="172"/>
                </a:cubicBezTo>
                <a:cubicBezTo>
                  <a:pt x="956" y="167"/>
                  <a:pt x="952" y="163"/>
                  <a:pt x="948" y="161"/>
                </a:cubicBezTo>
                <a:cubicBezTo>
                  <a:pt x="943" y="157"/>
                  <a:pt x="938" y="156"/>
                  <a:pt x="931" y="156"/>
                </a:cubicBezTo>
                <a:cubicBezTo>
                  <a:pt x="914" y="156"/>
                  <a:pt x="902" y="167"/>
                  <a:pt x="902" y="183"/>
                </a:cubicBezTo>
                <a:cubicBezTo>
                  <a:pt x="902" y="190"/>
                  <a:pt x="904" y="195"/>
                  <a:pt x="909" y="200"/>
                </a:cubicBezTo>
                <a:cubicBezTo>
                  <a:pt x="913" y="205"/>
                  <a:pt x="918" y="207"/>
                  <a:pt x="922" y="209"/>
                </a:cubicBezTo>
                <a:cubicBezTo>
                  <a:pt x="932" y="213"/>
                  <a:pt x="932" y="213"/>
                  <a:pt x="932" y="213"/>
                </a:cubicBezTo>
                <a:cubicBezTo>
                  <a:pt x="937" y="215"/>
                  <a:pt x="941" y="217"/>
                  <a:pt x="944" y="220"/>
                </a:cubicBezTo>
                <a:cubicBezTo>
                  <a:pt x="947" y="223"/>
                  <a:pt x="948" y="226"/>
                  <a:pt x="948" y="231"/>
                </a:cubicBezTo>
                <a:cubicBezTo>
                  <a:pt x="948" y="240"/>
                  <a:pt x="942" y="249"/>
                  <a:pt x="929" y="249"/>
                </a:cubicBezTo>
                <a:cubicBezTo>
                  <a:pt x="924" y="249"/>
                  <a:pt x="919" y="247"/>
                  <a:pt x="916" y="244"/>
                </a:cubicBezTo>
                <a:cubicBezTo>
                  <a:pt x="913" y="241"/>
                  <a:pt x="911" y="236"/>
                  <a:pt x="910" y="232"/>
                </a:cubicBezTo>
                <a:cubicBezTo>
                  <a:pt x="910" y="230"/>
                  <a:pt x="910" y="230"/>
                  <a:pt x="910" y="230"/>
                </a:cubicBezTo>
                <a:cubicBezTo>
                  <a:pt x="896" y="234"/>
                  <a:pt x="896" y="234"/>
                  <a:pt x="896" y="234"/>
                </a:cubicBezTo>
                <a:cubicBezTo>
                  <a:pt x="897" y="235"/>
                  <a:pt x="897" y="235"/>
                  <a:pt x="897" y="235"/>
                </a:cubicBezTo>
                <a:cubicBezTo>
                  <a:pt x="898" y="243"/>
                  <a:pt x="902" y="249"/>
                  <a:pt x="906" y="254"/>
                </a:cubicBezTo>
                <a:cubicBezTo>
                  <a:pt x="912" y="260"/>
                  <a:pt x="920" y="262"/>
                  <a:pt x="929" y="262"/>
                </a:cubicBezTo>
                <a:cubicBezTo>
                  <a:pt x="948" y="262"/>
                  <a:pt x="962" y="249"/>
                  <a:pt x="962" y="230"/>
                </a:cubicBezTo>
                <a:cubicBezTo>
                  <a:pt x="962" y="222"/>
                  <a:pt x="960" y="216"/>
                  <a:pt x="955" y="211"/>
                </a:cubicBezTo>
                <a:close/>
                <a:moveTo>
                  <a:pt x="0" y="261"/>
                </a:moveTo>
                <a:cubicBezTo>
                  <a:pt x="15" y="261"/>
                  <a:pt x="15" y="261"/>
                  <a:pt x="15" y="261"/>
                </a:cubicBezTo>
                <a:cubicBezTo>
                  <a:pt x="48" y="184"/>
                  <a:pt x="48" y="184"/>
                  <a:pt x="48" y="184"/>
                </a:cubicBezTo>
                <a:cubicBezTo>
                  <a:pt x="79" y="260"/>
                  <a:pt x="79" y="260"/>
                  <a:pt x="79" y="260"/>
                </a:cubicBezTo>
                <a:cubicBezTo>
                  <a:pt x="80" y="261"/>
                  <a:pt x="80" y="261"/>
                  <a:pt x="80" y="261"/>
                </a:cubicBezTo>
                <a:cubicBezTo>
                  <a:pt x="95" y="261"/>
                  <a:pt x="95" y="261"/>
                  <a:pt x="95" y="261"/>
                </a:cubicBezTo>
                <a:cubicBezTo>
                  <a:pt x="48" y="151"/>
                  <a:pt x="48" y="151"/>
                  <a:pt x="48" y="151"/>
                </a:cubicBezTo>
                <a:lnTo>
                  <a:pt x="0" y="261"/>
                </a:lnTo>
                <a:close/>
                <a:moveTo>
                  <a:pt x="229" y="261"/>
                </a:moveTo>
                <a:cubicBezTo>
                  <a:pt x="244" y="261"/>
                  <a:pt x="244" y="261"/>
                  <a:pt x="244" y="261"/>
                </a:cubicBezTo>
                <a:cubicBezTo>
                  <a:pt x="277" y="184"/>
                  <a:pt x="277" y="184"/>
                  <a:pt x="277" y="184"/>
                </a:cubicBezTo>
                <a:cubicBezTo>
                  <a:pt x="309" y="260"/>
                  <a:pt x="309" y="260"/>
                  <a:pt x="309" y="260"/>
                </a:cubicBezTo>
                <a:cubicBezTo>
                  <a:pt x="309" y="261"/>
                  <a:pt x="309" y="261"/>
                  <a:pt x="309" y="261"/>
                </a:cubicBezTo>
                <a:cubicBezTo>
                  <a:pt x="324" y="261"/>
                  <a:pt x="324" y="261"/>
                  <a:pt x="324" y="261"/>
                </a:cubicBezTo>
                <a:cubicBezTo>
                  <a:pt x="277" y="151"/>
                  <a:pt x="277" y="151"/>
                  <a:pt x="277" y="151"/>
                </a:cubicBezTo>
                <a:lnTo>
                  <a:pt x="229" y="261"/>
                </a:lnTo>
                <a:close/>
                <a:moveTo>
                  <a:pt x="1071" y="11"/>
                </a:moveTo>
                <a:cubicBezTo>
                  <a:pt x="1071" y="18"/>
                  <a:pt x="1071" y="18"/>
                  <a:pt x="1071" y="18"/>
                </a:cubicBezTo>
                <a:cubicBezTo>
                  <a:pt x="1075" y="18"/>
                  <a:pt x="1075" y="18"/>
                  <a:pt x="1075" y="18"/>
                </a:cubicBezTo>
                <a:cubicBezTo>
                  <a:pt x="1077" y="9"/>
                  <a:pt x="1077" y="9"/>
                  <a:pt x="1077" y="9"/>
                </a:cubicBezTo>
                <a:cubicBezTo>
                  <a:pt x="1076" y="8"/>
                  <a:pt x="1074" y="7"/>
                  <a:pt x="1072" y="6"/>
                </a:cubicBezTo>
                <a:cubicBezTo>
                  <a:pt x="1070" y="6"/>
                  <a:pt x="1067" y="6"/>
                  <a:pt x="1064" y="6"/>
                </a:cubicBezTo>
                <a:cubicBezTo>
                  <a:pt x="1061" y="6"/>
                  <a:pt x="1058" y="6"/>
                  <a:pt x="1056" y="7"/>
                </a:cubicBezTo>
                <a:cubicBezTo>
                  <a:pt x="1053" y="9"/>
                  <a:pt x="1051" y="10"/>
                  <a:pt x="1049" y="12"/>
                </a:cubicBezTo>
                <a:cubicBezTo>
                  <a:pt x="1048" y="14"/>
                  <a:pt x="1047" y="17"/>
                  <a:pt x="1047" y="20"/>
                </a:cubicBezTo>
                <a:cubicBezTo>
                  <a:pt x="1047" y="22"/>
                  <a:pt x="1048" y="24"/>
                  <a:pt x="1049" y="26"/>
                </a:cubicBezTo>
                <a:cubicBezTo>
                  <a:pt x="1050" y="28"/>
                  <a:pt x="1051" y="30"/>
                  <a:pt x="1053" y="31"/>
                </a:cubicBezTo>
                <a:cubicBezTo>
                  <a:pt x="1055" y="32"/>
                  <a:pt x="1057" y="34"/>
                  <a:pt x="1059" y="35"/>
                </a:cubicBezTo>
                <a:cubicBezTo>
                  <a:pt x="1062" y="37"/>
                  <a:pt x="1064" y="39"/>
                  <a:pt x="1066" y="40"/>
                </a:cubicBezTo>
                <a:cubicBezTo>
                  <a:pt x="1067" y="42"/>
                  <a:pt x="1068" y="44"/>
                  <a:pt x="1068" y="47"/>
                </a:cubicBezTo>
                <a:cubicBezTo>
                  <a:pt x="1068" y="49"/>
                  <a:pt x="1067" y="52"/>
                  <a:pt x="1065" y="53"/>
                </a:cubicBezTo>
                <a:cubicBezTo>
                  <a:pt x="1062" y="55"/>
                  <a:pt x="1060" y="56"/>
                  <a:pt x="1057" y="56"/>
                </a:cubicBezTo>
                <a:cubicBezTo>
                  <a:pt x="1055" y="56"/>
                  <a:pt x="1053" y="56"/>
                  <a:pt x="1052" y="55"/>
                </a:cubicBezTo>
                <a:cubicBezTo>
                  <a:pt x="1050" y="55"/>
                  <a:pt x="1049" y="54"/>
                  <a:pt x="1048" y="54"/>
                </a:cubicBezTo>
                <a:cubicBezTo>
                  <a:pt x="1048" y="46"/>
                  <a:pt x="1048" y="46"/>
                  <a:pt x="1048" y="46"/>
                </a:cubicBezTo>
                <a:cubicBezTo>
                  <a:pt x="1044" y="46"/>
                  <a:pt x="1044" y="46"/>
                  <a:pt x="1044" y="46"/>
                </a:cubicBezTo>
                <a:cubicBezTo>
                  <a:pt x="1042" y="56"/>
                  <a:pt x="1042" y="56"/>
                  <a:pt x="1042" y="56"/>
                </a:cubicBezTo>
                <a:cubicBezTo>
                  <a:pt x="1043" y="57"/>
                  <a:pt x="1045" y="58"/>
                  <a:pt x="1048" y="58"/>
                </a:cubicBezTo>
                <a:cubicBezTo>
                  <a:pt x="1051" y="59"/>
                  <a:pt x="1054" y="59"/>
                  <a:pt x="1057" y="59"/>
                </a:cubicBezTo>
                <a:cubicBezTo>
                  <a:pt x="1060" y="59"/>
                  <a:pt x="1063" y="59"/>
                  <a:pt x="1066" y="57"/>
                </a:cubicBezTo>
                <a:cubicBezTo>
                  <a:pt x="1069" y="56"/>
                  <a:pt x="1071" y="54"/>
                  <a:pt x="1073" y="52"/>
                </a:cubicBezTo>
                <a:cubicBezTo>
                  <a:pt x="1074" y="50"/>
                  <a:pt x="1075" y="47"/>
                  <a:pt x="1075" y="44"/>
                </a:cubicBezTo>
                <a:cubicBezTo>
                  <a:pt x="1075" y="42"/>
                  <a:pt x="1074" y="40"/>
                  <a:pt x="1073" y="38"/>
                </a:cubicBezTo>
                <a:cubicBezTo>
                  <a:pt x="1072" y="36"/>
                  <a:pt x="1071" y="35"/>
                  <a:pt x="1069" y="34"/>
                </a:cubicBezTo>
                <a:cubicBezTo>
                  <a:pt x="1068" y="32"/>
                  <a:pt x="1066" y="31"/>
                  <a:pt x="1064" y="29"/>
                </a:cubicBezTo>
                <a:cubicBezTo>
                  <a:pt x="1060" y="27"/>
                  <a:pt x="1058" y="25"/>
                  <a:pt x="1056" y="24"/>
                </a:cubicBezTo>
                <a:cubicBezTo>
                  <a:pt x="1055" y="22"/>
                  <a:pt x="1054" y="20"/>
                  <a:pt x="1054" y="17"/>
                </a:cubicBezTo>
                <a:cubicBezTo>
                  <a:pt x="1054" y="15"/>
                  <a:pt x="1055" y="13"/>
                  <a:pt x="1057" y="11"/>
                </a:cubicBezTo>
                <a:cubicBezTo>
                  <a:pt x="1059" y="10"/>
                  <a:pt x="1061" y="9"/>
                  <a:pt x="1064" y="9"/>
                </a:cubicBezTo>
                <a:cubicBezTo>
                  <a:pt x="1065" y="9"/>
                  <a:pt x="1067" y="9"/>
                  <a:pt x="1068" y="10"/>
                </a:cubicBezTo>
                <a:cubicBezTo>
                  <a:pt x="1069" y="10"/>
                  <a:pt x="1070" y="10"/>
                  <a:pt x="1071" y="11"/>
                </a:cubicBezTo>
                <a:close/>
                <a:moveTo>
                  <a:pt x="1107" y="27"/>
                </a:moveTo>
                <a:cubicBezTo>
                  <a:pt x="1108" y="27"/>
                  <a:pt x="1108" y="27"/>
                  <a:pt x="1108" y="27"/>
                </a:cubicBezTo>
                <a:cubicBezTo>
                  <a:pt x="1110" y="20"/>
                  <a:pt x="1110" y="20"/>
                  <a:pt x="1110" y="20"/>
                </a:cubicBezTo>
                <a:cubicBezTo>
                  <a:pt x="1109" y="20"/>
                  <a:pt x="1108" y="19"/>
                  <a:pt x="1107" y="19"/>
                </a:cubicBezTo>
                <a:cubicBezTo>
                  <a:pt x="1105" y="19"/>
                  <a:pt x="1104" y="19"/>
                  <a:pt x="1102" y="19"/>
                </a:cubicBezTo>
                <a:cubicBezTo>
                  <a:pt x="1098" y="19"/>
                  <a:pt x="1094" y="20"/>
                  <a:pt x="1091" y="22"/>
                </a:cubicBezTo>
                <a:cubicBezTo>
                  <a:pt x="1088" y="25"/>
                  <a:pt x="1086" y="28"/>
                  <a:pt x="1084" y="32"/>
                </a:cubicBezTo>
                <a:cubicBezTo>
                  <a:pt x="1083" y="36"/>
                  <a:pt x="1082" y="40"/>
                  <a:pt x="1082" y="43"/>
                </a:cubicBezTo>
                <a:cubicBezTo>
                  <a:pt x="1082" y="48"/>
                  <a:pt x="1083" y="52"/>
                  <a:pt x="1085" y="55"/>
                </a:cubicBezTo>
                <a:cubicBezTo>
                  <a:pt x="1087" y="58"/>
                  <a:pt x="1091" y="59"/>
                  <a:pt x="1094" y="59"/>
                </a:cubicBezTo>
                <a:cubicBezTo>
                  <a:pt x="1098" y="59"/>
                  <a:pt x="1100" y="59"/>
                  <a:pt x="1102" y="57"/>
                </a:cubicBezTo>
                <a:cubicBezTo>
                  <a:pt x="1105" y="56"/>
                  <a:pt x="1106" y="54"/>
                  <a:pt x="1108" y="53"/>
                </a:cubicBezTo>
                <a:cubicBezTo>
                  <a:pt x="1106" y="50"/>
                  <a:pt x="1106" y="50"/>
                  <a:pt x="1106" y="50"/>
                </a:cubicBezTo>
                <a:cubicBezTo>
                  <a:pt x="1105" y="52"/>
                  <a:pt x="1103" y="53"/>
                  <a:pt x="1102" y="54"/>
                </a:cubicBezTo>
                <a:cubicBezTo>
                  <a:pt x="1100" y="54"/>
                  <a:pt x="1099" y="55"/>
                  <a:pt x="1097" y="55"/>
                </a:cubicBezTo>
                <a:cubicBezTo>
                  <a:pt x="1094" y="55"/>
                  <a:pt x="1092" y="54"/>
                  <a:pt x="1091" y="52"/>
                </a:cubicBezTo>
                <a:cubicBezTo>
                  <a:pt x="1090" y="50"/>
                  <a:pt x="1089" y="47"/>
                  <a:pt x="1089" y="43"/>
                </a:cubicBezTo>
                <a:cubicBezTo>
                  <a:pt x="1089" y="39"/>
                  <a:pt x="1090" y="35"/>
                  <a:pt x="1091" y="32"/>
                </a:cubicBezTo>
                <a:cubicBezTo>
                  <a:pt x="1092" y="30"/>
                  <a:pt x="1093" y="27"/>
                  <a:pt x="1095" y="26"/>
                </a:cubicBezTo>
                <a:cubicBezTo>
                  <a:pt x="1097" y="24"/>
                  <a:pt x="1099" y="23"/>
                  <a:pt x="1101" y="23"/>
                </a:cubicBezTo>
                <a:cubicBezTo>
                  <a:pt x="1102" y="23"/>
                  <a:pt x="1105" y="24"/>
                  <a:pt x="1107" y="27"/>
                </a:cubicBezTo>
                <a:close/>
                <a:moveTo>
                  <a:pt x="1124" y="52"/>
                </a:moveTo>
                <a:cubicBezTo>
                  <a:pt x="1129" y="19"/>
                  <a:pt x="1129" y="19"/>
                  <a:pt x="1129" y="19"/>
                </a:cubicBezTo>
                <a:cubicBezTo>
                  <a:pt x="1128" y="19"/>
                  <a:pt x="1128" y="19"/>
                  <a:pt x="1128" y="19"/>
                </a:cubicBezTo>
                <a:cubicBezTo>
                  <a:pt x="1118" y="20"/>
                  <a:pt x="1118" y="20"/>
                  <a:pt x="1118" y="20"/>
                </a:cubicBezTo>
                <a:cubicBezTo>
                  <a:pt x="1117" y="23"/>
                  <a:pt x="1117" y="23"/>
                  <a:pt x="1117" y="23"/>
                </a:cubicBezTo>
                <a:cubicBezTo>
                  <a:pt x="1122" y="24"/>
                  <a:pt x="1122" y="24"/>
                  <a:pt x="1122" y="24"/>
                </a:cubicBezTo>
                <a:cubicBezTo>
                  <a:pt x="1121" y="31"/>
                  <a:pt x="1120" y="37"/>
                  <a:pt x="1119" y="41"/>
                </a:cubicBezTo>
                <a:cubicBezTo>
                  <a:pt x="1118" y="49"/>
                  <a:pt x="1117" y="54"/>
                  <a:pt x="1117" y="55"/>
                </a:cubicBezTo>
                <a:cubicBezTo>
                  <a:pt x="1117" y="56"/>
                  <a:pt x="1118" y="57"/>
                  <a:pt x="1118" y="58"/>
                </a:cubicBezTo>
                <a:cubicBezTo>
                  <a:pt x="1119" y="59"/>
                  <a:pt x="1120" y="59"/>
                  <a:pt x="1122" y="59"/>
                </a:cubicBezTo>
                <a:cubicBezTo>
                  <a:pt x="1124" y="59"/>
                  <a:pt x="1125" y="59"/>
                  <a:pt x="1127" y="58"/>
                </a:cubicBezTo>
                <a:cubicBezTo>
                  <a:pt x="1128" y="57"/>
                  <a:pt x="1129" y="55"/>
                  <a:pt x="1130" y="54"/>
                </a:cubicBezTo>
                <a:cubicBezTo>
                  <a:pt x="1129" y="53"/>
                  <a:pt x="1129" y="53"/>
                  <a:pt x="1129" y="53"/>
                </a:cubicBezTo>
                <a:cubicBezTo>
                  <a:pt x="1128" y="54"/>
                  <a:pt x="1128" y="54"/>
                  <a:pt x="1127" y="54"/>
                </a:cubicBezTo>
                <a:cubicBezTo>
                  <a:pt x="1126" y="55"/>
                  <a:pt x="1126" y="55"/>
                  <a:pt x="1125" y="55"/>
                </a:cubicBezTo>
                <a:cubicBezTo>
                  <a:pt x="1125" y="55"/>
                  <a:pt x="1125" y="55"/>
                  <a:pt x="1125" y="54"/>
                </a:cubicBezTo>
                <a:cubicBezTo>
                  <a:pt x="1124" y="54"/>
                  <a:pt x="1124" y="54"/>
                  <a:pt x="1124" y="53"/>
                </a:cubicBezTo>
                <a:lnTo>
                  <a:pt x="1124" y="52"/>
                </a:lnTo>
                <a:close/>
                <a:moveTo>
                  <a:pt x="1127" y="11"/>
                </a:moveTo>
                <a:cubicBezTo>
                  <a:pt x="1128" y="11"/>
                  <a:pt x="1129" y="11"/>
                  <a:pt x="1130" y="10"/>
                </a:cubicBezTo>
                <a:cubicBezTo>
                  <a:pt x="1131" y="9"/>
                  <a:pt x="1131" y="7"/>
                  <a:pt x="1131" y="6"/>
                </a:cubicBezTo>
                <a:cubicBezTo>
                  <a:pt x="1131" y="5"/>
                  <a:pt x="1131" y="4"/>
                  <a:pt x="1130" y="3"/>
                </a:cubicBezTo>
                <a:cubicBezTo>
                  <a:pt x="1130" y="3"/>
                  <a:pt x="1129" y="2"/>
                  <a:pt x="1128" y="2"/>
                </a:cubicBezTo>
                <a:cubicBezTo>
                  <a:pt x="1126" y="2"/>
                  <a:pt x="1125" y="3"/>
                  <a:pt x="1124" y="4"/>
                </a:cubicBezTo>
                <a:cubicBezTo>
                  <a:pt x="1123" y="5"/>
                  <a:pt x="1123" y="6"/>
                  <a:pt x="1123" y="7"/>
                </a:cubicBezTo>
                <a:cubicBezTo>
                  <a:pt x="1123" y="8"/>
                  <a:pt x="1123" y="9"/>
                  <a:pt x="1124" y="10"/>
                </a:cubicBezTo>
                <a:cubicBezTo>
                  <a:pt x="1125" y="11"/>
                  <a:pt x="1126" y="11"/>
                  <a:pt x="1127" y="11"/>
                </a:cubicBezTo>
                <a:close/>
                <a:moveTo>
                  <a:pt x="1166" y="52"/>
                </a:moveTo>
                <a:cubicBezTo>
                  <a:pt x="1165" y="49"/>
                  <a:pt x="1165" y="49"/>
                  <a:pt x="1165" y="49"/>
                </a:cubicBezTo>
                <a:cubicBezTo>
                  <a:pt x="1163" y="51"/>
                  <a:pt x="1161" y="52"/>
                  <a:pt x="1159" y="53"/>
                </a:cubicBezTo>
                <a:cubicBezTo>
                  <a:pt x="1157" y="54"/>
                  <a:pt x="1155" y="55"/>
                  <a:pt x="1153" y="55"/>
                </a:cubicBezTo>
                <a:cubicBezTo>
                  <a:pt x="1150" y="55"/>
                  <a:pt x="1148" y="54"/>
                  <a:pt x="1147" y="51"/>
                </a:cubicBezTo>
                <a:cubicBezTo>
                  <a:pt x="1145" y="49"/>
                  <a:pt x="1145" y="46"/>
                  <a:pt x="1145" y="43"/>
                </a:cubicBezTo>
                <a:cubicBezTo>
                  <a:pt x="1148" y="43"/>
                  <a:pt x="1151" y="42"/>
                  <a:pt x="1155" y="41"/>
                </a:cubicBezTo>
                <a:cubicBezTo>
                  <a:pt x="1158" y="40"/>
                  <a:pt x="1162" y="38"/>
                  <a:pt x="1164" y="36"/>
                </a:cubicBezTo>
                <a:cubicBezTo>
                  <a:pt x="1167" y="33"/>
                  <a:pt x="1168" y="31"/>
                  <a:pt x="1168" y="27"/>
                </a:cubicBezTo>
                <a:cubicBezTo>
                  <a:pt x="1168" y="25"/>
                  <a:pt x="1167" y="23"/>
                  <a:pt x="1166" y="21"/>
                </a:cubicBezTo>
                <a:cubicBezTo>
                  <a:pt x="1164" y="19"/>
                  <a:pt x="1162" y="19"/>
                  <a:pt x="1158" y="19"/>
                </a:cubicBezTo>
                <a:cubicBezTo>
                  <a:pt x="1154" y="19"/>
                  <a:pt x="1151" y="20"/>
                  <a:pt x="1148" y="22"/>
                </a:cubicBezTo>
                <a:cubicBezTo>
                  <a:pt x="1145" y="24"/>
                  <a:pt x="1142" y="28"/>
                  <a:pt x="1140" y="31"/>
                </a:cubicBezTo>
                <a:cubicBezTo>
                  <a:pt x="1138" y="35"/>
                  <a:pt x="1138" y="40"/>
                  <a:pt x="1138" y="44"/>
                </a:cubicBezTo>
                <a:cubicBezTo>
                  <a:pt x="1138" y="47"/>
                  <a:pt x="1138" y="49"/>
                  <a:pt x="1139" y="52"/>
                </a:cubicBezTo>
                <a:cubicBezTo>
                  <a:pt x="1140" y="54"/>
                  <a:pt x="1142" y="56"/>
                  <a:pt x="1144" y="57"/>
                </a:cubicBezTo>
                <a:cubicBezTo>
                  <a:pt x="1146" y="59"/>
                  <a:pt x="1148" y="59"/>
                  <a:pt x="1151" y="59"/>
                </a:cubicBezTo>
                <a:cubicBezTo>
                  <a:pt x="1155" y="59"/>
                  <a:pt x="1158" y="58"/>
                  <a:pt x="1160" y="57"/>
                </a:cubicBezTo>
                <a:cubicBezTo>
                  <a:pt x="1163" y="55"/>
                  <a:pt x="1165" y="54"/>
                  <a:pt x="1166" y="52"/>
                </a:cubicBezTo>
                <a:close/>
                <a:moveTo>
                  <a:pt x="1157" y="22"/>
                </a:moveTo>
                <a:cubicBezTo>
                  <a:pt x="1158" y="22"/>
                  <a:pt x="1159" y="23"/>
                  <a:pt x="1160" y="24"/>
                </a:cubicBezTo>
                <a:cubicBezTo>
                  <a:pt x="1161" y="25"/>
                  <a:pt x="1161" y="26"/>
                  <a:pt x="1161" y="28"/>
                </a:cubicBezTo>
                <a:cubicBezTo>
                  <a:pt x="1161" y="30"/>
                  <a:pt x="1161" y="32"/>
                  <a:pt x="1159" y="34"/>
                </a:cubicBezTo>
                <a:cubicBezTo>
                  <a:pt x="1157" y="35"/>
                  <a:pt x="1155" y="37"/>
                  <a:pt x="1152" y="38"/>
                </a:cubicBezTo>
                <a:cubicBezTo>
                  <a:pt x="1150" y="39"/>
                  <a:pt x="1147" y="39"/>
                  <a:pt x="1145" y="39"/>
                </a:cubicBezTo>
                <a:cubicBezTo>
                  <a:pt x="1145" y="37"/>
                  <a:pt x="1146" y="34"/>
                  <a:pt x="1147" y="32"/>
                </a:cubicBezTo>
                <a:cubicBezTo>
                  <a:pt x="1148" y="29"/>
                  <a:pt x="1149" y="27"/>
                  <a:pt x="1151" y="25"/>
                </a:cubicBezTo>
                <a:cubicBezTo>
                  <a:pt x="1152" y="23"/>
                  <a:pt x="1154" y="22"/>
                  <a:pt x="1157" y="22"/>
                </a:cubicBezTo>
                <a:close/>
                <a:moveTo>
                  <a:pt x="1187" y="28"/>
                </a:moveTo>
                <a:cubicBezTo>
                  <a:pt x="1188" y="19"/>
                  <a:pt x="1188" y="19"/>
                  <a:pt x="1188" y="19"/>
                </a:cubicBezTo>
                <a:cubicBezTo>
                  <a:pt x="1186" y="19"/>
                  <a:pt x="1186" y="19"/>
                  <a:pt x="1186" y="19"/>
                </a:cubicBezTo>
                <a:cubicBezTo>
                  <a:pt x="1178" y="20"/>
                  <a:pt x="1178" y="20"/>
                  <a:pt x="1178" y="20"/>
                </a:cubicBezTo>
                <a:cubicBezTo>
                  <a:pt x="1177" y="23"/>
                  <a:pt x="1177" y="23"/>
                  <a:pt x="1177" y="23"/>
                </a:cubicBezTo>
                <a:cubicBezTo>
                  <a:pt x="1180" y="25"/>
                  <a:pt x="1180" y="25"/>
                  <a:pt x="1180" y="25"/>
                </a:cubicBezTo>
                <a:cubicBezTo>
                  <a:pt x="1176" y="58"/>
                  <a:pt x="1176" y="58"/>
                  <a:pt x="1176" y="58"/>
                </a:cubicBezTo>
                <a:cubicBezTo>
                  <a:pt x="1183" y="58"/>
                  <a:pt x="1183" y="58"/>
                  <a:pt x="1183" y="58"/>
                </a:cubicBezTo>
                <a:cubicBezTo>
                  <a:pt x="1186" y="33"/>
                  <a:pt x="1186" y="33"/>
                  <a:pt x="1186" y="33"/>
                </a:cubicBezTo>
                <a:cubicBezTo>
                  <a:pt x="1188" y="31"/>
                  <a:pt x="1190" y="28"/>
                  <a:pt x="1192" y="26"/>
                </a:cubicBezTo>
                <a:cubicBezTo>
                  <a:pt x="1194" y="25"/>
                  <a:pt x="1196" y="24"/>
                  <a:pt x="1198" y="24"/>
                </a:cubicBezTo>
                <a:cubicBezTo>
                  <a:pt x="1200" y="24"/>
                  <a:pt x="1201" y="24"/>
                  <a:pt x="1202" y="25"/>
                </a:cubicBezTo>
                <a:cubicBezTo>
                  <a:pt x="1202" y="26"/>
                  <a:pt x="1203" y="27"/>
                  <a:pt x="1203" y="29"/>
                </a:cubicBezTo>
                <a:cubicBezTo>
                  <a:pt x="1203" y="31"/>
                  <a:pt x="1202" y="33"/>
                  <a:pt x="1202" y="35"/>
                </a:cubicBezTo>
                <a:cubicBezTo>
                  <a:pt x="1202" y="37"/>
                  <a:pt x="1201" y="39"/>
                  <a:pt x="1201" y="41"/>
                </a:cubicBezTo>
                <a:cubicBezTo>
                  <a:pt x="1201" y="43"/>
                  <a:pt x="1201" y="43"/>
                  <a:pt x="1201" y="43"/>
                </a:cubicBezTo>
                <a:cubicBezTo>
                  <a:pt x="1200" y="46"/>
                  <a:pt x="1200" y="46"/>
                  <a:pt x="1200" y="46"/>
                </a:cubicBezTo>
                <a:cubicBezTo>
                  <a:pt x="1199" y="51"/>
                  <a:pt x="1199" y="54"/>
                  <a:pt x="1199" y="55"/>
                </a:cubicBezTo>
                <a:cubicBezTo>
                  <a:pt x="1199" y="58"/>
                  <a:pt x="1200" y="59"/>
                  <a:pt x="1203" y="59"/>
                </a:cubicBezTo>
                <a:cubicBezTo>
                  <a:pt x="1205" y="59"/>
                  <a:pt x="1206" y="59"/>
                  <a:pt x="1207" y="58"/>
                </a:cubicBezTo>
                <a:cubicBezTo>
                  <a:pt x="1208" y="58"/>
                  <a:pt x="1209" y="57"/>
                  <a:pt x="1210" y="57"/>
                </a:cubicBezTo>
                <a:cubicBezTo>
                  <a:pt x="1210" y="56"/>
                  <a:pt x="1211" y="55"/>
                  <a:pt x="1211" y="55"/>
                </a:cubicBezTo>
                <a:cubicBezTo>
                  <a:pt x="1210" y="53"/>
                  <a:pt x="1210" y="53"/>
                  <a:pt x="1210" y="53"/>
                </a:cubicBezTo>
                <a:cubicBezTo>
                  <a:pt x="1209" y="54"/>
                  <a:pt x="1208" y="55"/>
                  <a:pt x="1207" y="55"/>
                </a:cubicBezTo>
                <a:cubicBezTo>
                  <a:pt x="1206" y="55"/>
                  <a:pt x="1206" y="54"/>
                  <a:pt x="1206" y="53"/>
                </a:cubicBezTo>
                <a:cubicBezTo>
                  <a:pt x="1206" y="51"/>
                  <a:pt x="1206" y="48"/>
                  <a:pt x="1207" y="45"/>
                </a:cubicBezTo>
                <a:cubicBezTo>
                  <a:pt x="1208" y="41"/>
                  <a:pt x="1208" y="41"/>
                  <a:pt x="1208" y="41"/>
                </a:cubicBezTo>
                <a:cubicBezTo>
                  <a:pt x="1208" y="40"/>
                  <a:pt x="1208" y="40"/>
                  <a:pt x="1208" y="40"/>
                </a:cubicBezTo>
                <a:cubicBezTo>
                  <a:pt x="1209" y="34"/>
                  <a:pt x="1210" y="31"/>
                  <a:pt x="1210" y="29"/>
                </a:cubicBezTo>
                <a:cubicBezTo>
                  <a:pt x="1210" y="25"/>
                  <a:pt x="1209" y="23"/>
                  <a:pt x="1207" y="21"/>
                </a:cubicBezTo>
                <a:cubicBezTo>
                  <a:pt x="1206" y="19"/>
                  <a:pt x="1204" y="19"/>
                  <a:pt x="1201" y="19"/>
                </a:cubicBezTo>
                <a:cubicBezTo>
                  <a:pt x="1199" y="19"/>
                  <a:pt x="1196" y="19"/>
                  <a:pt x="1193" y="21"/>
                </a:cubicBezTo>
                <a:cubicBezTo>
                  <a:pt x="1191" y="23"/>
                  <a:pt x="1189" y="25"/>
                  <a:pt x="1187" y="28"/>
                </a:cubicBezTo>
                <a:close/>
                <a:moveTo>
                  <a:pt x="1243" y="27"/>
                </a:moveTo>
                <a:cubicBezTo>
                  <a:pt x="1245" y="27"/>
                  <a:pt x="1245" y="27"/>
                  <a:pt x="1245" y="27"/>
                </a:cubicBezTo>
                <a:cubicBezTo>
                  <a:pt x="1247" y="20"/>
                  <a:pt x="1247" y="20"/>
                  <a:pt x="1247" y="20"/>
                </a:cubicBezTo>
                <a:cubicBezTo>
                  <a:pt x="1246" y="20"/>
                  <a:pt x="1244" y="19"/>
                  <a:pt x="1243" y="19"/>
                </a:cubicBezTo>
                <a:cubicBezTo>
                  <a:pt x="1241" y="19"/>
                  <a:pt x="1240" y="19"/>
                  <a:pt x="1239" y="19"/>
                </a:cubicBezTo>
                <a:cubicBezTo>
                  <a:pt x="1234" y="19"/>
                  <a:pt x="1231" y="20"/>
                  <a:pt x="1228" y="22"/>
                </a:cubicBezTo>
                <a:cubicBezTo>
                  <a:pt x="1224" y="25"/>
                  <a:pt x="1222" y="28"/>
                  <a:pt x="1220" y="32"/>
                </a:cubicBezTo>
                <a:cubicBezTo>
                  <a:pt x="1219" y="36"/>
                  <a:pt x="1218" y="40"/>
                  <a:pt x="1218" y="43"/>
                </a:cubicBezTo>
                <a:cubicBezTo>
                  <a:pt x="1218" y="48"/>
                  <a:pt x="1219" y="52"/>
                  <a:pt x="1221" y="55"/>
                </a:cubicBezTo>
                <a:cubicBezTo>
                  <a:pt x="1224" y="58"/>
                  <a:pt x="1227" y="59"/>
                  <a:pt x="1231" y="59"/>
                </a:cubicBezTo>
                <a:cubicBezTo>
                  <a:pt x="1234" y="59"/>
                  <a:pt x="1236" y="59"/>
                  <a:pt x="1239" y="57"/>
                </a:cubicBezTo>
                <a:cubicBezTo>
                  <a:pt x="1241" y="56"/>
                  <a:pt x="1243" y="54"/>
                  <a:pt x="1244" y="53"/>
                </a:cubicBezTo>
                <a:cubicBezTo>
                  <a:pt x="1242" y="50"/>
                  <a:pt x="1242" y="50"/>
                  <a:pt x="1242" y="50"/>
                </a:cubicBezTo>
                <a:cubicBezTo>
                  <a:pt x="1241" y="52"/>
                  <a:pt x="1239" y="53"/>
                  <a:pt x="1238" y="54"/>
                </a:cubicBezTo>
                <a:cubicBezTo>
                  <a:pt x="1236" y="54"/>
                  <a:pt x="1235" y="55"/>
                  <a:pt x="1233" y="55"/>
                </a:cubicBezTo>
                <a:cubicBezTo>
                  <a:pt x="1230" y="55"/>
                  <a:pt x="1228" y="54"/>
                  <a:pt x="1227" y="52"/>
                </a:cubicBezTo>
                <a:cubicBezTo>
                  <a:pt x="1226" y="50"/>
                  <a:pt x="1225" y="47"/>
                  <a:pt x="1225" y="43"/>
                </a:cubicBezTo>
                <a:cubicBezTo>
                  <a:pt x="1225" y="39"/>
                  <a:pt x="1226" y="35"/>
                  <a:pt x="1227" y="32"/>
                </a:cubicBezTo>
                <a:cubicBezTo>
                  <a:pt x="1228" y="30"/>
                  <a:pt x="1229" y="27"/>
                  <a:pt x="1231" y="26"/>
                </a:cubicBezTo>
                <a:cubicBezTo>
                  <a:pt x="1233" y="24"/>
                  <a:pt x="1235" y="23"/>
                  <a:pt x="1237" y="23"/>
                </a:cubicBezTo>
                <a:cubicBezTo>
                  <a:pt x="1239" y="23"/>
                  <a:pt x="1241" y="24"/>
                  <a:pt x="1243" y="27"/>
                </a:cubicBezTo>
                <a:close/>
                <a:moveTo>
                  <a:pt x="1279" y="52"/>
                </a:moveTo>
                <a:cubicBezTo>
                  <a:pt x="1277" y="49"/>
                  <a:pt x="1277" y="49"/>
                  <a:pt x="1277" y="49"/>
                </a:cubicBezTo>
                <a:cubicBezTo>
                  <a:pt x="1276" y="51"/>
                  <a:pt x="1274" y="52"/>
                  <a:pt x="1272" y="53"/>
                </a:cubicBezTo>
                <a:cubicBezTo>
                  <a:pt x="1270" y="54"/>
                  <a:pt x="1268" y="55"/>
                  <a:pt x="1266" y="55"/>
                </a:cubicBezTo>
                <a:cubicBezTo>
                  <a:pt x="1263" y="55"/>
                  <a:pt x="1261" y="54"/>
                  <a:pt x="1259" y="51"/>
                </a:cubicBezTo>
                <a:cubicBezTo>
                  <a:pt x="1258" y="49"/>
                  <a:pt x="1257" y="46"/>
                  <a:pt x="1258" y="43"/>
                </a:cubicBezTo>
                <a:cubicBezTo>
                  <a:pt x="1260" y="43"/>
                  <a:pt x="1264" y="42"/>
                  <a:pt x="1267" y="41"/>
                </a:cubicBezTo>
                <a:cubicBezTo>
                  <a:pt x="1271" y="40"/>
                  <a:pt x="1274" y="38"/>
                  <a:pt x="1277" y="36"/>
                </a:cubicBezTo>
                <a:cubicBezTo>
                  <a:pt x="1280" y="33"/>
                  <a:pt x="1281" y="31"/>
                  <a:pt x="1281" y="27"/>
                </a:cubicBezTo>
                <a:cubicBezTo>
                  <a:pt x="1281" y="25"/>
                  <a:pt x="1280" y="23"/>
                  <a:pt x="1278" y="21"/>
                </a:cubicBezTo>
                <a:cubicBezTo>
                  <a:pt x="1277" y="19"/>
                  <a:pt x="1274" y="19"/>
                  <a:pt x="1271" y="19"/>
                </a:cubicBezTo>
                <a:cubicBezTo>
                  <a:pt x="1267" y="19"/>
                  <a:pt x="1264" y="20"/>
                  <a:pt x="1260" y="22"/>
                </a:cubicBezTo>
                <a:cubicBezTo>
                  <a:pt x="1257" y="24"/>
                  <a:pt x="1255" y="28"/>
                  <a:pt x="1253" y="31"/>
                </a:cubicBezTo>
                <a:cubicBezTo>
                  <a:pt x="1251" y="35"/>
                  <a:pt x="1250" y="40"/>
                  <a:pt x="1250" y="44"/>
                </a:cubicBezTo>
                <a:cubicBezTo>
                  <a:pt x="1250" y="47"/>
                  <a:pt x="1251" y="49"/>
                  <a:pt x="1252" y="52"/>
                </a:cubicBezTo>
                <a:cubicBezTo>
                  <a:pt x="1253" y="54"/>
                  <a:pt x="1254" y="56"/>
                  <a:pt x="1256" y="57"/>
                </a:cubicBezTo>
                <a:cubicBezTo>
                  <a:pt x="1258" y="59"/>
                  <a:pt x="1261" y="59"/>
                  <a:pt x="1264" y="59"/>
                </a:cubicBezTo>
                <a:cubicBezTo>
                  <a:pt x="1267" y="59"/>
                  <a:pt x="1270" y="58"/>
                  <a:pt x="1273" y="57"/>
                </a:cubicBezTo>
                <a:cubicBezTo>
                  <a:pt x="1276" y="55"/>
                  <a:pt x="1278" y="54"/>
                  <a:pt x="1279" y="52"/>
                </a:cubicBezTo>
                <a:close/>
                <a:moveTo>
                  <a:pt x="1269" y="22"/>
                </a:moveTo>
                <a:cubicBezTo>
                  <a:pt x="1271" y="22"/>
                  <a:pt x="1272" y="23"/>
                  <a:pt x="1273" y="24"/>
                </a:cubicBezTo>
                <a:cubicBezTo>
                  <a:pt x="1274" y="25"/>
                  <a:pt x="1274" y="26"/>
                  <a:pt x="1274" y="28"/>
                </a:cubicBezTo>
                <a:cubicBezTo>
                  <a:pt x="1274" y="30"/>
                  <a:pt x="1273" y="32"/>
                  <a:pt x="1272" y="34"/>
                </a:cubicBezTo>
                <a:cubicBezTo>
                  <a:pt x="1270" y="35"/>
                  <a:pt x="1268" y="37"/>
                  <a:pt x="1265" y="38"/>
                </a:cubicBezTo>
                <a:cubicBezTo>
                  <a:pt x="1263" y="39"/>
                  <a:pt x="1260" y="39"/>
                  <a:pt x="1258" y="39"/>
                </a:cubicBezTo>
                <a:cubicBezTo>
                  <a:pt x="1258" y="37"/>
                  <a:pt x="1259" y="34"/>
                  <a:pt x="1259" y="32"/>
                </a:cubicBezTo>
                <a:cubicBezTo>
                  <a:pt x="1260" y="29"/>
                  <a:pt x="1262" y="27"/>
                  <a:pt x="1263" y="25"/>
                </a:cubicBezTo>
                <a:cubicBezTo>
                  <a:pt x="1265" y="23"/>
                  <a:pt x="1267" y="22"/>
                  <a:pt x="1269" y="22"/>
                </a:cubicBezTo>
                <a:close/>
                <a:moveTo>
                  <a:pt x="1310" y="25"/>
                </a:moveTo>
                <a:cubicBezTo>
                  <a:pt x="1311" y="20"/>
                  <a:pt x="1311" y="20"/>
                  <a:pt x="1311" y="20"/>
                </a:cubicBezTo>
                <a:cubicBezTo>
                  <a:pt x="1311" y="20"/>
                  <a:pt x="1309" y="19"/>
                  <a:pt x="1308" y="19"/>
                </a:cubicBezTo>
                <a:cubicBezTo>
                  <a:pt x="1306" y="19"/>
                  <a:pt x="1304" y="19"/>
                  <a:pt x="1303" y="19"/>
                </a:cubicBezTo>
                <a:cubicBezTo>
                  <a:pt x="1300" y="19"/>
                  <a:pt x="1298" y="19"/>
                  <a:pt x="1296" y="20"/>
                </a:cubicBezTo>
                <a:cubicBezTo>
                  <a:pt x="1293" y="21"/>
                  <a:pt x="1292" y="22"/>
                  <a:pt x="1291" y="24"/>
                </a:cubicBezTo>
                <a:cubicBezTo>
                  <a:pt x="1289" y="26"/>
                  <a:pt x="1289" y="27"/>
                  <a:pt x="1289" y="30"/>
                </a:cubicBezTo>
                <a:cubicBezTo>
                  <a:pt x="1289" y="34"/>
                  <a:pt x="1291" y="38"/>
                  <a:pt x="1296" y="41"/>
                </a:cubicBezTo>
                <a:cubicBezTo>
                  <a:pt x="1298" y="43"/>
                  <a:pt x="1300" y="44"/>
                  <a:pt x="1301" y="45"/>
                </a:cubicBezTo>
                <a:cubicBezTo>
                  <a:pt x="1302" y="46"/>
                  <a:pt x="1303" y="48"/>
                  <a:pt x="1303" y="50"/>
                </a:cubicBezTo>
                <a:cubicBezTo>
                  <a:pt x="1303" y="51"/>
                  <a:pt x="1302" y="53"/>
                  <a:pt x="1301" y="54"/>
                </a:cubicBezTo>
                <a:cubicBezTo>
                  <a:pt x="1299" y="55"/>
                  <a:pt x="1297" y="55"/>
                  <a:pt x="1295" y="55"/>
                </a:cubicBezTo>
                <a:cubicBezTo>
                  <a:pt x="1293" y="55"/>
                  <a:pt x="1292" y="55"/>
                  <a:pt x="1290" y="54"/>
                </a:cubicBezTo>
                <a:cubicBezTo>
                  <a:pt x="1288" y="53"/>
                  <a:pt x="1287" y="53"/>
                  <a:pt x="1286" y="52"/>
                </a:cubicBezTo>
                <a:cubicBezTo>
                  <a:pt x="1285" y="57"/>
                  <a:pt x="1285" y="57"/>
                  <a:pt x="1285" y="57"/>
                </a:cubicBezTo>
                <a:cubicBezTo>
                  <a:pt x="1285" y="58"/>
                  <a:pt x="1287" y="58"/>
                  <a:pt x="1289" y="58"/>
                </a:cubicBezTo>
                <a:cubicBezTo>
                  <a:pt x="1291" y="59"/>
                  <a:pt x="1293" y="59"/>
                  <a:pt x="1295" y="59"/>
                </a:cubicBezTo>
                <a:cubicBezTo>
                  <a:pt x="1299" y="59"/>
                  <a:pt x="1303" y="58"/>
                  <a:pt x="1305" y="56"/>
                </a:cubicBezTo>
                <a:cubicBezTo>
                  <a:pt x="1308" y="54"/>
                  <a:pt x="1309" y="52"/>
                  <a:pt x="1309" y="48"/>
                </a:cubicBezTo>
                <a:cubicBezTo>
                  <a:pt x="1309" y="46"/>
                  <a:pt x="1309" y="45"/>
                  <a:pt x="1308" y="43"/>
                </a:cubicBezTo>
                <a:cubicBezTo>
                  <a:pt x="1307" y="42"/>
                  <a:pt x="1306" y="41"/>
                  <a:pt x="1305" y="40"/>
                </a:cubicBezTo>
                <a:cubicBezTo>
                  <a:pt x="1304" y="39"/>
                  <a:pt x="1303" y="38"/>
                  <a:pt x="1301" y="36"/>
                </a:cubicBezTo>
                <a:cubicBezTo>
                  <a:pt x="1299" y="35"/>
                  <a:pt x="1298" y="34"/>
                  <a:pt x="1297" y="32"/>
                </a:cubicBezTo>
                <a:cubicBezTo>
                  <a:pt x="1296" y="31"/>
                  <a:pt x="1295" y="30"/>
                  <a:pt x="1295" y="28"/>
                </a:cubicBezTo>
                <a:cubicBezTo>
                  <a:pt x="1295" y="26"/>
                  <a:pt x="1296" y="25"/>
                  <a:pt x="1297" y="24"/>
                </a:cubicBezTo>
                <a:cubicBezTo>
                  <a:pt x="1299" y="23"/>
                  <a:pt x="1300" y="23"/>
                  <a:pt x="1303" y="23"/>
                </a:cubicBezTo>
                <a:cubicBezTo>
                  <a:pt x="1304" y="23"/>
                  <a:pt x="1306" y="23"/>
                  <a:pt x="1307" y="24"/>
                </a:cubicBezTo>
                <a:cubicBezTo>
                  <a:pt x="1309" y="24"/>
                  <a:pt x="1310" y="25"/>
                  <a:pt x="1310" y="25"/>
                </a:cubicBezTo>
                <a:close/>
                <a:moveTo>
                  <a:pt x="1047" y="110"/>
                </a:moveTo>
                <a:cubicBezTo>
                  <a:pt x="1052" y="111"/>
                  <a:pt x="1052" y="111"/>
                  <a:pt x="1052" y="111"/>
                </a:cubicBezTo>
                <a:cubicBezTo>
                  <a:pt x="1046" y="156"/>
                  <a:pt x="1046" y="156"/>
                  <a:pt x="1046" y="156"/>
                </a:cubicBezTo>
                <a:cubicBezTo>
                  <a:pt x="1041" y="157"/>
                  <a:pt x="1041" y="157"/>
                  <a:pt x="1041" y="157"/>
                </a:cubicBezTo>
                <a:cubicBezTo>
                  <a:pt x="1041" y="159"/>
                  <a:pt x="1041" y="159"/>
                  <a:pt x="1041" y="159"/>
                </a:cubicBezTo>
                <a:cubicBezTo>
                  <a:pt x="1078" y="159"/>
                  <a:pt x="1078" y="159"/>
                  <a:pt x="1078" y="159"/>
                </a:cubicBezTo>
                <a:cubicBezTo>
                  <a:pt x="1081" y="147"/>
                  <a:pt x="1081" y="147"/>
                  <a:pt x="1081" y="147"/>
                </a:cubicBezTo>
                <a:cubicBezTo>
                  <a:pt x="1077" y="146"/>
                  <a:pt x="1077" y="146"/>
                  <a:pt x="1077" y="146"/>
                </a:cubicBezTo>
                <a:cubicBezTo>
                  <a:pt x="1073" y="155"/>
                  <a:pt x="1073" y="155"/>
                  <a:pt x="1073" y="155"/>
                </a:cubicBezTo>
                <a:cubicBezTo>
                  <a:pt x="1053" y="156"/>
                  <a:pt x="1053" y="156"/>
                  <a:pt x="1053" y="156"/>
                </a:cubicBezTo>
                <a:cubicBezTo>
                  <a:pt x="1056" y="134"/>
                  <a:pt x="1056" y="134"/>
                  <a:pt x="1056" y="134"/>
                </a:cubicBezTo>
                <a:cubicBezTo>
                  <a:pt x="1072" y="135"/>
                  <a:pt x="1072" y="135"/>
                  <a:pt x="1072" y="135"/>
                </a:cubicBezTo>
                <a:cubicBezTo>
                  <a:pt x="1073" y="130"/>
                  <a:pt x="1073" y="130"/>
                  <a:pt x="1073" y="130"/>
                </a:cubicBezTo>
                <a:cubicBezTo>
                  <a:pt x="1057" y="130"/>
                  <a:pt x="1057" y="130"/>
                  <a:pt x="1057" y="130"/>
                </a:cubicBezTo>
                <a:cubicBezTo>
                  <a:pt x="1059" y="110"/>
                  <a:pt x="1059" y="110"/>
                  <a:pt x="1059" y="110"/>
                </a:cubicBezTo>
                <a:cubicBezTo>
                  <a:pt x="1075" y="111"/>
                  <a:pt x="1075" y="111"/>
                  <a:pt x="1075" y="111"/>
                </a:cubicBezTo>
                <a:cubicBezTo>
                  <a:pt x="1076" y="118"/>
                  <a:pt x="1076" y="118"/>
                  <a:pt x="1076" y="118"/>
                </a:cubicBezTo>
                <a:cubicBezTo>
                  <a:pt x="1080" y="118"/>
                  <a:pt x="1080" y="118"/>
                  <a:pt x="1080" y="118"/>
                </a:cubicBezTo>
                <a:cubicBezTo>
                  <a:pt x="1081" y="107"/>
                  <a:pt x="1081" y="107"/>
                  <a:pt x="1081" y="107"/>
                </a:cubicBezTo>
                <a:cubicBezTo>
                  <a:pt x="1048" y="107"/>
                  <a:pt x="1048" y="107"/>
                  <a:pt x="1048" y="107"/>
                </a:cubicBezTo>
                <a:lnTo>
                  <a:pt x="1047" y="110"/>
                </a:lnTo>
                <a:close/>
                <a:moveTo>
                  <a:pt x="1100" y="129"/>
                </a:moveTo>
                <a:cubicBezTo>
                  <a:pt x="1100" y="120"/>
                  <a:pt x="1100" y="120"/>
                  <a:pt x="1100" y="120"/>
                </a:cubicBezTo>
                <a:cubicBezTo>
                  <a:pt x="1099" y="119"/>
                  <a:pt x="1099" y="119"/>
                  <a:pt x="1099" y="119"/>
                </a:cubicBezTo>
                <a:cubicBezTo>
                  <a:pt x="1090" y="121"/>
                  <a:pt x="1090" y="121"/>
                  <a:pt x="1090" y="121"/>
                </a:cubicBezTo>
                <a:cubicBezTo>
                  <a:pt x="1090" y="124"/>
                  <a:pt x="1090" y="124"/>
                  <a:pt x="1090" y="124"/>
                </a:cubicBezTo>
                <a:cubicBezTo>
                  <a:pt x="1093" y="125"/>
                  <a:pt x="1093" y="125"/>
                  <a:pt x="1093" y="125"/>
                </a:cubicBezTo>
                <a:cubicBezTo>
                  <a:pt x="1089" y="159"/>
                  <a:pt x="1089" y="159"/>
                  <a:pt x="1089" y="159"/>
                </a:cubicBezTo>
                <a:cubicBezTo>
                  <a:pt x="1095" y="159"/>
                  <a:pt x="1095" y="159"/>
                  <a:pt x="1095" y="159"/>
                </a:cubicBezTo>
                <a:cubicBezTo>
                  <a:pt x="1099" y="134"/>
                  <a:pt x="1099" y="134"/>
                  <a:pt x="1099" y="134"/>
                </a:cubicBezTo>
                <a:cubicBezTo>
                  <a:pt x="1101" y="131"/>
                  <a:pt x="1103" y="129"/>
                  <a:pt x="1105" y="127"/>
                </a:cubicBezTo>
                <a:cubicBezTo>
                  <a:pt x="1107" y="125"/>
                  <a:pt x="1109" y="124"/>
                  <a:pt x="1111" y="124"/>
                </a:cubicBezTo>
                <a:cubicBezTo>
                  <a:pt x="1113" y="124"/>
                  <a:pt x="1114" y="125"/>
                  <a:pt x="1114" y="126"/>
                </a:cubicBezTo>
                <a:cubicBezTo>
                  <a:pt x="1115" y="127"/>
                  <a:pt x="1115" y="128"/>
                  <a:pt x="1115" y="130"/>
                </a:cubicBezTo>
                <a:cubicBezTo>
                  <a:pt x="1115" y="132"/>
                  <a:pt x="1115" y="134"/>
                  <a:pt x="1115" y="135"/>
                </a:cubicBezTo>
                <a:cubicBezTo>
                  <a:pt x="1115" y="137"/>
                  <a:pt x="1114" y="140"/>
                  <a:pt x="1114" y="142"/>
                </a:cubicBezTo>
                <a:cubicBezTo>
                  <a:pt x="1114" y="144"/>
                  <a:pt x="1114" y="144"/>
                  <a:pt x="1114" y="144"/>
                </a:cubicBezTo>
                <a:cubicBezTo>
                  <a:pt x="1113" y="147"/>
                  <a:pt x="1113" y="147"/>
                  <a:pt x="1113" y="147"/>
                </a:cubicBezTo>
                <a:cubicBezTo>
                  <a:pt x="1112" y="151"/>
                  <a:pt x="1112" y="154"/>
                  <a:pt x="1112" y="156"/>
                </a:cubicBezTo>
                <a:cubicBezTo>
                  <a:pt x="1112" y="159"/>
                  <a:pt x="1113" y="160"/>
                  <a:pt x="1116" y="160"/>
                </a:cubicBezTo>
                <a:cubicBezTo>
                  <a:pt x="1117" y="160"/>
                  <a:pt x="1119" y="160"/>
                  <a:pt x="1120" y="159"/>
                </a:cubicBezTo>
                <a:cubicBezTo>
                  <a:pt x="1121" y="159"/>
                  <a:pt x="1122" y="158"/>
                  <a:pt x="1123" y="157"/>
                </a:cubicBezTo>
                <a:cubicBezTo>
                  <a:pt x="1123" y="157"/>
                  <a:pt x="1124" y="156"/>
                  <a:pt x="1124" y="156"/>
                </a:cubicBezTo>
                <a:cubicBezTo>
                  <a:pt x="1123" y="154"/>
                  <a:pt x="1123" y="154"/>
                  <a:pt x="1123" y="154"/>
                </a:cubicBezTo>
                <a:cubicBezTo>
                  <a:pt x="1122" y="155"/>
                  <a:pt x="1121" y="156"/>
                  <a:pt x="1120" y="156"/>
                </a:cubicBezTo>
                <a:cubicBezTo>
                  <a:pt x="1119" y="156"/>
                  <a:pt x="1119" y="155"/>
                  <a:pt x="1119" y="154"/>
                </a:cubicBezTo>
                <a:cubicBezTo>
                  <a:pt x="1119" y="152"/>
                  <a:pt x="1119" y="149"/>
                  <a:pt x="1120" y="145"/>
                </a:cubicBezTo>
                <a:cubicBezTo>
                  <a:pt x="1121" y="142"/>
                  <a:pt x="1121" y="142"/>
                  <a:pt x="1121" y="142"/>
                </a:cubicBezTo>
                <a:cubicBezTo>
                  <a:pt x="1121" y="140"/>
                  <a:pt x="1121" y="140"/>
                  <a:pt x="1121" y="140"/>
                </a:cubicBezTo>
                <a:cubicBezTo>
                  <a:pt x="1122" y="135"/>
                  <a:pt x="1122" y="132"/>
                  <a:pt x="1122" y="130"/>
                </a:cubicBezTo>
                <a:cubicBezTo>
                  <a:pt x="1122" y="126"/>
                  <a:pt x="1122" y="123"/>
                  <a:pt x="1120" y="122"/>
                </a:cubicBezTo>
                <a:cubicBezTo>
                  <a:pt x="1119" y="120"/>
                  <a:pt x="1117" y="119"/>
                  <a:pt x="1114" y="119"/>
                </a:cubicBezTo>
                <a:cubicBezTo>
                  <a:pt x="1112" y="119"/>
                  <a:pt x="1109" y="120"/>
                  <a:pt x="1106" y="122"/>
                </a:cubicBezTo>
                <a:cubicBezTo>
                  <a:pt x="1104" y="124"/>
                  <a:pt x="1102" y="126"/>
                  <a:pt x="1100" y="129"/>
                </a:cubicBezTo>
                <a:close/>
                <a:moveTo>
                  <a:pt x="1159" y="162"/>
                </a:moveTo>
                <a:cubicBezTo>
                  <a:pt x="1165" y="119"/>
                  <a:pt x="1165" y="119"/>
                  <a:pt x="1165" y="119"/>
                </a:cubicBezTo>
                <a:cubicBezTo>
                  <a:pt x="1160" y="121"/>
                  <a:pt x="1160" y="121"/>
                  <a:pt x="1160" y="121"/>
                </a:cubicBezTo>
                <a:cubicBezTo>
                  <a:pt x="1159" y="121"/>
                  <a:pt x="1158" y="120"/>
                  <a:pt x="1157" y="120"/>
                </a:cubicBezTo>
                <a:cubicBezTo>
                  <a:pt x="1155" y="120"/>
                  <a:pt x="1154" y="119"/>
                  <a:pt x="1153" y="119"/>
                </a:cubicBezTo>
                <a:cubicBezTo>
                  <a:pt x="1148" y="119"/>
                  <a:pt x="1144" y="121"/>
                  <a:pt x="1141" y="123"/>
                </a:cubicBezTo>
                <a:cubicBezTo>
                  <a:pt x="1137" y="126"/>
                  <a:pt x="1135" y="129"/>
                  <a:pt x="1133" y="133"/>
                </a:cubicBezTo>
                <a:cubicBezTo>
                  <a:pt x="1131" y="137"/>
                  <a:pt x="1130" y="141"/>
                  <a:pt x="1130" y="145"/>
                </a:cubicBezTo>
                <a:cubicBezTo>
                  <a:pt x="1130" y="150"/>
                  <a:pt x="1131" y="153"/>
                  <a:pt x="1133" y="156"/>
                </a:cubicBezTo>
                <a:cubicBezTo>
                  <a:pt x="1135" y="159"/>
                  <a:pt x="1138" y="160"/>
                  <a:pt x="1142" y="160"/>
                </a:cubicBezTo>
                <a:cubicBezTo>
                  <a:pt x="1144" y="160"/>
                  <a:pt x="1146" y="159"/>
                  <a:pt x="1148" y="158"/>
                </a:cubicBezTo>
                <a:cubicBezTo>
                  <a:pt x="1150" y="157"/>
                  <a:pt x="1152" y="156"/>
                  <a:pt x="1153" y="155"/>
                </a:cubicBezTo>
                <a:cubicBezTo>
                  <a:pt x="1151" y="164"/>
                  <a:pt x="1151" y="164"/>
                  <a:pt x="1151" y="164"/>
                </a:cubicBezTo>
                <a:cubicBezTo>
                  <a:pt x="1151" y="167"/>
                  <a:pt x="1150" y="169"/>
                  <a:pt x="1149" y="170"/>
                </a:cubicBezTo>
                <a:cubicBezTo>
                  <a:pt x="1147" y="172"/>
                  <a:pt x="1145" y="172"/>
                  <a:pt x="1142" y="172"/>
                </a:cubicBezTo>
                <a:cubicBezTo>
                  <a:pt x="1140" y="172"/>
                  <a:pt x="1139" y="172"/>
                  <a:pt x="1137" y="171"/>
                </a:cubicBezTo>
                <a:cubicBezTo>
                  <a:pt x="1136" y="171"/>
                  <a:pt x="1134" y="170"/>
                  <a:pt x="1133" y="170"/>
                </a:cubicBezTo>
                <a:cubicBezTo>
                  <a:pt x="1132" y="175"/>
                  <a:pt x="1132" y="175"/>
                  <a:pt x="1132" y="175"/>
                </a:cubicBezTo>
                <a:cubicBezTo>
                  <a:pt x="1132" y="176"/>
                  <a:pt x="1134" y="176"/>
                  <a:pt x="1135" y="176"/>
                </a:cubicBezTo>
                <a:cubicBezTo>
                  <a:pt x="1137" y="177"/>
                  <a:pt x="1138" y="177"/>
                  <a:pt x="1140" y="177"/>
                </a:cubicBezTo>
                <a:cubicBezTo>
                  <a:pt x="1142" y="177"/>
                  <a:pt x="1145" y="176"/>
                  <a:pt x="1148" y="175"/>
                </a:cubicBezTo>
                <a:cubicBezTo>
                  <a:pt x="1150" y="174"/>
                  <a:pt x="1153" y="173"/>
                  <a:pt x="1155" y="170"/>
                </a:cubicBezTo>
                <a:cubicBezTo>
                  <a:pt x="1157" y="168"/>
                  <a:pt x="1158" y="165"/>
                  <a:pt x="1159" y="162"/>
                </a:cubicBezTo>
                <a:close/>
                <a:moveTo>
                  <a:pt x="1157" y="125"/>
                </a:moveTo>
                <a:cubicBezTo>
                  <a:pt x="1154" y="150"/>
                  <a:pt x="1154" y="150"/>
                  <a:pt x="1154" y="150"/>
                </a:cubicBezTo>
                <a:cubicBezTo>
                  <a:pt x="1152" y="151"/>
                  <a:pt x="1151" y="153"/>
                  <a:pt x="1149" y="154"/>
                </a:cubicBezTo>
                <a:cubicBezTo>
                  <a:pt x="1148" y="155"/>
                  <a:pt x="1146" y="155"/>
                  <a:pt x="1144" y="155"/>
                </a:cubicBezTo>
                <a:cubicBezTo>
                  <a:pt x="1142" y="155"/>
                  <a:pt x="1140" y="155"/>
                  <a:pt x="1139" y="153"/>
                </a:cubicBezTo>
                <a:cubicBezTo>
                  <a:pt x="1138" y="151"/>
                  <a:pt x="1138" y="148"/>
                  <a:pt x="1138" y="145"/>
                </a:cubicBezTo>
                <a:cubicBezTo>
                  <a:pt x="1138" y="142"/>
                  <a:pt x="1138" y="138"/>
                  <a:pt x="1139" y="135"/>
                </a:cubicBezTo>
                <a:cubicBezTo>
                  <a:pt x="1140" y="132"/>
                  <a:pt x="1142" y="129"/>
                  <a:pt x="1144" y="127"/>
                </a:cubicBezTo>
                <a:cubicBezTo>
                  <a:pt x="1146" y="124"/>
                  <a:pt x="1149" y="123"/>
                  <a:pt x="1152" y="123"/>
                </a:cubicBezTo>
                <a:cubicBezTo>
                  <a:pt x="1154" y="123"/>
                  <a:pt x="1156" y="124"/>
                  <a:pt x="1157" y="125"/>
                </a:cubicBezTo>
                <a:close/>
                <a:moveTo>
                  <a:pt x="1181" y="153"/>
                </a:moveTo>
                <a:cubicBezTo>
                  <a:pt x="1185" y="120"/>
                  <a:pt x="1185" y="120"/>
                  <a:pt x="1185" y="120"/>
                </a:cubicBezTo>
                <a:cubicBezTo>
                  <a:pt x="1184" y="119"/>
                  <a:pt x="1184" y="119"/>
                  <a:pt x="1184" y="119"/>
                </a:cubicBezTo>
                <a:cubicBezTo>
                  <a:pt x="1174" y="121"/>
                  <a:pt x="1174" y="121"/>
                  <a:pt x="1174" y="121"/>
                </a:cubicBezTo>
                <a:cubicBezTo>
                  <a:pt x="1173" y="123"/>
                  <a:pt x="1173" y="123"/>
                  <a:pt x="1173" y="123"/>
                </a:cubicBezTo>
                <a:cubicBezTo>
                  <a:pt x="1178" y="125"/>
                  <a:pt x="1178" y="125"/>
                  <a:pt x="1178" y="125"/>
                </a:cubicBezTo>
                <a:cubicBezTo>
                  <a:pt x="1177" y="132"/>
                  <a:pt x="1176" y="138"/>
                  <a:pt x="1175" y="142"/>
                </a:cubicBezTo>
                <a:cubicBezTo>
                  <a:pt x="1174" y="150"/>
                  <a:pt x="1174" y="154"/>
                  <a:pt x="1173" y="156"/>
                </a:cubicBezTo>
                <a:cubicBezTo>
                  <a:pt x="1173" y="157"/>
                  <a:pt x="1174" y="158"/>
                  <a:pt x="1174" y="159"/>
                </a:cubicBezTo>
                <a:cubicBezTo>
                  <a:pt x="1175" y="160"/>
                  <a:pt x="1176" y="160"/>
                  <a:pt x="1178" y="160"/>
                </a:cubicBezTo>
                <a:cubicBezTo>
                  <a:pt x="1180" y="160"/>
                  <a:pt x="1182" y="159"/>
                  <a:pt x="1183" y="158"/>
                </a:cubicBezTo>
                <a:cubicBezTo>
                  <a:pt x="1184" y="157"/>
                  <a:pt x="1185" y="156"/>
                  <a:pt x="1186" y="155"/>
                </a:cubicBezTo>
                <a:cubicBezTo>
                  <a:pt x="1185" y="154"/>
                  <a:pt x="1185" y="154"/>
                  <a:pt x="1185" y="154"/>
                </a:cubicBezTo>
                <a:cubicBezTo>
                  <a:pt x="1184" y="154"/>
                  <a:pt x="1184" y="155"/>
                  <a:pt x="1183" y="155"/>
                </a:cubicBezTo>
                <a:cubicBezTo>
                  <a:pt x="1183" y="156"/>
                  <a:pt x="1182" y="156"/>
                  <a:pt x="1182" y="156"/>
                </a:cubicBezTo>
                <a:cubicBezTo>
                  <a:pt x="1181" y="156"/>
                  <a:pt x="1181" y="156"/>
                  <a:pt x="1181" y="155"/>
                </a:cubicBezTo>
                <a:cubicBezTo>
                  <a:pt x="1181" y="155"/>
                  <a:pt x="1180" y="155"/>
                  <a:pt x="1180" y="154"/>
                </a:cubicBezTo>
                <a:lnTo>
                  <a:pt x="1181" y="153"/>
                </a:lnTo>
                <a:close/>
                <a:moveTo>
                  <a:pt x="1183" y="112"/>
                </a:moveTo>
                <a:cubicBezTo>
                  <a:pt x="1184" y="112"/>
                  <a:pt x="1185" y="111"/>
                  <a:pt x="1186" y="110"/>
                </a:cubicBezTo>
                <a:cubicBezTo>
                  <a:pt x="1187" y="109"/>
                  <a:pt x="1188" y="108"/>
                  <a:pt x="1188" y="107"/>
                </a:cubicBezTo>
                <a:cubicBezTo>
                  <a:pt x="1188" y="106"/>
                  <a:pt x="1187" y="105"/>
                  <a:pt x="1187" y="104"/>
                </a:cubicBezTo>
                <a:cubicBezTo>
                  <a:pt x="1186" y="103"/>
                  <a:pt x="1185" y="103"/>
                  <a:pt x="1184" y="103"/>
                </a:cubicBezTo>
                <a:cubicBezTo>
                  <a:pt x="1182" y="103"/>
                  <a:pt x="1181" y="103"/>
                  <a:pt x="1180" y="104"/>
                </a:cubicBezTo>
                <a:cubicBezTo>
                  <a:pt x="1180" y="105"/>
                  <a:pt x="1179" y="107"/>
                  <a:pt x="1179" y="108"/>
                </a:cubicBezTo>
                <a:cubicBezTo>
                  <a:pt x="1179" y="109"/>
                  <a:pt x="1179" y="110"/>
                  <a:pt x="1180" y="111"/>
                </a:cubicBezTo>
                <a:cubicBezTo>
                  <a:pt x="1181" y="111"/>
                  <a:pt x="1182" y="112"/>
                  <a:pt x="1183" y="112"/>
                </a:cubicBezTo>
                <a:close/>
                <a:moveTo>
                  <a:pt x="1207" y="129"/>
                </a:moveTo>
                <a:cubicBezTo>
                  <a:pt x="1208" y="120"/>
                  <a:pt x="1208" y="120"/>
                  <a:pt x="1208" y="120"/>
                </a:cubicBezTo>
                <a:cubicBezTo>
                  <a:pt x="1207" y="119"/>
                  <a:pt x="1207" y="119"/>
                  <a:pt x="1207" y="119"/>
                </a:cubicBezTo>
                <a:cubicBezTo>
                  <a:pt x="1198" y="121"/>
                  <a:pt x="1198" y="121"/>
                  <a:pt x="1198" y="121"/>
                </a:cubicBezTo>
                <a:cubicBezTo>
                  <a:pt x="1198" y="124"/>
                  <a:pt x="1198" y="124"/>
                  <a:pt x="1198" y="124"/>
                </a:cubicBezTo>
                <a:cubicBezTo>
                  <a:pt x="1201" y="125"/>
                  <a:pt x="1201" y="125"/>
                  <a:pt x="1201" y="125"/>
                </a:cubicBezTo>
                <a:cubicBezTo>
                  <a:pt x="1196" y="159"/>
                  <a:pt x="1196" y="159"/>
                  <a:pt x="1196" y="159"/>
                </a:cubicBezTo>
                <a:cubicBezTo>
                  <a:pt x="1203" y="159"/>
                  <a:pt x="1203" y="159"/>
                  <a:pt x="1203" y="159"/>
                </a:cubicBezTo>
                <a:cubicBezTo>
                  <a:pt x="1207" y="134"/>
                  <a:pt x="1207" y="134"/>
                  <a:pt x="1207" y="134"/>
                </a:cubicBezTo>
                <a:cubicBezTo>
                  <a:pt x="1208" y="131"/>
                  <a:pt x="1210" y="129"/>
                  <a:pt x="1213" y="127"/>
                </a:cubicBezTo>
                <a:cubicBezTo>
                  <a:pt x="1215" y="125"/>
                  <a:pt x="1217" y="124"/>
                  <a:pt x="1219" y="124"/>
                </a:cubicBezTo>
                <a:cubicBezTo>
                  <a:pt x="1220" y="124"/>
                  <a:pt x="1221" y="125"/>
                  <a:pt x="1222" y="126"/>
                </a:cubicBezTo>
                <a:cubicBezTo>
                  <a:pt x="1223" y="127"/>
                  <a:pt x="1223" y="128"/>
                  <a:pt x="1223" y="130"/>
                </a:cubicBezTo>
                <a:cubicBezTo>
                  <a:pt x="1223" y="132"/>
                  <a:pt x="1223" y="134"/>
                  <a:pt x="1223" y="135"/>
                </a:cubicBezTo>
                <a:cubicBezTo>
                  <a:pt x="1222" y="137"/>
                  <a:pt x="1222" y="140"/>
                  <a:pt x="1222" y="142"/>
                </a:cubicBezTo>
                <a:cubicBezTo>
                  <a:pt x="1221" y="144"/>
                  <a:pt x="1221" y="144"/>
                  <a:pt x="1221" y="144"/>
                </a:cubicBezTo>
                <a:cubicBezTo>
                  <a:pt x="1221" y="147"/>
                  <a:pt x="1221" y="147"/>
                  <a:pt x="1221" y="147"/>
                </a:cubicBezTo>
                <a:cubicBezTo>
                  <a:pt x="1220" y="151"/>
                  <a:pt x="1219" y="154"/>
                  <a:pt x="1219" y="156"/>
                </a:cubicBezTo>
                <a:cubicBezTo>
                  <a:pt x="1219" y="159"/>
                  <a:pt x="1221" y="160"/>
                  <a:pt x="1224" y="160"/>
                </a:cubicBezTo>
                <a:cubicBezTo>
                  <a:pt x="1225" y="160"/>
                  <a:pt x="1226" y="160"/>
                  <a:pt x="1227" y="159"/>
                </a:cubicBezTo>
                <a:cubicBezTo>
                  <a:pt x="1228" y="159"/>
                  <a:pt x="1229" y="158"/>
                  <a:pt x="1230" y="157"/>
                </a:cubicBezTo>
                <a:cubicBezTo>
                  <a:pt x="1231" y="157"/>
                  <a:pt x="1231" y="156"/>
                  <a:pt x="1232" y="156"/>
                </a:cubicBezTo>
                <a:cubicBezTo>
                  <a:pt x="1231" y="154"/>
                  <a:pt x="1231" y="154"/>
                  <a:pt x="1231" y="154"/>
                </a:cubicBezTo>
                <a:cubicBezTo>
                  <a:pt x="1229" y="155"/>
                  <a:pt x="1228" y="156"/>
                  <a:pt x="1227" y="156"/>
                </a:cubicBezTo>
                <a:cubicBezTo>
                  <a:pt x="1227" y="156"/>
                  <a:pt x="1227" y="155"/>
                  <a:pt x="1227" y="154"/>
                </a:cubicBezTo>
                <a:cubicBezTo>
                  <a:pt x="1227" y="152"/>
                  <a:pt x="1227" y="149"/>
                  <a:pt x="1228" y="145"/>
                </a:cubicBezTo>
                <a:cubicBezTo>
                  <a:pt x="1228" y="142"/>
                  <a:pt x="1228" y="142"/>
                  <a:pt x="1228" y="142"/>
                </a:cubicBezTo>
                <a:cubicBezTo>
                  <a:pt x="1229" y="140"/>
                  <a:pt x="1229" y="140"/>
                  <a:pt x="1229" y="140"/>
                </a:cubicBezTo>
                <a:cubicBezTo>
                  <a:pt x="1230" y="135"/>
                  <a:pt x="1230" y="132"/>
                  <a:pt x="1230" y="130"/>
                </a:cubicBezTo>
                <a:cubicBezTo>
                  <a:pt x="1230" y="126"/>
                  <a:pt x="1229" y="123"/>
                  <a:pt x="1228" y="122"/>
                </a:cubicBezTo>
                <a:cubicBezTo>
                  <a:pt x="1227" y="120"/>
                  <a:pt x="1225" y="119"/>
                  <a:pt x="1222" y="119"/>
                </a:cubicBezTo>
                <a:cubicBezTo>
                  <a:pt x="1219" y="119"/>
                  <a:pt x="1217" y="120"/>
                  <a:pt x="1214" y="122"/>
                </a:cubicBezTo>
                <a:cubicBezTo>
                  <a:pt x="1211" y="124"/>
                  <a:pt x="1209" y="126"/>
                  <a:pt x="1207" y="129"/>
                </a:cubicBezTo>
                <a:close/>
                <a:moveTo>
                  <a:pt x="1267" y="153"/>
                </a:moveTo>
                <a:cubicBezTo>
                  <a:pt x="1266" y="150"/>
                  <a:pt x="1266" y="150"/>
                  <a:pt x="1266" y="150"/>
                </a:cubicBezTo>
                <a:cubicBezTo>
                  <a:pt x="1264" y="152"/>
                  <a:pt x="1262" y="153"/>
                  <a:pt x="1260" y="154"/>
                </a:cubicBezTo>
                <a:cubicBezTo>
                  <a:pt x="1258" y="155"/>
                  <a:pt x="1256" y="156"/>
                  <a:pt x="1254" y="156"/>
                </a:cubicBezTo>
                <a:cubicBezTo>
                  <a:pt x="1251" y="156"/>
                  <a:pt x="1249" y="154"/>
                  <a:pt x="1248" y="152"/>
                </a:cubicBezTo>
                <a:cubicBezTo>
                  <a:pt x="1246" y="150"/>
                  <a:pt x="1246" y="147"/>
                  <a:pt x="1246" y="143"/>
                </a:cubicBezTo>
                <a:cubicBezTo>
                  <a:pt x="1249" y="143"/>
                  <a:pt x="1252" y="143"/>
                  <a:pt x="1256" y="142"/>
                </a:cubicBezTo>
                <a:cubicBezTo>
                  <a:pt x="1259" y="140"/>
                  <a:pt x="1263" y="139"/>
                  <a:pt x="1265" y="136"/>
                </a:cubicBezTo>
                <a:cubicBezTo>
                  <a:pt x="1268" y="134"/>
                  <a:pt x="1269" y="131"/>
                  <a:pt x="1269" y="128"/>
                </a:cubicBezTo>
                <a:cubicBezTo>
                  <a:pt x="1269" y="125"/>
                  <a:pt x="1268" y="123"/>
                  <a:pt x="1267" y="122"/>
                </a:cubicBezTo>
                <a:cubicBezTo>
                  <a:pt x="1265" y="120"/>
                  <a:pt x="1263" y="119"/>
                  <a:pt x="1259" y="119"/>
                </a:cubicBezTo>
                <a:cubicBezTo>
                  <a:pt x="1255" y="119"/>
                  <a:pt x="1252" y="121"/>
                  <a:pt x="1249" y="123"/>
                </a:cubicBezTo>
                <a:cubicBezTo>
                  <a:pt x="1246" y="125"/>
                  <a:pt x="1243" y="128"/>
                  <a:pt x="1241" y="132"/>
                </a:cubicBezTo>
                <a:cubicBezTo>
                  <a:pt x="1240" y="136"/>
                  <a:pt x="1239" y="140"/>
                  <a:pt x="1239" y="145"/>
                </a:cubicBezTo>
                <a:cubicBezTo>
                  <a:pt x="1239" y="147"/>
                  <a:pt x="1239" y="150"/>
                  <a:pt x="1240" y="152"/>
                </a:cubicBezTo>
                <a:cubicBezTo>
                  <a:pt x="1241" y="155"/>
                  <a:pt x="1243" y="156"/>
                  <a:pt x="1245" y="158"/>
                </a:cubicBezTo>
                <a:cubicBezTo>
                  <a:pt x="1247" y="159"/>
                  <a:pt x="1249" y="160"/>
                  <a:pt x="1253" y="160"/>
                </a:cubicBezTo>
                <a:cubicBezTo>
                  <a:pt x="1256" y="160"/>
                  <a:pt x="1259" y="159"/>
                  <a:pt x="1261" y="158"/>
                </a:cubicBezTo>
                <a:cubicBezTo>
                  <a:pt x="1264" y="156"/>
                  <a:pt x="1266" y="154"/>
                  <a:pt x="1267" y="153"/>
                </a:cubicBezTo>
                <a:close/>
                <a:moveTo>
                  <a:pt x="1258" y="123"/>
                </a:moveTo>
                <a:cubicBezTo>
                  <a:pt x="1259" y="123"/>
                  <a:pt x="1260" y="124"/>
                  <a:pt x="1261" y="125"/>
                </a:cubicBezTo>
                <a:cubicBezTo>
                  <a:pt x="1262" y="125"/>
                  <a:pt x="1263" y="127"/>
                  <a:pt x="1263" y="129"/>
                </a:cubicBezTo>
                <a:cubicBezTo>
                  <a:pt x="1263" y="131"/>
                  <a:pt x="1262" y="133"/>
                  <a:pt x="1260" y="135"/>
                </a:cubicBezTo>
                <a:cubicBezTo>
                  <a:pt x="1258" y="136"/>
                  <a:pt x="1256" y="138"/>
                  <a:pt x="1253" y="139"/>
                </a:cubicBezTo>
                <a:cubicBezTo>
                  <a:pt x="1251" y="139"/>
                  <a:pt x="1248" y="140"/>
                  <a:pt x="1246" y="140"/>
                </a:cubicBezTo>
                <a:cubicBezTo>
                  <a:pt x="1246" y="138"/>
                  <a:pt x="1247" y="135"/>
                  <a:pt x="1248" y="132"/>
                </a:cubicBezTo>
                <a:cubicBezTo>
                  <a:pt x="1249" y="130"/>
                  <a:pt x="1250" y="127"/>
                  <a:pt x="1252" y="126"/>
                </a:cubicBezTo>
                <a:cubicBezTo>
                  <a:pt x="1254" y="124"/>
                  <a:pt x="1255" y="123"/>
                  <a:pt x="1258" y="123"/>
                </a:cubicBezTo>
                <a:close/>
                <a:moveTo>
                  <a:pt x="1303" y="153"/>
                </a:moveTo>
                <a:cubicBezTo>
                  <a:pt x="1302" y="150"/>
                  <a:pt x="1302" y="150"/>
                  <a:pt x="1302" y="150"/>
                </a:cubicBezTo>
                <a:cubicBezTo>
                  <a:pt x="1300" y="152"/>
                  <a:pt x="1298" y="153"/>
                  <a:pt x="1296" y="154"/>
                </a:cubicBezTo>
                <a:cubicBezTo>
                  <a:pt x="1294" y="155"/>
                  <a:pt x="1292" y="156"/>
                  <a:pt x="1290" y="156"/>
                </a:cubicBezTo>
                <a:cubicBezTo>
                  <a:pt x="1287" y="156"/>
                  <a:pt x="1285" y="154"/>
                  <a:pt x="1284" y="152"/>
                </a:cubicBezTo>
                <a:cubicBezTo>
                  <a:pt x="1282" y="150"/>
                  <a:pt x="1282" y="147"/>
                  <a:pt x="1282" y="143"/>
                </a:cubicBezTo>
                <a:cubicBezTo>
                  <a:pt x="1285" y="143"/>
                  <a:pt x="1288" y="143"/>
                  <a:pt x="1292" y="142"/>
                </a:cubicBezTo>
                <a:cubicBezTo>
                  <a:pt x="1295" y="140"/>
                  <a:pt x="1299" y="139"/>
                  <a:pt x="1301" y="136"/>
                </a:cubicBezTo>
                <a:cubicBezTo>
                  <a:pt x="1304" y="134"/>
                  <a:pt x="1305" y="131"/>
                  <a:pt x="1305" y="128"/>
                </a:cubicBezTo>
                <a:cubicBezTo>
                  <a:pt x="1305" y="125"/>
                  <a:pt x="1304" y="123"/>
                  <a:pt x="1303" y="122"/>
                </a:cubicBezTo>
                <a:cubicBezTo>
                  <a:pt x="1301" y="120"/>
                  <a:pt x="1299" y="119"/>
                  <a:pt x="1295" y="119"/>
                </a:cubicBezTo>
                <a:cubicBezTo>
                  <a:pt x="1291" y="119"/>
                  <a:pt x="1288" y="121"/>
                  <a:pt x="1285" y="123"/>
                </a:cubicBezTo>
                <a:cubicBezTo>
                  <a:pt x="1282" y="125"/>
                  <a:pt x="1279" y="128"/>
                  <a:pt x="1277" y="132"/>
                </a:cubicBezTo>
                <a:cubicBezTo>
                  <a:pt x="1275" y="136"/>
                  <a:pt x="1275" y="140"/>
                  <a:pt x="1275" y="145"/>
                </a:cubicBezTo>
                <a:cubicBezTo>
                  <a:pt x="1275" y="147"/>
                  <a:pt x="1275" y="150"/>
                  <a:pt x="1276" y="152"/>
                </a:cubicBezTo>
                <a:cubicBezTo>
                  <a:pt x="1277" y="155"/>
                  <a:pt x="1279" y="156"/>
                  <a:pt x="1281" y="158"/>
                </a:cubicBezTo>
                <a:cubicBezTo>
                  <a:pt x="1283" y="159"/>
                  <a:pt x="1285" y="160"/>
                  <a:pt x="1288" y="160"/>
                </a:cubicBezTo>
                <a:cubicBezTo>
                  <a:pt x="1292" y="160"/>
                  <a:pt x="1295" y="159"/>
                  <a:pt x="1297" y="158"/>
                </a:cubicBezTo>
                <a:cubicBezTo>
                  <a:pt x="1300" y="156"/>
                  <a:pt x="1302" y="154"/>
                  <a:pt x="1303" y="153"/>
                </a:cubicBezTo>
                <a:close/>
                <a:moveTo>
                  <a:pt x="1294" y="123"/>
                </a:moveTo>
                <a:cubicBezTo>
                  <a:pt x="1295" y="123"/>
                  <a:pt x="1296" y="124"/>
                  <a:pt x="1297" y="125"/>
                </a:cubicBezTo>
                <a:cubicBezTo>
                  <a:pt x="1298" y="125"/>
                  <a:pt x="1298" y="127"/>
                  <a:pt x="1298" y="129"/>
                </a:cubicBezTo>
                <a:cubicBezTo>
                  <a:pt x="1298" y="131"/>
                  <a:pt x="1298" y="133"/>
                  <a:pt x="1296" y="135"/>
                </a:cubicBezTo>
                <a:cubicBezTo>
                  <a:pt x="1294" y="136"/>
                  <a:pt x="1292" y="138"/>
                  <a:pt x="1289" y="139"/>
                </a:cubicBezTo>
                <a:cubicBezTo>
                  <a:pt x="1287" y="139"/>
                  <a:pt x="1284" y="140"/>
                  <a:pt x="1282" y="140"/>
                </a:cubicBezTo>
                <a:cubicBezTo>
                  <a:pt x="1282" y="138"/>
                  <a:pt x="1283" y="135"/>
                  <a:pt x="1284" y="132"/>
                </a:cubicBezTo>
                <a:cubicBezTo>
                  <a:pt x="1285" y="130"/>
                  <a:pt x="1286" y="127"/>
                  <a:pt x="1288" y="126"/>
                </a:cubicBezTo>
                <a:cubicBezTo>
                  <a:pt x="1289" y="124"/>
                  <a:pt x="1291" y="123"/>
                  <a:pt x="1294" y="123"/>
                </a:cubicBezTo>
                <a:close/>
                <a:moveTo>
                  <a:pt x="1322" y="129"/>
                </a:moveTo>
                <a:cubicBezTo>
                  <a:pt x="1323" y="127"/>
                  <a:pt x="1323" y="127"/>
                  <a:pt x="1323" y="127"/>
                </a:cubicBezTo>
                <a:cubicBezTo>
                  <a:pt x="1323" y="120"/>
                  <a:pt x="1323" y="120"/>
                  <a:pt x="1323" y="120"/>
                </a:cubicBezTo>
                <a:cubicBezTo>
                  <a:pt x="1322" y="119"/>
                  <a:pt x="1322" y="119"/>
                  <a:pt x="1322" y="119"/>
                </a:cubicBezTo>
                <a:cubicBezTo>
                  <a:pt x="1314" y="121"/>
                  <a:pt x="1314" y="121"/>
                  <a:pt x="1314" y="121"/>
                </a:cubicBezTo>
                <a:cubicBezTo>
                  <a:pt x="1313" y="124"/>
                  <a:pt x="1313" y="124"/>
                  <a:pt x="1313" y="124"/>
                </a:cubicBezTo>
                <a:cubicBezTo>
                  <a:pt x="1317" y="125"/>
                  <a:pt x="1317" y="125"/>
                  <a:pt x="1317" y="125"/>
                </a:cubicBezTo>
                <a:cubicBezTo>
                  <a:pt x="1312" y="159"/>
                  <a:pt x="1312" y="159"/>
                  <a:pt x="1312" y="159"/>
                </a:cubicBezTo>
                <a:cubicBezTo>
                  <a:pt x="1319" y="159"/>
                  <a:pt x="1319" y="159"/>
                  <a:pt x="1319" y="159"/>
                </a:cubicBezTo>
                <a:cubicBezTo>
                  <a:pt x="1322" y="134"/>
                  <a:pt x="1322" y="134"/>
                  <a:pt x="1322" y="134"/>
                </a:cubicBezTo>
                <a:cubicBezTo>
                  <a:pt x="1323" y="132"/>
                  <a:pt x="1325" y="130"/>
                  <a:pt x="1327" y="129"/>
                </a:cubicBezTo>
                <a:cubicBezTo>
                  <a:pt x="1329" y="127"/>
                  <a:pt x="1331" y="127"/>
                  <a:pt x="1333" y="127"/>
                </a:cubicBezTo>
                <a:cubicBezTo>
                  <a:pt x="1334" y="127"/>
                  <a:pt x="1335" y="127"/>
                  <a:pt x="1336" y="127"/>
                </a:cubicBezTo>
                <a:cubicBezTo>
                  <a:pt x="1338" y="120"/>
                  <a:pt x="1338" y="120"/>
                  <a:pt x="1338" y="120"/>
                </a:cubicBezTo>
                <a:cubicBezTo>
                  <a:pt x="1337" y="120"/>
                  <a:pt x="1336" y="119"/>
                  <a:pt x="1335" y="119"/>
                </a:cubicBezTo>
                <a:cubicBezTo>
                  <a:pt x="1333" y="119"/>
                  <a:pt x="1331" y="120"/>
                  <a:pt x="1330" y="121"/>
                </a:cubicBezTo>
                <a:cubicBezTo>
                  <a:pt x="1328" y="122"/>
                  <a:pt x="1326" y="123"/>
                  <a:pt x="1325" y="125"/>
                </a:cubicBezTo>
                <a:cubicBezTo>
                  <a:pt x="1324" y="126"/>
                  <a:pt x="1323" y="128"/>
                  <a:pt x="1322" y="129"/>
                </a:cubicBezTo>
                <a:close/>
                <a:moveTo>
                  <a:pt x="1349" y="153"/>
                </a:moveTo>
                <a:cubicBezTo>
                  <a:pt x="1354" y="120"/>
                  <a:pt x="1354" y="120"/>
                  <a:pt x="1354" y="120"/>
                </a:cubicBezTo>
                <a:cubicBezTo>
                  <a:pt x="1352" y="119"/>
                  <a:pt x="1352" y="119"/>
                  <a:pt x="1352" y="119"/>
                </a:cubicBezTo>
                <a:cubicBezTo>
                  <a:pt x="1342" y="121"/>
                  <a:pt x="1342" y="121"/>
                  <a:pt x="1342" y="121"/>
                </a:cubicBezTo>
                <a:cubicBezTo>
                  <a:pt x="1342" y="123"/>
                  <a:pt x="1342" y="123"/>
                  <a:pt x="1342" y="123"/>
                </a:cubicBezTo>
                <a:cubicBezTo>
                  <a:pt x="1346" y="125"/>
                  <a:pt x="1346" y="125"/>
                  <a:pt x="1346" y="125"/>
                </a:cubicBezTo>
                <a:cubicBezTo>
                  <a:pt x="1345" y="132"/>
                  <a:pt x="1345" y="138"/>
                  <a:pt x="1344" y="142"/>
                </a:cubicBezTo>
                <a:cubicBezTo>
                  <a:pt x="1343" y="150"/>
                  <a:pt x="1342" y="154"/>
                  <a:pt x="1342" y="156"/>
                </a:cubicBezTo>
                <a:cubicBezTo>
                  <a:pt x="1342" y="157"/>
                  <a:pt x="1342" y="158"/>
                  <a:pt x="1343" y="159"/>
                </a:cubicBezTo>
                <a:cubicBezTo>
                  <a:pt x="1344" y="160"/>
                  <a:pt x="1345" y="160"/>
                  <a:pt x="1347" y="160"/>
                </a:cubicBezTo>
                <a:cubicBezTo>
                  <a:pt x="1349" y="160"/>
                  <a:pt x="1350" y="159"/>
                  <a:pt x="1352" y="158"/>
                </a:cubicBezTo>
                <a:cubicBezTo>
                  <a:pt x="1353" y="157"/>
                  <a:pt x="1354" y="156"/>
                  <a:pt x="1355" y="155"/>
                </a:cubicBezTo>
                <a:cubicBezTo>
                  <a:pt x="1354" y="154"/>
                  <a:pt x="1354" y="154"/>
                  <a:pt x="1354" y="154"/>
                </a:cubicBezTo>
                <a:cubicBezTo>
                  <a:pt x="1353" y="154"/>
                  <a:pt x="1352" y="155"/>
                  <a:pt x="1352" y="155"/>
                </a:cubicBezTo>
                <a:cubicBezTo>
                  <a:pt x="1351" y="156"/>
                  <a:pt x="1351" y="156"/>
                  <a:pt x="1350" y="156"/>
                </a:cubicBezTo>
                <a:cubicBezTo>
                  <a:pt x="1350" y="156"/>
                  <a:pt x="1350" y="156"/>
                  <a:pt x="1349" y="155"/>
                </a:cubicBezTo>
                <a:cubicBezTo>
                  <a:pt x="1349" y="155"/>
                  <a:pt x="1349" y="155"/>
                  <a:pt x="1349" y="154"/>
                </a:cubicBezTo>
                <a:lnTo>
                  <a:pt x="1349" y="153"/>
                </a:lnTo>
                <a:close/>
                <a:moveTo>
                  <a:pt x="1351" y="112"/>
                </a:moveTo>
                <a:cubicBezTo>
                  <a:pt x="1353" y="112"/>
                  <a:pt x="1354" y="111"/>
                  <a:pt x="1355" y="110"/>
                </a:cubicBezTo>
                <a:cubicBezTo>
                  <a:pt x="1356" y="109"/>
                  <a:pt x="1356" y="108"/>
                  <a:pt x="1356" y="107"/>
                </a:cubicBezTo>
                <a:cubicBezTo>
                  <a:pt x="1356" y="106"/>
                  <a:pt x="1356" y="105"/>
                  <a:pt x="1355" y="104"/>
                </a:cubicBezTo>
                <a:cubicBezTo>
                  <a:pt x="1354" y="103"/>
                  <a:pt x="1353" y="103"/>
                  <a:pt x="1352" y="103"/>
                </a:cubicBezTo>
                <a:cubicBezTo>
                  <a:pt x="1351" y="103"/>
                  <a:pt x="1350" y="103"/>
                  <a:pt x="1349" y="104"/>
                </a:cubicBezTo>
                <a:cubicBezTo>
                  <a:pt x="1348" y="105"/>
                  <a:pt x="1348" y="107"/>
                  <a:pt x="1348" y="108"/>
                </a:cubicBezTo>
                <a:cubicBezTo>
                  <a:pt x="1348" y="109"/>
                  <a:pt x="1348" y="110"/>
                  <a:pt x="1349" y="111"/>
                </a:cubicBezTo>
                <a:cubicBezTo>
                  <a:pt x="1350" y="111"/>
                  <a:pt x="1350" y="112"/>
                  <a:pt x="1351" y="112"/>
                </a:cubicBezTo>
                <a:close/>
                <a:moveTo>
                  <a:pt x="1374" y="129"/>
                </a:moveTo>
                <a:cubicBezTo>
                  <a:pt x="1375" y="120"/>
                  <a:pt x="1375" y="120"/>
                  <a:pt x="1375" y="120"/>
                </a:cubicBezTo>
                <a:cubicBezTo>
                  <a:pt x="1374" y="119"/>
                  <a:pt x="1374" y="119"/>
                  <a:pt x="1374" y="119"/>
                </a:cubicBezTo>
                <a:cubicBezTo>
                  <a:pt x="1365" y="121"/>
                  <a:pt x="1365" y="121"/>
                  <a:pt x="1365" y="121"/>
                </a:cubicBezTo>
                <a:cubicBezTo>
                  <a:pt x="1365" y="124"/>
                  <a:pt x="1365" y="124"/>
                  <a:pt x="1365" y="124"/>
                </a:cubicBezTo>
                <a:cubicBezTo>
                  <a:pt x="1368" y="125"/>
                  <a:pt x="1368" y="125"/>
                  <a:pt x="1368" y="125"/>
                </a:cubicBezTo>
                <a:cubicBezTo>
                  <a:pt x="1364" y="159"/>
                  <a:pt x="1364" y="159"/>
                  <a:pt x="1364" y="159"/>
                </a:cubicBezTo>
                <a:cubicBezTo>
                  <a:pt x="1370" y="159"/>
                  <a:pt x="1370" y="159"/>
                  <a:pt x="1370" y="159"/>
                </a:cubicBezTo>
                <a:cubicBezTo>
                  <a:pt x="1374" y="134"/>
                  <a:pt x="1374" y="134"/>
                  <a:pt x="1374" y="134"/>
                </a:cubicBezTo>
                <a:cubicBezTo>
                  <a:pt x="1375" y="131"/>
                  <a:pt x="1377" y="129"/>
                  <a:pt x="1380" y="127"/>
                </a:cubicBezTo>
                <a:cubicBezTo>
                  <a:pt x="1382" y="125"/>
                  <a:pt x="1384" y="124"/>
                  <a:pt x="1386" y="124"/>
                </a:cubicBezTo>
                <a:cubicBezTo>
                  <a:pt x="1388" y="124"/>
                  <a:pt x="1389" y="125"/>
                  <a:pt x="1389" y="126"/>
                </a:cubicBezTo>
                <a:cubicBezTo>
                  <a:pt x="1390" y="127"/>
                  <a:pt x="1390" y="128"/>
                  <a:pt x="1390" y="130"/>
                </a:cubicBezTo>
                <a:cubicBezTo>
                  <a:pt x="1390" y="132"/>
                  <a:pt x="1390" y="134"/>
                  <a:pt x="1390" y="135"/>
                </a:cubicBezTo>
                <a:cubicBezTo>
                  <a:pt x="1390" y="137"/>
                  <a:pt x="1389" y="140"/>
                  <a:pt x="1389" y="142"/>
                </a:cubicBezTo>
                <a:cubicBezTo>
                  <a:pt x="1388" y="144"/>
                  <a:pt x="1388" y="144"/>
                  <a:pt x="1388" y="144"/>
                </a:cubicBezTo>
                <a:cubicBezTo>
                  <a:pt x="1388" y="147"/>
                  <a:pt x="1388" y="147"/>
                  <a:pt x="1388" y="147"/>
                </a:cubicBezTo>
                <a:cubicBezTo>
                  <a:pt x="1387" y="151"/>
                  <a:pt x="1387" y="154"/>
                  <a:pt x="1387" y="156"/>
                </a:cubicBezTo>
                <a:cubicBezTo>
                  <a:pt x="1387" y="159"/>
                  <a:pt x="1388" y="160"/>
                  <a:pt x="1391" y="160"/>
                </a:cubicBezTo>
                <a:cubicBezTo>
                  <a:pt x="1392" y="160"/>
                  <a:pt x="1394" y="160"/>
                  <a:pt x="1395" y="159"/>
                </a:cubicBezTo>
                <a:cubicBezTo>
                  <a:pt x="1396" y="159"/>
                  <a:pt x="1397" y="158"/>
                  <a:pt x="1397" y="157"/>
                </a:cubicBezTo>
                <a:cubicBezTo>
                  <a:pt x="1398" y="157"/>
                  <a:pt x="1399" y="156"/>
                  <a:pt x="1399" y="156"/>
                </a:cubicBezTo>
                <a:cubicBezTo>
                  <a:pt x="1398" y="154"/>
                  <a:pt x="1398" y="154"/>
                  <a:pt x="1398" y="154"/>
                </a:cubicBezTo>
                <a:cubicBezTo>
                  <a:pt x="1397" y="155"/>
                  <a:pt x="1396" y="156"/>
                  <a:pt x="1395" y="156"/>
                </a:cubicBezTo>
                <a:cubicBezTo>
                  <a:pt x="1394" y="156"/>
                  <a:pt x="1394" y="155"/>
                  <a:pt x="1394" y="154"/>
                </a:cubicBezTo>
                <a:cubicBezTo>
                  <a:pt x="1394" y="152"/>
                  <a:pt x="1394" y="149"/>
                  <a:pt x="1395" y="145"/>
                </a:cubicBezTo>
                <a:cubicBezTo>
                  <a:pt x="1395" y="142"/>
                  <a:pt x="1395" y="142"/>
                  <a:pt x="1395" y="142"/>
                </a:cubicBezTo>
                <a:cubicBezTo>
                  <a:pt x="1396" y="140"/>
                  <a:pt x="1396" y="140"/>
                  <a:pt x="1396" y="140"/>
                </a:cubicBezTo>
                <a:cubicBezTo>
                  <a:pt x="1397" y="135"/>
                  <a:pt x="1397" y="132"/>
                  <a:pt x="1397" y="130"/>
                </a:cubicBezTo>
                <a:cubicBezTo>
                  <a:pt x="1397" y="126"/>
                  <a:pt x="1397" y="123"/>
                  <a:pt x="1395" y="122"/>
                </a:cubicBezTo>
                <a:cubicBezTo>
                  <a:pt x="1394" y="120"/>
                  <a:pt x="1392" y="119"/>
                  <a:pt x="1389" y="119"/>
                </a:cubicBezTo>
                <a:cubicBezTo>
                  <a:pt x="1386" y="119"/>
                  <a:pt x="1384" y="120"/>
                  <a:pt x="1381" y="122"/>
                </a:cubicBezTo>
                <a:cubicBezTo>
                  <a:pt x="1379" y="124"/>
                  <a:pt x="1376" y="126"/>
                  <a:pt x="1374" y="129"/>
                </a:cubicBezTo>
                <a:close/>
                <a:moveTo>
                  <a:pt x="1433" y="162"/>
                </a:moveTo>
                <a:cubicBezTo>
                  <a:pt x="1440" y="119"/>
                  <a:pt x="1440" y="119"/>
                  <a:pt x="1440" y="119"/>
                </a:cubicBezTo>
                <a:cubicBezTo>
                  <a:pt x="1435" y="121"/>
                  <a:pt x="1435" y="121"/>
                  <a:pt x="1435" y="121"/>
                </a:cubicBezTo>
                <a:cubicBezTo>
                  <a:pt x="1434" y="121"/>
                  <a:pt x="1433" y="120"/>
                  <a:pt x="1432" y="120"/>
                </a:cubicBezTo>
                <a:cubicBezTo>
                  <a:pt x="1430" y="120"/>
                  <a:pt x="1429" y="119"/>
                  <a:pt x="1428" y="119"/>
                </a:cubicBezTo>
                <a:cubicBezTo>
                  <a:pt x="1423" y="119"/>
                  <a:pt x="1419" y="121"/>
                  <a:pt x="1416" y="123"/>
                </a:cubicBezTo>
                <a:cubicBezTo>
                  <a:pt x="1412" y="126"/>
                  <a:pt x="1410" y="129"/>
                  <a:pt x="1408" y="133"/>
                </a:cubicBezTo>
                <a:cubicBezTo>
                  <a:pt x="1406" y="137"/>
                  <a:pt x="1405" y="141"/>
                  <a:pt x="1405" y="145"/>
                </a:cubicBezTo>
                <a:cubicBezTo>
                  <a:pt x="1405" y="150"/>
                  <a:pt x="1406" y="153"/>
                  <a:pt x="1408" y="156"/>
                </a:cubicBezTo>
                <a:cubicBezTo>
                  <a:pt x="1410" y="159"/>
                  <a:pt x="1413" y="160"/>
                  <a:pt x="1417" y="160"/>
                </a:cubicBezTo>
                <a:cubicBezTo>
                  <a:pt x="1419" y="160"/>
                  <a:pt x="1421" y="159"/>
                  <a:pt x="1423" y="158"/>
                </a:cubicBezTo>
                <a:cubicBezTo>
                  <a:pt x="1425" y="157"/>
                  <a:pt x="1426" y="156"/>
                  <a:pt x="1428" y="155"/>
                </a:cubicBezTo>
                <a:cubicBezTo>
                  <a:pt x="1426" y="164"/>
                  <a:pt x="1426" y="164"/>
                  <a:pt x="1426" y="164"/>
                </a:cubicBezTo>
                <a:cubicBezTo>
                  <a:pt x="1426" y="167"/>
                  <a:pt x="1425" y="169"/>
                  <a:pt x="1424" y="170"/>
                </a:cubicBezTo>
                <a:cubicBezTo>
                  <a:pt x="1422" y="172"/>
                  <a:pt x="1420" y="172"/>
                  <a:pt x="1417" y="172"/>
                </a:cubicBezTo>
                <a:cubicBezTo>
                  <a:pt x="1415" y="172"/>
                  <a:pt x="1414" y="172"/>
                  <a:pt x="1412" y="171"/>
                </a:cubicBezTo>
                <a:cubicBezTo>
                  <a:pt x="1410" y="171"/>
                  <a:pt x="1409" y="170"/>
                  <a:pt x="1408" y="170"/>
                </a:cubicBezTo>
                <a:cubicBezTo>
                  <a:pt x="1406" y="175"/>
                  <a:pt x="1406" y="175"/>
                  <a:pt x="1406" y="175"/>
                </a:cubicBezTo>
                <a:cubicBezTo>
                  <a:pt x="1407" y="176"/>
                  <a:pt x="1408" y="176"/>
                  <a:pt x="1410" y="176"/>
                </a:cubicBezTo>
                <a:cubicBezTo>
                  <a:pt x="1411" y="177"/>
                  <a:pt x="1413" y="177"/>
                  <a:pt x="1414" y="177"/>
                </a:cubicBezTo>
                <a:cubicBezTo>
                  <a:pt x="1417" y="177"/>
                  <a:pt x="1420" y="176"/>
                  <a:pt x="1423" y="175"/>
                </a:cubicBezTo>
                <a:cubicBezTo>
                  <a:pt x="1425" y="174"/>
                  <a:pt x="1428" y="173"/>
                  <a:pt x="1430" y="170"/>
                </a:cubicBezTo>
                <a:cubicBezTo>
                  <a:pt x="1432" y="168"/>
                  <a:pt x="1433" y="165"/>
                  <a:pt x="1433" y="162"/>
                </a:cubicBezTo>
                <a:close/>
                <a:moveTo>
                  <a:pt x="1432" y="125"/>
                </a:moveTo>
                <a:cubicBezTo>
                  <a:pt x="1428" y="150"/>
                  <a:pt x="1428" y="150"/>
                  <a:pt x="1428" y="150"/>
                </a:cubicBezTo>
                <a:cubicBezTo>
                  <a:pt x="1427" y="151"/>
                  <a:pt x="1426" y="153"/>
                  <a:pt x="1424" y="154"/>
                </a:cubicBezTo>
                <a:cubicBezTo>
                  <a:pt x="1423" y="155"/>
                  <a:pt x="1421" y="155"/>
                  <a:pt x="1419" y="155"/>
                </a:cubicBezTo>
                <a:cubicBezTo>
                  <a:pt x="1417" y="155"/>
                  <a:pt x="1415" y="155"/>
                  <a:pt x="1414" y="153"/>
                </a:cubicBezTo>
                <a:cubicBezTo>
                  <a:pt x="1413" y="151"/>
                  <a:pt x="1412" y="148"/>
                  <a:pt x="1412" y="145"/>
                </a:cubicBezTo>
                <a:cubicBezTo>
                  <a:pt x="1412" y="142"/>
                  <a:pt x="1413" y="138"/>
                  <a:pt x="1414" y="135"/>
                </a:cubicBezTo>
                <a:cubicBezTo>
                  <a:pt x="1415" y="132"/>
                  <a:pt x="1417" y="129"/>
                  <a:pt x="1419" y="127"/>
                </a:cubicBezTo>
                <a:cubicBezTo>
                  <a:pt x="1421" y="124"/>
                  <a:pt x="1424" y="123"/>
                  <a:pt x="1427" y="123"/>
                </a:cubicBezTo>
                <a:cubicBezTo>
                  <a:pt x="1429" y="123"/>
                  <a:pt x="1431" y="124"/>
                  <a:pt x="1432" y="125"/>
                </a:cubicBezTo>
                <a:close/>
                <a:moveTo>
                  <a:pt x="1076" y="242"/>
                </a:moveTo>
                <a:cubicBezTo>
                  <a:pt x="1072" y="249"/>
                  <a:pt x="1072" y="249"/>
                  <a:pt x="1072" y="249"/>
                </a:cubicBezTo>
                <a:cubicBezTo>
                  <a:pt x="1072" y="242"/>
                  <a:pt x="1072" y="242"/>
                  <a:pt x="1072" y="242"/>
                </a:cubicBezTo>
                <a:cubicBezTo>
                  <a:pt x="1066" y="208"/>
                  <a:pt x="1066" y="208"/>
                  <a:pt x="1066" y="208"/>
                </a:cubicBezTo>
                <a:cubicBezTo>
                  <a:pt x="1050" y="208"/>
                  <a:pt x="1050" y="208"/>
                  <a:pt x="1050" y="208"/>
                </a:cubicBezTo>
                <a:cubicBezTo>
                  <a:pt x="1049" y="211"/>
                  <a:pt x="1049" y="211"/>
                  <a:pt x="1049" y="211"/>
                </a:cubicBezTo>
                <a:cubicBezTo>
                  <a:pt x="1056" y="212"/>
                  <a:pt x="1056" y="212"/>
                  <a:pt x="1056" y="212"/>
                </a:cubicBezTo>
                <a:cubicBezTo>
                  <a:pt x="1045" y="256"/>
                  <a:pt x="1045" y="256"/>
                  <a:pt x="1045" y="256"/>
                </a:cubicBezTo>
                <a:cubicBezTo>
                  <a:pt x="1039" y="257"/>
                  <a:pt x="1039" y="257"/>
                  <a:pt x="1039" y="257"/>
                </a:cubicBezTo>
                <a:cubicBezTo>
                  <a:pt x="1039" y="260"/>
                  <a:pt x="1039" y="260"/>
                  <a:pt x="1039" y="260"/>
                </a:cubicBezTo>
                <a:cubicBezTo>
                  <a:pt x="1057" y="260"/>
                  <a:pt x="1057" y="260"/>
                  <a:pt x="1057" y="260"/>
                </a:cubicBezTo>
                <a:cubicBezTo>
                  <a:pt x="1057" y="257"/>
                  <a:pt x="1057" y="257"/>
                  <a:pt x="1057" y="257"/>
                </a:cubicBezTo>
                <a:cubicBezTo>
                  <a:pt x="1050" y="256"/>
                  <a:pt x="1050" y="256"/>
                  <a:pt x="1050" y="256"/>
                </a:cubicBezTo>
                <a:cubicBezTo>
                  <a:pt x="1057" y="225"/>
                  <a:pt x="1057" y="225"/>
                  <a:pt x="1057" y="225"/>
                </a:cubicBezTo>
                <a:cubicBezTo>
                  <a:pt x="1060" y="211"/>
                  <a:pt x="1060" y="211"/>
                  <a:pt x="1060" y="211"/>
                </a:cubicBezTo>
                <a:cubicBezTo>
                  <a:pt x="1062" y="225"/>
                  <a:pt x="1062" y="225"/>
                  <a:pt x="1062" y="225"/>
                </a:cubicBezTo>
                <a:cubicBezTo>
                  <a:pt x="1068" y="261"/>
                  <a:pt x="1068" y="261"/>
                  <a:pt x="1068" y="261"/>
                </a:cubicBezTo>
                <a:cubicBezTo>
                  <a:pt x="1072" y="260"/>
                  <a:pt x="1072" y="260"/>
                  <a:pt x="1072" y="260"/>
                </a:cubicBezTo>
                <a:cubicBezTo>
                  <a:pt x="1088" y="224"/>
                  <a:pt x="1088" y="224"/>
                  <a:pt x="1088" y="224"/>
                </a:cubicBezTo>
                <a:cubicBezTo>
                  <a:pt x="1094" y="211"/>
                  <a:pt x="1094" y="211"/>
                  <a:pt x="1094" y="211"/>
                </a:cubicBezTo>
                <a:cubicBezTo>
                  <a:pt x="1093" y="225"/>
                  <a:pt x="1093" y="225"/>
                  <a:pt x="1093" y="225"/>
                </a:cubicBezTo>
                <a:cubicBezTo>
                  <a:pt x="1091" y="256"/>
                  <a:pt x="1091" y="256"/>
                  <a:pt x="1091" y="256"/>
                </a:cubicBezTo>
                <a:cubicBezTo>
                  <a:pt x="1085" y="257"/>
                  <a:pt x="1085" y="257"/>
                  <a:pt x="1085" y="257"/>
                </a:cubicBezTo>
                <a:cubicBezTo>
                  <a:pt x="1084" y="260"/>
                  <a:pt x="1084" y="260"/>
                  <a:pt x="1084" y="260"/>
                </a:cubicBezTo>
                <a:cubicBezTo>
                  <a:pt x="1104" y="260"/>
                  <a:pt x="1104" y="260"/>
                  <a:pt x="1104" y="260"/>
                </a:cubicBezTo>
                <a:cubicBezTo>
                  <a:pt x="1104" y="257"/>
                  <a:pt x="1104" y="257"/>
                  <a:pt x="1104" y="257"/>
                </a:cubicBezTo>
                <a:cubicBezTo>
                  <a:pt x="1098" y="256"/>
                  <a:pt x="1098" y="256"/>
                  <a:pt x="1098" y="256"/>
                </a:cubicBezTo>
                <a:cubicBezTo>
                  <a:pt x="1099" y="212"/>
                  <a:pt x="1099" y="212"/>
                  <a:pt x="1099" y="212"/>
                </a:cubicBezTo>
                <a:cubicBezTo>
                  <a:pt x="1106" y="211"/>
                  <a:pt x="1106" y="211"/>
                  <a:pt x="1106" y="211"/>
                </a:cubicBezTo>
                <a:cubicBezTo>
                  <a:pt x="1106" y="208"/>
                  <a:pt x="1106" y="208"/>
                  <a:pt x="1106" y="208"/>
                </a:cubicBezTo>
                <a:cubicBezTo>
                  <a:pt x="1091" y="208"/>
                  <a:pt x="1091" y="208"/>
                  <a:pt x="1091" y="208"/>
                </a:cubicBezTo>
                <a:cubicBezTo>
                  <a:pt x="1090" y="211"/>
                  <a:pt x="1087" y="217"/>
                  <a:pt x="1083" y="225"/>
                </a:cubicBezTo>
                <a:cubicBezTo>
                  <a:pt x="1079" y="233"/>
                  <a:pt x="1077" y="239"/>
                  <a:pt x="1076" y="242"/>
                </a:cubicBezTo>
                <a:close/>
                <a:moveTo>
                  <a:pt x="1138" y="253"/>
                </a:moveTo>
                <a:cubicBezTo>
                  <a:pt x="1136" y="251"/>
                  <a:pt x="1136" y="251"/>
                  <a:pt x="1136" y="251"/>
                </a:cubicBezTo>
                <a:cubicBezTo>
                  <a:pt x="1134" y="253"/>
                  <a:pt x="1133" y="254"/>
                  <a:pt x="1131" y="255"/>
                </a:cubicBezTo>
                <a:cubicBezTo>
                  <a:pt x="1129" y="256"/>
                  <a:pt x="1126" y="256"/>
                  <a:pt x="1124" y="256"/>
                </a:cubicBezTo>
                <a:cubicBezTo>
                  <a:pt x="1121" y="256"/>
                  <a:pt x="1119" y="255"/>
                  <a:pt x="1118" y="253"/>
                </a:cubicBezTo>
                <a:cubicBezTo>
                  <a:pt x="1117" y="250"/>
                  <a:pt x="1116" y="247"/>
                  <a:pt x="1116" y="244"/>
                </a:cubicBezTo>
                <a:cubicBezTo>
                  <a:pt x="1119" y="244"/>
                  <a:pt x="1123" y="244"/>
                  <a:pt x="1126" y="242"/>
                </a:cubicBezTo>
                <a:cubicBezTo>
                  <a:pt x="1130" y="241"/>
                  <a:pt x="1133" y="240"/>
                  <a:pt x="1136" y="237"/>
                </a:cubicBezTo>
                <a:cubicBezTo>
                  <a:pt x="1138" y="235"/>
                  <a:pt x="1140" y="232"/>
                  <a:pt x="1140" y="229"/>
                </a:cubicBezTo>
                <a:cubicBezTo>
                  <a:pt x="1140" y="226"/>
                  <a:pt x="1139" y="224"/>
                  <a:pt x="1137" y="223"/>
                </a:cubicBezTo>
                <a:cubicBezTo>
                  <a:pt x="1135" y="221"/>
                  <a:pt x="1133" y="220"/>
                  <a:pt x="1130" y="220"/>
                </a:cubicBezTo>
                <a:cubicBezTo>
                  <a:pt x="1126" y="220"/>
                  <a:pt x="1122" y="221"/>
                  <a:pt x="1119" y="224"/>
                </a:cubicBezTo>
                <a:cubicBezTo>
                  <a:pt x="1116" y="226"/>
                  <a:pt x="1114" y="229"/>
                  <a:pt x="1112" y="233"/>
                </a:cubicBezTo>
                <a:cubicBezTo>
                  <a:pt x="1110" y="237"/>
                  <a:pt x="1109" y="241"/>
                  <a:pt x="1109" y="246"/>
                </a:cubicBezTo>
                <a:cubicBezTo>
                  <a:pt x="1109" y="248"/>
                  <a:pt x="1110" y="251"/>
                  <a:pt x="1111" y="253"/>
                </a:cubicBezTo>
                <a:cubicBezTo>
                  <a:pt x="1111" y="255"/>
                  <a:pt x="1113" y="257"/>
                  <a:pt x="1115" y="259"/>
                </a:cubicBezTo>
                <a:cubicBezTo>
                  <a:pt x="1117" y="260"/>
                  <a:pt x="1120" y="261"/>
                  <a:pt x="1123" y="261"/>
                </a:cubicBezTo>
                <a:cubicBezTo>
                  <a:pt x="1126" y="261"/>
                  <a:pt x="1129" y="260"/>
                  <a:pt x="1132" y="258"/>
                </a:cubicBezTo>
                <a:cubicBezTo>
                  <a:pt x="1135" y="257"/>
                  <a:pt x="1136" y="255"/>
                  <a:pt x="1138" y="253"/>
                </a:cubicBezTo>
                <a:close/>
                <a:moveTo>
                  <a:pt x="1128" y="224"/>
                </a:moveTo>
                <a:cubicBezTo>
                  <a:pt x="1130" y="224"/>
                  <a:pt x="1131" y="224"/>
                  <a:pt x="1132" y="225"/>
                </a:cubicBezTo>
                <a:cubicBezTo>
                  <a:pt x="1132" y="226"/>
                  <a:pt x="1133" y="228"/>
                  <a:pt x="1133" y="229"/>
                </a:cubicBezTo>
                <a:cubicBezTo>
                  <a:pt x="1133" y="232"/>
                  <a:pt x="1132" y="234"/>
                  <a:pt x="1130" y="235"/>
                </a:cubicBezTo>
                <a:cubicBezTo>
                  <a:pt x="1129" y="237"/>
                  <a:pt x="1126" y="238"/>
                  <a:pt x="1124" y="239"/>
                </a:cubicBezTo>
                <a:cubicBezTo>
                  <a:pt x="1121" y="240"/>
                  <a:pt x="1119" y="241"/>
                  <a:pt x="1116" y="241"/>
                </a:cubicBezTo>
                <a:cubicBezTo>
                  <a:pt x="1117" y="238"/>
                  <a:pt x="1117" y="236"/>
                  <a:pt x="1118" y="233"/>
                </a:cubicBezTo>
                <a:cubicBezTo>
                  <a:pt x="1119" y="230"/>
                  <a:pt x="1121" y="228"/>
                  <a:pt x="1122" y="226"/>
                </a:cubicBezTo>
                <a:cubicBezTo>
                  <a:pt x="1124" y="225"/>
                  <a:pt x="1126" y="224"/>
                  <a:pt x="1128" y="224"/>
                </a:cubicBezTo>
                <a:close/>
                <a:moveTo>
                  <a:pt x="1175" y="254"/>
                </a:moveTo>
                <a:cubicBezTo>
                  <a:pt x="1182" y="204"/>
                  <a:pt x="1182" y="204"/>
                  <a:pt x="1182" y="204"/>
                </a:cubicBezTo>
                <a:cubicBezTo>
                  <a:pt x="1181" y="204"/>
                  <a:pt x="1181" y="204"/>
                  <a:pt x="1181" y="204"/>
                </a:cubicBezTo>
                <a:cubicBezTo>
                  <a:pt x="1171" y="205"/>
                  <a:pt x="1171" y="205"/>
                  <a:pt x="1171" y="205"/>
                </a:cubicBezTo>
                <a:cubicBezTo>
                  <a:pt x="1170" y="207"/>
                  <a:pt x="1170" y="207"/>
                  <a:pt x="1170" y="207"/>
                </a:cubicBezTo>
                <a:cubicBezTo>
                  <a:pt x="1175" y="208"/>
                  <a:pt x="1175" y="208"/>
                  <a:pt x="1175" y="208"/>
                </a:cubicBezTo>
                <a:cubicBezTo>
                  <a:pt x="1173" y="221"/>
                  <a:pt x="1173" y="221"/>
                  <a:pt x="1173" y="221"/>
                </a:cubicBezTo>
                <a:cubicBezTo>
                  <a:pt x="1171" y="220"/>
                  <a:pt x="1169" y="220"/>
                  <a:pt x="1168" y="220"/>
                </a:cubicBezTo>
                <a:cubicBezTo>
                  <a:pt x="1163" y="220"/>
                  <a:pt x="1159" y="222"/>
                  <a:pt x="1156" y="224"/>
                </a:cubicBezTo>
                <a:cubicBezTo>
                  <a:pt x="1152" y="227"/>
                  <a:pt x="1150" y="230"/>
                  <a:pt x="1148" y="234"/>
                </a:cubicBezTo>
                <a:cubicBezTo>
                  <a:pt x="1146" y="238"/>
                  <a:pt x="1145" y="242"/>
                  <a:pt x="1145" y="246"/>
                </a:cubicBezTo>
                <a:cubicBezTo>
                  <a:pt x="1145" y="250"/>
                  <a:pt x="1146" y="254"/>
                  <a:pt x="1148" y="257"/>
                </a:cubicBezTo>
                <a:cubicBezTo>
                  <a:pt x="1150" y="259"/>
                  <a:pt x="1153" y="261"/>
                  <a:pt x="1157" y="261"/>
                </a:cubicBezTo>
                <a:cubicBezTo>
                  <a:pt x="1159" y="261"/>
                  <a:pt x="1162" y="260"/>
                  <a:pt x="1163" y="259"/>
                </a:cubicBezTo>
                <a:cubicBezTo>
                  <a:pt x="1165" y="258"/>
                  <a:pt x="1167" y="256"/>
                  <a:pt x="1168" y="255"/>
                </a:cubicBezTo>
                <a:cubicBezTo>
                  <a:pt x="1168" y="256"/>
                  <a:pt x="1168" y="256"/>
                  <a:pt x="1168" y="256"/>
                </a:cubicBezTo>
                <a:cubicBezTo>
                  <a:pt x="1168" y="259"/>
                  <a:pt x="1170" y="261"/>
                  <a:pt x="1173" y="261"/>
                </a:cubicBezTo>
                <a:cubicBezTo>
                  <a:pt x="1174" y="261"/>
                  <a:pt x="1176" y="260"/>
                  <a:pt x="1177" y="259"/>
                </a:cubicBezTo>
                <a:cubicBezTo>
                  <a:pt x="1178" y="258"/>
                  <a:pt x="1179" y="257"/>
                  <a:pt x="1180" y="256"/>
                </a:cubicBezTo>
                <a:cubicBezTo>
                  <a:pt x="1179" y="255"/>
                  <a:pt x="1179" y="255"/>
                  <a:pt x="1179" y="255"/>
                </a:cubicBezTo>
                <a:cubicBezTo>
                  <a:pt x="1178" y="256"/>
                  <a:pt x="1177" y="256"/>
                  <a:pt x="1176" y="256"/>
                </a:cubicBezTo>
                <a:cubicBezTo>
                  <a:pt x="1175" y="256"/>
                  <a:pt x="1175" y="256"/>
                  <a:pt x="1175" y="255"/>
                </a:cubicBezTo>
                <a:cubicBezTo>
                  <a:pt x="1175" y="254"/>
                  <a:pt x="1175" y="254"/>
                  <a:pt x="1175" y="254"/>
                </a:cubicBezTo>
                <a:close/>
                <a:moveTo>
                  <a:pt x="1172" y="225"/>
                </a:moveTo>
                <a:cubicBezTo>
                  <a:pt x="1169" y="250"/>
                  <a:pt x="1169" y="250"/>
                  <a:pt x="1169" y="250"/>
                </a:cubicBezTo>
                <a:cubicBezTo>
                  <a:pt x="1168" y="252"/>
                  <a:pt x="1166" y="253"/>
                  <a:pt x="1164" y="254"/>
                </a:cubicBezTo>
                <a:cubicBezTo>
                  <a:pt x="1163" y="256"/>
                  <a:pt x="1161" y="256"/>
                  <a:pt x="1159" y="256"/>
                </a:cubicBezTo>
                <a:cubicBezTo>
                  <a:pt x="1157" y="256"/>
                  <a:pt x="1155" y="255"/>
                  <a:pt x="1154" y="253"/>
                </a:cubicBezTo>
                <a:cubicBezTo>
                  <a:pt x="1153" y="252"/>
                  <a:pt x="1153" y="249"/>
                  <a:pt x="1153" y="246"/>
                </a:cubicBezTo>
                <a:cubicBezTo>
                  <a:pt x="1153" y="242"/>
                  <a:pt x="1153" y="239"/>
                  <a:pt x="1154" y="236"/>
                </a:cubicBezTo>
                <a:cubicBezTo>
                  <a:pt x="1155" y="232"/>
                  <a:pt x="1157" y="230"/>
                  <a:pt x="1159" y="227"/>
                </a:cubicBezTo>
                <a:cubicBezTo>
                  <a:pt x="1161" y="225"/>
                  <a:pt x="1164" y="224"/>
                  <a:pt x="1167" y="224"/>
                </a:cubicBezTo>
                <a:cubicBezTo>
                  <a:pt x="1169" y="224"/>
                  <a:pt x="1171" y="224"/>
                  <a:pt x="1172" y="225"/>
                </a:cubicBezTo>
                <a:close/>
                <a:moveTo>
                  <a:pt x="1198" y="254"/>
                </a:moveTo>
                <a:cubicBezTo>
                  <a:pt x="1202" y="221"/>
                  <a:pt x="1202" y="221"/>
                  <a:pt x="1202" y="221"/>
                </a:cubicBezTo>
                <a:cubicBezTo>
                  <a:pt x="1201" y="220"/>
                  <a:pt x="1201" y="220"/>
                  <a:pt x="1201" y="220"/>
                </a:cubicBezTo>
                <a:cubicBezTo>
                  <a:pt x="1191" y="222"/>
                  <a:pt x="1191" y="222"/>
                  <a:pt x="1191" y="222"/>
                </a:cubicBezTo>
                <a:cubicBezTo>
                  <a:pt x="1190" y="224"/>
                  <a:pt x="1190" y="224"/>
                  <a:pt x="1190" y="224"/>
                </a:cubicBezTo>
                <a:cubicBezTo>
                  <a:pt x="1195" y="226"/>
                  <a:pt x="1195" y="226"/>
                  <a:pt x="1195" y="226"/>
                </a:cubicBezTo>
                <a:cubicBezTo>
                  <a:pt x="1194" y="233"/>
                  <a:pt x="1193" y="239"/>
                  <a:pt x="1192" y="243"/>
                </a:cubicBezTo>
                <a:cubicBezTo>
                  <a:pt x="1191" y="251"/>
                  <a:pt x="1191" y="255"/>
                  <a:pt x="1191" y="256"/>
                </a:cubicBezTo>
                <a:cubicBezTo>
                  <a:pt x="1190" y="258"/>
                  <a:pt x="1191" y="259"/>
                  <a:pt x="1192" y="260"/>
                </a:cubicBezTo>
                <a:cubicBezTo>
                  <a:pt x="1192" y="260"/>
                  <a:pt x="1194" y="261"/>
                  <a:pt x="1195" y="261"/>
                </a:cubicBezTo>
                <a:cubicBezTo>
                  <a:pt x="1197" y="261"/>
                  <a:pt x="1199" y="260"/>
                  <a:pt x="1200" y="259"/>
                </a:cubicBezTo>
                <a:cubicBezTo>
                  <a:pt x="1202" y="258"/>
                  <a:pt x="1203" y="257"/>
                  <a:pt x="1203" y="256"/>
                </a:cubicBezTo>
                <a:cubicBezTo>
                  <a:pt x="1202" y="254"/>
                  <a:pt x="1202" y="254"/>
                  <a:pt x="1202" y="254"/>
                </a:cubicBezTo>
                <a:cubicBezTo>
                  <a:pt x="1202" y="255"/>
                  <a:pt x="1201" y="256"/>
                  <a:pt x="1200" y="256"/>
                </a:cubicBezTo>
                <a:cubicBezTo>
                  <a:pt x="1200" y="256"/>
                  <a:pt x="1199" y="256"/>
                  <a:pt x="1199" y="256"/>
                </a:cubicBezTo>
                <a:cubicBezTo>
                  <a:pt x="1198" y="256"/>
                  <a:pt x="1198" y="256"/>
                  <a:pt x="1198" y="256"/>
                </a:cubicBezTo>
                <a:cubicBezTo>
                  <a:pt x="1198" y="256"/>
                  <a:pt x="1198" y="255"/>
                  <a:pt x="1198" y="255"/>
                </a:cubicBezTo>
                <a:lnTo>
                  <a:pt x="1198" y="254"/>
                </a:lnTo>
                <a:close/>
                <a:moveTo>
                  <a:pt x="1200" y="213"/>
                </a:moveTo>
                <a:cubicBezTo>
                  <a:pt x="1201" y="213"/>
                  <a:pt x="1202" y="212"/>
                  <a:pt x="1203" y="211"/>
                </a:cubicBezTo>
                <a:cubicBezTo>
                  <a:pt x="1204" y="210"/>
                  <a:pt x="1205" y="209"/>
                  <a:pt x="1205" y="207"/>
                </a:cubicBezTo>
                <a:cubicBezTo>
                  <a:pt x="1205" y="206"/>
                  <a:pt x="1204" y="206"/>
                  <a:pt x="1204" y="205"/>
                </a:cubicBezTo>
                <a:cubicBezTo>
                  <a:pt x="1203" y="204"/>
                  <a:pt x="1202" y="204"/>
                  <a:pt x="1201" y="204"/>
                </a:cubicBezTo>
                <a:cubicBezTo>
                  <a:pt x="1200" y="204"/>
                  <a:pt x="1198" y="204"/>
                  <a:pt x="1198" y="205"/>
                </a:cubicBezTo>
                <a:cubicBezTo>
                  <a:pt x="1197" y="206"/>
                  <a:pt x="1196" y="207"/>
                  <a:pt x="1196" y="209"/>
                </a:cubicBezTo>
                <a:cubicBezTo>
                  <a:pt x="1196" y="210"/>
                  <a:pt x="1197" y="211"/>
                  <a:pt x="1197" y="212"/>
                </a:cubicBezTo>
                <a:cubicBezTo>
                  <a:pt x="1198" y="212"/>
                  <a:pt x="1199" y="213"/>
                  <a:pt x="1200" y="213"/>
                </a:cubicBezTo>
                <a:close/>
                <a:moveTo>
                  <a:pt x="1237" y="228"/>
                </a:moveTo>
                <a:cubicBezTo>
                  <a:pt x="1238" y="229"/>
                  <a:pt x="1238" y="229"/>
                  <a:pt x="1238" y="229"/>
                </a:cubicBezTo>
                <a:cubicBezTo>
                  <a:pt x="1240" y="222"/>
                  <a:pt x="1240" y="222"/>
                  <a:pt x="1240" y="222"/>
                </a:cubicBezTo>
                <a:cubicBezTo>
                  <a:pt x="1239" y="221"/>
                  <a:pt x="1238" y="221"/>
                  <a:pt x="1237" y="221"/>
                </a:cubicBezTo>
                <a:cubicBezTo>
                  <a:pt x="1235" y="220"/>
                  <a:pt x="1234" y="220"/>
                  <a:pt x="1232" y="220"/>
                </a:cubicBezTo>
                <a:cubicBezTo>
                  <a:pt x="1228" y="220"/>
                  <a:pt x="1224" y="221"/>
                  <a:pt x="1221" y="224"/>
                </a:cubicBezTo>
                <a:cubicBezTo>
                  <a:pt x="1218" y="227"/>
                  <a:pt x="1216" y="230"/>
                  <a:pt x="1214" y="234"/>
                </a:cubicBezTo>
                <a:cubicBezTo>
                  <a:pt x="1213" y="237"/>
                  <a:pt x="1212" y="241"/>
                  <a:pt x="1212" y="245"/>
                </a:cubicBezTo>
                <a:cubicBezTo>
                  <a:pt x="1212" y="250"/>
                  <a:pt x="1213" y="254"/>
                  <a:pt x="1215" y="257"/>
                </a:cubicBezTo>
                <a:cubicBezTo>
                  <a:pt x="1217" y="259"/>
                  <a:pt x="1220" y="261"/>
                  <a:pt x="1224" y="261"/>
                </a:cubicBezTo>
                <a:cubicBezTo>
                  <a:pt x="1227" y="261"/>
                  <a:pt x="1230" y="260"/>
                  <a:pt x="1232" y="259"/>
                </a:cubicBezTo>
                <a:cubicBezTo>
                  <a:pt x="1235" y="257"/>
                  <a:pt x="1236" y="256"/>
                  <a:pt x="1238" y="254"/>
                </a:cubicBezTo>
                <a:cubicBezTo>
                  <a:pt x="1236" y="252"/>
                  <a:pt x="1236" y="252"/>
                  <a:pt x="1236" y="252"/>
                </a:cubicBezTo>
                <a:cubicBezTo>
                  <a:pt x="1235" y="253"/>
                  <a:pt x="1233" y="254"/>
                  <a:pt x="1232" y="255"/>
                </a:cubicBezTo>
                <a:cubicBezTo>
                  <a:pt x="1230" y="256"/>
                  <a:pt x="1229" y="256"/>
                  <a:pt x="1227" y="256"/>
                </a:cubicBezTo>
                <a:cubicBezTo>
                  <a:pt x="1224" y="256"/>
                  <a:pt x="1222" y="255"/>
                  <a:pt x="1221" y="253"/>
                </a:cubicBezTo>
                <a:cubicBezTo>
                  <a:pt x="1220" y="251"/>
                  <a:pt x="1219" y="248"/>
                  <a:pt x="1219" y="244"/>
                </a:cubicBezTo>
                <a:cubicBezTo>
                  <a:pt x="1219" y="240"/>
                  <a:pt x="1219" y="237"/>
                  <a:pt x="1221" y="234"/>
                </a:cubicBezTo>
                <a:cubicBezTo>
                  <a:pt x="1222" y="231"/>
                  <a:pt x="1223" y="229"/>
                  <a:pt x="1225" y="227"/>
                </a:cubicBezTo>
                <a:cubicBezTo>
                  <a:pt x="1227" y="225"/>
                  <a:pt x="1229" y="225"/>
                  <a:pt x="1231" y="225"/>
                </a:cubicBezTo>
                <a:cubicBezTo>
                  <a:pt x="1232" y="225"/>
                  <a:pt x="1235" y="226"/>
                  <a:pt x="1237" y="228"/>
                </a:cubicBezTo>
                <a:close/>
                <a:moveTo>
                  <a:pt x="1255" y="254"/>
                </a:moveTo>
                <a:cubicBezTo>
                  <a:pt x="1260" y="221"/>
                  <a:pt x="1260" y="221"/>
                  <a:pt x="1260" y="221"/>
                </a:cubicBezTo>
                <a:cubicBezTo>
                  <a:pt x="1259" y="220"/>
                  <a:pt x="1259" y="220"/>
                  <a:pt x="1259" y="220"/>
                </a:cubicBezTo>
                <a:cubicBezTo>
                  <a:pt x="1249" y="222"/>
                  <a:pt x="1249" y="222"/>
                  <a:pt x="1249" y="222"/>
                </a:cubicBezTo>
                <a:cubicBezTo>
                  <a:pt x="1248" y="224"/>
                  <a:pt x="1248" y="224"/>
                  <a:pt x="1248" y="224"/>
                </a:cubicBezTo>
                <a:cubicBezTo>
                  <a:pt x="1253" y="226"/>
                  <a:pt x="1253" y="226"/>
                  <a:pt x="1253" y="226"/>
                </a:cubicBezTo>
                <a:cubicBezTo>
                  <a:pt x="1252" y="233"/>
                  <a:pt x="1251" y="239"/>
                  <a:pt x="1250" y="243"/>
                </a:cubicBezTo>
                <a:cubicBezTo>
                  <a:pt x="1249" y="251"/>
                  <a:pt x="1248" y="255"/>
                  <a:pt x="1248" y="256"/>
                </a:cubicBezTo>
                <a:cubicBezTo>
                  <a:pt x="1248" y="258"/>
                  <a:pt x="1249" y="259"/>
                  <a:pt x="1249" y="260"/>
                </a:cubicBezTo>
                <a:cubicBezTo>
                  <a:pt x="1250" y="260"/>
                  <a:pt x="1251" y="261"/>
                  <a:pt x="1253" y="261"/>
                </a:cubicBezTo>
                <a:cubicBezTo>
                  <a:pt x="1255" y="261"/>
                  <a:pt x="1256" y="260"/>
                  <a:pt x="1258" y="259"/>
                </a:cubicBezTo>
                <a:cubicBezTo>
                  <a:pt x="1259" y="258"/>
                  <a:pt x="1260" y="257"/>
                  <a:pt x="1261" y="256"/>
                </a:cubicBezTo>
                <a:cubicBezTo>
                  <a:pt x="1260" y="254"/>
                  <a:pt x="1260" y="254"/>
                  <a:pt x="1260" y="254"/>
                </a:cubicBezTo>
                <a:cubicBezTo>
                  <a:pt x="1259" y="255"/>
                  <a:pt x="1259" y="256"/>
                  <a:pt x="1258" y="256"/>
                </a:cubicBezTo>
                <a:cubicBezTo>
                  <a:pt x="1258" y="256"/>
                  <a:pt x="1257" y="256"/>
                  <a:pt x="1256" y="256"/>
                </a:cubicBezTo>
                <a:cubicBezTo>
                  <a:pt x="1256" y="256"/>
                  <a:pt x="1256" y="256"/>
                  <a:pt x="1256" y="256"/>
                </a:cubicBezTo>
                <a:cubicBezTo>
                  <a:pt x="1255" y="256"/>
                  <a:pt x="1255" y="255"/>
                  <a:pt x="1255" y="255"/>
                </a:cubicBezTo>
                <a:lnTo>
                  <a:pt x="1255" y="254"/>
                </a:lnTo>
                <a:close/>
                <a:moveTo>
                  <a:pt x="1258" y="213"/>
                </a:moveTo>
                <a:cubicBezTo>
                  <a:pt x="1259" y="213"/>
                  <a:pt x="1260" y="212"/>
                  <a:pt x="1261" y="211"/>
                </a:cubicBezTo>
                <a:cubicBezTo>
                  <a:pt x="1262" y="210"/>
                  <a:pt x="1262" y="209"/>
                  <a:pt x="1262" y="207"/>
                </a:cubicBezTo>
                <a:cubicBezTo>
                  <a:pt x="1262" y="206"/>
                  <a:pt x="1262" y="206"/>
                  <a:pt x="1261" y="205"/>
                </a:cubicBezTo>
                <a:cubicBezTo>
                  <a:pt x="1261" y="204"/>
                  <a:pt x="1260" y="204"/>
                  <a:pt x="1259" y="204"/>
                </a:cubicBezTo>
                <a:cubicBezTo>
                  <a:pt x="1257" y="204"/>
                  <a:pt x="1256" y="204"/>
                  <a:pt x="1255" y="205"/>
                </a:cubicBezTo>
                <a:cubicBezTo>
                  <a:pt x="1254" y="206"/>
                  <a:pt x="1254" y="207"/>
                  <a:pt x="1254" y="209"/>
                </a:cubicBezTo>
                <a:cubicBezTo>
                  <a:pt x="1254" y="210"/>
                  <a:pt x="1254" y="211"/>
                  <a:pt x="1255" y="212"/>
                </a:cubicBezTo>
                <a:cubicBezTo>
                  <a:pt x="1256" y="212"/>
                  <a:pt x="1257" y="213"/>
                  <a:pt x="1258" y="213"/>
                </a:cubicBezTo>
                <a:close/>
                <a:moveTo>
                  <a:pt x="1282" y="229"/>
                </a:moveTo>
                <a:cubicBezTo>
                  <a:pt x="1283" y="221"/>
                  <a:pt x="1283" y="221"/>
                  <a:pt x="1283" y="221"/>
                </a:cubicBezTo>
                <a:cubicBezTo>
                  <a:pt x="1281" y="220"/>
                  <a:pt x="1281" y="220"/>
                  <a:pt x="1281" y="220"/>
                </a:cubicBezTo>
                <a:cubicBezTo>
                  <a:pt x="1273" y="222"/>
                  <a:pt x="1273" y="222"/>
                  <a:pt x="1273" y="222"/>
                </a:cubicBezTo>
                <a:cubicBezTo>
                  <a:pt x="1272" y="224"/>
                  <a:pt x="1272" y="224"/>
                  <a:pt x="1272" y="224"/>
                </a:cubicBezTo>
                <a:cubicBezTo>
                  <a:pt x="1275" y="226"/>
                  <a:pt x="1275" y="226"/>
                  <a:pt x="1275" y="226"/>
                </a:cubicBezTo>
                <a:cubicBezTo>
                  <a:pt x="1271" y="260"/>
                  <a:pt x="1271" y="260"/>
                  <a:pt x="1271" y="260"/>
                </a:cubicBezTo>
                <a:cubicBezTo>
                  <a:pt x="1278" y="260"/>
                  <a:pt x="1278" y="260"/>
                  <a:pt x="1278" y="260"/>
                </a:cubicBezTo>
                <a:cubicBezTo>
                  <a:pt x="1281" y="235"/>
                  <a:pt x="1281" y="235"/>
                  <a:pt x="1281" y="235"/>
                </a:cubicBezTo>
                <a:cubicBezTo>
                  <a:pt x="1283" y="232"/>
                  <a:pt x="1285" y="230"/>
                  <a:pt x="1287" y="228"/>
                </a:cubicBezTo>
                <a:cubicBezTo>
                  <a:pt x="1289" y="226"/>
                  <a:pt x="1291" y="225"/>
                  <a:pt x="1293" y="225"/>
                </a:cubicBezTo>
                <a:cubicBezTo>
                  <a:pt x="1295" y="225"/>
                  <a:pt x="1296" y="226"/>
                  <a:pt x="1297" y="226"/>
                </a:cubicBezTo>
                <a:cubicBezTo>
                  <a:pt x="1297" y="227"/>
                  <a:pt x="1298" y="229"/>
                  <a:pt x="1298" y="231"/>
                </a:cubicBezTo>
                <a:cubicBezTo>
                  <a:pt x="1298" y="233"/>
                  <a:pt x="1297" y="234"/>
                  <a:pt x="1297" y="236"/>
                </a:cubicBezTo>
                <a:cubicBezTo>
                  <a:pt x="1297" y="238"/>
                  <a:pt x="1297" y="240"/>
                  <a:pt x="1296" y="243"/>
                </a:cubicBezTo>
                <a:cubicBezTo>
                  <a:pt x="1296" y="245"/>
                  <a:pt x="1296" y="245"/>
                  <a:pt x="1296" y="245"/>
                </a:cubicBezTo>
                <a:cubicBezTo>
                  <a:pt x="1295" y="248"/>
                  <a:pt x="1295" y="248"/>
                  <a:pt x="1295" y="248"/>
                </a:cubicBezTo>
                <a:cubicBezTo>
                  <a:pt x="1294" y="252"/>
                  <a:pt x="1294" y="255"/>
                  <a:pt x="1294" y="256"/>
                </a:cubicBezTo>
                <a:cubicBezTo>
                  <a:pt x="1294" y="259"/>
                  <a:pt x="1295" y="261"/>
                  <a:pt x="1298" y="261"/>
                </a:cubicBezTo>
                <a:cubicBezTo>
                  <a:pt x="1300" y="261"/>
                  <a:pt x="1301" y="260"/>
                  <a:pt x="1302" y="260"/>
                </a:cubicBezTo>
                <a:cubicBezTo>
                  <a:pt x="1303" y="259"/>
                  <a:pt x="1304" y="259"/>
                  <a:pt x="1305" y="258"/>
                </a:cubicBezTo>
                <a:cubicBezTo>
                  <a:pt x="1305" y="258"/>
                  <a:pt x="1306" y="257"/>
                  <a:pt x="1306" y="257"/>
                </a:cubicBezTo>
                <a:cubicBezTo>
                  <a:pt x="1305" y="255"/>
                  <a:pt x="1305" y="255"/>
                  <a:pt x="1305" y="255"/>
                </a:cubicBezTo>
                <a:cubicBezTo>
                  <a:pt x="1304" y="256"/>
                  <a:pt x="1303" y="256"/>
                  <a:pt x="1302" y="256"/>
                </a:cubicBezTo>
                <a:cubicBezTo>
                  <a:pt x="1301" y="256"/>
                  <a:pt x="1301" y="256"/>
                  <a:pt x="1301" y="255"/>
                </a:cubicBezTo>
                <a:cubicBezTo>
                  <a:pt x="1301" y="253"/>
                  <a:pt x="1301" y="250"/>
                  <a:pt x="1302" y="246"/>
                </a:cubicBezTo>
                <a:cubicBezTo>
                  <a:pt x="1303" y="243"/>
                  <a:pt x="1303" y="243"/>
                  <a:pt x="1303" y="243"/>
                </a:cubicBezTo>
                <a:cubicBezTo>
                  <a:pt x="1303" y="241"/>
                  <a:pt x="1303" y="241"/>
                  <a:pt x="1303" y="241"/>
                </a:cubicBezTo>
                <a:cubicBezTo>
                  <a:pt x="1304" y="236"/>
                  <a:pt x="1305" y="232"/>
                  <a:pt x="1305" y="230"/>
                </a:cubicBezTo>
                <a:cubicBezTo>
                  <a:pt x="1305" y="227"/>
                  <a:pt x="1304" y="224"/>
                  <a:pt x="1302" y="223"/>
                </a:cubicBezTo>
                <a:cubicBezTo>
                  <a:pt x="1301" y="221"/>
                  <a:pt x="1299" y="220"/>
                  <a:pt x="1296" y="220"/>
                </a:cubicBezTo>
                <a:cubicBezTo>
                  <a:pt x="1294" y="220"/>
                  <a:pt x="1291" y="221"/>
                  <a:pt x="1289" y="223"/>
                </a:cubicBezTo>
                <a:cubicBezTo>
                  <a:pt x="1286" y="224"/>
                  <a:pt x="1284" y="227"/>
                  <a:pt x="1282" y="229"/>
                </a:cubicBezTo>
                <a:close/>
                <a:moveTo>
                  <a:pt x="1342" y="253"/>
                </a:moveTo>
                <a:cubicBezTo>
                  <a:pt x="1340" y="251"/>
                  <a:pt x="1340" y="251"/>
                  <a:pt x="1340" y="251"/>
                </a:cubicBezTo>
                <a:cubicBezTo>
                  <a:pt x="1339" y="253"/>
                  <a:pt x="1337" y="254"/>
                  <a:pt x="1335" y="255"/>
                </a:cubicBezTo>
                <a:cubicBezTo>
                  <a:pt x="1333" y="256"/>
                  <a:pt x="1331" y="256"/>
                  <a:pt x="1329" y="256"/>
                </a:cubicBezTo>
                <a:cubicBezTo>
                  <a:pt x="1326" y="256"/>
                  <a:pt x="1323" y="255"/>
                  <a:pt x="1322" y="253"/>
                </a:cubicBezTo>
                <a:cubicBezTo>
                  <a:pt x="1321" y="250"/>
                  <a:pt x="1320" y="247"/>
                  <a:pt x="1320" y="244"/>
                </a:cubicBezTo>
                <a:cubicBezTo>
                  <a:pt x="1323" y="244"/>
                  <a:pt x="1327" y="244"/>
                  <a:pt x="1330" y="242"/>
                </a:cubicBezTo>
                <a:cubicBezTo>
                  <a:pt x="1334" y="241"/>
                  <a:pt x="1337" y="240"/>
                  <a:pt x="1340" y="237"/>
                </a:cubicBezTo>
                <a:cubicBezTo>
                  <a:pt x="1342" y="235"/>
                  <a:pt x="1344" y="232"/>
                  <a:pt x="1344" y="229"/>
                </a:cubicBezTo>
                <a:cubicBezTo>
                  <a:pt x="1344" y="226"/>
                  <a:pt x="1343" y="224"/>
                  <a:pt x="1341" y="223"/>
                </a:cubicBezTo>
                <a:cubicBezTo>
                  <a:pt x="1340" y="221"/>
                  <a:pt x="1337" y="220"/>
                  <a:pt x="1334" y="220"/>
                </a:cubicBezTo>
                <a:cubicBezTo>
                  <a:pt x="1330" y="220"/>
                  <a:pt x="1326" y="221"/>
                  <a:pt x="1323" y="224"/>
                </a:cubicBezTo>
                <a:cubicBezTo>
                  <a:pt x="1320" y="226"/>
                  <a:pt x="1318" y="229"/>
                  <a:pt x="1316" y="233"/>
                </a:cubicBezTo>
                <a:cubicBezTo>
                  <a:pt x="1314" y="237"/>
                  <a:pt x="1313" y="241"/>
                  <a:pt x="1313" y="246"/>
                </a:cubicBezTo>
                <a:cubicBezTo>
                  <a:pt x="1313" y="248"/>
                  <a:pt x="1314" y="251"/>
                  <a:pt x="1315" y="253"/>
                </a:cubicBezTo>
                <a:cubicBezTo>
                  <a:pt x="1316" y="255"/>
                  <a:pt x="1317" y="257"/>
                  <a:pt x="1319" y="259"/>
                </a:cubicBezTo>
                <a:cubicBezTo>
                  <a:pt x="1321" y="260"/>
                  <a:pt x="1324" y="261"/>
                  <a:pt x="1327" y="261"/>
                </a:cubicBezTo>
                <a:cubicBezTo>
                  <a:pt x="1330" y="261"/>
                  <a:pt x="1333" y="260"/>
                  <a:pt x="1336" y="258"/>
                </a:cubicBezTo>
                <a:cubicBezTo>
                  <a:pt x="1339" y="257"/>
                  <a:pt x="1341" y="255"/>
                  <a:pt x="1342" y="253"/>
                </a:cubicBezTo>
                <a:close/>
                <a:moveTo>
                  <a:pt x="1332" y="224"/>
                </a:moveTo>
                <a:cubicBezTo>
                  <a:pt x="1334" y="224"/>
                  <a:pt x="1335" y="224"/>
                  <a:pt x="1336" y="225"/>
                </a:cubicBezTo>
                <a:cubicBezTo>
                  <a:pt x="1337" y="226"/>
                  <a:pt x="1337" y="228"/>
                  <a:pt x="1337" y="229"/>
                </a:cubicBezTo>
                <a:cubicBezTo>
                  <a:pt x="1337" y="232"/>
                  <a:pt x="1336" y="234"/>
                  <a:pt x="1334" y="235"/>
                </a:cubicBezTo>
                <a:cubicBezTo>
                  <a:pt x="1333" y="237"/>
                  <a:pt x="1331" y="238"/>
                  <a:pt x="1328" y="239"/>
                </a:cubicBezTo>
                <a:cubicBezTo>
                  <a:pt x="1325" y="240"/>
                  <a:pt x="1323" y="241"/>
                  <a:pt x="1321" y="241"/>
                </a:cubicBezTo>
                <a:cubicBezTo>
                  <a:pt x="1321" y="238"/>
                  <a:pt x="1321" y="236"/>
                  <a:pt x="1322" y="233"/>
                </a:cubicBezTo>
                <a:cubicBezTo>
                  <a:pt x="1323" y="230"/>
                  <a:pt x="1325" y="228"/>
                  <a:pt x="1326" y="226"/>
                </a:cubicBezTo>
                <a:cubicBezTo>
                  <a:pt x="1328" y="225"/>
                  <a:pt x="1330" y="224"/>
                  <a:pt x="1332" y="224"/>
                </a:cubicBezTo>
                <a:close/>
              </a:path>
            </a:pathLst>
          </a:custGeom>
          <a:solidFill>
            <a:schemeClr val="bg1"/>
          </a:solidFill>
          <a:ln>
            <a:noFill/>
          </a:ln>
        </p:spPr>
        <p:txBody>
          <a:bodyPr vert="horz" wrap="square" lIns="121920" tIns="60960" rIns="121920" bIns="60960" numCol="1" anchor="t" anchorCtr="0" compatLnSpc="1">
            <a:prstTxWarp prst="textNoShape">
              <a:avLst/>
            </a:prstTxWarp>
          </a:bodyPr>
          <a:lstStyle/>
          <a:p>
            <a:endParaRPr lang="en-US" sz="2400"/>
          </a:p>
        </p:txBody>
      </p:sp>
    </p:spTree>
    <p:extLst>
      <p:ext uri="{BB962C8B-B14F-4D97-AF65-F5344CB8AC3E}">
        <p14:creationId xmlns:p14="http://schemas.microsoft.com/office/powerpoint/2010/main" val="1966900134"/>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Slide Number Placeholder 4"/>
          <p:cNvSpPr>
            <a:spLocks noGrp="1"/>
          </p:cNvSpPr>
          <p:nvPr>
            <p:ph type="sldNum" sz="quarter" idx="12"/>
          </p:nvPr>
        </p:nvSpPr>
        <p:spPr/>
        <p:txBody>
          <a:bodyPr/>
          <a:lstStyle/>
          <a:p>
            <a:fld id="{2F687C33-47E0-407C-B61F-DB8DDD78F4C7}" type="slidenum">
              <a:rPr lang="en-US" smtClean="0"/>
              <a:t>‹#›</a:t>
            </a:fld>
            <a:endParaRPr lang="en-US"/>
          </a:p>
        </p:txBody>
      </p:sp>
    </p:spTree>
    <p:extLst>
      <p:ext uri="{BB962C8B-B14F-4D97-AF65-F5344CB8AC3E}">
        <p14:creationId xmlns:p14="http://schemas.microsoft.com/office/powerpoint/2010/main" val="729047381"/>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type="titleOnly" preserve="1">
  <p:cSld name="Title Only w/background">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9AE72A0D-A561-46A7-9B20-91BB8490087A}"/>
              </a:ext>
            </a:extLst>
          </p:cNvPr>
          <p:cNvSpPr/>
          <p:nvPr/>
        </p:nvSpPr>
        <p:spPr>
          <a:xfrm>
            <a:off x="0" y="1"/>
            <a:ext cx="12192000" cy="6246524"/>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2" name="Title 1"/>
          <p:cNvSpPr>
            <a:spLocks noGrp="1"/>
          </p:cNvSpPr>
          <p:nvPr>
            <p:ph type="title"/>
          </p:nvPr>
        </p:nvSpPr>
        <p:spPr/>
        <p:txBody>
          <a:bodyPr/>
          <a:lstStyle/>
          <a:p>
            <a:r>
              <a:rPr lang="en-US"/>
              <a:t>Click to edit Master title style</a:t>
            </a:r>
          </a:p>
        </p:txBody>
      </p:sp>
      <p:sp>
        <p:nvSpPr>
          <p:cNvPr id="5" name="Slide Number Placeholder 4"/>
          <p:cNvSpPr>
            <a:spLocks noGrp="1"/>
          </p:cNvSpPr>
          <p:nvPr>
            <p:ph type="sldNum" sz="quarter" idx="12"/>
          </p:nvPr>
        </p:nvSpPr>
        <p:spPr/>
        <p:txBody>
          <a:bodyPr/>
          <a:lstStyle/>
          <a:p>
            <a:fld id="{2F687C33-47E0-407C-B61F-DB8DDD78F4C7}" type="slidenum">
              <a:rPr lang="en-US" smtClean="0"/>
              <a:t>‹#›</a:t>
            </a:fld>
            <a:endParaRPr lang="en-US"/>
          </a:p>
        </p:txBody>
      </p:sp>
      <p:sp>
        <p:nvSpPr>
          <p:cNvPr id="11" name="Freeform 5">
            <a:extLst>
              <a:ext uri="{FF2B5EF4-FFF2-40B4-BE49-F238E27FC236}">
                <a16:creationId xmlns:a16="http://schemas.microsoft.com/office/drawing/2014/main" id="{3E27C736-095E-4C51-9197-AD588C450B8D}"/>
              </a:ext>
            </a:extLst>
          </p:cNvPr>
          <p:cNvSpPr>
            <a:spLocks noEditPoints="1"/>
          </p:cNvSpPr>
          <p:nvPr/>
        </p:nvSpPr>
        <p:spPr bwMode="auto">
          <a:xfrm>
            <a:off x="725855" y="6393957"/>
            <a:ext cx="1669365" cy="312609"/>
          </a:xfrm>
          <a:custGeom>
            <a:avLst/>
            <a:gdLst>
              <a:gd name="T0" fmla="*/ 225 w 1440"/>
              <a:gd name="T1" fmla="*/ 110 h 267"/>
              <a:gd name="T2" fmla="*/ 317 w 1440"/>
              <a:gd name="T3" fmla="*/ 7 h 267"/>
              <a:gd name="T4" fmla="*/ 475 w 1440"/>
              <a:gd name="T5" fmla="*/ 19 h 267"/>
              <a:gd name="T6" fmla="*/ 830 w 1440"/>
              <a:gd name="T7" fmla="*/ 7 h 267"/>
              <a:gd name="T8" fmla="*/ 130 w 1440"/>
              <a:gd name="T9" fmla="*/ 210 h 267"/>
              <a:gd name="T10" fmla="*/ 437 w 1440"/>
              <a:gd name="T11" fmla="*/ 209 h 267"/>
              <a:gd name="T12" fmla="*/ 493 w 1440"/>
              <a:gd name="T13" fmla="*/ 198 h 267"/>
              <a:gd name="T14" fmla="*/ 866 w 1440"/>
              <a:gd name="T15" fmla="*/ 171 h 267"/>
              <a:gd name="T16" fmla="*/ 737 w 1440"/>
              <a:gd name="T17" fmla="*/ 261 h 267"/>
              <a:gd name="T18" fmla="*/ 958 w 1440"/>
              <a:gd name="T19" fmla="*/ 172 h 267"/>
              <a:gd name="T20" fmla="*/ 906 w 1440"/>
              <a:gd name="T21" fmla="*/ 254 h 267"/>
              <a:gd name="T22" fmla="*/ 309 w 1440"/>
              <a:gd name="T23" fmla="*/ 260 h 267"/>
              <a:gd name="T24" fmla="*/ 1053 w 1440"/>
              <a:gd name="T25" fmla="*/ 31 h 267"/>
              <a:gd name="T26" fmla="*/ 1075 w 1440"/>
              <a:gd name="T27" fmla="*/ 44 h 267"/>
              <a:gd name="T28" fmla="*/ 1091 w 1440"/>
              <a:gd name="T29" fmla="*/ 22 h 267"/>
              <a:gd name="T30" fmla="*/ 1107 w 1440"/>
              <a:gd name="T31" fmla="*/ 27 h 267"/>
              <a:gd name="T32" fmla="*/ 1125 w 1440"/>
              <a:gd name="T33" fmla="*/ 55 h 267"/>
              <a:gd name="T34" fmla="*/ 1159 w 1440"/>
              <a:gd name="T35" fmla="*/ 53 h 267"/>
              <a:gd name="T36" fmla="*/ 1160 w 1440"/>
              <a:gd name="T37" fmla="*/ 57 h 267"/>
              <a:gd name="T38" fmla="*/ 1177 w 1440"/>
              <a:gd name="T39" fmla="*/ 23 h 267"/>
              <a:gd name="T40" fmla="*/ 1207 w 1440"/>
              <a:gd name="T41" fmla="*/ 58 h 267"/>
              <a:gd name="T42" fmla="*/ 1245 w 1440"/>
              <a:gd name="T43" fmla="*/ 27 h 267"/>
              <a:gd name="T44" fmla="*/ 1225 w 1440"/>
              <a:gd name="T45" fmla="*/ 43 h 267"/>
              <a:gd name="T46" fmla="*/ 1271 w 1440"/>
              <a:gd name="T47" fmla="*/ 19 h 267"/>
              <a:gd name="T48" fmla="*/ 1259 w 1440"/>
              <a:gd name="T49" fmla="*/ 32 h 267"/>
              <a:gd name="T50" fmla="*/ 1290 w 1440"/>
              <a:gd name="T51" fmla="*/ 54 h 267"/>
              <a:gd name="T52" fmla="*/ 1310 w 1440"/>
              <a:gd name="T53" fmla="*/ 25 h 267"/>
              <a:gd name="T54" fmla="*/ 1059 w 1440"/>
              <a:gd name="T55" fmla="*/ 110 h 267"/>
              <a:gd name="T56" fmla="*/ 1099 w 1440"/>
              <a:gd name="T57" fmla="*/ 134 h 267"/>
              <a:gd name="T58" fmla="*/ 1120 w 1440"/>
              <a:gd name="T59" fmla="*/ 156 h 267"/>
              <a:gd name="T60" fmla="*/ 1141 w 1440"/>
              <a:gd name="T61" fmla="*/ 123 h 267"/>
              <a:gd name="T62" fmla="*/ 1148 w 1440"/>
              <a:gd name="T63" fmla="*/ 175 h 267"/>
              <a:gd name="T64" fmla="*/ 1184 w 1440"/>
              <a:gd name="T65" fmla="*/ 119 h 267"/>
              <a:gd name="T66" fmla="*/ 1181 w 1440"/>
              <a:gd name="T67" fmla="*/ 153 h 267"/>
              <a:gd name="T68" fmla="*/ 1201 w 1440"/>
              <a:gd name="T69" fmla="*/ 125 h 267"/>
              <a:gd name="T70" fmla="*/ 1230 w 1440"/>
              <a:gd name="T71" fmla="*/ 157 h 267"/>
              <a:gd name="T72" fmla="*/ 1260 w 1440"/>
              <a:gd name="T73" fmla="*/ 154 h 267"/>
              <a:gd name="T74" fmla="*/ 1261 w 1440"/>
              <a:gd name="T75" fmla="*/ 158 h 267"/>
              <a:gd name="T76" fmla="*/ 1284 w 1440"/>
              <a:gd name="T77" fmla="*/ 152 h 267"/>
              <a:gd name="T78" fmla="*/ 1294 w 1440"/>
              <a:gd name="T79" fmla="*/ 123 h 267"/>
              <a:gd name="T80" fmla="*/ 1317 w 1440"/>
              <a:gd name="T81" fmla="*/ 125 h 267"/>
              <a:gd name="T82" fmla="*/ 1342 w 1440"/>
              <a:gd name="T83" fmla="*/ 121 h 267"/>
              <a:gd name="T84" fmla="*/ 1351 w 1440"/>
              <a:gd name="T85" fmla="*/ 112 h 267"/>
              <a:gd name="T86" fmla="*/ 1364 w 1440"/>
              <a:gd name="T87" fmla="*/ 159 h 267"/>
              <a:gd name="T88" fmla="*/ 1399 w 1440"/>
              <a:gd name="T89" fmla="*/ 156 h 267"/>
              <a:gd name="T90" fmla="*/ 1432 w 1440"/>
              <a:gd name="T91" fmla="*/ 120 h 267"/>
              <a:gd name="T92" fmla="*/ 1410 w 1440"/>
              <a:gd name="T93" fmla="*/ 176 h 267"/>
              <a:gd name="T94" fmla="*/ 1076 w 1440"/>
              <a:gd name="T95" fmla="*/ 242 h 267"/>
              <a:gd name="T96" fmla="*/ 1062 w 1440"/>
              <a:gd name="T97" fmla="*/ 225 h 267"/>
              <a:gd name="T98" fmla="*/ 1091 w 1440"/>
              <a:gd name="T99" fmla="*/ 208 h 267"/>
              <a:gd name="T100" fmla="*/ 1112 w 1440"/>
              <a:gd name="T101" fmla="*/ 233 h 267"/>
              <a:gd name="T102" fmla="*/ 1128 w 1440"/>
              <a:gd name="T103" fmla="*/ 224 h 267"/>
              <a:gd name="T104" fmla="*/ 1168 w 1440"/>
              <a:gd name="T105" fmla="*/ 255 h 267"/>
              <a:gd name="T106" fmla="*/ 1154 w 1440"/>
              <a:gd name="T107" fmla="*/ 236 h 267"/>
              <a:gd name="T108" fmla="*/ 1203 w 1440"/>
              <a:gd name="T109" fmla="*/ 256 h 267"/>
              <a:gd name="T110" fmla="*/ 1200 w 1440"/>
              <a:gd name="T111" fmla="*/ 213 h 267"/>
              <a:gd name="T112" fmla="*/ 1227 w 1440"/>
              <a:gd name="T113" fmla="*/ 256 h 267"/>
              <a:gd name="T114" fmla="*/ 1249 w 1440"/>
              <a:gd name="T115" fmla="*/ 260 h 267"/>
              <a:gd name="T116" fmla="*/ 1255 w 1440"/>
              <a:gd name="T117" fmla="*/ 205 h 267"/>
              <a:gd name="T118" fmla="*/ 1297 w 1440"/>
              <a:gd name="T119" fmla="*/ 226 h 267"/>
              <a:gd name="T120" fmla="*/ 1303 w 1440"/>
              <a:gd name="T121" fmla="*/ 243 h 267"/>
              <a:gd name="T122" fmla="*/ 1344 w 1440"/>
              <a:gd name="T123" fmla="*/ 229 h 267"/>
              <a:gd name="T124" fmla="*/ 1328 w 1440"/>
              <a:gd name="T125" fmla="*/ 239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440" h="267">
                <a:moveTo>
                  <a:pt x="17" y="110"/>
                </a:moveTo>
                <a:cubicBezTo>
                  <a:pt x="3" y="110"/>
                  <a:pt x="3" y="110"/>
                  <a:pt x="3" y="110"/>
                </a:cubicBezTo>
                <a:cubicBezTo>
                  <a:pt x="3" y="1"/>
                  <a:pt x="3" y="1"/>
                  <a:pt x="3" y="1"/>
                </a:cubicBezTo>
                <a:cubicBezTo>
                  <a:pt x="81" y="83"/>
                  <a:pt x="81" y="83"/>
                  <a:pt x="81" y="83"/>
                </a:cubicBezTo>
                <a:cubicBezTo>
                  <a:pt x="81" y="7"/>
                  <a:pt x="81" y="7"/>
                  <a:pt x="81" y="7"/>
                </a:cubicBezTo>
                <a:cubicBezTo>
                  <a:pt x="95" y="7"/>
                  <a:pt x="95" y="7"/>
                  <a:pt x="95" y="7"/>
                </a:cubicBezTo>
                <a:cubicBezTo>
                  <a:pt x="95" y="117"/>
                  <a:pt x="95" y="117"/>
                  <a:pt x="95" y="117"/>
                </a:cubicBezTo>
                <a:cubicBezTo>
                  <a:pt x="17" y="35"/>
                  <a:pt x="17" y="35"/>
                  <a:pt x="17" y="35"/>
                </a:cubicBezTo>
                <a:lnTo>
                  <a:pt x="17" y="110"/>
                </a:lnTo>
                <a:close/>
                <a:moveTo>
                  <a:pt x="130" y="110"/>
                </a:moveTo>
                <a:cubicBezTo>
                  <a:pt x="145" y="110"/>
                  <a:pt x="145" y="110"/>
                  <a:pt x="145" y="110"/>
                </a:cubicBezTo>
                <a:cubicBezTo>
                  <a:pt x="178" y="33"/>
                  <a:pt x="178" y="33"/>
                  <a:pt x="178" y="33"/>
                </a:cubicBezTo>
                <a:cubicBezTo>
                  <a:pt x="210" y="109"/>
                  <a:pt x="210" y="109"/>
                  <a:pt x="210" y="109"/>
                </a:cubicBezTo>
                <a:cubicBezTo>
                  <a:pt x="210" y="110"/>
                  <a:pt x="210" y="110"/>
                  <a:pt x="210" y="110"/>
                </a:cubicBezTo>
                <a:cubicBezTo>
                  <a:pt x="225" y="110"/>
                  <a:pt x="225" y="110"/>
                  <a:pt x="225" y="110"/>
                </a:cubicBezTo>
                <a:cubicBezTo>
                  <a:pt x="178" y="0"/>
                  <a:pt x="178" y="0"/>
                  <a:pt x="178" y="0"/>
                </a:cubicBezTo>
                <a:lnTo>
                  <a:pt x="130" y="110"/>
                </a:lnTo>
                <a:close/>
                <a:moveTo>
                  <a:pt x="700" y="110"/>
                </a:moveTo>
                <a:cubicBezTo>
                  <a:pt x="715" y="110"/>
                  <a:pt x="715" y="110"/>
                  <a:pt x="715" y="110"/>
                </a:cubicBezTo>
                <a:cubicBezTo>
                  <a:pt x="748" y="33"/>
                  <a:pt x="748" y="33"/>
                  <a:pt x="748" y="33"/>
                </a:cubicBezTo>
                <a:cubicBezTo>
                  <a:pt x="780" y="109"/>
                  <a:pt x="780" y="109"/>
                  <a:pt x="780" y="109"/>
                </a:cubicBezTo>
                <a:cubicBezTo>
                  <a:pt x="780" y="110"/>
                  <a:pt x="780" y="110"/>
                  <a:pt x="780" y="110"/>
                </a:cubicBezTo>
                <a:cubicBezTo>
                  <a:pt x="795" y="110"/>
                  <a:pt x="795" y="110"/>
                  <a:pt x="795" y="110"/>
                </a:cubicBezTo>
                <a:cubicBezTo>
                  <a:pt x="748" y="0"/>
                  <a:pt x="748" y="0"/>
                  <a:pt x="748" y="0"/>
                </a:cubicBezTo>
                <a:lnTo>
                  <a:pt x="700" y="110"/>
                </a:lnTo>
                <a:close/>
                <a:moveTo>
                  <a:pt x="273" y="110"/>
                </a:moveTo>
                <a:cubicBezTo>
                  <a:pt x="286" y="110"/>
                  <a:pt x="286" y="110"/>
                  <a:pt x="286" y="110"/>
                </a:cubicBezTo>
                <a:cubicBezTo>
                  <a:pt x="286" y="20"/>
                  <a:pt x="286" y="20"/>
                  <a:pt x="286" y="20"/>
                </a:cubicBezTo>
                <a:cubicBezTo>
                  <a:pt x="317" y="20"/>
                  <a:pt x="317" y="20"/>
                  <a:pt x="317" y="20"/>
                </a:cubicBezTo>
                <a:cubicBezTo>
                  <a:pt x="317" y="7"/>
                  <a:pt x="317" y="7"/>
                  <a:pt x="317" y="7"/>
                </a:cubicBezTo>
                <a:cubicBezTo>
                  <a:pt x="242" y="7"/>
                  <a:pt x="242" y="7"/>
                  <a:pt x="242" y="7"/>
                </a:cubicBezTo>
                <a:cubicBezTo>
                  <a:pt x="242" y="20"/>
                  <a:pt x="242" y="20"/>
                  <a:pt x="242" y="20"/>
                </a:cubicBezTo>
                <a:cubicBezTo>
                  <a:pt x="273" y="20"/>
                  <a:pt x="273" y="20"/>
                  <a:pt x="273" y="20"/>
                </a:cubicBezTo>
                <a:lnTo>
                  <a:pt x="273" y="110"/>
                </a:lnTo>
                <a:close/>
                <a:moveTo>
                  <a:pt x="374" y="7"/>
                </a:moveTo>
                <a:cubicBezTo>
                  <a:pt x="360" y="7"/>
                  <a:pt x="360" y="7"/>
                  <a:pt x="360" y="7"/>
                </a:cubicBezTo>
                <a:cubicBezTo>
                  <a:pt x="360" y="110"/>
                  <a:pt x="360" y="110"/>
                  <a:pt x="360" y="110"/>
                </a:cubicBezTo>
                <a:cubicBezTo>
                  <a:pt x="374" y="110"/>
                  <a:pt x="374" y="110"/>
                  <a:pt x="374" y="110"/>
                </a:cubicBezTo>
                <a:lnTo>
                  <a:pt x="374" y="7"/>
                </a:lnTo>
                <a:close/>
                <a:moveTo>
                  <a:pt x="475" y="112"/>
                </a:moveTo>
                <a:cubicBezTo>
                  <a:pt x="445" y="112"/>
                  <a:pt x="421" y="88"/>
                  <a:pt x="421" y="59"/>
                </a:cubicBezTo>
                <a:cubicBezTo>
                  <a:pt x="421" y="29"/>
                  <a:pt x="445" y="5"/>
                  <a:pt x="475" y="5"/>
                </a:cubicBezTo>
                <a:cubicBezTo>
                  <a:pt x="505" y="5"/>
                  <a:pt x="528" y="29"/>
                  <a:pt x="528" y="59"/>
                </a:cubicBezTo>
                <a:cubicBezTo>
                  <a:pt x="528" y="88"/>
                  <a:pt x="505" y="112"/>
                  <a:pt x="475" y="112"/>
                </a:cubicBezTo>
                <a:close/>
                <a:moveTo>
                  <a:pt x="475" y="19"/>
                </a:moveTo>
                <a:cubicBezTo>
                  <a:pt x="453" y="19"/>
                  <a:pt x="435" y="37"/>
                  <a:pt x="435" y="59"/>
                </a:cubicBezTo>
                <a:cubicBezTo>
                  <a:pt x="435" y="81"/>
                  <a:pt x="453" y="99"/>
                  <a:pt x="475" y="99"/>
                </a:cubicBezTo>
                <a:cubicBezTo>
                  <a:pt x="497" y="99"/>
                  <a:pt x="514" y="81"/>
                  <a:pt x="514" y="59"/>
                </a:cubicBezTo>
                <a:cubicBezTo>
                  <a:pt x="514" y="37"/>
                  <a:pt x="497" y="19"/>
                  <a:pt x="475" y="19"/>
                </a:cubicBezTo>
                <a:close/>
                <a:moveTo>
                  <a:pt x="586" y="35"/>
                </a:moveTo>
                <a:cubicBezTo>
                  <a:pt x="664" y="117"/>
                  <a:pt x="664" y="117"/>
                  <a:pt x="664" y="117"/>
                </a:cubicBezTo>
                <a:cubicBezTo>
                  <a:pt x="664" y="7"/>
                  <a:pt x="664" y="7"/>
                  <a:pt x="664" y="7"/>
                </a:cubicBezTo>
                <a:cubicBezTo>
                  <a:pt x="650" y="7"/>
                  <a:pt x="650" y="7"/>
                  <a:pt x="650" y="7"/>
                </a:cubicBezTo>
                <a:cubicBezTo>
                  <a:pt x="650" y="83"/>
                  <a:pt x="650" y="83"/>
                  <a:pt x="650" y="83"/>
                </a:cubicBezTo>
                <a:cubicBezTo>
                  <a:pt x="572" y="1"/>
                  <a:pt x="572" y="1"/>
                  <a:pt x="572" y="1"/>
                </a:cubicBezTo>
                <a:cubicBezTo>
                  <a:pt x="572" y="110"/>
                  <a:pt x="572" y="110"/>
                  <a:pt x="572" y="110"/>
                </a:cubicBezTo>
                <a:cubicBezTo>
                  <a:pt x="586" y="110"/>
                  <a:pt x="586" y="110"/>
                  <a:pt x="586" y="110"/>
                </a:cubicBezTo>
                <a:lnTo>
                  <a:pt x="586" y="35"/>
                </a:lnTo>
                <a:close/>
                <a:moveTo>
                  <a:pt x="843" y="7"/>
                </a:moveTo>
                <a:cubicBezTo>
                  <a:pt x="830" y="7"/>
                  <a:pt x="830" y="7"/>
                  <a:pt x="830" y="7"/>
                </a:cubicBezTo>
                <a:cubicBezTo>
                  <a:pt x="830" y="110"/>
                  <a:pt x="830" y="110"/>
                  <a:pt x="830" y="110"/>
                </a:cubicBezTo>
                <a:cubicBezTo>
                  <a:pt x="885" y="110"/>
                  <a:pt x="885" y="110"/>
                  <a:pt x="885" y="110"/>
                </a:cubicBezTo>
                <a:cubicBezTo>
                  <a:pt x="885" y="97"/>
                  <a:pt x="885" y="97"/>
                  <a:pt x="885" y="97"/>
                </a:cubicBezTo>
                <a:cubicBezTo>
                  <a:pt x="843" y="97"/>
                  <a:pt x="843" y="97"/>
                  <a:pt x="843" y="97"/>
                </a:cubicBezTo>
                <a:lnTo>
                  <a:pt x="843" y="7"/>
                </a:lnTo>
                <a:close/>
                <a:moveTo>
                  <a:pt x="169" y="156"/>
                </a:moveTo>
                <a:cubicBezTo>
                  <a:pt x="139" y="156"/>
                  <a:pt x="116" y="179"/>
                  <a:pt x="116" y="209"/>
                </a:cubicBezTo>
                <a:cubicBezTo>
                  <a:pt x="116" y="240"/>
                  <a:pt x="139" y="262"/>
                  <a:pt x="169" y="262"/>
                </a:cubicBezTo>
                <a:cubicBezTo>
                  <a:pt x="175" y="262"/>
                  <a:pt x="188" y="261"/>
                  <a:pt x="200" y="252"/>
                </a:cubicBezTo>
                <a:cubicBezTo>
                  <a:pt x="200" y="252"/>
                  <a:pt x="200" y="252"/>
                  <a:pt x="200" y="252"/>
                </a:cubicBezTo>
                <a:cubicBezTo>
                  <a:pt x="200" y="234"/>
                  <a:pt x="200" y="234"/>
                  <a:pt x="200" y="234"/>
                </a:cubicBezTo>
                <a:cubicBezTo>
                  <a:pt x="198" y="236"/>
                  <a:pt x="198" y="236"/>
                  <a:pt x="198" y="236"/>
                </a:cubicBezTo>
                <a:cubicBezTo>
                  <a:pt x="196" y="239"/>
                  <a:pt x="192" y="242"/>
                  <a:pt x="187" y="245"/>
                </a:cubicBezTo>
                <a:cubicBezTo>
                  <a:pt x="181" y="247"/>
                  <a:pt x="175" y="249"/>
                  <a:pt x="169" y="249"/>
                </a:cubicBezTo>
                <a:cubicBezTo>
                  <a:pt x="142" y="249"/>
                  <a:pt x="130" y="226"/>
                  <a:pt x="130" y="210"/>
                </a:cubicBezTo>
                <a:cubicBezTo>
                  <a:pt x="130" y="187"/>
                  <a:pt x="147" y="169"/>
                  <a:pt x="169" y="169"/>
                </a:cubicBezTo>
                <a:cubicBezTo>
                  <a:pt x="174" y="169"/>
                  <a:pt x="180" y="170"/>
                  <a:pt x="185" y="173"/>
                </a:cubicBezTo>
                <a:cubicBezTo>
                  <a:pt x="190" y="175"/>
                  <a:pt x="194" y="178"/>
                  <a:pt x="198" y="182"/>
                </a:cubicBezTo>
                <a:cubicBezTo>
                  <a:pt x="200" y="184"/>
                  <a:pt x="200" y="184"/>
                  <a:pt x="200" y="184"/>
                </a:cubicBezTo>
                <a:cubicBezTo>
                  <a:pt x="200" y="166"/>
                  <a:pt x="200" y="166"/>
                  <a:pt x="200" y="166"/>
                </a:cubicBezTo>
                <a:cubicBezTo>
                  <a:pt x="200" y="166"/>
                  <a:pt x="200" y="166"/>
                  <a:pt x="200" y="166"/>
                </a:cubicBezTo>
                <a:cubicBezTo>
                  <a:pt x="191" y="159"/>
                  <a:pt x="181" y="156"/>
                  <a:pt x="169" y="156"/>
                </a:cubicBezTo>
                <a:close/>
                <a:moveTo>
                  <a:pt x="437" y="209"/>
                </a:moveTo>
                <a:cubicBezTo>
                  <a:pt x="437" y="225"/>
                  <a:pt x="431" y="238"/>
                  <a:pt x="419" y="249"/>
                </a:cubicBezTo>
                <a:cubicBezTo>
                  <a:pt x="409" y="257"/>
                  <a:pt x="399" y="261"/>
                  <a:pt x="382" y="261"/>
                </a:cubicBezTo>
                <a:cubicBezTo>
                  <a:pt x="360" y="261"/>
                  <a:pt x="360" y="261"/>
                  <a:pt x="360" y="261"/>
                </a:cubicBezTo>
                <a:cubicBezTo>
                  <a:pt x="360" y="157"/>
                  <a:pt x="360" y="157"/>
                  <a:pt x="360" y="157"/>
                </a:cubicBezTo>
                <a:cubicBezTo>
                  <a:pt x="382" y="157"/>
                  <a:pt x="382" y="157"/>
                  <a:pt x="382" y="157"/>
                </a:cubicBezTo>
                <a:cubicBezTo>
                  <a:pt x="393" y="157"/>
                  <a:pt x="407" y="159"/>
                  <a:pt x="420" y="170"/>
                </a:cubicBezTo>
                <a:cubicBezTo>
                  <a:pt x="426" y="175"/>
                  <a:pt x="437" y="187"/>
                  <a:pt x="437" y="209"/>
                </a:cubicBezTo>
                <a:close/>
                <a:moveTo>
                  <a:pt x="423" y="209"/>
                </a:moveTo>
                <a:cubicBezTo>
                  <a:pt x="423" y="186"/>
                  <a:pt x="407" y="171"/>
                  <a:pt x="382" y="171"/>
                </a:cubicBezTo>
                <a:cubicBezTo>
                  <a:pt x="374" y="171"/>
                  <a:pt x="374" y="171"/>
                  <a:pt x="374" y="171"/>
                </a:cubicBezTo>
                <a:cubicBezTo>
                  <a:pt x="374" y="247"/>
                  <a:pt x="374" y="247"/>
                  <a:pt x="374" y="247"/>
                </a:cubicBezTo>
                <a:cubicBezTo>
                  <a:pt x="382" y="247"/>
                  <a:pt x="382" y="247"/>
                  <a:pt x="382" y="247"/>
                </a:cubicBezTo>
                <a:cubicBezTo>
                  <a:pt x="390" y="247"/>
                  <a:pt x="401" y="246"/>
                  <a:pt x="410" y="239"/>
                </a:cubicBezTo>
                <a:cubicBezTo>
                  <a:pt x="416" y="234"/>
                  <a:pt x="423" y="224"/>
                  <a:pt x="423" y="209"/>
                </a:cubicBezTo>
                <a:close/>
                <a:moveTo>
                  <a:pt x="479" y="261"/>
                </a:moveTo>
                <a:cubicBezTo>
                  <a:pt x="541" y="261"/>
                  <a:pt x="541" y="261"/>
                  <a:pt x="541" y="261"/>
                </a:cubicBezTo>
                <a:cubicBezTo>
                  <a:pt x="541" y="247"/>
                  <a:pt x="541" y="247"/>
                  <a:pt x="541" y="247"/>
                </a:cubicBezTo>
                <a:cubicBezTo>
                  <a:pt x="493" y="247"/>
                  <a:pt x="493" y="247"/>
                  <a:pt x="493" y="247"/>
                </a:cubicBezTo>
                <a:cubicBezTo>
                  <a:pt x="493" y="211"/>
                  <a:pt x="493" y="211"/>
                  <a:pt x="493" y="211"/>
                </a:cubicBezTo>
                <a:cubicBezTo>
                  <a:pt x="535" y="211"/>
                  <a:pt x="535" y="211"/>
                  <a:pt x="535" y="211"/>
                </a:cubicBezTo>
                <a:cubicBezTo>
                  <a:pt x="535" y="198"/>
                  <a:pt x="535" y="198"/>
                  <a:pt x="535" y="198"/>
                </a:cubicBezTo>
                <a:cubicBezTo>
                  <a:pt x="493" y="198"/>
                  <a:pt x="493" y="198"/>
                  <a:pt x="493" y="198"/>
                </a:cubicBezTo>
                <a:cubicBezTo>
                  <a:pt x="493" y="171"/>
                  <a:pt x="493" y="171"/>
                  <a:pt x="493" y="171"/>
                </a:cubicBezTo>
                <a:cubicBezTo>
                  <a:pt x="541" y="171"/>
                  <a:pt x="541" y="171"/>
                  <a:pt x="541" y="171"/>
                </a:cubicBezTo>
                <a:cubicBezTo>
                  <a:pt x="541" y="157"/>
                  <a:pt x="541" y="157"/>
                  <a:pt x="541" y="157"/>
                </a:cubicBezTo>
                <a:cubicBezTo>
                  <a:pt x="479" y="157"/>
                  <a:pt x="479" y="157"/>
                  <a:pt x="479" y="157"/>
                </a:cubicBezTo>
                <a:lnTo>
                  <a:pt x="479" y="261"/>
                </a:lnTo>
                <a:close/>
                <a:moveTo>
                  <a:pt x="805" y="261"/>
                </a:moveTo>
                <a:cubicBezTo>
                  <a:pt x="866" y="261"/>
                  <a:pt x="866" y="261"/>
                  <a:pt x="866" y="261"/>
                </a:cubicBezTo>
                <a:cubicBezTo>
                  <a:pt x="866" y="247"/>
                  <a:pt x="866" y="247"/>
                  <a:pt x="866" y="247"/>
                </a:cubicBezTo>
                <a:cubicBezTo>
                  <a:pt x="819" y="247"/>
                  <a:pt x="819" y="247"/>
                  <a:pt x="819" y="247"/>
                </a:cubicBezTo>
                <a:cubicBezTo>
                  <a:pt x="819" y="211"/>
                  <a:pt x="819" y="211"/>
                  <a:pt x="819" y="211"/>
                </a:cubicBezTo>
                <a:cubicBezTo>
                  <a:pt x="860" y="211"/>
                  <a:pt x="860" y="211"/>
                  <a:pt x="860" y="211"/>
                </a:cubicBezTo>
                <a:cubicBezTo>
                  <a:pt x="860" y="198"/>
                  <a:pt x="860" y="198"/>
                  <a:pt x="860" y="198"/>
                </a:cubicBezTo>
                <a:cubicBezTo>
                  <a:pt x="819" y="198"/>
                  <a:pt x="819" y="198"/>
                  <a:pt x="819" y="198"/>
                </a:cubicBezTo>
                <a:cubicBezTo>
                  <a:pt x="819" y="171"/>
                  <a:pt x="819" y="171"/>
                  <a:pt x="819" y="171"/>
                </a:cubicBezTo>
                <a:cubicBezTo>
                  <a:pt x="866" y="171"/>
                  <a:pt x="866" y="171"/>
                  <a:pt x="866" y="171"/>
                </a:cubicBezTo>
                <a:cubicBezTo>
                  <a:pt x="866" y="157"/>
                  <a:pt x="866" y="157"/>
                  <a:pt x="866" y="157"/>
                </a:cubicBezTo>
                <a:cubicBezTo>
                  <a:pt x="805" y="157"/>
                  <a:pt x="805" y="157"/>
                  <a:pt x="805" y="157"/>
                </a:cubicBezTo>
                <a:lnTo>
                  <a:pt x="805" y="261"/>
                </a:lnTo>
                <a:close/>
                <a:moveTo>
                  <a:pt x="634" y="235"/>
                </a:moveTo>
                <a:cubicBezTo>
                  <a:pt x="595" y="149"/>
                  <a:pt x="595" y="149"/>
                  <a:pt x="595" y="149"/>
                </a:cubicBezTo>
                <a:cubicBezTo>
                  <a:pt x="578" y="261"/>
                  <a:pt x="578" y="261"/>
                  <a:pt x="578" y="261"/>
                </a:cubicBezTo>
                <a:cubicBezTo>
                  <a:pt x="592" y="261"/>
                  <a:pt x="592" y="261"/>
                  <a:pt x="592" y="261"/>
                </a:cubicBezTo>
                <a:cubicBezTo>
                  <a:pt x="601" y="194"/>
                  <a:pt x="601" y="194"/>
                  <a:pt x="601" y="194"/>
                </a:cubicBezTo>
                <a:cubicBezTo>
                  <a:pt x="634" y="267"/>
                  <a:pt x="634" y="267"/>
                  <a:pt x="634" y="267"/>
                </a:cubicBezTo>
                <a:cubicBezTo>
                  <a:pt x="668" y="194"/>
                  <a:pt x="668" y="194"/>
                  <a:pt x="668" y="194"/>
                </a:cubicBezTo>
                <a:cubicBezTo>
                  <a:pt x="677" y="261"/>
                  <a:pt x="677" y="261"/>
                  <a:pt x="677" y="261"/>
                </a:cubicBezTo>
                <a:cubicBezTo>
                  <a:pt x="691" y="261"/>
                  <a:pt x="691" y="261"/>
                  <a:pt x="691" y="261"/>
                </a:cubicBezTo>
                <a:cubicBezTo>
                  <a:pt x="674" y="148"/>
                  <a:pt x="674" y="148"/>
                  <a:pt x="674" y="148"/>
                </a:cubicBezTo>
                <a:lnTo>
                  <a:pt x="634" y="235"/>
                </a:lnTo>
                <a:close/>
                <a:moveTo>
                  <a:pt x="737" y="261"/>
                </a:moveTo>
                <a:cubicBezTo>
                  <a:pt x="751" y="261"/>
                  <a:pt x="751" y="261"/>
                  <a:pt x="751" y="261"/>
                </a:cubicBezTo>
                <a:cubicBezTo>
                  <a:pt x="751" y="157"/>
                  <a:pt x="751" y="157"/>
                  <a:pt x="751" y="157"/>
                </a:cubicBezTo>
                <a:cubicBezTo>
                  <a:pt x="737" y="157"/>
                  <a:pt x="737" y="157"/>
                  <a:pt x="737" y="157"/>
                </a:cubicBezTo>
                <a:lnTo>
                  <a:pt x="737" y="261"/>
                </a:lnTo>
                <a:close/>
                <a:moveTo>
                  <a:pt x="955" y="211"/>
                </a:moveTo>
                <a:cubicBezTo>
                  <a:pt x="950" y="207"/>
                  <a:pt x="945" y="204"/>
                  <a:pt x="939" y="201"/>
                </a:cubicBezTo>
                <a:cubicBezTo>
                  <a:pt x="929" y="197"/>
                  <a:pt x="929" y="197"/>
                  <a:pt x="929" y="197"/>
                </a:cubicBezTo>
                <a:cubicBezTo>
                  <a:pt x="925" y="195"/>
                  <a:pt x="922" y="194"/>
                  <a:pt x="919" y="191"/>
                </a:cubicBezTo>
                <a:cubicBezTo>
                  <a:pt x="916" y="189"/>
                  <a:pt x="916" y="187"/>
                  <a:pt x="916" y="183"/>
                </a:cubicBezTo>
                <a:cubicBezTo>
                  <a:pt x="916" y="175"/>
                  <a:pt x="922" y="169"/>
                  <a:pt x="931" y="169"/>
                </a:cubicBezTo>
                <a:cubicBezTo>
                  <a:pt x="936" y="169"/>
                  <a:pt x="940" y="171"/>
                  <a:pt x="942" y="172"/>
                </a:cubicBezTo>
                <a:cubicBezTo>
                  <a:pt x="944" y="174"/>
                  <a:pt x="946" y="177"/>
                  <a:pt x="947" y="179"/>
                </a:cubicBezTo>
                <a:cubicBezTo>
                  <a:pt x="948" y="181"/>
                  <a:pt x="948" y="181"/>
                  <a:pt x="948" y="181"/>
                </a:cubicBezTo>
                <a:cubicBezTo>
                  <a:pt x="959" y="173"/>
                  <a:pt x="959" y="173"/>
                  <a:pt x="959" y="173"/>
                </a:cubicBezTo>
                <a:cubicBezTo>
                  <a:pt x="958" y="172"/>
                  <a:pt x="958" y="172"/>
                  <a:pt x="958" y="172"/>
                </a:cubicBezTo>
                <a:cubicBezTo>
                  <a:pt x="956" y="167"/>
                  <a:pt x="952" y="163"/>
                  <a:pt x="948" y="161"/>
                </a:cubicBezTo>
                <a:cubicBezTo>
                  <a:pt x="943" y="157"/>
                  <a:pt x="938" y="156"/>
                  <a:pt x="931" y="156"/>
                </a:cubicBezTo>
                <a:cubicBezTo>
                  <a:pt x="914" y="156"/>
                  <a:pt x="902" y="167"/>
                  <a:pt x="902" y="183"/>
                </a:cubicBezTo>
                <a:cubicBezTo>
                  <a:pt x="902" y="190"/>
                  <a:pt x="904" y="195"/>
                  <a:pt x="909" y="200"/>
                </a:cubicBezTo>
                <a:cubicBezTo>
                  <a:pt x="913" y="205"/>
                  <a:pt x="918" y="207"/>
                  <a:pt x="922" y="209"/>
                </a:cubicBezTo>
                <a:cubicBezTo>
                  <a:pt x="932" y="213"/>
                  <a:pt x="932" y="213"/>
                  <a:pt x="932" y="213"/>
                </a:cubicBezTo>
                <a:cubicBezTo>
                  <a:pt x="937" y="215"/>
                  <a:pt x="941" y="217"/>
                  <a:pt x="944" y="220"/>
                </a:cubicBezTo>
                <a:cubicBezTo>
                  <a:pt x="947" y="223"/>
                  <a:pt x="948" y="226"/>
                  <a:pt x="948" y="231"/>
                </a:cubicBezTo>
                <a:cubicBezTo>
                  <a:pt x="948" y="240"/>
                  <a:pt x="942" y="249"/>
                  <a:pt x="929" y="249"/>
                </a:cubicBezTo>
                <a:cubicBezTo>
                  <a:pt x="924" y="249"/>
                  <a:pt x="919" y="247"/>
                  <a:pt x="916" y="244"/>
                </a:cubicBezTo>
                <a:cubicBezTo>
                  <a:pt x="913" y="241"/>
                  <a:pt x="911" y="236"/>
                  <a:pt x="910" y="232"/>
                </a:cubicBezTo>
                <a:cubicBezTo>
                  <a:pt x="910" y="230"/>
                  <a:pt x="910" y="230"/>
                  <a:pt x="910" y="230"/>
                </a:cubicBezTo>
                <a:cubicBezTo>
                  <a:pt x="896" y="234"/>
                  <a:pt x="896" y="234"/>
                  <a:pt x="896" y="234"/>
                </a:cubicBezTo>
                <a:cubicBezTo>
                  <a:pt x="897" y="235"/>
                  <a:pt x="897" y="235"/>
                  <a:pt x="897" y="235"/>
                </a:cubicBezTo>
                <a:cubicBezTo>
                  <a:pt x="898" y="243"/>
                  <a:pt x="902" y="249"/>
                  <a:pt x="906" y="254"/>
                </a:cubicBezTo>
                <a:cubicBezTo>
                  <a:pt x="912" y="260"/>
                  <a:pt x="920" y="262"/>
                  <a:pt x="929" y="262"/>
                </a:cubicBezTo>
                <a:cubicBezTo>
                  <a:pt x="948" y="262"/>
                  <a:pt x="962" y="249"/>
                  <a:pt x="962" y="230"/>
                </a:cubicBezTo>
                <a:cubicBezTo>
                  <a:pt x="962" y="222"/>
                  <a:pt x="960" y="216"/>
                  <a:pt x="955" y="211"/>
                </a:cubicBezTo>
                <a:close/>
                <a:moveTo>
                  <a:pt x="0" y="261"/>
                </a:moveTo>
                <a:cubicBezTo>
                  <a:pt x="15" y="261"/>
                  <a:pt x="15" y="261"/>
                  <a:pt x="15" y="261"/>
                </a:cubicBezTo>
                <a:cubicBezTo>
                  <a:pt x="48" y="184"/>
                  <a:pt x="48" y="184"/>
                  <a:pt x="48" y="184"/>
                </a:cubicBezTo>
                <a:cubicBezTo>
                  <a:pt x="79" y="260"/>
                  <a:pt x="79" y="260"/>
                  <a:pt x="79" y="260"/>
                </a:cubicBezTo>
                <a:cubicBezTo>
                  <a:pt x="80" y="261"/>
                  <a:pt x="80" y="261"/>
                  <a:pt x="80" y="261"/>
                </a:cubicBezTo>
                <a:cubicBezTo>
                  <a:pt x="95" y="261"/>
                  <a:pt x="95" y="261"/>
                  <a:pt x="95" y="261"/>
                </a:cubicBezTo>
                <a:cubicBezTo>
                  <a:pt x="48" y="151"/>
                  <a:pt x="48" y="151"/>
                  <a:pt x="48" y="151"/>
                </a:cubicBezTo>
                <a:lnTo>
                  <a:pt x="0" y="261"/>
                </a:lnTo>
                <a:close/>
                <a:moveTo>
                  <a:pt x="229" y="261"/>
                </a:moveTo>
                <a:cubicBezTo>
                  <a:pt x="244" y="261"/>
                  <a:pt x="244" y="261"/>
                  <a:pt x="244" y="261"/>
                </a:cubicBezTo>
                <a:cubicBezTo>
                  <a:pt x="277" y="184"/>
                  <a:pt x="277" y="184"/>
                  <a:pt x="277" y="184"/>
                </a:cubicBezTo>
                <a:cubicBezTo>
                  <a:pt x="309" y="260"/>
                  <a:pt x="309" y="260"/>
                  <a:pt x="309" y="260"/>
                </a:cubicBezTo>
                <a:cubicBezTo>
                  <a:pt x="309" y="261"/>
                  <a:pt x="309" y="261"/>
                  <a:pt x="309" y="261"/>
                </a:cubicBezTo>
                <a:cubicBezTo>
                  <a:pt x="324" y="261"/>
                  <a:pt x="324" y="261"/>
                  <a:pt x="324" y="261"/>
                </a:cubicBezTo>
                <a:cubicBezTo>
                  <a:pt x="277" y="151"/>
                  <a:pt x="277" y="151"/>
                  <a:pt x="277" y="151"/>
                </a:cubicBezTo>
                <a:lnTo>
                  <a:pt x="229" y="261"/>
                </a:lnTo>
                <a:close/>
                <a:moveTo>
                  <a:pt x="1071" y="11"/>
                </a:moveTo>
                <a:cubicBezTo>
                  <a:pt x="1071" y="18"/>
                  <a:pt x="1071" y="18"/>
                  <a:pt x="1071" y="18"/>
                </a:cubicBezTo>
                <a:cubicBezTo>
                  <a:pt x="1075" y="18"/>
                  <a:pt x="1075" y="18"/>
                  <a:pt x="1075" y="18"/>
                </a:cubicBezTo>
                <a:cubicBezTo>
                  <a:pt x="1077" y="9"/>
                  <a:pt x="1077" y="9"/>
                  <a:pt x="1077" y="9"/>
                </a:cubicBezTo>
                <a:cubicBezTo>
                  <a:pt x="1076" y="8"/>
                  <a:pt x="1074" y="7"/>
                  <a:pt x="1072" y="6"/>
                </a:cubicBezTo>
                <a:cubicBezTo>
                  <a:pt x="1070" y="6"/>
                  <a:pt x="1067" y="6"/>
                  <a:pt x="1064" y="6"/>
                </a:cubicBezTo>
                <a:cubicBezTo>
                  <a:pt x="1061" y="6"/>
                  <a:pt x="1058" y="6"/>
                  <a:pt x="1056" y="7"/>
                </a:cubicBezTo>
                <a:cubicBezTo>
                  <a:pt x="1053" y="9"/>
                  <a:pt x="1051" y="10"/>
                  <a:pt x="1049" y="12"/>
                </a:cubicBezTo>
                <a:cubicBezTo>
                  <a:pt x="1048" y="14"/>
                  <a:pt x="1047" y="17"/>
                  <a:pt x="1047" y="20"/>
                </a:cubicBezTo>
                <a:cubicBezTo>
                  <a:pt x="1047" y="22"/>
                  <a:pt x="1048" y="24"/>
                  <a:pt x="1049" y="26"/>
                </a:cubicBezTo>
                <a:cubicBezTo>
                  <a:pt x="1050" y="28"/>
                  <a:pt x="1051" y="30"/>
                  <a:pt x="1053" y="31"/>
                </a:cubicBezTo>
                <a:cubicBezTo>
                  <a:pt x="1055" y="32"/>
                  <a:pt x="1057" y="34"/>
                  <a:pt x="1059" y="35"/>
                </a:cubicBezTo>
                <a:cubicBezTo>
                  <a:pt x="1062" y="37"/>
                  <a:pt x="1064" y="39"/>
                  <a:pt x="1066" y="40"/>
                </a:cubicBezTo>
                <a:cubicBezTo>
                  <a:pt x="1067" y="42"/>
                  <a:pt x="1068" y="44"/>
                  <a:pt x="1068" y="47"/>
                </a:cubicBezTo>
                <a:cubicBezTo>
                  <a:pt x="1068" y="49"/>
                  <a:pt x="1067" y="52"/>
                  <a:pt x="1065" y="53"/>
                </a:cubicBezTo>
                <a:cubicBezTo>
                  <a:pt x="1062" y="55"/>
                  <a:pt x="1060" y="56"/>
                  <a:pt x="1057" y="56"/>
                </a:cubicBezTo>
                <a:cubicBezTo>
                  <a:pt x="1055" y="56"/>
                  <a:pt x="1053" y="56"/>
                  <a:pt x="1052" y="55"/>
                </a:cubicBezTo>
                <a:cubicBezTo>
                  <a:pt x="1050" y="55"/>
                  <a:pt x="1049" y="54"/>
                  <a:pt x="1048" y="54"/>
                </a:cubicBezTo>
                <a:cubicBezTo>
                  <a:pt x="1048" y="46"/>
                  <a:pt x="1048" y="46"/>
                  <a:pt x="1048" y="46"/>
                </a:cubicBezTo>
                <a:cubicBezTo>
                  <a:pt x="1044" y="46"/>
                  <a:pt x="1044" y="46"/>
                  <a:pt x="1044" y="46"/>
                </a:cubicBezTo>
                <a:cubicBezTo>
                  <a:pt x="1042" y="56"/>
                  <a:pt x="1042" y="56"/>
                  <a:pt x="1042" y="56"/>
                </a:cubicBezTo>
                <a:cubicBezTo>
                  <a:pt x="1043" y="57"/>
                  <a:pt x="1045" y="58"/>
                  <a:pt x="1048" y="58"/>
                </a:cubicBezTo>
                <a:cubicBezTo>
                  <a:pt x="1051" y="59"/>
                  <a:pt x="1054" y="59"/>
                  <a:pt x="1057" y="59"/>
                </a:cubicBezTo>
                <a:cubicBezTo>
                  <a:pt x="1060" y="59"/>
                  <a:pt x="1063" y="59"/>
                  <a:pt x="1066" y="57"/>
                </a:cubicBezTo>
                <a:cubicBezTo>
                  <a:pt x="1069" y="56"/>
                  <a:pt x="1071" y="54"/>
                  <a:pt x="1073" y="52"/>
                </a:cubicBezTo>
                <a:cubicBezTo>
                  <a:pt x="1074" y="50"/>
                  <a:pt x="1075" y="47"/>
                  <a:pt x="1075" y="44"/>
                </a:cubicBezTo>
                <a:cubicBezTo>
                  <a:pt x="1075" y="42"/>
                  <a:pt x="1074" y="40"/>
                  <a:pt x="1073" y="38"/>
                </a:cubicBezTo>
                <a:cubicBezTo>
                  <a:pt x="1072" y="36"/>
                  <a:pt x="1071" y="35"/>
                  <a:pt x="1069" y="34"/>
                </a:cubicBezTo>
                <a:cubicBezTo>
                  <a:pt x="1068" y="32"/>
                  <a:pt x="1066" y="31"/>
                  <a:pt x="1064" y="29"/>
                </a:cubicBezTo>
                <a:cubicBezTo>
                  <a:pt x="1060" y="27"/>
                  <a:pt x="1058" y="25"/>
                  <a:pt x="1056" y="24"/>
                </a:cubicBezTo>
                <a:cubicBezTo>
                  <a:pt x="1055" y="22"/>
                  <a:pt x="1054" y="20"/>
                  <a:pt x="1054" y="17"/>
                </a:cubicBezTo>
                <a:cubicBezTo>
                  <a:pt x="1054" y="15"/>
                  <a:pt x="1055" y="13"/>
                  <a:pt x="1057" y="11"/>
                </a:cubicBezTo>
                <a:cubicBezTo>
                  <a:pt x="1059" y="10"/>
                  <a:pt x="1061" y="9"/>
                  <a:pt x="1064" y="9"/>
                </a:cubicBezTo>
                <a:cubicBezTo>
                  <a:pt x="1065" y="9"/>
                  <a:pt x="1067" y="9"/>
                  <a:pt x="1068" y="10"/>
                </a:cubicBezTo>
                <a:cubicBezTo>
                  <a:pt x="1069" y="10"/>
                  <a:pt x="1070" y="10"/>
                  <a:pt x="1071" y="11"/>
                </a:cubicBezTo>
                <a:close/>
                <a:moveTo>
                  <a:pt x="1107" y="27"/>
                </a:moveTo>
                <a:cubicBezTo>
                  <a:pt x="1108" y="27"/>
                  <a:pt x="1108" y="27"/>
                  <a:pt x="1108" y="27"/>
                </a:cubicBezTo>
                <a:cubicBezTo>
                  <a:pt x="1110" y="20"/>
                  <a:pt x="1110" y="20"/>
                  <a:pt x="1110" y="20"/>
                </a:cubicBezTo>
                <a:cubicBezTo>
                  <a:pt x="1109" y="20"/>
                  <a:pt x="1108" y="19"/>
                  <a:pt x="1107" y="19"/>
                </a:cubicBezTo>
                <a:cubicBezTo>
                  <a:pt x="1105" y="19"/>
                  <a:pt x="1104" y="19"/>
                  <a:pt x="1102" y="19"/>
                </a:cubicBezTo>
                <a:cubicBezTo>
                  <a:pt x="1098" y="19"/>
                  <a:pt x="1094" y="20"/>
                  <a:pt x="1091" y="22"/>
                </a:cubicBezTo>
                <a:cubicBezTo>
                  <a:pt x="1088" y="25"/>
                  <a:pt x="1086" y="28"/>
                  <a:pt x="1084" y="32"/>
                </a:cubicBezTo>
                <a:cubicBezTo>
                  <a:pt x="1083" y="36"/>
                  <a:pt x="1082" y="40"/>
                  <a:pt x="1082" y="43"/>
                </a:cubicBezTo>
                <a:cubicBezTo>
                  <a:pt x="1082" y="48"/>
                  <a:pt x="1083" y="52"/>
                  <a:pt x="1085" y="55"/>
                </a:cubicBezTo>
                <a:cubicBezTo>
                  <a:pt x="1087" y="58"/>
                  <a:pt x="1091" y="59"/>
                  <a:pt x="1094" y="59"/>
                </a:cubicBezTo>
                <a:cubicBezTo>
                  <a:pt x="1098" y="59"/>
                  <a:pt x="1100" y="59"/>
                  <a:pt x="1102" y="57"/>
                </a:cubicBezTo>
                <a:cubicBezTo>
                  <a:pt x="1105" y="56"/>
                  <a:pt x="1106" y="54"/>
                  <a:pt x="1108" y="53"/>
                </a:cubicBezTo>
                <a:cubicBezTo>
                  <a:pt x="1106" y="50"/>
                  <a:pt x="1106" y="50"/>
                  <a:pt x="1106" y="50"/>
                </a:cubicBezTo>
                <a:cubicBezTo>
                  <a:pt x="1105" y="52"/>
                  <a:pt x="1103" y="53"/>
                  <a:pt x="1102" y="54"/>
                </a:cubicBezTo>
                <a:cubicBezTo>
                  <a:pt x="1100" y="54"/>
                  <a:pt x="1099" y="55"/>
                  <a:pt x="1097" y="55"/>
                </a:cubicBezTo>
                <a:cubicBezTo>
                  <a:pt x="1094" y="55"/>
                  <a:pt x="1092" y="54"/>
                  <a:pt x="1091" y="52"/>
                </a:cubicBezTo>
                <a:cubicBezTo>
                  <a:pt x="1090" y="50"/>
                  <a:pt x="1089" y="47"/>
                  <a:pt x="1089" y="43"/>
                </a:cubicBezTo>
                <a:cubicBezTo>
                  <a:pt x="1089" y="39"/>
                  <a:pt x="1090" y="35"/>
                  <a:pt x="1091" y="32"/>
                </a:cubicBezTo>
                <a:cubicBezTo>
                  <a:pt x="1092" y="30"/>
                  <a:pt x="1093" y="27"/>
                  <a:pt x="1095" y="26"/>
                </a:cubicBezTo>
                <a:cubicBezTo>
                  <a:pt x="1097" y="24"/>
                  <a:pt x="1099" y="23"/>
                  <a:pt x="1101" y="23"/>
                </a:cubicBezTo>
                <a:cubicBezTo>
                  <a:pt x="1102" y="23"/>
                  <a:pt x="1105" y="24"/>
                  <a:pt x="1107" y="27"/>
                </a:cubicBezTo>
                <a:close/>
                <a:moveTo>
                  <a:pt x="1124" y="52"/>
                </a:moveTo>
                <a:cubicBezTo>
                  <a:pt x="1129" y="19"/>
                  <a:pt x="1129" y="19"/>
                  <a:pt x="1129" y="19"/>
                </a:cubicBezTo>
                <a:cubicBezTo>
                  <a:pt x="1128" y="19"/>
                  <a:pt x="1128" y="19"/>
                  <a:pt x="1128" y="19"/>
                </a:cubicBezTo>
                <a:cubicBezTo>
                  <a:pt x="1118" y="20"/>
                  <a:pt x="1118" y="20"/>
                  <a:pt x="1118" y="20"/>
                </a:cubicBezTo>
                <a:cubicBezTo>
                  <a:pt x="1117" y="23"/>
                  <a:pt x="1117" y="23"/>
                  <a:pt x="1117" y="23"/>
                </a:cubicBezTo>
                <a:cubicBezTo>
                  <a:pt x="1122" y="24"/>
                  <a:pt x="1122" y="24"/>
                  <a:pt x="1122" y="24"/>
                </a:cubicBezTo>
                <a:cubicBezTo>
                  <a:pt x="1121" y="31"/>
                  <a:pt x="1120" y="37"/>
                  <a:pt x="1119" y="41"/>
                </a:cubicBezTo>
                <a:cubicBezTo>
                  <a:pt x="1118" y="49"/>
                  <a:pt x="1117" y="54"/>
                  <a:pt x="1117" y="55"/>
                </a:cubicBezTo>
                <a:cubicBezTo>
                  <a:pt x="1117" y="56"/>
                  <a:pt x="1118" y="57"/>
                  <a:pt x="1118" y="58"/>
                </a:cubicBezTo>
                <a:cubicBezTo>
                  <a:pt x="1119" y="59"/>
                  <a:pt x="1120" y="59"/>
                  <a:pt x="1122" y="59"/>
                </a:cubicBezTo>
                <a:cubicBezTo>
                  <a:pt x="1124" y="59"/>
                  <a:pt x="1125" y="59"/>
                  <a:pt x="1127" y="58"/>
                </a:cubicBezTo>
                <a:cubicBezTo>
                  <a:pt x="1128" y="57"/>
                  <a:pt x="1129" y="55"/>
                  <a:pt x="1130" y="54"/>
                </a:cubicBezTo>
                <a:cubicBezTo>
                  <a:pt x="1129" y="53"/>
                  <a:pt x="1129" y="53"/>
                  <a:pt x="1129" y="53"/>
                </a:cubicBezTo>
                <a:cubicBezTo>
                  <a:pt x="1128" y="54"/>
                  <a:pt x="1128" y="54"/>
                  <a:pt x="1127" y="54"/>
                </a:cubicBezTo>
                <a:cubicBezTo>
                  <a:pt x="1126" y="55"/>
                  <a:pt x="1126" y="55"/>
                  <a:pt x="1125" y="55"/>
                </a:cubicBezTo>
                <a:cubicBezTo>
                  <a:pt x="1125" y="55"/>
                  <a:pt x="1125" y="55"/>
                  <a:pt x="1125" y="54"/>
                </a:cubicBezTo>
                <a:cubicBezTo>
                  <a:pt x="1124" y="54"/>
                  <a:pt x="1124" y="54"/>
                  <a:pt x="1124" y="53"/>
                </a:cubicBezTo>
                <a:lnTo>
                  <a:pt x="1124" y="52"/>
                </a:lnTo>
                <a:close/>
                <a:moveTo>
                  <a:pt x="1127" y="11"/>
                </a:moveTo>
                <a:cubicBezTo>
                  <a:pt x="1128" y="11"/>
                  <a:pt x="1129" y="11"/>
                  <a:pt x="1130" y="10"/>
                </a:cubicBezTo>
                <a:cubicBezTo>
                  <a:pt x="1131" y="9"/>
                  <a:pt x="1131" y="7"/>
                  <a:pt x="1131" y="6"/>
                </a:cubicBezTo>
                <a:cubicBezTo>
                  <a:pt x="1131" y="5"/>
                  <a:pt x="1131" y="4"/>
                  <a:pt x="1130" y="3"/>
                </a:cubicBezTo>
                <a:cubicBezTo>
                  <a:pt x="1130" y="3"/>
                  <a:pt x="1129" y="2"/>
                  <a:pt x="1128" y="2"/>
                </a:cubicBezTo>
                <a:cubicBezTo>
                  <a:pt x="1126" y="2"/>
                  <a:pt x="1125" y="3"/>
                  <a:pt x="1124" y="4"/>
                </a:cubicBezTo>
                <a:cubicBezTo>
                  <a:pt x="1123" y="5"/>
                  <a:pt x="1123" y="6"/>
                  <a:pt x="1123" y="7"/>
                </a:cubicBezTo>
                <a:cubicBezTo>
                  <a:pt x="1123" y="8"/>
                  <a:pt x="1123" y="9"/>
                  <a:pt x="1124" y="10"/>
                </a:cubicBezTo>
                <a:cubicBezTo>
                  <a:pt x="1125" y="11"/>
                  <a:pt x="1126" y="11"/>
                  <a:pt x="1127" y="11"/>
                </a:cubicBezTo>
                <a:close/>
                <a:moveTo>
                  <a:pt x="1166" y="52"/>
                </a:moveTo>
                <a:cubicBezTo>
                  <a:pt x="1165" y="49"/>
                  <a:pt x="1165" y="49"/>
                  <a:pt x="1165" y="49"/>
                </a:cubicBezTo>
                <a:cubicBezTo>
                  <a:pt x="1163" y="51"/>
                  <a:pt x="1161" y="52"/>
                  <a:pt x="1159" y="53"/>
                </a:cubicBezTo>
                <a:cubicBezTo>
                  <a:pt x="1157" y="54"/>
                  <a:pt x="1155" y="55"/>
                  <a:pt x="1153" y="55"/>
                </a:cubicBezTo>
                <a:cubicBezTo>
                  <a:pt x="1150" y="55"/>
                  <a:pt x="1148" y="54"/>
                  <a:pt x="1147" y="51"/>
                </a:cubicBezTo>
                <a:cubicBezTo>
                  <a:pt x="1145" y="49"/>
                  <a:pt x="1145" y="46"/>
                  <a:pt x="1145" y="43"/>
                </a:cubicBezTo>
                <a:cubicBezTo>
                  <a:pt x="1148" y="43"/>
                  <a:pt x="1151" y="42"/>
                  <a:pt x="1155" y="41"/>
                </a:cubicBezTo>
                <a:cubicBezTo>
                  <a:pt x="1158" y="40"/>
                  <a:pt x="1162" y="38"/>
                  <a:pt x="1164" y="36"/>
                </a:cubicBezTo>
                <a:cubicBezTo>
                  <a:pt x="1167" y="33"/>
                  <a:pt x="1168" y="31"/>
                  <a:pt x="1168" y="27"/>
                </a:cubicBezTo>
                <a:cubicBezTo>
                  <a:pt x="1168" y="25"/>
                  <a:pt x="1167" y="23"/>
                  <a:pt x="1166" y="21"/>
                </a:cubicBezTo>
                <a:cubicBezTo>
                  <a:pt x="1164" y="19"/>
                  <a:pt x="1162" y="19"/>
                  <a:pt x="1158" y="19"/>
                </a:cubicBezTo>
                <a:cubicBezTo>
                  <a:pt x="1154" y="19"/>
                  <a:pt x="1151" y="20"/>
                  <a:pt x="1148" y="22"/>
                </a:cubicBezTo>
                <a:cubicBezTo>
                  <a:pt x="1145" y="24"/>
                  <a:pt x="1142" y="28"/>
                  <a:pt x="1140" y="31"/>
                </a:cubicBezTo>
                <a:cubicBezTo>
                  <a:pt x="1138" y="35"/>
                  <a:pt x="1138" y="40"/>
                  <a:pt x="1138" y="44"/>
                </a:cubicBezTo>
                <a:cubicBezTo>
                  <a:pt x="1138" y="47"/>
                  <a:pt x="1138" y="49"/>
                  <a:pt x="1139" y="52"/>
                </a:cubicBezTo>
                <a:cubicBezTo>
                  <a:pt x="1140" y="54"/>
                  <a:pt x="1142" y="56"/>
                  <a:pt x="1144" y="57"/>
                </a:cubicBezTo>
                <a:cubicBezTo>
                  <a:pt x="1146" y="59"/>
                  <a:pt x="1148" y="59"/>
                  <a:pt x="1151" y="59"/>
                </a:cubicBezTo>
                <a:cubicBezTo>
                  <a:pt x="1155" y="59"/>
                  <a:pt x="1158" y="58"/>
                  <a:pt x="1160" y="57"/>
                </a:cubicBezTo>
                <a:cubicBezTo>
                  <a:pt x="1163" y="55"/>
                  <a:pt x="1165" y="54"/>
                  <a:pt x="1166" y="52"/>
                </a:cubicBezTo>
                <a:close/>
                <a:moveTo>
                  <a:pt x="1157" y="22"/>
                </a:moveTo>
                <a:cubicBezTo>
                  <a:pt x="1158" y="22"/>
                  <a:pt x="1159" y="23"/>
                  <a:pt x="1160" y="24"/>
                </a:cubicBezTo>
                <a:cubicBezTo>
                  <a:pt x="1161" y="25"/>
                  <a:pt x="1161" y="26"/>
                  <a:pt x="1161" y="28"/>
                </a:cubicBezTo>
                <a:cubicBezTo>
                  <a:pt x="1161" y="30"/>
                  <a:pt x="1161" y="32"/>
                  <a:pt x="1159" y="34"/>
                </a:cubicBezTo>
                <a:cubicBezTo>
                  <a:pt x="1157" y="35"/>
                  <a:pt x="1155" y="37"/>
                  <a:pt x="1152" y="38"/>
                </a:cubicBezTo>
                <a:cubicBezTo>
                  <a:pt x="1150" y="39"/>
                  <a:pt x="1147" y="39"/>
                  <a:pt x="1145" y="39"/>
                </a:cubicBezTo>
                <a:cubicBezTo>
                  <a:pt x="1145" y="37"/>
                  <a:pt x="1146" y="34"/>
                  <a:pt x="1147" y="32"/>
                </a:cubicBezTo>
                <a:cubicBezTo>
                  <a:pt x="1148" y="29"/>
                  <a:pt x="1149" y="27"/>
                  <a:pt x="1151" y="25"/>
                </a:cubicBezTo>
                <a:cubicBezTo>
                  <a:pt x="1152" y="23"/>
                  <a:pt x="1154" y="22"/>
                  <a:pt x="1157" y="22"/>
                </a:cubicBezTo>
                <a:close/>
                <a:moveTo>
                  <a:pt x="1187" y="28"/>
                </a:moveTo>
                <a:cubicBezTo>
                  <a:pt x="1188" y="19"/>
                  <a:pt x="1188" y="19"/>
                  <a:pt x="1188" y="19"/>
                </a:cubicBezTo>
                <a:cubicBezTo>
                  <a:pt x="1186" y="19"/>
                  <a:pt x="1186" y="19"/>
                  <a:pt x="1186" y="19"/>
                </a:cubicBezTo>
                <a:cubicBezTo>
                  <a:pt x="1178" y="20"/>
                  <a:pt x="1178" y="20"/>
                  <a:pt x="1178" y="20"/>
                </a:cubicBezTo>
                <a:cubicBezTo>
                  <a:pt x="1177" y="23"/>
                  <a:pt x="1177" y="23"/>
                  <a:pt x="1177" y="23"/>
                </a:cubicBezTo>
                <a:cubicBezTo>
                  <a:pt x="1180" y="25"/>
                  <a:pt x="1180" y="25"/>
                  <a:pt x="1180" y="25"/>
                </a:cubicBezTo>
                <a:cubicBezTo>
                  <a:pt x="1176" y="58"/>
                  <a:pt x="1176" y="58"/>
                  <a:pt x="1176" y="58"/>
                </a:cubicBezTo>
                <a:cubicBezTo>
                  <a:pt x="1183" y="58"/>
                  <a:pt x="1183" y="58"/>
                  <a:pt x="1183" y="58"/>
                </a:cubicBezTo>
                <a:cubicBezTo>
                  <a:pt x="1186" y="33"/>
                  <a:pt x="1186" y="33"/>
                  <a:pt x="1186" y="33"/>
                </a:cubicBezTo>
                <a:cubicBezTo>
                  <a:pt x="1188" y="31"/>
                  <a:pt x="1190" y="28"/>
                  <a:pt x="1192" y="26"/>
                </a:cubicBezTo>
                <a:cubicBezTo>
                  <a:pt x="1194" y="25"/>
                  <a:pt x="1196" y="24"/>
                  <a:pt x="1198" y="24"/>
                </a:cubicBezTo>
                <a:cubicBezTo>
                  <a:pt x="1200" y="24"/>
                  <a:pt x="1201" y="24"/>
                  <a:pt x="1202" y="25"/>
                </a:cubicBezTo>
                <a:cubicBezTo>
                  <a:pt x="1202" y="26"/>
                  <a:pt x="1203" y="27"/>
                  <a:pt x="1203" y="29"/>
                </a:cubicBezTo>
                <a:cubicBezTo>
                  <a:pt x="1203" y="31"/>
                  <a:pt x="1202" y="33"/>
                  <a:pt x="1202" y="35"/>
                </a:cubicBezTo>
                <a:cubicBezTo>
                  <a:pt x="1202" y="37"/>
                  <a:pt x="1201" y="39"/>
                  <a:pt x="1201" y="41"/>
                </a:cubicBezTo>
                <a:cubicBezTo>
                  <a:pt x="1201" y="43"/>
                  <a:pt x="1201" y="43"/>
                  <a:pt x="1201" y="43"/>
                </a:cubicBezTo>
                <a:cubicBezTo>
                  <a:pt x="1200" y="46"/>
                  <a:pt x="1200" y="46"/>
                  <a:pt x="1200" y="46"/>
                </a:cubicBezTo>
                <a:cubicBezTo>
                  <a:pt x="1199" y="51"/>
                  <a:pt x="1199" y="54"/>
                  <a:pt x="1199" y="55"/>
                </a:cubicBezTo>
                <a:cubicBezTo>
                  <a:pt x="1199" y="58"/>
                  <a:pt x="1200" y="59"/>
                  <a:pt x="1203" y="59"/>
                </a:cubicBezTo>
                <a:cubicBezTo>
                  <a:pt x="1205" y="59"/>
                  <a:pt x="1206" y="59"/>
                  <a:pt x="1207" y="58"/>
                </a:cubicBezTo>
                <a:cubicBezTo>
                  <a:pt x="1208" y="58"/>
                  <a:pt x="1209" y="57"/>
                  <a:pt x="1210" y="57"/>
                </a:cubicBezTo>
                <a:cubicBezTo>
                  <a:pt x="1210" y="56"/>
                  <a:pt x="1211" y="55"/>
                  <a:pt x="1211" y="55"/>
                </a:cubicBezTo>
                <a:cubicBezTo>
                  <a:pt x="1210" y="53"/>
                  <a:pt x="1210" y="53"/>
                  <a:pt x="1210" y="53"/>
                </a:cubicBezTo>
                <a:cubicBezTo>
                  <a:pt x="1209" y="54"/>
                  <a:pt x="1208" y="55"/>
                  <a:pt x="1207" y="55"/>
                </a:cubicBezTo>
                <a:cubicBezTo>
                  <a:pt x="1206" y="55"/>
                  <a:pt x="1206" y="54"/>
                  <a:pt x="1206" y="53"/>
                </a:cubicBezTo>
                <a:cubicBezTo>
                  <a:pt x="1206" y="51"/>
                  <a:pt x="1206" y="48"/>
                  <a:pt x="1207" y="45"/>
                </a:cubicBezTo>
                <a:cubicBezTo>
                  <a:pt x="1208" y="41"/>
                  <a:pt x="1208" y="41"/>
                  <a:pt x="1208" y="41"/>
                </a:cubicBezTo>
                <a:cubicBezTo>
                  <a:pt x="1208" y="40"/>
                  <a:pt x="1208" y="40"/>
                  <a:pt x="1208" y="40"/>
                </a:cubicBezTo>
                <a:cubicBezTo>
                  <a:pt x="1209" y="34"/>
                  <a:pt x="1210" y="31"/>
                  <a:pt x="1210" y="29"/>
                </a:cubicBezTo>
                <a:cubicBezTo>
                  <a:pt x="1210" y="25"/>
                  <a:pt x="1209" y="23"/>
                  <a:pt x="1207" y="21"/>
                </a:cubicBezTo>
                <a:cubicBezTo>
                  <a:pt x="1206" y="19"/>
                  <a:pt x="1204" y="19"/>
                  <a:pt x="1201" y="19"/>
                </a:cubicBezTo>
                <a:cubicBezTo>
                  <a:pt x="1199" y="19"/>
                  <a:pt x="1196" y="19"/>
                  <a:pt x="1193" y="21"/>
                </a:cubicBezTo>
                <a:cubicBezTo>
                  <a:pt x="1191" y="23"/>
                  <a:pt x="1189" y="25"/>
                  <a:pt x="1187" y="28"/>
                </a:cubicBezTo>
                <a:close/>
                <a:moveTo>
                  <a:pt x="1243" y="27"/>
                </a:moveTo>
                <a:cubicBezTo>
                  <a:pt x="1245" y="27"/>
                  <a:pt x="1245" y="27"/>
                  <a:pt x="1245" y="27"/>
                </a:cubicBezTo>
                <a:cubicBezTo>
                  <a:pt x="1247" y="20"/>
                  <a:pt x="1247" y="20"/>
                  <a:pt x="1247" y="20"/>
                </a:cubicBezTo>
                <a:cubicBezTo>
                  <a:pt x="1246" y="20"/>
                  <a:pt x="1244" y="19"/>
                  <a:pt x="1243" y="19"/>
                </a:cubicBezTo>
                <a:cubicBezTo>
                  <a:pt x="1241" y="19"/>
                  <a:pt x="1240" y="19"/>
                  <a:pt x="1239" y="19"/>
                </a:cubicBezTo>
                <a:cubicBezTo>
                  <a:pt x="1234" y="19"/>
                  <a:pt x="1231" y="20"/>
                  <a:pt x="1228" y="22"/>
                </a:cubicBezTo>
                <a:cubicBezTo>
                  <a:pt x="1224" y="25"/>
                  <a:pt x="1222" y="28"/>
                  <a:pt x="1220" y="32"/>
                </a:cubicBezTo>
                <a:cubicBezTo>
                  <a:pt x="1219" y="36"/>
                  <a:pt x="1218" y="40"/>
                  <a:pt x="1218" y="43"/>
                </a:cubicBezTo>
                <a:cubicBezTo>
                  <a:pt x="1218" y="48"/>
                  <a:pt x="1219" y="52"/>
                  <a:pt x="1221" y="55"/>
                </a:cubicBezTo>
                <a:cubicBezTo>
                  <a:pt x="1224" y="58"/>
                  <a:pt x="1227" y="59"/>
                  <a:pt x="1231" y="59"/>
                </a:cubicBezTo>
                <a:cubicBezTo>
                  <a:pt x="1234" y="59"/>
                  <a:pt x="1236" y="59"/>
                  <a:pt x="1239" y="57"/>
                </a:cubicBezTo>
                <a:cubicBezTo>
                  <a:pt x="1241" y="56"/>
                  <a:pt x="1243" y="54"/>
                  <a:pt x="1244" y="53"/>
                </a:cubicBezTo>
                <a:cubicBezTo>
                  <a:pt x="1242" y="50"/>
                  <a:pt x="1242" y="50"/>
                  <a:pt x="1242" y="50"/>
                </a:cubicBezTo>
                <a:cubicBezTo>
                  <a:pt x="1241" y="52"/>
                  <a:pt x="1239" y="53"/>
                  <a:pt x="1238" y="54"/>
                </a:cubicBezTo>
                <a:cubicBezTo>
                  <a:pt x="1236" y="54"/>
                  <a:pt x="1235" y="55"/>
                  <a:pt x="1233" y="55"/>
                </a:cubicBezTo>
                <a:cubicBezTo>
                  <a:pt x="1230" y="55"/>
                  <a:pt x="1228" y="54"/>
                  <a:pt x="1227" y="52"/>
                </a:cubicBezTo>
                <a:cubicBezTo>
                  <a:pt x="1226" y="50"/>
                  <a:pt x="1225" y="47"/>
                  <a:pt x="1225" y="43"/>
                </a:cubicBezTo>
                <a:cubicBezTo>
                  <a:pt x="1225" y="39"/>
                  <a:pt x="1226" y="35"/>
                  <a:pt x="1227" y="32"/>
                </a:cubicBezTo>
                <a:cubicBezTo>
                  <a:pt x="1228" y="30"/>
                  <a:pt x="1229" y="27"/>
                  <a:pt x="1231" y="26"/>
                </a:cubicBezTo>
                <a:cubicBezTo>
                  <a:pt x="1233" y="24"/>
                  <a:pt x="1235" y="23"/>
                  <a:pt x="1237" y="23"/>
                </a:cubicBezTo>
                <a:cubicBezTo>
                  <a:pt x="1239" y="23"/>
                  <a:pt x="1241" y="24"/>
                  <a:pt x="1243" y="27"/>
                </a:cubicBezTo>
                <a:close/>
                <a:moveTo>
                  <a:pt x="1279" y="52"/>
                </a:moveTo>
                <a:cubicBezTo>
                  <a:pt x="1277" y="49"/>
                  <a:pt x="1277" y="49"/>
                  <a:pt x="1277" y="49"/>
                </a:cubicBezTo>
                <a:cubicBezTo>
                  <a:pt x="1276" y="51"/>
                  <a:pt x="1274" y="52"/>
                  <a:pt x="1272" y="53"/>
                </a:cubicBezTo>
                <a:cubicBezTo>
                  <a:pt x="1270" y="54"/>
                  <a:pt x="1268" y="55"/>
                  <a:pt x="1266" y="55"/>
                </a:cubicBezTo>
                <a:cubicBezTo>
                  <a:pt x="1263" y="55"/>
                  <a:pt x="1261" y="54"/>
                  <a:pt x="1259" y="51"/>
                </a:cubicBezTo>
                <a:cubicBezTo>
                  <a:pt x="1258" y="49"/>
                  <a:pt x="1257" y="46"/>
                  <a:pt x="1258" y="43"/>
                </a:cubicBezTo>
                <a:cubicBezTo>
                  <a:pt x="1260" y="43"/>
                  <a:pt x="1264" y="42"/>
                  <a:pt x="1267" y="41"/>
                </a:cubicBezTo>
                <a:cubicBezTo>
                  <a:pt x="1271" y="40"/>
                  <a:pt x="1274" y="38"/>
                  <a:pt x="1277" y="36"/>
                </a:cubicBezTo>
                <a:cubicBezTo>
                  <a:pt x="1280" y="33"/>
                  <a:pt x="1281" y="31"/>
                  <a:pt x="1281" y="27"/>
                </a:cubicBezTo>
                <a:cubicBezTo>
                  <a:pt x="1281" y="25"/>
                  <a:pt x="1280" y="23"/>
                  <a:pt x="1278" y="21"/>
                </a:cubicBezTo>
                <a:cubicBezTo>
                  <a:pt x="1277" y="19"/>
                  <a:pt x="1274" y="19"/>
                  <a:pt x="1271" y="19"/>
                </a:cubicBezTo>
                <a:cubicBezTo>
                  <a:pt x="1267" y="19"/>
                  <a:pt x="1264" y="20"/>
                  <a:pt x="1260" y="22"/>
                </a:cubicBezTo>
                <a:cubicBezTo>
                  <a:pt x="1257" y="24"/>
                  <a:pt x="1255" y="28"/>
                  <a:pt x="1253" y="31"/>
                </a:cubicBezTo>
                <a:cubicBezTo>
                  <a:pt x="1251" y="35"/>
                  <a:pt x="1250" y="40"/>
                  <a:pt x="1250" y="44"/>
                </a:cubicBezTo>
                <a:cubicBezTo>
                  <a:pt x="1250" y="47"/>
                  <a:pt x="1251" y="49"/>
                  <a:pt x="1252" y="52"/>
                </a:cubicBezTo>
                <a:cubicBezTo>
                  <a:pt x="1253" y="54"/>
                  <a:pt x="1254" y="56"/>
                  <a:pt x="1256" y="57"/>
                </a:cubicBezTo>
                <a:cubicBezTo>
                  <a:pt x="1258" y="59"/>
                  <a:pt x="1261" y="59"/>
                  <a:pt x="1264" y="59"/>
                </a:cubicBezTo>
                <a:cubicBezTo>
                  <a:pt x="1267" y="59"/>
                  <a:pt x="1270" y="58"/>
                  <a:pt x="1273" y="57"/>
                </a:cubicBezTo>
                <a:cubicBezTo>
                  <a:pt x="1276" y="55"/>
                  <a:pt x="1278" y="54"/>
                  <a:pt x="1279" y="52"/>
                </a:cubicBezTo>
                <a:close/>
                <a:moveTo>
                  <a:pt x="1269" y="22"/>
                </a:moveTo>
                <a:cubicBezTo>
                  <a:pt x="1271" y="22"/>
                  <a:pt x="1272" y="23"/>
                  <a:pt x="1273" y="24"/>
                </a:cubicBezTo>
                <a:cubicBezTo>
                  <a:pt x="1274" y="25"/>
                  <a:pt x="1274" y="26"/>
                  <a:pt x="1274" y="28"/>
                </a:cubicBezTo>
                <a:cubicBezTo>
                  <a:pt x="1274" y="30"/>
                  <a:pt x="1273" y="32"/>
                  <a:pt x="1272" y="34"/>
                </a:cubicBezTo>
                <a:cubicBezTo>
                  <a:pt x="1270" y="35"/>
                  <a:pt x="1268" y="37"/>
                  <a:pt x="1265" y="38"/>
                </a:cubicBezTo>
                <a:cubicBezTo>
                  <a:pt x="1263" y="39"/>
                  <a:pt x="1260" y="39"/>
                  <a:pt x="1258" y="39"/>
                </a:cubicBezTo>
                <a:cubicBezTo>
                  <a:pt x="1258" y="37"/>
                  <a:pt x="1259" y="34"/>
                  <a:pt x="1259" y="32"/>
                </a:cubicBezTo>
                <a:cubicBezTo>
                  <a:pt x="1260" y="29"/>
                  <a:pt x="1262" y="27"/>
                  <a:pt x="1263" y="25"/>
                </a:cubicBezTo>
                <a:cubicBezTo>
                  <a:pt x="1265" y="23"/>
                  <a:pt x="1267" y="22"/>
                  <a:pt x="1269" y="22"/>
                </a:cubicBezTo>
                <a:close/>
                <a:moveTo>
                  <a:pt x="1310" y="25"/>
                </a:moveTo>
                <a:cubicBezTo>
                  <a:pt x="1311" y="20"/>
                  <a:pt x="1311" y="20"/>
                  <a:pt x="1311" y="20"/>
                </a:cubicBezTo>
                <a:cubicBezTo>
                  <a:pt x="1311" y="20"/>
                  <a:pt x="1309" y="19"/>
                  <a:pt x="1308" y="19"/>
                </a:cubicBezTo>
                <a:cubicBezTo>
                  <a:pt x="1306" y="19"/>
                  <a:pt x="1304" y="19"/>
                  <a:pt x="1303" y="19"/>
                </a:cubicBezTo>
                <a:cubicBezTo>
                  <a:pt x="1300" y="19"/>
                  <a:pt x="1298" y="19"/>
                  <a:pt x="1296" y="20"/>
                </a:cubicBezTo>
                <a:cubicBezTo>
                  <a:pt x="1293" y="21"/>
                  <a:pt x="1292" y="22"/>
                  <a:pt x="1291" y="24"/>
                </a:cubicBezTo>
                <a:cubicBezTo>
                  <a:pt x="1289" y="26"/>
                  <a:pt x="1289" y="27"/>
                  <a:pt x="1289" y="30"/>
                </a:cubicBezTo>
                <a:cubicBezTo>
                  <a:pt x="1289" y="34"/>
                  <a:pt x="1291" y="38"/>
                  <a:pt x="1296" y="41"/>
                </a:cubicBezTo>
                <a:cubicBezTo>
                  <a:pt x="1298" y="43"/>
                  <a:pt x="1300" y="44"/>
                  <a:pt x="1301" y="45"/>
                </a:cubicBezTo>
                <a:cubicBezTo>
                  <a:pt x="1302" y="46"/>
                  <a:pt x="1303" y="48"/>
                  <a:pt x="1303" y="50"/>
                </a:cubicBezTo>
                <a:cubicBezTo>
                  <a:pt x="1303" y="51"/>
                  <a:pt x="1302" y="53"/>
                  <a:pt x="1301" y="54"/>
                </a:cubicBezTo>
                <a:cubicBezTo>
                  <a:pt x="1299" y="55"/>
                  <a:pt x="1297" y="55"/>
                  <a:pt x="1295" y="55"/>
                </a:cubicBezTo>
                <a:cubicBezTo>
                  <a:pt x="1293" y="55"/>
                  <a:pt x="1292" y="55"/>
                  <a:pt x="1290" y="54"/>
                </a:cubicBezTo>
                <a:cubicBezTo>
                  <a:pt x="1288" y="53"/>
                  <a:pt x="1287" y="53"/>
                  <a:pt x="1286" y="52"/>
                </a:cubicBezTo>
                <a:cubicBezTo>
                  <a:pt x="1285" y="57"/>
                  <a:pt x="1285" y="57"/>
                  <a:pt x="1285" y="57"/>
                </a:cubicBezTo>
                <a:cubicBezTo>
                  <a:pt x="1285" y="58"/>
                  <a:pt x="1287" y="58"/>
                  <a:pt x="1289" y="58"/>
                </a:cubicBezTo>
                <a:cubicBezTo>
                  <a:pt x="1291" y="59"/>
                  <a:pt x="1293" y="59"/>
                  <a:pt x="1295" y="59"/>
                </a:cubicBezTo>
                <a:cubicBezTo>
                  <a:pt x="1299" y="59"/>
                  <a:pt x="1303" y="58"/>
                  <a:pt x="1305" y="56"/>
                </a:cubicBezTo>
                <a:cubicBezTo>
                  <a:pt x="1308" y="54"/>
                  <a:pt x="1309" y="52"/>
                  <a:pt x="1309" y="48"/>
                </a:cubicBezTo>
                <a:cubicBezTo>
                  <a:pt x="1309" y="46"/>
                  <a:pt x="1309" y="45"/>
                  <a:pt x="1308" y="43"/>
                </a:cubicBezTo>
                <a:cubicBezTo>
                  <a:pt x="1307" y="42"/>
                  <a:pt x="1306" y="41"/>
                  <a:pt x="1305" y="40"/>
                </a:cubicBezTo>
                <a:cubicBezTo>
                  <a:pt x="1304" y="39"/>
                  <a:pt x="1303" y="38"/>
                  <a:pt x="1301" y="36"/>
                </a:cubicBezTo>
                <a:cubicBezTo>
                  <a:pt x="1299" y="35"/>
                  <a:pt x="1298" y="34"/>
                  <a:pt x="1297" y="32"/>
                </a:cubicBezTo>
                <a:cubicBezTo>
                  <a:pt x="1296" y="31"/>
                  <a:pt x="1295" y="30"/>
                  <a:pt x="1295" y="28"/>
                </a:cubicBezTo>
                <a:cubicBezTo>
                  <a:pt x="1295" y="26"/>
                  <a:pt x="1296" y="25"/>
                  <a:pt x="1297" y="24"/>
                </a:cubicBezTo>
                <a:cubicBezTo>
                  <a:pt x="1299" y="23"/>
                  <a:pt x="1300" y="23"/>
                  <a:pt x="1303" y="23"/>
                </a:cubicBezTo>
                <a:cubicBezTo>
                  <a:pt x="1304" y="23"/>
                  <a:pt x="1306" y="23"/>
                  <a:pt x="1307" y="24"/>
                </a:cubicBezTo>
                <a:cubicBezTo>
                  <a:pt x="1309" y="24"/>
                  <a:pt x="1310" y="25"/>
                  <a:pt x="1310" y="25"/>
                </a:cubicBezTo>
                <a:close/>
                <a:moveTo>
                  <a:pt x="1047" y="110"/>
                </a:moveTo>
                <a:cubicBezTo>
                  <a:pt x="1052" y="111"/>
                  <a:pt x="1052" y="111"/>
                  <a:pt x="1052" y="111"/>
                </a:cubicBezTo>
                <a:cubicBezTo>
                  <a:pt x="1046" y="156"/>
                  <a:pt x="1046" y="156"/>
                  <a:pt x="1046" y="156"/>
                </a:cubicBezTo>
                <a:cubicBezTo>
                  <a:pt x="1041" y="157"/>
                  <a:pt x="1041" y="157"/>
                  <a:pt x="1041" y="157"/>
                </a:cubicBezTo>
                <a:cubicBezTo>
                  <a:pt x="1041" y="159"/>
                  <a:pt x="1041" y="159"/>
                  <a:pt x="1041" y="159"/>
                </a:cubicBezTo>
                <a:cubicBezTo>
                  <a:pt x="1078" y="159"/>
                  <a:pt x="1078" y="159"/>
                  <a:pt x="1078" y="159"/>
                </a:cubicBezTo>
                <a:cubicBezTo>
                  <a:pt x="1081" y="147"/>
                  <a:pt x="1081" y="147"/>
                  <a:pt x="1081" y="147"/>
                </a:cubicBezTo>
                <a:cubicBezTo>
                  <a:pt x="1077" y="146"/>
                  <a:pt x="1077" y="146"/>
                  <a:pt x="1077" y="146"/>
                </a:cubicBezTo>
                <a:cubicBezTo>
                  <a:pt x="1073" y="155"/>
                  <a:pt x="1073" y="155"/>
                  <a:pt x="1073" y="155"/>
                </a:cubicBezTo>
                <a:cubicBezTo>
                  <a:pt x="1053" y="156"/>
                  <a:pt x="1053" y="156"/>
                  <a:pt x="1053" y="156"/>
                </a:cubicBezTo>
                <a:cubicBezTo>
                  <a:pt x="1056" y="134"/>
                  <a:pt x="1056" y="134"/>
                  <a:pt x="1056" y="134"/>
                </a:cubicBezTo>
                <a:cubicBezTo>
                  <a:pt x="1072" y="135"/>
                  <a:pt x="1072" y="135"/>
                  <a:pt x="1072" y="135"/>
                </a:cubicBezTo>
                <a:cubicBezTo>
                  <a:pt x="1073" y="130"/>
                  <a:pt x="1073" y="130"/>
                  <a:pt x="1073" y="130"/>
                </a:cubicBezTo>
                <a:cubicBezTo>
                  <a:pt x="1057" y="130"/>
                  <a:pt x="1057" y="130"/>
                  <a:pt x="1057" y="130"/>
                </a:cubicBezTo>
                <a:cubicBezTo>
                  <a:pt x="1059" y="110"/>
                  <a:pt x="1059" y="110"/>
                  <a:pt x="1059" y="110"/>
                </a:cubicBezTo>
                <a:cubicBezTo>
                  <a:pt x="1075" y="111"/>
                  <a:pt x="1075" y="111"/>
                  <a:pt x="1075" y="111"/>
                </a:cubicBezTo>
                <a:cubicBezTo>
                  <a:pt x="1076" y="118"/>
                  <a:pt x="1076" y="118"/>
                  <a:pt x="1076" y="118"/>
                </a:cubicBezTo>
                <a:cubicBezTo>
                  <a:pt x="1080" y="118"/>
                  <a:pt x="1080" y="118"/>
                  <a:pt x="1080" y="118"/>
                </a:cubicBezTo>
                <a:cubicBezTo>
                  <a:pt x="1081" y="107"/>
                  <a:pt x="1081" y="107"/>
                  <a:pt x="1081" y="107"/>
                </a:cubicBezTo>
                <a:cubicBezTo>
                  <a:pt x="1048" y="107"/>
                  <a:pt x="1048" y="107"/>
                  <a:pt x="1048" y="107"/>
                </a:cubicBezTo>
                <a:lnTo>
                  <a:pt x="1047" y="110"/>
                </a:lnTo>
                <a:close/>
                <a:moveTo>
                  <a:pt x="1100" y="129"/>
                </a:moveTo>
                <a:cubicBezTo>
                  <a:pt x="1100" y="120"/>
                  <a:pt x="1100" y="120"/>
                  <a:pt x="1100" y="120"/>
                </a:cubicBezTo>
                <a:cubicBezTo>
                  <a:pt x="1099" y="119"/>
                  <a:pt x="1099" y="119"/>
                  <a:pt x="1099" y="119"/>
                </a:cubicBezTo>
                <a:cubicBezTo>
                  <a:pt x="1090" y="121"/>
                  <a:pt x="1090" y="121"/>
                  <a:pt x="1090" y="121"/>
                </a:cubicBezTo>
                <a:cubicBezTo>
                  <a:pt x="1090" y="124"/>
                  <a:pt x="1090" y="124"/>
                  <a:pt x="1090" y="124"/>
                </a:cubicBezTo>
                <a:cubicBezTo>
                  <a:pt x="1093" y="125"/>
                  <a:pt x="1093" y="125"/>
                  <a:pt x="1093" y="125"/>
                </a:cubicBezTo>
                <a:cubicBezTo>
                  <a:pt x="1089" y="159"/>
                  <a:pt x="1089" y="159"/>
                  <a:pt x="1089" y="159"/>
                </a:cubicBezTo>
                <a:cubicBezTo>
                  <a:pt x="1095" y="159"/>
                  <a:pt x="1095" y="159"/>
                  <a:pt x="1095" y="159"/>
                </a:cubicBezTo>
                <a:cubicBezTo>
                  <a:pt x="1099" y="134"/>
                  <a:pt x="1099" y="134"/>
                  <a:pt x="1099" y="134"/>
                </a:cubicBezTo>
                <a:cubicBezTo>
                  <a:pt x="1101" y="131"/>
                  <a:pt x="1103" y="129"/>
                  <a:pt x="1105" y="127"/>
                </a:cubicBezTo>
                <a:cubicBezTo>
                  <a:pt x="1107" y="125"/>
                  <a:pt x="1109" y="124"/>
                  <a:pt x="1111" y="124"/>
                </a:cubicBezTo>
                <a:cubicBezTo>
                  <a:pt x="1113" y="124"/>
                  <a:pt x="1114" y="125"/>
                  <a:pt x="1114" y="126"/>
                </a:cubicBezTo>
                <a:cubicBezTo>
                  <a:pt x="1115" y="127"/>
                  <a:pt x="1115" y="128"/>
                  <a:pt x="1115" y="130"/>
                </a:cubicBezTo>
                <a:cubicBezTo>
                  <a:pt x="1115" y="132"/>
                  <a:pt x="1115" y="134"/>
                  <a:pt x="1115" y="135"/>
                </a:cubicBezTo>
                <a:cubicBezTo>
                  <a:pt x="1115" y="137"/>
                  <a:pt x="1114" y="140"/>
                  <a:pt x="1114" y="142"/>
                </a:cubicBezTo>
                <a:cubicBezTo>
                  <a:pt x="1114" y="144"/>
                  <a:pt x="1114" y="144"/>
                  <a:pt x="1114" y="144"/>
                </a:cubicBezTo>
                <a:cubicBezTo>
                  <a:pt x="1113" y="147"/>
                  <a:pt x="1113" y="147"/>
                  <a:pt x="1113" y="147"/>
                </a:cubicBezTo>
                <a:cubicBezTo>
                  <a:pt x="1112" y="151"/>
                  <a:pt x="1112" y="154"/>
                  <a:pt x="1112" y="156"/>
                </a:cubicBezTo>
                <a:cubicBezTo>
                  <a:pt x="1112" y="159"/>
                  <a:pt x="1113" y="160"/>
                  <a:pt x="1116" y="160"/>
                </a:cubicBezTo>
                <a:cubicBezTo>
                  <a:pt x="1117" y="160"/>
                  <a:pt x="1119" y="160"/>
                  <a:pt x="1120" y="159"/>
                </a:cubicBezTo>
                <a:cubicBezTo>
                  <a:pt x="1121" y="159"/>
                  <a:pt x="1122" y="158"/>
                  <a:pt x="1123" y="157"/>
                </a:cubicBezTo>
                <a:cubicBezTo>
                  <a:pt x="1123" y="157"/>
                  <a:pt x="1124" y="156"/>
                  <a:pt x="1124" y="156"/>
                </a:cubicBezTo>
                <a:cubicBezTo>
                  <a:pt x="1123" y="154"/>
                  <a:pt x="1123" y="154"/>
                  <a:pt x="1123" y="154"/>
                </a:cubicBezTo>
                <a:cubicBezTo>
                  <a:pt x="1122" y="155"/>
                  <a:pt x="1121" y="156"/>
                  <a:pt x="1120" y="156"/>
                </a:cubicBezTo>
                <a:cubicBezTo>
                  <a:pt x="1119" y="156"/>
                  <a:pt x="1119" y="155"/>
                  <a:pt x="1119" y="154"/>
                </a:cubicBezTo>
                <a:cubicBezTo>
                  <a:pt x="1119" y="152"/>
                  <a:pt x="1119" y="149"/>
                  <a:pt x="1120" y="145"/>
                </a:cubicBezTo>
                <a:cubicBezTo>
                  <a:pt x="1121" y="142"/>
                  <a:pt x="1121" y="142"/>
                  <a:pt x="1121" y="142"/>
                </a:cubicBezTo>
                <a:cubicBezTo>
                  <a:pt x="1121" y="140"/>
                  <a:pt x="1121" y="140"/>
                  <a:pt x="1121" y="140"/>
                </a:cubicBezTo>
                <a:cubicBezTo>
                  <a:pt x="1122" y="135"/>
                  <a:pt x="1122" y="132"/>
                  <a:pt x="1122" y="130"/>
                </a:cubicBezTo>
                <a:cubicBezTo>
                  <a:pt x="1122" y="126"/>
                  <a:pt x="1122" y="123"/>
                  <a:pt x="1120" y="122"/>
                </a:cubicBezTo>
                <a:cubicBezTo>
                  <a:pt x="1119" y="120"/>
                  <a:pt x="1117" y="119"/>
                  <a:pt x="1114" y="119"/>
                </a:cubicBezTo>
                <a:cubicBezTo>
                  <a:pt x="1112" y="119"/>
                  <a:pt x="1109" y="120"/>
                  <a:pt x="1106" y="122"/>
                </a:cubicBezTo>
                <a:cubicBezTo>
                  <a:pt x="1104" y="124"/>
                  <a:pt x="1102" y="126"/>
                  <a:pt x="1100" y="129"/>
                </a:cubicBezTo>
                <a:close/>
                <a:moveTo>
                  <a:pt x="1159" y="162"/>
                </a:moveTo>
                <a:cubicBezTo>
                  <a:pt x="1165" y="119"/>
                  <a:pt x="1165" y="119"/>
                  <a:pt x="1165" y="119"/>
                </a:cubicBezTo>
                <a:cubicBezTo>
                  <a:pt x="1160" y="121"/>
                  <a:pt x="1160" y="121"/>
                  <a:pt x="1160" y="121"/>
                </a:cubicBezTo>
                <a:cubicBezTo>
                  <a:pt x="1159" y="121"/>
                  <a:pt x="1158" y="120"/>
                  <a:pt x="1157" y="120"/>
                </a:cubicBezTo>
                <a:cubicBezTo>
                  <a:pt x="1155" y="120"/>
                  <a:pt x="1154" y="119"/>
                  <a:pt x="1153" y="119"/>
                </a:cubicBezTo>
                <a:cubicBezTo>
                  <a:pt x="1148" y="119"/>
                  <a:pt x="1144" y="121"/>
                  <a:pt x="1141" y="123"/>
                </a:cubicBezTo>
                <a:cubicBezTo>
                  <a:pt x="1137" y="126"/>
                  <a:pt x="1135" y="129"/>
                  <a:pt x="1133" y="133"/>
                </a:cubicBezTo>
                <a:cubicBezTo>
                  <a:pt x="1131" y="137"/>
                  <a:pt x="1130" y="141"/>
                  <a:pt x="1130" y="145"/>
                </a:cubicBezTo>
                <a:cubicBezTo>
                  <a:pt x="1130" y="150"/>
                  <a:pt x="1131" y="153"/>
                  <a:pt x="1133" y="156"/>
                </a:cubicBezTo>
                <a:cubicBezTo>
                  <a:pt x="1135" y="159"/>
                  <a:pt x="1138" y="160"/>
                  <a:pt x="1142" y="160"/>
                </a:cubicBezTo>
                <a:cubicBezTo>
                  <a:pt x="1144" y="160"/>
                  <a:pt x="1146" y="159"/>
                  <a:pt x="1148" y="158"/>
                </a:cubicBezTo>
                <a:cubicBezTo>
                  <a:pt x="1150" y="157"/>
                  <a:pt x="1152" y="156"/>
                  <a:pt x="1153" y="155"/>
                </a:cubicBezTo>
                <a:cubicBezTo>
                  <a:pt x="1151" y="164"/>
                  <a:pt x="1151" y="164"/>
                  <a:pt x="1151" y="164"/>
                </a:cubicBezTo>
                <a:cubicBezTo>
                  <a:pt x="1151" y="167"/>
                  <a:pt x="1150" y="169"/>
                  <a:pt x="1149" y="170"/>
                </a:cubicBezTo>
                <a:cubicBezTo>
                  <a:pt x="1147" y="172"/>
                  <a:pt x="1145" y="172"/>
                  <a:pt x="1142" y="172"/>
                </a:cubicBezTo>
                <a:cubicBezTo>
                  <a:pt x="1140" y="172"/>
                  <a:pt x="1139" y="172"/>
                  <a:pt x="1137" y="171"/>
                </a:cubicBezTo>
                <a:cubicBezTo>
                  <a:pt x="1136" y="171"/>
                  <a:pt x="1134" y="170"/>
                  <a:pt x="1133" y="170"/>
                </a:cubicBezTo>
                <a:cubicBezTo>
                  <a:pt x="1132" y="175"/>
                  <a:pt x="1132" y="175"/>
                  <a:pt x="1132" y="175"/>
                </a:cubicBezTo>
                <a:cubicBezTo>
                  <a:pt x="1132" y="176"/>
                  <a:pt x="1134" y="176"/>
                  <a:pt x="1135" y="176"/>
                </a:cubicBezTo>
                <a:cubicBezTo>
                  <a:pt x="1137" y="177"/>
                  <a:pt x="1138" y="177"/>
                  <a:pt x="1140" y="177"/>
                </a:cubicBezTo>
                <a:cubicBezTo>
                  <a:pt x="1142" y="177"/>
                  <a:pt x="1145" y="176"/>
                  <a:pt x="1148" y="175"/>
                </a:cubicBezTo>
                <a:cubicBezTo>
                  <a:pt x="1150" y="174"/>
                  <a:pt x="1153" y="173"/>
                  <a:pt x="1155" y="170"/>
                </a:cubicBezTo>
                <a:cubicBezTo>
                  <a:pt x="1157" y="168"/>
                  <a:pt x="1158" y="165"/>
                  <a:pt x="1159" y="162"/>
                </a:cubicBezTo>
                <a:close/>
                <a:moveTo>
                  <a:pt x="1157" y="125"/>
                </a:moveTo>
                <a:cubicBezTo>
                  <a:pt x="1154" y="150"/>
                  <a:pt x="1154" y="150"/>
                  <a:pt x="1154" y="150"/>
                </a:cubicBezTo>
                <a:cubicBezTo>
                  <a:pt x="1152" y="151"/>
                  <a:pt x="1151" y="153"/>
                  <a:pt x="1149" y="154"/>
                </a:cubicBezTo>
                <a:cubicBezTo>
                  <a:pt x="1148" y="155"/>
                  <a:pt x="1146" y="155"/>
                  <a:pt x="1144" y="155"/>
                </a:cubicBezTo>
                <a:cubicBezTo>
                  <a:pt x="1142" y="155"/>
                  <a:pt x="1140" y="155"/>
                  <a:pt x="1139" y="153"/>
                </a:cubicBezTo>
                <a:cubicBezTo>
                  <a:pt x="1138" y="151"/>
                  <a:pt x="1138" y="148"/>
                  <a:pt x="1138" y="145"/>
                </a:cubicBezTo>
                <a:cubicBezTo>
                  <a:pt x="1138" y="142"/>
                  <a:pt x="1138" y="138"/>
                  <a:pt x="1139" y="135"/>
                </a:cubicBezTo>
                <a:cubicBezTo>
                  <a:pt x="1140" y="132"/>
                  <a:pt x="1142" y="129"/>
                  <a:pt x="1144" y="127"/>
                </a:cubicBezTo>
                <a:cubicBezTo>
                  <a:pt x="1146" y="124"/>
                  <a:pt x="1149" y="123"/>
                  <a:pt x="1152" y="123"/>
                </a:cubicBezTo>
                <a:cubicBezTo>
                  <a:pt x="1154" y="123"/>
                  <a:pt x="1156" y="124"/>
                  <a:pt x="1157" y="125"/>
                </a:cubicBezTo>
                <a:close/>
                <a:moveTo>
                  <a:pt x="1181" y="153"/>
                </a:moveTo>
                <a:cubicBezTo>
                  <a:pt x="1185" y="120"/>
                  <a:pt x="1185" y="120"/>
                  <a:pt x="1185" y="120"/>
                </a:cubicBezTo>
                <a:cubicBezTo>
                  <a:pt x="1184" y="119"/>
                  <a:pt x="1184" y="119"/>
                  <a:pt x="1184" y="119"/>
                </a:cubicBezTo>
                <a:cubicBezTo>
                  <a:pt x="1174" y="121"/>
                  <a:pt x="1174" y="121"/>
                  <a:pt x="1174" y="121"/>
                </a:cubicBezTo>
                <a:cubicBezTo>
                  <a:pt x="1173" y="123"/>
                  <a:pt x="1173" y="123"/>
                  <a:pt x="1173" y="123"/>
                </a:cubicBezTo>
                <a:cubicBezTo>
                  <a:pt x="1178" y="125"/>
                  <a:pt x="1178" y="125"/>
                  <a:pt x="1178" y="125"/>
                </a:cubicBezTo>
                <a:cubicBezTo>
                  <a:pt x="1177" y="132"/>
                  <a:pt x="1176" y="138"/>
                  <a:pt x="1175" y="142"/>
                </a:cubicBezTo>
                <a:cubicBezTo>
                  <a:pt x="1174" y="150"/>
                  <a:pt x="1174" y="154"/>
                  <a:pt x="1173" y="156"/>
                </a:cubicBezTo>
                <a:cubicBezTo>
                  <a:pt x="1173" y="157"/>
                  <a:pt x="1174" y="158"/>
                  <a:pt x="1174" y="159"/>
                </a:cubicBezTo>
                <a:cubicBezTo>
                  <a:pt x="1175" y="160"/>
                  <a:pt x="1176" y="160"/>
                  <a:pt x="1178" y="160"/>
                </a:cubicBezTo>
                <a:cubicBezTo>
                  <a:pt x="1180" y="160"/>
                  <a:pt x="1182" y="159"/>
                  <a:pt x="1183" y="158"/>
                </a:cubicBezTo>
                <a:cubicBezTo>
                  <a:pt x="1184" y="157"/>
                  <a:pt x="1185" y="156"/>
                  <a:pt x="1186" y="155"/>
                </a:cubicBezTo>
                <a:cubicBezTo>
                  <a:pt x="1185" y="154"/>
                  <a:pt x="1185" y="154"/>
                  <a:pt x="1185" y="154"/>
                </a:cubicBezTo>
                <a:cubicBezTo>
                  <a:pt x="1184" y="154"/>
                  <a:pt x="1184" y="155"/>
                  <a:pt x="1183" y="155"/>
                </a:cubicBezTo>
                <a:cubicBezTo>
                  <a:pt x="1183" y="156"/>
                  <a:pt x="1182" y="156"/>
                  <a:pt x="1182" y="156"/>
                </a:cubicBezTo>
                <a:cubicBezTo>
                  <a:pt x="1181" y="156"/>
                  <a:pt x="1181" y="156"/>
                  <a:pt x="1181" y="155"/>
                </a:cubicBezTo>
                <a:cubicBezTo>
                  <a:pt x="1181" y="155"/>
                  <a:pt x="1180" y="155"/>
                  <a:pt x="1180" y="154"/>
                </a:cubicBezTo>
                <a:lnTo>
                  <a:pt x="1181" y="153"/>
                </a:lnTo>
                <a:close/>
                <a:moveTo>
                  <a:pt x="1183" y="112"/>
                </a:moveTo>
                <a:cubicBezTo>
                  <a:pt x="1184" y="112"/>
                  <a:pt x="1185" y="111"/>
                  <a:pt x="1186" y="110"/>
                </a:cubicBezTo>
                <a:cubicBezTo>
                  <a:pt x="1187" y="109"/>
                  <a:pt x="1188" y="108"/>
                  <a:pt x="1188" y="107"/>
                </a:cubicBezTo>
                <a:cubicBezTo>
                  <a:pt x="1188" y="106"/>
                  <a:pt x="1187" y="105"/>
                  <a:pt x="1187" y="104"/>
                </a:cubicBezTo>
                <a:cubicBezTo>
                  <a:pt x="1186" y="103"/>
                  <a:pt x="1185" y="103"/>
                  <a:pt x="1184" y="103"/>
                </a:cubicBezTo>
                <a:cubicBezTo>
                  <a:pt x="1182" y="103"/>
                  <a:pt x="1181" y="103"/>
                  <a:pt x="1180" y="104"/>
                </a:cubicBezTo>
                <a:cubicBezTo>
                  <a:pt x="1180" y="105"/>
                  <a:pt x="1179" y="107"/>
                  <a:pt x="1179" y="108"/>
                </a:cubicBezTo>
                <a:cubicBezTo>
                  <a:pt x="1179" y="109"/>
                  <a:pt x="1179" y="110"/>
                  <a:pt x="1180" y="111"/>
                </a:cubicBezTo>
                <a:cubicBezTo>
                  <a:pt x="1181" y="111"/>
                  <a:pt x="1182" y="112"/>
                  <a:pt x="1183" y="112"/>
                </a:cubicBezTo>
                <a:close/>
                <a:moveTo>
                  <a:pt x="1207" y="129"/>
                </a:moveTo>
                <a:cubicBezTo>
                  <a:pt x="1208" y="120"/>
                  <a:pt x="1208" y="120"/>
                  <a:pt x="1208" y="120"/>
                </a:cubicBezTo>
                <a:cubicBezTo>
                  <a:pt x="1207" y="119"/>
                  <a:pt x="1207" y="119"/>
                  <a:pt x="1207" y="119"/>
                </a:cubicBezTo>
                <a:cubicBezTo>
                  <a:pt x="1198" y="121"/>
                  <a:pt x="1198" y="121"/>
                  <a:pt x="1198" y="121"/>
                </a:cubicBezTo>
                <a:cubicBezTo>
                  <a:pt x="1198" y="124"/>
                  <a:pt x="1198" y="124"/>
                  <a:pt x="1198" y="124"/>
                </a:cubicBezTo>
                <a:cubicBezTo>
                  <a:pt x="1201" y="125"/>
                  <a:pt x="1201" y="125"/>
                  <a:pt x="1201" y="125"/>
                </a:cubicBezTo>
                <a:cubicBezTo>
                  <a:pt x="1196" y="159"/>
                  <a:pt x="1196" y="159"/>
                  <a:pt x="1196" y="159"/>
                </a:cubicBezTo>
                <a:cubicBezTo>
                  <a:pt x="1203" y="159"/>
                  <a:pt x="1203" y="159"/>
                  <a:pt x="1203" y="159"/>
                </a:cubicBezTo>
                <a:cubicBezTo>
                  <a:pt x="1207" y="134"/>
                  <a:pt x="1207" y="134"/>
                  <a:pt x="1207" y="134"/>
                </a:cubicBezTo>
                <a:cubicBezTo>
                  <a:pt x="1208" y="131"/>
                  <a:pt x="1210" y="129"/>
                  <a:pt x="1213" y="127"/>
                </a:cubicBezTo>
                <a:cubicBezTo>
                  <a:pt x="1215" y="125"/>
                  <a:pt x="1217" y="124"/>
                  <a:pt x="1219" y="124"/>
                </a:cubicBezTo>
                <a:cubicBezTo>
                  <a:pt x="1220" y="124"/>
                  <a:pt x="1221" y="125"/>
                  <a:pt x="1222" y="126"/>
                </a:cubicBezTo>
                <a:cubicBezTo>
                  <a:pt x="1223" y="127"/>
                  <a:pt x="1223" y="128"/>
                  <a:pt x="1223" y="130"/>
                </a:cubicBezTo>
                <a:cubicBezTo>
                  <a:pt x="1223" y="132"/>
                  <a:pt x="1223" y="134"/>
                  <a:pt x="1223" y="135"/>
                </a:cubicBezTo>
                <a:cubicBezTo>
                  <a:pt x="1222" y="137"/>
                  <a:pt x="1222" y="140"/>
                  <a:pt x="1222" y="142"/>
                </a:cubicBezTo>
                <a:cubicBezTo>
                  <a:pt x="1221" y="144"/>
                  <a:pt x="1221" y="144"/>
                  <a:pt x="1221" y="144"/>
                </a:cubicBezTo>
                <a:cubicBezTo>
                  <a:pt x="1221" y="147"/>
                  <a:pt x="1221" y="147"/>
                  <a:pt x="1221" y="147"/>
                </a:cubicBezTo>
                <a:cubicBezTo>
                  <a:pt x="1220" y="151"/>
                  <a:pt x="1219" y="154"/>
                  <a:pt x="1219" y="156"/>
                </a:cubicBezTo>
                <a:cubicBezTo>
                  <a:pt x="1219" y="159"/>
                  <a:pt x="1221" y="160"/>
                  <a:pt x="1224" y="160"/>
                </a:cubicBezTo>
                <a:cubicBezTo>
                  <a:pt x="1225" y="160"/>
                  <a:pt x="1226" y="160"/>
                  <a:pt x="1227" y="159"/>
                </a:cubicBezTo>
                <a:cubicBezTo>
                  <a:pt x="1228" y="159"/>
                  <a:pt x="1229" y="158"/>
                  <a:pt x="1230" y="157"/>
                </a:cubicBezTo>
                <a:cubicBezTo>
                  <a:pt x="1231" y="157"/>
                  <a:pt x="1231" y="156"/>
                  <a:pt x="1232" y="156"/>
                </a:cubicBezTo>
                <a:cubicBezTo>
                  <a:pt x="1231" y="154"/>
                  <a:pt x="1231" y="154"/>
                  <a:pt x="1231" y="154"/>
                </a:cubicBezTo>
                <a:cubicBezTo>
                  <a:pt x="1229" y="155"/>
                  <a:pt x="1228" y="156"/>
                  <a:pt x="1227" y="156"/>
                </a:cubicBezTo>
                <a:cubicBezTo>
                  <a:pt x="1227" y="156"/>
                  <a:pt x="1227" y="155"/>
                  <a:pt x="1227" y="154"/>
                </a:cubicBezTo>
                <a:cubicBezTo>
                  <a:pt x="1227" y="152"/>
                  <a:pt x="1227" y="149"/>
                  <a:pt x="1228" y="145"/>
                </a:cubicBezTo>
                <a:cubicBezTo>
                  <a:pt x="1228" y="142"/>
                  <a:pt x="1228" y="142"/>
                  <a:pt x="1228" y="142"/>
                </a:cubicBezTo>
                <a:cubicBezTo>
                  <a:pt x="1229" y="140"/>
                  <a:pt x="1229" y="140"/>
                  <a:pt x="1229" y="140"/>
                </a:cubicBezTo>
                <a:cubicBezTo>
                  <a:pt x="1230" y="135"/>
                  <a:pt x="1230" y="132"/>
                  <a:pt x="1230" y="130"/>
                </a:cubicBezTo>
                <a:cubicBezTo>
                  <a:pt x="1230" y="126"/>
                  <a:pt x="1229" y="123"/>
                  <a:pt x="1228" y="122"/>
                </a:cubicBezTo>
                <a:cubicBezTo>
                  <a:pt x="1227" y="120"/>
                  <a:pt x="1225" y="119"/>
                  <a:pt x="1222" y="119"/>
                </a:cubicBezTo>
                <a:cubicBezTo>
                  <a:pt x="1219" y="119"/>
                  <a:pt x="1217" y="120"/>
                  <a:pt x="1214" y="122"/>
                </a:cubicBezTo>
                <a:cubicBezTo>
                  <a:pt x="1211" y="124"/>
                  <a:pt x="1209" y="126"/>
                  <a:pt x="1207" y="129"/>
                </a:cubicBezTo>
                <a:close/>
                <a:moveTo>
                  <a:pt x="1267" y="153"/>
                </a:moveTo>
                <a:cubicBezTo>
                  <a:pt x="1266" y="150"/>
                  <a:pt x="1266" y="150"/>
                  <a:pt x="1266" y="150"/>
                </a:cubicBezTo>
                <a:cubicBezTo>
                  <a:pt x="1264" y="152"/>
                  <a:pt x="1262" y="153"/>
                  <a:pt x="1260" y="154"/>
                </a:cubicBezTo>
                <a:cubicBezTo>
                  <a:pt x="1258" y="155"/>
                  <a:pt x="1256" y="156"/>
                  <a:pt x="1254" y="156"/>
                </a:cubicBezTo>
                <a:cubicBezTo>
                  <a:pt x="1251" y="156"/>
                  <a:pt x="1249" y="154"/>
                  <a:pt x="1248" y="152"/>
                </a:cubicBezTo>
                <a:cubicBezTo>
                  <a:pt x="1246" y="150"/>
                  <a:pt x="1246" y="147"/>
                  <a:pt x="1246" y="143"/>
                </a:cubicBezTo>
                <a:cubicBezTo>
                  <a:pt x="1249" y="143"/>
                  <a:pt x="1252" y="143"/>
                  <a:pt x="1256" y="142"/>
                </a:cubicBezTo>
                <a:cubicBezTo>
                  <a:pt x="1259" y="140"/>
                  <a:pt x="1263" y="139"/>
                  <a:pt x="1265" y="136"/>
                </a:cubicBezTo>
                <a:cubicBezTo>
                  <a:pt x="1268" y="134"/>
                  <a:pt x="1269" y="131"/>
                  <a:pt x="1269" y="128"/>
                </a:cubicBezTo>
                <a:cubicBezTo>
                  <a:pt x="1269" y="125"/>
                  <a:pt x="1268" y="123"/>
                  <a:pt x="1267" y="122"/>
                </a:cubicBezTo>
                <a:cubicBezTo>
                  <a:pt x="1265" y="120"/>
                  <a:pt x="1263" y="119"/>
                  <a:pt x="1259" y="119"/>
                </a:cubicBezTo>
                <a:cubicBezTo>
                  <a:pt x="1255" y="119"/>
                  <a:pt x="1252" y="121"/>
                  <a:pt x="1249" y="123"/>
                </a:cubicBezTo>
                <a:cubicBezTo>
                  <a:pt x="1246" y="125"/>
                  <a:pt x="1243" y="128"/>
                  <a:pt x="1241" y="132"/>
                </a:cubicBezTo>
                <a:cubicBezTo>
                  <a:pt x="1240" y="136"/>
                  <a:pt x="1239" y="140"/>
                  <a:pt x="1239" y="145"/>
                </a:cubicBezTo>
                <a:cubicBezTo>
                  <a:pt x="1239" y="147"/>
                  <a:pt x="1239" y="150"/>
                  <a:pt x="1240" y="152"/>
                </a:cubicBezTo>
                <a:cubicBezTo>
                  <a:pt x="1241" y="155"/>
                  <a:pt x="1243" y="156"/>
                  <a:pt x="1245" y="158"/>
                </a:cubicBezTo>
                <a:cubicBezTo>
                  <a:pt x="1247" y="159"/>
                  <a:pt x="1249" y="160"/>
                  <a:pt x="1253" y="160"/>
                </a:cubicBezTo>
                <a:cubicBezTo>
                  <a:pt x="1256" y="160"/>
                  <a:pt x="1259" y="159"/>
                  <a:pt x="1261" y="158"/>
                </a:cubicBezTo>
                <a:cubicBezTo>
                  <a:pt x="1264" y="156"/>
                  <a:pt x="1266" y="154"/>
                  <a:pt x="1267" y="153"/>
                </a:cubicBezTo>
                <a:close/>
                <a:moveTo>
                  <a:pt x="1258" y="123"/>
                </a:moveTo>
                <a:cubicBezTo>
                  <a:pt x="1259" y="123"/>
                  <a:pt x="1260" y="124"/>
                  <a:pt x="1261" y="125"/>
                </a:cubicBezTo>
                <a:cubicBezTo>
                  <a:pt x="1262" y="125"/>
                  <a:pt x="1263" y="127"/>
                  <a:pt x="1263" y="129"/>
                </a:cubicBezTo>
                <a:cubicBezTo>
                  <a:pt x="1263" y="131"/>
                  <a:pt x="1262" y="133"/>
                  <a:pt x="1260" y="135"/>
                </a:cubicBezTo>
                <a:cubicBezTo>
                  <a:pt x="1258" y="136"/>
                  <a:pt x="1256" y="138"/>
                  <a:pt x="1253" y="139"/>
                </a:cubicBezTo>
                <a:cubicBezTo>
                  <a:pt x="1251" y="139"/>
                  <a:pt x="1248" y="140"/>
                  <a:pt x="1246" y="140"/>
                </a:cubicBezTo>
                <a:cubicBezTo>
                  <a:pt x="1246" y="138"/>
                  <a:pt x="1247" y="135"/>
                  <a:pt x="1248" y="132"/>
                </a:cubicBezTo>
                <a:cubicBezTo>
                  <a:pt x="1249" y="130"/>
                  <a:pt x="1250" y="127"/>
                  <a:pt x="1252" y="126"/>
                </a:cubicBezTo>
                <a:cubicBezTo>
                  <a:pt x="1254" y="124"/>
                  <a:pt x="1255" y="123"/>
                  <a:pt x="1258" y="123"/>
                </a:cubicBezTo>
                <a:close/>
                <a:moveTo>
                  <a:pt x="1303" y="153"/>
                </a:moveTo>
                <a:cubicBezTo>
                  <a:pt x="1302" y="150"/>
                  <a:pt x="1302" y="150"/>
                  <a:pt x="1302" y="150"/>
                </a:cubicBezTo>
                <a:cubicBezTo>
                  <a:pt x="1300" y="152"/>
                  <a:pt x="1298" y="153"/>
                  <a:pt x="1296" y="154"/>
                </a:cubicBezTo>
                <a:cubicBezTo>
                  <a:pt x="1294" y="155"/>
                  <a:pt x="1292" y="156"/>
                  <a:pt x="1290" y="156"/>
                </a:cubicBezTo>
                <a:cubicBezTo>
                  <a:pt x="1287" y="156"/>
                  <a:pt x="1285" y="154"/>
                  <a:pt x="1284" y="152"/>
                </a:cubicBezTo>
                <a:cubicBezTo>
                  <a:pt x="1282" y="150"/>
                  <a:pt x="1282" y="147"/>
                  <a:pt x="1282" y="143"/>
                </a:cubicBezTo>
                <a:cubicBezTo>
                  <a:pt x="1285" y="143"/>
                  <a:pt x="1288" y="143"/>
                  <a:pt x="1292" y="142"/>
                </a:cubicBezTo>
                <a:cubicBezTo>
                  <a:pt x="1295" y="140"/>
                  <a:pt x="1299" y="139"/>
                  <a:pt x="1301" y="136"/>
                </a:cubicBezTo>
                <a:cubicBezTo>
                  <a:pt x="1304" y="134"/>
                  <a:pt x="1305" y="131"/>
                  <a:pt x="1305" y="128"/>
                </a:cubicBezTo>
                <a:cubicBezTo>
                  <a:pt x="1305" y="125"/>
                  <a:pt x="1304" y="123"/>
                  <a:pt x="1303" y="122"/>
                </a:cubicBezTo>
                <a:cubicBezTo>
                  <a:pt x="1301" y="120"/>
                  <a:pt x="1299" y="119"/>
                  <a:pt x="1295" y="119"/>
                </a:cubicBezTo>
                <a:cubicBezTo>
                  <a:pt x="1291" y="119"/>
                  <a:pt x="1288" y="121"/>
                  <a:pt x="1285" y="123"/>
                </a:cubicBezTo>
                <a:cubicBezTo>
                  <a:pt x="1282" y="125"/>
                  <a:pt x="1279" y="128"/>
                  <a:pt x="1277" y="132"/>
                </a:cubicBezTo>
                <a:cubicBezTo>
                  <a:pt x="1275" y="136"/>
                  <a:pt x="1275" y="140"/>
                  <a:pt x="1275" y="145"/>
                </a:cubicBezTo>
                <a:cubicBezTo>
                  <a:pt x="1275" y="147"/>
                  <a:pt x="1275" y="150"/>
                  <a:pt x="1276" y="152"/>
                </a:cubicBezTo>
                <a:cubicBezTo>
                  <a:pt x="1277" y="155"/>
                  <a:pt x="1279" y="156"/>
                  <a:pt x="1281" y="158"/>
                </a:cubicBezTo>
                <a:cubicBezTo>
                  <a:pt x="1283" y="159"/>
                  <a:pt x="1285" y="160"/>
                  <a:pt x="1288" y="160"/>
                </a:cubicBezTo>
                <a:cubicBezTo>
                  <a:pt x="1292" y="160"/>
                  <a:pt x="1295" y="159"/>
                  <a:pt x="1297" y="158"/>
                </a:cubicBezTo>
                <a:cubicBezTo>
                  <a:pt x="1300" y="156"/>
                  <a:pt x="1302" y="154"/>
                  <a:pt x="1303" y="153"/>
                </a:cubicBezTo>
                <a:close/>
                <a:moveTo>
                  <a:pt x="1294" y="123"/>
                </a:moveTo>
                <a:cubicBezTo>
                  <a:pt x="1295" y="123"/>
                  <a:pt x="1296" y="124"/>
                  <a:pt x="1297" y="125"/>
                </a:cubicBezTo>
                <a:cubicBezTo>
                  <a:pt x="1298" y="125"/>
                  <a:pt x="1298" y="127"/>
                  <a:pt x="1298" y="129"/>
                </a:cubicBezTo>
                <a:cubicBezTo>
                  <a:pt x="1298" y="131"/>
                  <a:pt x="1298" y="133"/>
                  <a:pt x="1296" y="135"/>
                </a:cubicBezTo>
                <a:cubicBezTo>
                  <a:pt x="1294" y="136"/>
                  <a:pt x="1292" y="138"/>
                  <a:pt x="1289" y="139"/>
                </a:cubicBezTo>
                <a:cubicBezTo>
                  <a:pt x="1287" y="139"/>
                  <a:pt x="1284" y="140"/>
                  <a:pt x="1282" y="140"/>
                </a:cubicBezTo>
                <a:cubicBezTo>
                  <a:pt x="1282" y="138"/>
                  <a:pt x="1283" y="135"/>
                  <a:pt x="1284" y="132"/>
                </a:cubicBezTo>
                <a:cubicBezTo>
                  <a:pt x="1285" y="130"/>
                  <a:pt x="1286" y="127"/>
                  <a:pt x="1288" y="126"/>
                </a:cubicBezTo>
                <a:cubicBezTo>
                  <a:pt x="1289" y="124"/>
                  <a:pt x="1291" y="123"/>
                  <a:pt x="1294" y="123"/>
                </a:cubicBezTo>
                <a:close/>
                <a:moveTo>
                  <a:pt x="1322" y="129"/>
                </a:moveTo>
                <a:cubicBezTo>
                  <a:pt x="1323" y="127"/>
                  <a:pt x="1323" y="127"/>
                  <a:pt x="1323" y="127"/>
                </a:cubicBezTo>
                <a:cubicBezTo>
                  <a:pt x="1323" y="120"/>
                  <a:pt x="1323" y="120"/>
                  <a:pt x="1323" y="120"/>
                </a:cubicBezTo>
                <a:cubicBezTo>
                  <a:pt x="1322" y="119"/>
                  <a:pt x="1322" y="119"/>
                  <a:pt x="1322" y="119"/>
                </a:cubicBezTo>
                <a:cubicBezTo>
                  <a:pt x="1314" y="121"/>
                  <a:pt x="1314" y="121"/>
                  <a:pt x="1314" y="121"/>
                </a:cubicBezTo>
                <a:cubicBezTo>
                  <a:pt x="1313" y="124"/>
                  <a:pt x="1313" y="124"/>
                  <a:pt x="1313" y="124"/>
                </a:cubicBezTo>
                <a:cubicBezTo>
                  <a:pt x="1317" y="125"/>
                  <a:pt x="1317" y="125"/>
                  <a:pt x="1317" y="125"/>
                </a:cubicBezTo>
                <a:cubicBezTo>
                  <a:pt x="1312" y="159"/>
                  <a:pt x="1312" y="159"/>
                  <a:pt x="1312" y="159"/>
                </a:cubicBezTo>
                <a:cubicBezTo>
                  <a:pt x="1319" y="159"/>
                  <a:pt x="1319" y="159"/>
                  <a:pt x="1319" y="159"/>
                </a:cubicBezTo>
                <a:cubicBezTo>
                  <a:pt x="1322" y="134"/>
                  <a:pt x="1322" y="134"/>
                  <a:pt x="1322" y="134"/>
                </a:cubicBezTo>
                <a:cubicBezTo>
                  <a:pt x="1323" y="132"/>
                  <a:pt x="1325" y="130"/>
                  <a:pt x="1327" y="129"/>
                </a:cubicBezTo>
                <a:cubicBezTo>
                  <a:pt x="1329" y="127"/>
                  <a:pt x="1331" y="127"/>
                  <a:pt x="1333" y="127"/>
                </a:cubicBezTo>
                <a:cubicBezTo>
                  <a:pt x="1334" y="127"/>
                  <a:pt x="1335" y="127"/>
                  <a:pt x="1336" y="127"/>
                </a:cubicBezTo>
                <a:cubicBezTo>
                  <a:pt x="1338" y="120"/>
                  <a:pt x="1338" y="120"/>
                  <a:pt x="1338" y="120"/>
                </a:cubicBezTo>
                <a:cubicBezTo>
                  <a:pt x="1337" y="120"/>
                  <a:pt x="1336" y="119"/>
                  <a:pt x="1335" y="119"/>
                </a:cubicBezTo>
                <a:cubicBezTo>
                  <a:pt x="1333" y="119"/>
                  <a:pt x="1331" y="120"/>
                  <a:pt x="1330" y="121"/>
                </a:cubicBezTo>
                <a:cubicBezTo>
                  <a:pt x="1328" y="122"/>
                  <a:pt x="1326" y="123"/>
                  <a:pt x="1325" y="125"/>
                </a:cubicBezTo>
                <a:cubicBezTo>
                  <a:pt x="1324" y="126"/>
                  <a:pt x="1323" y="128"/>
                  <a:pt x="1322" y="129"/>
                </a:cubicBezTo>
                <a:close/>
                <a:moveTo>
                  <a:pt x="1349" y="153"/>
                </a:moveTo>
                <a:cubicBezTo>
                  <a:pt x="1354" y="120"/>
                  <a:pt x="1354" y="120"/>
                  <a:pt x="1354" y="120"/>
                </a:cubicBezTo>
                <a:cubicBezTo>
                  <a:pt x="1352" y="119"/>
                  <a:pt x="1352" y="119"/>
                  <a:pt x="1352" y="119"/>
                </a:cubicBezTo>
                <a:cubicBezTo>
                  <a:pt x="1342" y="121"/>
                  <a:pt x="1342" y="121"/>
                  <a:pt x="1342" y="121"/>
                </a:cubicBezTo>
                <a:cubicBezTo>
                  <a:pt x="1342" y="123"/>
                  <a:pt x="1342" y="123"/>
                  <a:pt x="1342" y="123"/>
                </a:cubicBezTo>
                <a:cubicBezTo>
                  <a:pt x="1346" y="125"/>
                  <a:pt x="1346" y="125"/>
                  <a:pt x="1346" y="125"/>
                </a:cubicBezTo>
                <a:cubicBezTo>
                  <a:pt x="1345" y="132"/>
                  <a:pt x="1345" y="138"/>
                  <a:pt x="1344" y="142"/>
                </a:cubicBezTo>
                <a:cubicBezTo>
                  <a:pt x="1343" y="150"/>
                  <a:pt x="1342" y="154"/>
                  <a:pt x="1342" y="156"/>
                </a:cubicBezTo>
                <a:cubicBezTo>
                  <a:pt x="1342" y="157"/>
                  <a:pt x="1342" y="158"/>
                  <a:pt x="1343" y="159"/>
                </a:cubicBezTo>
                <a:cubicBezTo>
                  <a:pt x="1344" y="160"/>
                  <a:pt x="1345" y="160"/>
                  <a:pt x="1347" y="160"/>
                </a:cubicBezTo>
                <a:cubicBezTo>
                  <a:pt x="1349" y="160"/>
                  <a:pt x="1350" y="159"/>
                  <a:pt x="1352" y="158"/>
                </a:cubicBezTo>
                <a:cubicBezTo>
                  <a:pt x="1353" y="157"/>
                  <a:pt x="1354" y="156"/>
                  <a:pt x="1355" y="155"/>
                </a:cubicBezTo>
                <a:cubicBezTo>
                  <a:pt x="1354" y="154"/>
                  <a:pt x="1354" y="154"/>
                  <a:pt x="1354" y="154"/>
                </a:cubicBezTo>
                <a:cubicBezTo>
                  <a:pt x="1353" y="154"/>
                  <a:pt x="1352" y="155"/>
                  <a:pt x="1352" y="155"/>
                </a:cubicBezTo>
                <a:cubicBezTo>
                  <a:pt x="1351" y="156"/>
                  <a:pt x="1351" y="156"/>
                  <a:pt x="1350" y="156"/>
                </a:cubicBezTo>
                <a:cubicBezTo>
                  <a:pt x="1350" y="156"/>
                  <a:pt x="1350" y="156"/>
                  <a:pt x="1349" y="155"/>
                </a:cubicBezTo>
                <a:cubicBezTo>
                  <a:pt x="1349" y="155"/>
                  <a:pt x="1349" y="155"/>
                  <a:pt x="1349" y="154"/>
                </a:cubicBezTo>
                <a:lnTo>
                  <a:pt x="1349" y="153"/>
                </a:lnTo>
                <a:close/>
                <a:moveTo>
                  <a:pt x="1351" y="112"/>
                </a:moveTo>
                <a:cubicBezTo>
                  <a:pt x="1353" y="112"/>
                  <a:pt x="1354" y="111"/>
                  <a:pt x="1355" y="110"/>
                </a:cubicBezTo>
                <a:cubicBezTo>
                  <a:pt x="1356" y="109"/>
                  <a:pt x="1356" y="108"/>
                  <a:pt x="1356" y="107"/>
                </a:cubicBezTo>
                <a:cubicBezTo>
                  <a:pt x="1356" y="106"/>
                  <a:pt x="1356" y="105"/>
                  <a:pt x="1355" y="104"/>
                </a:cubicBezTo>
                <a:cubicBezTo>
                  <a:pt x="1354" y="103"/>
                  <a:pt x="1353" y="103"/>
                  <a:pt x="1352" y="103"/>
                </a:cubicBezTo>
                <a:cubicBezTo>
                  <a:pt x="1351" y="103"/>
                  <a:pt x="1350" y="103"/>
                  <a:pt x="1349" y="104"/>
                </a:cubicBezTo>
                <a:cubicBezTo>
                  <a:pt x="1348" y="105"/>
                  <a:pt x="1348" y="107"/>
                  <a:pt x="1348" y="108"/>
                </a:cubicBezTo>
                <a:cubicBezTo>
                  <a:pt x="1348" y="109"/>
                  <a:pt x="1348" y="110"/>
                  <a:pt x="1349" y="111"/>
                </a:cubicBezTo>
                <a:cubicBezTo>
                  <a:pt x="1350" y="111"/>
                  <a:pt x="1350" y="112"/>
                  <a:pt x="1351" y="112"/>
                </a:cubicBezTo>
                <a:close/>
                <a:moveTo>
                  <a:pt x="1374" y="129"/>
                </a:moveTo>
                <a:cubicBezTo>
                  <a:pt x="1375" y="120"/>
                  <a:pt x="1375" y="120"/>
                  <a:pt x="1375" y="120"/>
                </a:cubicBezTo>
                <a:cubicBezTo>
                  <a:pt x="1374" y="119"/>
                  <a:pt x="1374" y="119"/>
                  <a:pt x="1374" y="119"/>
                </a:cubicBezTo>
                <a:cubicBezTo>
                  <a:pt x="1365" y="121"/>
                  <a:pt x="1365" y="121"/>
                  <a:pt x="1365" y="121"/>
                </a:cubicBezTo>
                <a:cubicBezTo>
                  <a:pt x="1365" y="124"/>
                  <a:pt x="1365" y="124"/>
                  <a:pt x="1365" y="124"/>
                </a:cubicBezTo>
                <a:cubicBezTo>
                  <a:pt x="1368" y="125"/>
                  <a:pt x="1368" y="125"/>
                  <a:pt x="1368" y="125"/>
                </a:cubicBezTo>
                <a:cubicBezTo>
                  <a:pt x="1364" y="159"/>
                  <a:pt x="1364" y="159"/>
                  <a:pt x="1364" y="159"/>
                </a:cubicBezTo>
                <a:cubicBezTo>
                  <a:pt x="1370" y="159"/>
                  <a:pt x="1370" y="159"/>
                  <a:pt x="1370" y="159"/>
                </a:cubicBezTo>
                <a:cubicBezTo>
                  <a:pt x="1374" y="134"/>
                  <a:pt x="1374" y="134"/>
                  <a:pt x="1374" y="134"/>
                </a:cubicBezTo>
                <a:cubicBezTo>
                  <a:pt x="1375" y="131"/>
                  <a:pt x="1377" y="129"/>
                  <a:pt x="1380" y="127"/>
                </a:cubicBezTo>
                <a:cubicBezTo>
                  <a:pt x="1382" y="125"/>
                  <a:pt x="1384" y="124"/>
                  <a:pt x="1386" y="124"/>
                </a:cubicBezTo>
                <a:cubicBezTo>
                  <a:pt x="1388" y="124"/>
                  <a:pt x="1389" y="125"/>
                  <a:pt x="1389" y="126"/>
                </a:cubicBezTo>
                <a:cubicBezTo>
                  <a:pt x="1390" y="127"/>
                  <a:pt x="1390" y="128"/>
                  <a:pt x="1390" y="130"/>
                </a:cubicBezTo>
                <a:cubicBezTo>
                  <a:pt x="1390" y="132"/>
                  <a:pt x="1390" y="134"/>
                  <a:pt x="1390" y="135"/>
                </a:cubicBezTo>
                <a:cubicBezTo>
                  <a:pt x="1390" y="137"/>
                  <a:pt x="1389" y="140"/>
                  <a:pt x="1389" y="142"/>
                </a:cubicBezTo>
                <a:cubicBezTo>
                  <a:pt x="1388" y="144"/>
                  <a:pt x="1388" y="144"/>
                  <a:pt x="1388" y="144"/>
                </a:cubicBezTo>
                <a:cubicBezTo>
                  <a:pt x="1388" y="147"/>
                  <a:pt x="1388" y="147"/>
                  <a:pt x="1388" y="147"/>
                </a:cubicBezTo>
                <a:cubicBezTo>
                  <a:pt x="1387" y="151"/>
                  <a:pt x="1387" y="154"/>
                  <a:pt x="1387" y="156"/>
                </a:cubicBezTo>
                <a:cubicBezTo>
                  <a:pt x="1387" y="159"/>
                  <a:pt x="1388" y="160"/>
                  <a:pt x="1391" y="160"/>
                </a:cubicBezTo>
                <a:cubicBezTo>
                  <a:pt x="1392" y="160"/>
                  <a:pt x="1394" y="160"/>
                  <a:pt x="1395" y="159"/>
                </a:cubicBezTo>
                <a:cubicBezTo>
                  <a:pt x="1396" y="159"/>
                  <a:pt x="1397" y="158"/>
                  <a:pt x="1397" y="157"/>
                </a:cubicBezTo>
                <a:cubicBezTo>
                  <a:pt x="1398" y="157"/>
                  <a:pt x="1399" y="156"/>
                  <a:pt x="1399" y="156"/>
                </a:cubicBezTo>
                <a:cubicBezTo>
                  <a:pt x="1398" y="154"/>
                  <a:pt x="1398" y="154"/>
                  <a:pt x="1398" y="154"/>
                </a:cubicBezTo>
                <a:cubicBezTo>
                  <a:pt x="1397" y="155"/>
                  <a:pt x="1396" y="156"/>
                  <a:pt x="1395" y="156"/>
                </a:cubicBezTo>
                <a:cubicBezTo>
                  <a:pt x="1394" y="156"/>
                  <a:pt x="1394" y="155"/>
                  <a:pt x="1394" y="154"/>
                </a:cubicBezTo>
                <a:cubicBezTo>
                  <a:pt x="1394" y="152"/>
                  <a:pt x="1394" y="149"/>
                  <a:pt x="1395" y="145"/>
                </a:cubicBezTo>
                <a:cubicBezTo>
                  <a:pt x="1395" y="142"/>
                  <a:pt x="1395" y="142"/>
                  <a:pt x="1395" y="142"/>
                </a:cubicBezTo>
                <a:cubicBezTo>
                  <a:pt x="1396" y="140"/>
                  <a:pt x="1396" y="140"/>
                  <a:pt x="1396" y="140"/>
                </a:cubicBezTo>
                <a:cubicBezTo>
                  <a:pt x="1397" y="135"/>
                  <a:pt x="1397" y="132"/>
                  <a:pt x="1397" y="130"/>
                </a:cubicBezTo>
                <a:cubicBezTo>
                  <a:pt x="1397" y="126"/>
                  <a:pt x="1397" y="123"/>
                  <a:pt x="1395" y="122"/>
                </a:cubicBezTo>
                <a:cubicBezTo>
                  <a:pt x="1394" y="120"/>
                  <a:pt x="1392" y="119"/>
                  <a:pt x="1389" y="119"/>
                </a:cubicBezTo>
                <a:cubicBezTo>
                  <a:pt x="1386" y="119"/>
                  <a:pt x="1384" y="120"/>
                  <a:pt x="1381" y="122"/>
                </a:cubicBezTo>
                <a:cubicBezTo>
                  <a:pt x="1379" y="124"/>
                  <a:pt x="1376" y="126"/>
                  <a:pt x="1374" y="129"/>
                </a:cubicBezTo>
                <a:close/>
                <a:moveTo>
                  <a:pt x="1433" y="162"/>
                </a:moveTo>
                <a:cubicBezTo>
                  <a:pt x="1440" y="119"/>
                  <a:pt x="1440" y="119"/>
                  <a:pt x="1440" y="119"/>
                </a:cubicBezTo>
                <a:cubicBezTo>
                  <a:pt x="1435" y="121"/>
                  <a:pt x="1435" y="121"/>
                  <a:pt x="1435" y="121"/>
                </a:cubicBezTo>
                <a:cubicBezTo>
                  <a:pt x="1434" y="121"/>
                  <a:pt x="1433" y="120"/>
                  <a:pt x="1432" y="120"/>
                </a:cubicBezTo>
                <a:cubicBezTo>
                  <a:pt x="1430" y="120"/>
                  <a:pt x="1429" y="119"/>
                  <a:pt x="1428" y="119"/>
                </a:cubicBezTo>
                <a:cubicBezTo>
                  <a:pt x="1423" y="119"/>
                  <a:pt x="1419" y="121"/>
                  <a:pt x="1416" y="123"/>
                </a:cubicBezTo>
                <a:cubicBezTo>
                  <a:pt x="1412" y="126"/>
                  <a:pt x="1410" y="129"/>
                  <a:pt x="1408" y="133"/>
                </a:cubicBezTo>
                <a:cubicBezTo>
                  <a:pt x="1406" y="137"/>
                  <a:pt x="1405" y="141"/>
                  <a:pt x="1405" y="145"/>
                </a:cubicBezTo>
                <a:cubicBezTo>
                  <a:pt x="1405" y="150"/>
                  <a:pt x="1406" y="153"/>
                  <a:pt x="1408" y="156"/>
                </a:cubicBezTo>
                <a:cubicBezTo>
                  <a:pt x="1410" y="159"/>
                  <a:pt x="1413" y="160"/>
                  <a:pt x="1417" y="160"/>
                </a:cubicBezTo>
                <a:cubicBezTo>
                  <a:pt x="1419" y="160"/>
                  <a:pt x="1421" y="159"/>
                  <a:pt x="1423" y="158"/>
                </a:cubicBezTo>
                <a:cubicBezTo>
                  <a:pt x="1425" y="157"/>
                  <a:pt x="1426" y="156"/>
                  <a:pt x="1428" y="155"/>
                </a:cubicBezTo>
                <a:cubicBezTo>
                  <a:pt x="1426" y="164"/>
                  <a:pt x="1426" y="164"/>
                  <a:pt x="1426" y="164"/>
                </a:cubicBezTo>
                <a:cubicBezTo>
                  <a:pt x="1426" y="167"/>
                  <a:pt x="1425" y="169"/>
                  <a:pt x="1424" y="170"/>
                </a:cubicBezTo>
                <a:cubicBezTo>
                  <a:pt x="1422" y="172"/>
                  <a:pt x="1420" y="172"/>
                  <a:pt x="1417" y="172"/>
                </a:cubicBezTo>
                <a:cubicBezTo>
                  <a:pt x="1415" y="172"/>
                  <a:pt x="1414" y="172"/>
                  <a:pt x="1412" y="171"/>
                </a:cubicBezTo>
                <a:cubicBezTo>
                  <a:pt x="1410" y="171"/>
                  <a:pt x="1409" y="170"/>
                  <a:pt x="1408" y="170"/>
                </a:cubicBezTo>
                <a:cubicBezTo>
                  <a:pt x="1406" y="175"/>
                  <a:pt x="1406" y="175"/>
                  <a:pt x="1406" y="175"/>
                </a:cubicBezTo>
                <a:cubicBezTo>
                  <a:pt x="1407" y="176"/>
                  <a:pt x="1408" y="176"/>
                  <a:pt x="1410" y="176"/>
                </a:cubicBezTo>
                <a:cubicBezTo>
                  <a:pt x="1411" y="177"/>
                  <a:pt x="1413" y="177"/>
                  <a:pt x="1414" y="177"/>
                </a:cubicBezTo>
                <a:cubicBezTo>
                  <a:pt x="1417" y="177"/>
                  <a:pt x="1420" y="176"/>
                  <a:pt x="1423" y="175"/>
                </a:cubicBezTo>
                <a:cubicBezTo>
                  <a:pt x="1425" y="174"/>
                  <a:pt x="1428" y="173"/>
                  <a:pt x="1430" y="170"/>
                </a:cubicBezTo>
                <a:cubicBezTo>
                  <a:pt x="1432" y="168"/>
                  <a:pt x="1433" y="165"/>
                  <a:pt x="1433" y="162"/>
                </a:cubicBezTo>
                <a:close/>
                <a:moveTo>
                  <a:pt x="1432" y="125"/>
                </a:moveTo>
                <a:cubicBezTo>
                  <a:pt x="1428" y="150"/>
                  <a:pt x="1428" y="150"/>
                  <a:pt x="1428" y="150"/>
                </a:cubicBezTo>
                <a:cubicBezTo>
                  <a:pt x="1427" y="151"/>
                  <a:pt x="1426" y="153"/>
                  <a:pt x="1424" y="154"/>
                </a:cubicBezTo>
                <a:cubicBezTo>
                  <a:pt x="1423" y="155"/>
                  <a:pt x="1421" y="155"/>
                  <a:pt x="1419" y="155"/>
                </a:cubicBezTo>
                <a:cubicBezTo>
                  <a:pt x="1417" y="155"/>
                  <a:pt x="1415" y="155"/>
                  <a:pt x="1414" y="153"/>
                </a:cubicBezTo>
                <a:cubicBezTo>
                  <a:pt x="1413" y="151"/>
                  <a:pt x="1412" y="148"/>
                  <a:pt x="1412" y="145"/>
                </a:cubicBezTo>
                <a:cubicBezTo>
                  <a:pt x="1412" y="142"/>
                  <a:pt x="1413" y="138"/>
                  <a:pt x="1414" y="135"/>
                </a:cubicBezTo>
                <a:cubicBezTo>
                  <a:pt x="1415" y="132"/>
                  <a:pt x="1417" y="129"/>
                  <a:pt x="1419" y="127"/>
                </a:cubicBezTo>
                <a:cubicBezTo>
                  <a:pt x="1421" y="124"/>
                  <a:pt x="1424" y="123"/>
                  <a:pt x="1427" y="123"/>
                </a:cubicBezTo>
                <a:cubicBezTo>
                  <a:pt x="1429" y="123"/>
                  <a:pt x="1431" y="124"/>
                  <a:pt x="1432" y="125"/>
                </a:cubicBezTo>
                <a:close/>
                <a:moveTo>
                  <a:pt x="1076" y="242"/>
                </a:moveTo>
                <a:cubicBezTo>
                  <a:pt x="1072" y="249"/>
                  <a:pt x="1072" y="249"/>
                  <a:pt x="1072" y="249"/>
                </a:cubicBezTo>
                <a:cubicBezTo>
                  <a:pt x="1072" y="242"/>
                  <a:pt x="1072" y="242"/>
                  <a:pt x="1072" y="242"/>
                </a:cubicBezTo>
                <a:cubicBezTo>
                  <a:pt x="1066" y="208"/>
                  <a:pt x="1066" y="208"/>
                  <a:pt x="1066" y="208"/>
                </a:cubicBezTo>
                <a:cubicBezTo>
                  <a:pt x="1050" y="208"/>
                  <a:pt x="1050" y="208"/>
                  <a:pt x="1050" y="208"/>
                </a:cubicBezTo>
                <a:cubicBezTo>
                  <a:pt x="1049" y="211"/>
                  <a:pt x="1049" y="211"/>
                  <a:pt x="1049" y="211"/>
                </a:cubicBezTo>
                <a:cubicBezTo>
                  <a:pt x="1056" y="212"/>
                  <a:pt x="1056" y="212"/>
                  <a:pt x="1056" y="212"/>
                </a:cubicBezTo>
                <a:cubicBezTo>
                  <a:pt x="1045" y="256"/>
                  <a:pt x="1045" y="256"/>
                  <a:pt x="1045" y="256"/>
                </a:cubicBezTo>
                <a:cubicBezTo>
                  <a:pt x="1039" y="257"/>
                  <a:pt x="1039" y="257"/>
                  <a:pt x="1039" y="257"/>
                </a:cubicBezTo>
                <a:cubicBezTo>
                  <a:pt x="1039" y="260"/>
                  <a:pt x="1039" y="260"/>
                  <a:pt x="1039" y="260"/>
                </a:cubicBezTo>
                <a:cubicBezTo>
                  <a:pt x="1057" y="260"/>
                  <a:pt x="1057" y="260"/>
                  <a:pt x="1057" y="260"/>
                </a:cubicBezTo>
                <a:cubicBezTo>
                  <a:pt x="1057" y="257"/>
                  <a:pt x="1057" y="257"/>
                  <a:pt x="1057" y="257"/>
                </a:cubicBezTo>
                <a:cubicBezTo>
                  <a:pt x="1050" y="256"/>
                  <a:pt x="1050" y="256"/>
                  <a:pt x="1050" y="256"/>
                </a:cubicBezTo>
                <a:cubicBezTo>
                  <a:pt x="1057" y="225"/>
                  <a:pt x="1057" y="225"/>
                  <a:pt x="1057" y="225"/>
                </a:cubicBezTo>
                <a:cubicBezTo>
                  <a:pt x="1060" y="211"/>
                  <a:pt x="1060" y="211"/>
                  <a:pt x="1060" y="211"/>
                </a:cubicBezTo>
                <a:cubicBezTo>
                  <a:pt x="1062" y="225"/>
                  <a:pt x="1062" y="225"/>
                  <a:pt x="1062" y="225"/>
                </a:cubicBezTo>
                <a:cubicBezTo>
                  <a:pt x="1068" y="261"/>
                  <a:pt x="1068" y="261"/>
                  <a:pt x="1068" y="261"/>
                </a:cubicBezTo>
                <a:cubicBezTo>
                  <a:pt x="1072" y="260"/>
                  <a:pt x="1072" y="260"/>
                  <a:pt x="1072" y="260"/>
                </a:cubicBezTo>
                <a:cubicBezTo>
                  <a:pt x="1088" y="224"/>
                  <a:pt x="1088" y="224"/>
                  <a:pt x="1088" y="224"/>
                </a:cubicBezTo>
                <a:cubicBezTo>
                  <a:pt x="1094" y="211"/>
                  <a:pt x="1094" y="211"/>
                  <a:pt x="1094" y="211"/>
                </a:cubicBezTo>
                <a:cubicBezTo>
                  <a:pt x="1093" y="225"/>
                  <a:pt x="1093" y="225"/>
                  <a:pt x="1093" y="225"/>
                </a:cubicBezTo>
                <a:cubicBezTo>
                  <a:pt x="1091" y="256"/>
                  <a:pt x="1091" y="256"/>
                  <a:pt x="1091" y="256"/>
                </a:cubicBezTo>
                <a:cubicBezTo>
                  <a:pt x="1085" y="257"/>
                  <a:pt x="1085" y="257"/>
                  <a:pt x="1085" y="257"/>
                </a:cubicBezTo>
                <a:cubicBezTo>
                  <a:pt x="1084" y="260"/>
                  <a:pt x="1084" y="260"/>
                  <a:pt x="1084" y="260"/>
                </a:cubicBezTo>
                <a:cubicBezTo>
                  <a:pt x="1104" y="260"/>
                  <a:pt x="1104" y="260"/>
                  <a:pt x="1104" y="260"/>
                </a:cubicBezTo>
                <a:cubicBezTo>
                  <a:pt x="1104" y="257"/>
                  <a:pt x="1104" y="257"/>
                  <a:pt x="1104" y="257"/>
                </a:cubicBezTo>
                <a:cubicBezTo>
                  <a:pt x="1098" y="256"/>
                  <a:pt x="1098" y="256"/>
                  <a:pt x="1098" y="256"/>
                </a:cubicBezTo>
                <a:cubicBezTo>
                  <a:pt x="1099" y="212"/>
                  <a:pt x="1099" y="212"/>
                  <a:pt x="1099" y="212"/>
                </a:cubicBezTo>
                <a:cubicBezTo>
                  <a:pt x="1106" y="211"/>
                  <a:pt x="1106" y="211"/>
                  <a:pt x="1106" y="211"/>
                </a:cubicBezTo>
                <a:cubicBezTo>
                  <a:pt x="1106" y="208"/>
                  <a:pt x="1106" y="208"/>
                  <a:pt x="1106" y="208"/>
                </a:cubicBezTo>
                <a:cubicBezTo>
                  <a:pt x="1091" y="208"/>
                  <a:pt x="1091" y="208"/>
                  <a:pt x="1091" y="208"/>
                </a:cubicBezTo>
                <a:cubicBezTo>
                  <a:pt x="1090" y="211"/>
                  <a:pt x="1087" y="217"/>
                  <a:pt x="1083" y="225"/>
                </a:cubicBezTo>
                <a:cubicBezTo>
                  <a:pt x="1079" y="233"/>
                  <a:pt x="1077" y="239"/>
                  <a:pt x="1076" y="242"/>
                </a:cubicBezTo>
                <a:close/>
                <a:moveTo>
                  <a:pt x="1138" y="253"/>
                </a:moveTo>
                <a:cubicBezTo>
                  <a:pt x="1136" y="251"/>
                  <a:pt x="1136" y="251"/>
                  <a:pt x="1136" y="251"/>
                </a:cubicBezTo>
                <a:cubicBezTo>
                  <a:pt x="1134" y="253"/>
                  <a:pt x="1133" y="254"/>
                  <a:pt x="1131" y="255"/>
                </a:cubicBezTo>
                <a:cubicBezTo>
                  <a:pt x="1129" y="256"/>
                  <a:pt x="1126" y="256"/>
                  <a:pt x="1124" y="256"/>
                </a:cubicBezTo>
                <a:cubicBezTo>
                  <a:pt x="1121" y="256"/>
                  <a:pt x="1119" y="255"/>
                  <a:pt x="1118" y="253"/>
                </a:cubicBezTo>
                <a:cubicBezTo>
                  <a:pt x="1117" y="250"/>
                  <a:pt x="1116" y="247"/>
                  <a:pt x="1116" y="244"/>
                </a:cubicBezTo>
                <a:cubicBezTo>
                  <a:pt x="1119" y="244"/>
                  <a:pt x="1123" y="244"/>
                  <a:pt x="1126" y="242"/>
                </a:cubicBezTo>
                <a:cubicBezTo>
                  <a:pt x="1130" y="241"/>
                  <a:pt x="1133" y="240"/>
                  <a:pt x="1136" y="237"/>
                </a:cubicBezTo>
                <a:cubicBezTo>
                  <a:pt x="1138" y="235"/>
                  <a:pt x="1140" y="232"/>
                  <a:pt x="1140" y="229"/>
                </a:cubicBezTo>
                <a:cubicBezTo>
                  <a:pt x="1140" y="226"/>
                  <a:pt x="1139" y="224"/>
                  <a:pt x="1137" y="223"/>
                </a:cubicBezTo>
                <a:cubicBezTo>
                  <a:pt x="1135" y="221"/>
                  <a:pt x="1133" y="220"/>
                  <a:pt x="1130" y="220"/>
                </a:cubicBezTo>
                <a:cubicBezTo>
                  <a:pt x="1126" y="220"/>
                  <a:pt x="1122" y="221"/>
                  <a:pt x="1119" y="224"/>
                </a:cubicBezTo>
                <a:cubicBezTo>
                  <a:pt x="1116" y="226"/>
                  <a:pt x="1114" y="229"/>
                  <a:pt x="1112" y="233"/>
                </a:cubicBezTo>
                <a:cubicBezTo>
                  <a:pt x="1110" y="237"/>
                  <a:pt x="1109" y="241"/>
                  <a:pt x="1109" y="246"/>
                </a:cubicBezTo>
                <a:cubicBezTo>
                  <a:pt x="1109" y="248"/>
                  <a:pt x="1110" y="251"/>
                  <a:pt x="1111" y="253"/>
                </a:cubicBezTo>
                <a:cubicBezTo>
                  <a:pt x="1111" y="255"/>
                  <a:pt x="1113" y="257"/>
                  <a:pt x="1115" y="259"/>
                </a:cubicBezTo>
                <a:cubicBezTo>
                  <a:pt x="1117" y="260"/>
                  <a:pt x="1120" y="261"/>
                  <a:pt x="1123" y="261"/>
                </a:cubicBezTo>
                <a:cubicBezTo>
                  <a:pt x="1126" y="261"/>
                  <a:pt x="1129" y="260"/>
                  <a:pt x="1132" y="258"/>
                </a:cubicBezTo>
                <a:cubicBezTo>
                  <a:pt x="1135" y="257"/>
                  <a:pt x="1136" y="255"/>
                  <a:pt x="1138" y="253"/>
                </a:cubicBezTo>
                <a:close/>
                <a:moveTo>
                  <a:pt x="1128" y="224"/>
                </a:moveTo>
                <a:cubicBezTo>
                  <a:pt x="1130" y="224"/>
                  <a:pt x="1131" y="224"/>
                  <a:pt x="1132" y="225"/>
                </a:cubicBezTo>
                <a:cubicBezTo>
                  <a:pt x="1132" y="226"/>
                  <a:pt x="1133" y="228"/>
                  <a:pt x="1133" y="229"/>
                </a:cubicBezTo>
                <a:cubicBezTo>
                  <a:pt x="1133" y="232"/>
                  <a:pt x="1132" y="234"/>
                  <a:pt x="1130" y="235"/>
                </a:cubicBezTo>
                <a:cubicBezTo>
                  <a:pt x="1129" y="237"/>
                  <a:pt x="1126" y="238"/>
                  <a:pt x="1124" y="239"/>
                </a:cubicBezTo>
                <a:cubicBezTo>
                  <a:pt x="1121" y="240"/>
                  <a:pt x="1119" y="241"/>
                  <a:pt x="1116" y="241"/>
                </a:cubicBezTo>
                <a:cubicBezTo>
                  <a:pt x="1117" y="238"/>
                  <a:pt x="1117" y="236"/>
                  <a:pt x="1118" y="233"/>
                </a:cubicBezTo>
                <a:cubicBezTo>
                  <a:pt x="1119" y="230"/>
                  <a:pt x="1121" y="228"/>
                  <a:pt x="1122" y="226"/>
                </a:cubicBezTo>
                <a:cubicBezTo>
                  <a:pt x="1124" y="225"/>
                  <a:pt x="1126" y="224"/>
                  <a:pt x="1128" y="224"/>
                </a:cubicBezTo>
                <a:close/>
                <a:moveTo>
                  <a:pt x="1175" y="254"/>
                </a:moveTo>
                <a:cubicBezTo>
                  <a:pt x="1182" y="204"/>
                  <a:pt x="1182" y="204"/>
                  <a:pt x="1182" y="204"/>
                </a:cubicBezTo>
                <a:cubicBezTo>
                  <a:pt x="1181" y="204"/>
                  <a:pt x="1181" y="204"/>
                  <a:pt x="1181" y="204"/>
                </a:cubicBezTo>
                <a:cubicBezTo>
                  <a:pt x="1171" y="205"/>
                  <a:pt x="1171" y="205"/>
                  <a:pt x="1171" y="205"/>
                </a:cubicBezTo>
                <a:cubicBezTo>
                  <a:pt x="1170" y="207"/>
                  <a:pt x="1170" y="207"/>
                  <a:pt x="1170" y="207"/>
                </a:cubicBezTo>
                <a:cubicBezTo>
                  <a:pt x="1175" y="208"/>
                  <a:pt x="1175" y="208"/>
                  <a:pt x="1175" y="208"/>
                </a:cubicBezTo>
                <a:cubicBezTo>
                  <a:pt x="1173" y="221"/>
                  <a:pt x="1173" y="221"/>
                  <a:pt x="1173" y="221"/>
                </a:cubicBezTo>
                <a:cubicBezTo>
                  <a:pt x="1171" y="220"/>
                  <a:pt x="1169" y="220"/>
                  <a:pt x="1168" y="220"/>
                </a:cubicBezTo>
                <a:cubicBezTo>
                  <a:pt x="1163" y="220"/>
                  <a:pt x="1159" y="222"/>
                  <a:pt x="1156" y="224"/>
                </a:cubicBezTo>
                <a:cubicBezTo>
                  <a:pt x="1152" y="227"/>
                  <a:pt x="1150" y="230"/>
                  <a:pt x="1148" y="234"/>
                </a:cubicBezTo>
                <a:cubicBezTo>
                  <a:pt x="1146" y="238"/>
                  <a:pt x="1145" y="242"/>
                  <a:pt x="1145" y="246"/>
                </a:cubicBezTo>
                <a:cubicBezTo>
                  <a:pt x="1145" y="250"/>
                  <a:pt x="1146" y="254"/>
                  <a:pt x="1148" y="257"/>
                </a:cubicBezTo>
                <a:cubicBezTo>
                  <a:pt x="1150" y="259"/>
                  <a:pt x="1153" y="261"/>
                  <a:pt x="1157" y="261"/>
                </a:cubicBezTo>
                <a:cubicBezTo>
                  <a:pt x="1159" y="261"/>
                  <a:pt x="1162" y="260"/>
                  <a:pt x="1163" y="259"/>
                </a:cubicBezTo>
                <a:cubicBezTo>
                  <a:pt x="1165" y="258"/>
                  <a:pt x="1167" y="256"/>
                  <a:pt x="1168" y="255"/>
                </a:cubicBezTo>
                <a:cubicBezTo>
                  <a:pt x="1168" y="256"/>
                  <a:pt x="1168" y="256"/>
                  <a:pt x="1168" y="256"/>
                </a:cubicBezTo>
                <a:cubicBezTo>
                  <a:pt x="1168" y="259"/>
                  <a:pt x="1170" y="261"/>
                  <a:pt x="1173" y="261"/>
                </a:cubicBezTo>
                <a:cubicBezTo>
                  <a:pt x="1174" y="261"/>
                  <a:pt x="1176" y="260"/>
                  <a:pt x="1177" y="259"/>
                </a:cubicBezTo>
                <a:cubicBezTo>
                  <a:pt x="1178" y="258"/>
                  <a:pt x="1179" y="257"/>
                  <a:pt x="1180" y="256"/>
                </a:cubicBezTo>
                <a:cubicBezTo>
                  <a:pt x="1179" y="255"/>
                  <a:pt x="1179" y="255"/>
                  <a:pt x="1179" y="255"/>
                </a:cubicBezTo>
                <a:cubicBezTo>
                  <a:pt x="1178" y="256"/>
                  <a:pt x="1177" y="256"/>
                  <a:pt x="1176" y="256"/>
                </a:cubicBezTo>
                <a:cubicBezTo>
                  <a:pt x="1175" y="256"/>
                  <a:pt x="1175" y="256"/>
                  <a:pt x="1175" y="255"/>
                </a:cubicBezTo>
                <a:cubicBezTo>
                  <a:pt x="1175" y="254"/>
                  <a:pt x="1175" y="254"/>
                  <a:pt x="1175" y="254"/>
                </a:cubicBezTo>
                <a:close/>
                <a:moveTo>
                  <a:pt x="1172" y="225"/>
                </a:moveTo>
                <a:cubicBezTo>
                  <a:pt x="1169" y="250"/>
                  <a:pt x="1169" y="250"/>
                  <a:pt x="1169" y="250"/>
                </a:cubicBezTo>
                <a:cubicBezTo>
                  <a:pt x="1168" y="252"/>
                  <a:pt x="1166" y="253"/>
                  <a:pt x="1164" y="254"/>
                </a:cubicBezTo>
                <a:cubicBezTo>
                  <a:pt x="1163" y="256"/>
                  <a:pt x="1161" y="256"/>
                  <a:pt x="1159" y="256"/>
                </a:cubicBezTo>
                <a:cubicBezTo>
                  <a:pt x="1157" y="256"/>
                  <a:pt x="1155" y="255"/>
                  <a:pt x="1154" y="253"/>
                </a:cubicBezTo>
                <a:cubicBezTo>
                  <a:pt x="1153" y="252"/>
                  <a:pt x="1153" y="249"/>
                  <a:pt x="1153" y="246"/>
                </a:cubicBezTo>
                <a:cubicBezTo>
                  <a:pt x="1153" y="242"/>
                  <a:pt x="1153" y="239"/>
                  <a:pt x="1154" y="236"/>
                </a:cubicBezTo>
                <a:cubicBezTo>
                  <a:pt x="1155" y="232"/>
                  <a:pt x="1157" y="230"/>
                  <a:pt x="1159" y="227"/>
                </a:cubicBezTo>
                <a:cubicBezTo>
                  <a:pt x="1161" y="225"/>
                  <a:pt x="1164" y="224"/>
                  <a:pt x="1167" y="224"/>
                </a:cubicBezTo>
                <a:cubicBezTo>
                  <a:pt x="1169" y="224"/>
                  <a:pt x="1171" y="224"/>
                  <a:pt x="1172" y="225"/>
                </a:cubicBezTo>
                <a:close/>
                <a:moveTo>
                  <a:pt x="1198" y="254"/>
                </a:moveTo>
                <a:cubicBezTo>
                  <a:pt x="1202" y="221"/>
                  <a:pt x="1202" y="221"/>
                  <a:pt x="1202" y="221"/>
                </a:cubicBezTo>
                <a:cubicBezTo>
                  <a:pt x="1201" y="220"/>
                  <a:pt x="1201" y="220"/>
                  <a:pt x="1201" y="220"/>
                </a:cubicBezTo>
                <a:cubicBezTo>
                  <a:pt x="1191" y="222"/>
                  <a:pt x="1191" y="222"/>
                  <a:pt x="1191" y="222"/>
                </a:cubicBezTo>
                <a:cubicBezTo>
                  <a:pt x="1190" y="224"/>
                  <a:pt x="1190" y="224"/>
                  <a:pt x="1190" y="224"/>
                </a:cubicBezTo>
                <a:cubicBezTo>
                  <a:pt x="1195" y="226"/>
                  <a:pt x="1195" y="226"/>
                  <a:pt x="1195" y="226"/>
                </a:cubicBezTo>
                <a:cubicBezTo>
                  <a:pt x="1194" y="233"/>
                  <a:pt x="1193" y="239"/>
                  <a:pt x="1192" y="243"/>
                </a:cubicBezTo>
                <a:cubicBezTo>
                  <a:pt x="1191" y="251"/>
                  <a:pt x="1191" y="255"/>
                  <a:pt x="1191" y="256"/>
                </a:cubicBezTo>
                <a:cubicBezTo>
                  <a:pt x="1190" y="258"/>
                  <a:pt x="1191" y="259"/>
                  <a:pt x="1192" y="260"/>
                </a:cubicBezTo>
                <a:cubicBezTo>
                  <a:pt x="1192" y="260"/>
                  <a:pt x="1194" y="261"/>
                  <a:pt x="1195" y="261"/>
                </a:cubicBezTo>
                <a:cubicBezTo>
                  <a:pt x="1197" y="261"/>
                  <a:pt x="1199" y="260"/>
                  <a:pt x="1200" y="259"/>
                </a:cubicBezTo>
                <a:cubicBezTo>
                  <a:pt x="1202" y="258"/>
                  <a:pt x="1203" y="257"/>
                  <a:pt x="1203" y="256"/>
                </a:cubicBezTo>
                <a:cubicBezTo>
                  <a:pt x="1202" y="254"/>
                  <a:pt x="1202" y="254"/>
                  <a:pt x="1202" y="254"/>
                </a:cubicBezTo>
                <a:cubicBezTo>
                  <a:pt x="1202" y="255"/>
                  <a:pt x="1201" y="256"/>
                  <a:pt x="1200" y="256"/>
                </a:cubicBezTo>
                <a:cubicBezTo>
                  <a:pt x="1200" y="256"/>
                  <a:pt x="1199" y="256"/>
                  <a:pt x="1199" y="256"/>
                </a:cubicBezTo>
                <a:cubicBezTo>
                  <a:pt x="1198" y="256"/>
                  <a:pt x="1198" y="256"/>
                  <a:pt x="1198" y="256"/>
                </a:cubicBezTo>
                <a:cubicBezTo>
                  <a:pt x="1198" y="256"/>
                  <a:pt x="1198" y="255"/>
                  <a:pt x="1198" y="255"/>
                </a:cubicBezTo>
                <a:lnTo>
                  <a:pt x="1198" y="254"/>
                </a:lnTo>
                <a:close/>
                <a:moveTo>
                  <a:pt x="1200" y="213"/>
                </a:moveTo>
                <a:cubicBezTo>
                  <a:pt x="1201" y="213"/>
                  <a:pt x="1202" y="212"/>
                  <a:pt x="1203" y="211"/>
                </a:cubicBezTo>
                <a:cubicBezTo>
                  <a:pt x="1204" y="210"/>
                  <a:pt x="1205" y="209"/>
                  <a:pt x="1205" y="207"/>
                </a:cubicBezTo>
                <a:cubicBezTo>
                  <a:pt x="1205" y="206"/>
                  <a:pt x="1204" y="206"/>
                  <a:pt x="1204" y="205"/>
                </a:cubicBezTo>
                <a:cubicBezTo>
                  <a:pt x="1203" y="204"/>
                  <a:pt x="1202" y="204"/>
                  <a:pt x="1201" y="204"/>
                </a:cubicBezTo>
                <a:cubicBezTo>
                  <a:pt x="1200" y="204"/>
                  <a:pt x="1198" y="204"/>
                  <a:pt x="1198" y="205"/>
                </a:cubicBezTo>
                <a:cubicBezTo>
                  <a:pt x="1197" y="206"/>
                  <a:pt x="1196" y="207"/>
                  <a:pt x="1196" y="209"/>
                </a:cubicBezTo>
                <a:cubicBezTo>
                  <a:pt x="1196" y="210"/>
                  <a:pt x="1197" y="211"/>
                  <a:pt x="1197" y="212"/>
                </a:cubicBezTo>
                <a:cubicBezTo>
                  <a:pt x="1198" y="212"/>
                  <a:pt x="1199" y="213"/>
                  <a:pt x="1200" y="213"/>
                </a:cubicBezTo>
                <a:close/>
                <a:moveTo>
                  <a:pt x="1237" y="228"/>
                </a:moveTo>
                <a:cubicBezTo>
                  <a:pt x="1238" y="229"/>
                  <a:pt x="1238" y="229"/>
                  <a:pt x="1238" y="229"/>
                </a:cubicBezTo>
                <a:cubicBezTo>
                  <a:pt x="1240" y="222"/>
                  <a:pt x="1240" y="222"/>
                  <a:pt x="1240" y="222"/>
                </a:cubicBezTo>
                <a:cubicBezTo>
                  <a:pt x="1239" y="221"/>
                  <a:pt x="1238" y="221"/>
                  <a:pt x="1237" y="221"/>
                </a:cubicBezTo>
                <a:cubicBezTo>
                  <a:pt x="1235" y="220"/>
                  <a:pt x="1234" y="220"/>
                  <a:pt x="1232" y="220"/>
                </a:cubicBezTo>
                <a:cubicBezTo>
                  <a:pt x="1228" y="220"/>
                  <a:pt x="1224" y="221"/>
                  <a:pt x="1221" y="224"/>
                </a:cubicBezTo>
                <a:cubicBezTo>
                  <a:pt x="1218" y="227"/>
                  <a:pt x="1216" y="230"/>
                  <a:pt x="1214" y="234"/>
                </a:cubicBezTo>
                <a:cubicBezTo>
                  <a:pt x="1213" y="237"/>
                  <a:pt x="1212" y="241"/>
                  <a:pt x="1212" y="245"/>
                </a:cubicBezTo>
                <a:cubicBezTo>
                  <a:pt x="1212" y="250"/>
                  <a:pt x="1213" y="254"/>
                  <a:pt x="1215" y="257"/>
                </a:cubicBezTo>
                <a:cubicBezTo>
                  <a:pt x="1217" y="259"/>
                  <a:pt x="1220" y="261"/>
                  <a:pt x="1224" y="261"/>
                </a:cubicBezTo>
                <a:cubicBezTo>
                  <a:pt x="1227" y="261"/>
                  <a:pt x="1230" y="260"/>
                  <a:pt x="1232" y="259"/>
                </a:cubicBezTo>
                <a:cubicBezTo>
                  <a:pt x="1235" y="257"/>
                  <a:pt x="1236" y="256"/>
                  <a:pt x="1238" y="254"/>
                </a:cubicBezTo>
                <a:cubicBezTo>
                  <a:pt x="1236" y="252"/>
                  <a:pt x="1236" y="252"/>
                  <a:pt x="1236" y="252"/>
                </a:cubicBezTo>
                <a:cubicBezTo>
                  <a:pt x="1235" y="253"/>
                  <a:pt x="1233" y="254"/>
                  <a:pt x="1232" y="255"/>
                </a:cubicBezTo>
                <a:cubicBezTo>
                  <a:pt x="1230" y="256"/>
                  <a:pt x="1229" y="256"/>
                  <a:pt x="1227" y="256"/>
                </a:cubicBezTo>
                <a:cubicBezTo>
                  <a:pt x="1224" y="256"/>
                  <a:pt x="1222" y="255"/>
                  <a:pt x="1221" y="253"/>
                </a:cubicBezTo>
                <a:cubicBezTo>
                  <a:pt x="1220" y="251"/>
                  <a:pt x="1219" y="248"/>
                  <a:pt x="1219" y="244"/>
                </a:cubicBezTo>
                <a:cubicBezTo>
                  <a:pt x="1219" y="240"/>
                  <a:pt x="1219" y="237"/>
                  <a:pt x="1221" y="234"/>
                </a:cubicBezTo>
                <a:cubicBezTo>
                  <a:pt x="1222" y="231"/>
                  <a:pt x="1223" y="229"/>
                  <a:pt x="1225" y="227"/>
                </a:cubicBezTo>
                <a:cubicBezTo>
                  <a:pt x="1227" y="225"/>
                  <a:pt x="1229" y="225"/>
                  <a:pt x="1231" y="225"/>
                </a:cubicBezTo>
                <a:cubicBezTo>
                  <a:pt x="1232" y="225"/>
                  <a:pt x="1235" y="226"/>
                  <a:pt x="1237" y="228"/>
                </a:cubicBezTo>
                <a:close/>
                <a:moveTo>
                  <a:pt x="1255" y="254"/>
                </a:moveTo>
                <a:cubicBezTo>
                  <a:pt x="1260" y="221"/>
                  <a:pt x="1260" y="221"/>
                  <a:pt x="1260" y="221"/>
                </a:cubicBezTo>
                <a:cubicBezTo>
                  <a:pt x="1259" y="220"/>
                  <a:pt x="1259" y="220"/>
                  <a:pt x="1259" y="220"/>
                </a:cubicBezTo>
                <a:cubicBezTo>
                  <a:pt x="1249" y="222"/>
                  <a:pt x="1249" y="222"/>
                  <a:pt x="1249" y="222"/>
                </a:cubicBezTo>
                <a:cubicBezTo>
                  <a:pt x="1248" y="224"/>
                  <a:pt x="1248" y="224"/>
                  <a:pt x="1248" y="224"/>
                </a:cubicBezTo>
                <a:cubicBezTo>
                  <a:pt x="1253" y="226"/>
                  <a:pt x="1253" y="226"/>
                  <a:pt x="1253" y="226"/>
                </a:cubicBezTo>
                <a:cubicBezTo>
                  <a:pt x="1252" y="233"/>
                  <a:pt x="1251" y="239"/>
                  <a:pt x="1250" y="243"/>
                </a:cubicBezTo>
                <a:cubicBezTo>
                  <a:pt x="1249" y="251"/>
                  <a:pt x="1248" y="255"/>
                  <a:pt x="1248" y="256"/>
                </a:cubicBezTo>
                <a:cubicBezTo>
                  <a:pt x="1248" y="258"/>
                  <a:pt x="1249" y="259"/>
                  <a:pt x="1249" y="260"/>
                </a:cubicBezTo>
                <a:cubicBezTo>
                  <a:pt x="1250" y="260"/>
                  <a:pt x="1251" y="261"/>
                  <a:pt x="1253" y="261"/>
                </a:cubicBezTo>
                <a:cubicBezTo>
                  <a:pt x="1255" y="261"/>
                  <a:pt x="1256" y="260"/>
                  <a:pt x="1258" y="259"/>
                </a:cubicBezTo>
                <a:cubicBezTo>
                  <a:pt x="1259" y="258"/>
                  <a:pt x="1260" y="257"/>
                  <a:pt x="1261" y="256"/>
                </a:cubicBezTo>
                <a:cubicBezTo>
                  <a:pt x="1260" y="254"/>
                  <a:pt x="1260" y="254"/>
                  <a:pt x="1260" y="254"/>
                </a:cubicBezTo>
                <a:cubicBezTo>
                  <a:pt x="1259" y="255"/>
                  <a:pt x="1259" y="256"/>
                  <a:pt x="1258" y="256"/>
                </a:cubicBezTo>
                <a:cubicBezTo>
                  <a:pt x="1258" y="256"/>
                  <a:pt x="1257" y="256"/>
                  <a:pt x="1256" y="256"/>
                </a:cubicBezTo>
                <a:cubicBezTo>
                  <a:pt x="1256" y="256"/>
                  <a:pt x="1256" y="256"/>
                  <a:pt x="1256" y="256"/>
                </a:cubicBezTo>
                <a:cubicBezTo>
                  <a:pt x="1255" y="256"/>
                  <a:pt x="1255" y="255"/>
                  <a:pt x="1255" y="255"/>
                </a:cubicBezTo>
                <a:lnTo>
                  <a:pt x="1255" y="254"/>
                </a:lnTo>
                <a:close/>
                <a:moveTo>
                  <a:pt x="1258" y="213"/>
                </a:moveTo>
                <a:cubicBezTo>
                  <a:pt x="1259" y="213"/>
                  <a:pt x="1260" y="212"/>
                  <a:pt x="1261" y="211"/>
                </a:cubicBezTo>
                <a:cubicBezTo>
                  <a:pt x="1262" y="210"/>
                  <a:pt x="1262" y="209"/>
                  <a:pt x="1262" y="207"/>
                </a:cubicBezTo>
                <a:cubicBezTo>
                  <a:pt x="1262" y="206"/>
                  <a:pt x="1262" y="206"/>
                  <a:pt x="1261" y="205"/>
                </a:cubicBezTo>
                <a:cubicBezTo>
                  <a:pt x="1261" y="204"/>
                  <a:pt x="1260" y="204"/>
                  <a:pt x="1259" y="204"/>
                </a:cubicBezTo>
                <a:cubicBezTo>
                  <a:pt x="1257" y="204"/>
                  <a:pt x="1256" y="204"/>
                  <a:pt x="1255" y="205"/>
                </a:cubicBezTo>
                <a:cubicBezTo>
                  <a:pt x="1254" y="206"/>
                  <a:pt x="1254" y="207"/>
                  <a:pt x="1254" y="209"/>
                </a:cubicBezTo>
                <a:cubicBezTo>
                  <a:pt x="1254" y="210"/>
                  <a:pt x="1254" y="211"/>
                  <a:pt x="1255" y="212"/>
                </a:cubicBezTo>
                <a:cubicBezTo>
                  <a:pt x="1256" y="212"/>
                  <a:pt x="1257" y="213"/>
                  <a:pt x="1258" y="213"/>
                </a:cubicBezTo>
                <a:close/>
                <a:moveTo>
                  <a:pt x="1282" y="229"/>
                </a:moveTo>
                <a:cubicBezTo>
                  <a:pt x="1283" y="221"/>
                  <a:pt x="1283" y="221"/>
                  <a:pt x="1283" y="221"/>
                </a:cubicBezTo>
                <a:cubicBezTo>
                  <a:pt x="1281" y="220"/>
                  <a:pt x="1281" y="220"/>
                  <a:pt x="1281" y="220"/>
                </a:cubicBezTo>
                <a:cubicBezTo>
                  <a:pt x="1273" y="222"/>
                  <a:pt x="1273" y="222"/>
                  <a:pt x="1273" y="222"/>
                </a:cubicBezTo>
                <a:cubicBezTo>
                  <a:pt x="1272" y="224"/>
                  <a:pt x="1272" y="224"/>
                  <a:pt x="1272" y="224"/>
                </a:cubicBezTo>
                <a:cubicBezTo>
                  <a:pt x="1275" y="226"/>
                  <a:pt x="1275" y="226"/>
                  <a:pt x="1275" y="226"/>
                </a:cubicBezTo>
                <a:cubicBezTo>
                  <a:pt x="1271" y="260"/>
                  <a:pt x="1271" y="260"/>
                  <a:pt x="1271" y="260"/>
                </a:cubicBezTo>
                <a:cubicBezTo>
                  <a:pt x="1278" y="260"/>
                  <a:pt x="1278" y="260"/>
                  <a:pt x="1278" y="260"/>
                </a:cubicBezTo>
                <a:cubicBezTo>
                  <a:pt x="1281" y="235"/>
                  <a:pt x="1281" y="235"/>
                  <a:pt x="1281" y="235"/>
                </a:cubicBezTo>
                <a:cubicBezTo>
                  <a:pt x="1283" y="232"/>
                  <a:pt x="1285" y="230"/>
                  <a:pt x="1287" y="228"/>
                </a:cubicBezTo>
                <a:cubicBezTo>
                  <a:pt x="1289" y="226"/>
                  <a:pt x="1291" y="225"/>
                  <a:pt x="1293" y="225"/>
                </a:cubicBezTo>
                <a:cubicBezTo>
                  <a:pt x="1295" y="225"/>
                  <a:pt x="1296" y="226"/>
                  <a:pt x="1297" y="226"/>
                </a:cubicBezTo>
                <a:cubicBezTo>
                  <a:pt x="1297" y="227"/>
                  <a:pt x="1298" y="229"/>
                  <a:pt x="1298" y="231"/>
                </a:cubicBezTo>
                <a:cubicBezTo>
                  <a:pt x="1298" y="233"/>
                  <a:pt x="1297" y="234"/>
                  <a:pt x="1297" y="236"/>
                </a:cubicBezTo>
                <a:cubicBezTo>
                  <a:pt x="1297" y="238"/>
                  <a:pt x="1297" y="240"/>
                  <a:pt x="1296" y="243"/>
                </a:cubicBezTo>
                <a:cubicBezTo>
                  <a:pt x="1296" y="245"/>
                  <a:pt x="1296" y="245"/>
                  <a:pt x="1296" y="245"/>
                </a:cubicBezTo>
                <a:cubicBezTo>
                  <a:pt x="1295" y="248"/>
                  <a:pt x="1295" y="248"/>
                  <a:pt x="1295" y="248"/>
                </a:cubicBezTo>
                <a:cubicBezTo>
                  <a:pt x="1294" y="252"/>
                  <a:pt x="1294" y="255"/>
                  <a:pt x="1294" y="256"/>
                </a:cubicBezTo>
                <a:cubicBezTo>
                  <a:pt x="1294" y="259"/>
                  <a:pt x="1295" y="261"/>
                  <a:pt x="1298" y="261"/>
                </a:cubicBezTo>
                <a:cubicBezTo>
                  <a:pt x="1300" y="261"/>
                  <a:pt x="1301" y="260"/>
                  <a:pt x="1302" y="260"/>
                </a:cubicBezTo>
                <a:cubicBezTo>
                  <a:pt x="1303" y="259"/>
                  <a:pt x="1304" y="259"/>
                  <a:pt x="1305" y="258"/>
                </a:cubicBezTo>
                <a:cubicBezTo>
                  <a:pt x="1305" y="258"/>
                  <a:pt x="1306" y="257"/>
                  <a:pt x="1306" y="257"/>
                </a:cubicBezTo>
                <a:cubicBezTo>
                  <a:pt x="1305" y="255"/>
                  <a:pt x="1305" y="255"/>
                  <a:pt x="1305" y="255"/>
                </a:cubicBezTo>
                <a:cubicBezTo>
                  <a:pt x="1304" y="256"/>
                  <a:pt x="1303" y="256"/>
                  <a:pt x="1302" y="256"/>
                </a:cubicBezTo>
                <a:cubicBezTo>
                  <a:pt x="1301" y="256"/>
                  <a:pt x="1301" y="256"/>
                  <a:pt x="1301" y="255"/>
                </a:cubicBezTo>
                <a:cubicBezTo>
                  <a:pt x="1301" y="253"/>
                  <a:pt x="1301" y="250"/>
                  <a:pt x="1302" y="246"/>
                </a:cubicBezTo>
                <a:cubicBezTo>
                  <a:pt x="1303" y="243"/>
                  <a:pt x="1303" y="243"/>
                  <a:pt x="1303" y="243"/>
                </a:cubicBezTo>
                <a:cubicBezTo>
                  <a:pt x="1303" y="241"/>
                  <a:pt x="1303" y="241"/>
                  <a:pt x="1303" y="241"/>
                </a:cubicBezTo>
                <a:cubicBezTo>
                  <a:pt x="1304" y="236"/>
                  <a:pt x="1305" y="232"/>
                  <a:pt x="1305" y="230"/>
                </a:cubicBezTo>
                <a:cubicBezTo>
                  <a:pt x="1305" y="227"/>
                  <a:pt x="1304" y="224"/>
                  <a:pt x="1302" y="223"/>
                </a:cubicBezTo>
                <a:cubicBezTo>
                  <a:pt x="1301" y="221"/>
                  <a:pt x="1299" y="220"/>
                  <a:pt x="1296" y="220"/>
                </a:cubicBezTo>
                <a:cubicBezTo>
                  <a:pt x="1294" y="220"/>
                  <a:pt x="1291" y="221"/>
                  <a:pt x="1289" y="223"/>
                </a:cubicBezTo>
                <a:cubicBezTo>
                  <a:pt x="1286" y="224"/>
                  <a:pt x="1284" y="227"/>
                  <a:pt x="1282" y="229"/>
                </a:cubicBezTo>
                <a:close/>
                <a:moveTo>
                  <a:pt x="1342" y="253"/>
                </a:moveTo>
                <a:cubicBezTo>
                  <a:pt x="1340" y="251"/>
                  <a:pt x="1340" y="251"/>
                  <a:pt x="1340" y="251"/>
                </a:cubicBezTo>
                <a:cubicBezTo>
                  <a:pt x="1339" y="253"/>
                  <a:pt x="1337" y="254"/>
                  <a:pt x="1335" y="255"/>
                </a:cubicBezTo>
                <a:cubicBezTo>
                  <a:pt x="1333" y="256"/>
                  <a:pt x="1331" y="256"/>
                  <a:pt x="1329" y="256"/>
                </a:cubicBezTo>
                <a:cubicBezTo>
                  <a:pt x="1326" y="256"/>
                  <a:pt x="1323" y="255"/>
                  <a:pt x="1322" y="253"/>
                </a:cubicBezTo>
                <a:cubicBezTo>
                  <a:pt x="1321" y="250"/>
                  <a:pt x="1320" y="247"/>
                  <a:pt x="1320" y="244"/>
                </a:cubicBezTo>
                <a:cubicBezTo>
                  <a:pt x="1323" y="244"/>
                  <a:pt x="1327" y="244"/>
                  <a:pt x="1330" y="242"/>
                </a:cubicBezTo>
                <a:cubicBezTo>
                  <a:pt x="1334" y="241"/>
                  <a:pt x="1337" y="240"/>
                  <a:pt x="1340" y="237"/>
                </a:cubicBezTo>
                <a:cubicBezTo>
                  <a:pt x="1342" y="235"/>
                  <a:pt x="1344" y="232"/>
                  <a:pt x="1344" y="229"/>
                </a:cubicBezTo>
                <a:cubicBezTo>
                  <a:pt x="1344" y="226"/>
                  <a:pt x="1343" y="224"/>
                  <a:pt x="1341" y="223"/>
                </a:cubicBezTo>
                <a:cubicBezTo>
                  <a:pt x="1340" y="221"/>
                  <a:pt x="1337" y="220"/>
                  <a:pt x="1334" y="220"/>
                </a:cubicBezTo>
                <a:cubicBezTo>
                  <a:pt x="1330" y="220"/>
                  <a:pt x="1326" y="221"/>
                  <a:pt x="1323" y="224"/>
                </a:cubicBezTo>
                <a:cubicBezTo>
                  <a:pt x="1320" y="226"/>
                  <a:pt x="1318" y="229"/>
                  <a:pt x="1316" y="233"/>
                </a:cubicBezTo>
                <a:cubicBezTo>
                  <a:pt x="1314" y="237"/>
                  <a:pt x="1313" y="241"/>
                  <a:pt x="1313" y="246"/>
                </a:cubicBezTo>
                <a:cubicBezTo>
                  <a:pt x="1313" y="248"/>
                  <a:pt x="1314" y="251"/>
                  <a:pt x="1315" y="253"/>
                </a:cubicBezTo>
                <a:cubicBezTo>
                  <a:pt x="1316" y="255"/>
                  <a:pt x="1317" y="257"/>
                  <a:pt x="1319" y="259"/>
                </a:cubicBezTo>
                <a:cubicBezTo>
                  <a:pt x="1321" y="260"/>
                  <a:pt x="1324" y="261"/>
                  <a:pt x="1327" y="261"/>
                </a:cubicBezTo>
                <a:cubicBezTo>
                  <a:pt x="1330" y="261"/>
                  <a:pt x="1333" y="260"/>
                  <a:pt x="1336" y="258"/>
                </a:cubicBezTo>
                <a:cubicBezTo>
                  <a:pt x="1339" y="257"/>
                  <a:pt x="1341" y="255"/>
                  <a:pt x="1342" y="253"/>
                </a:cubicBezTo>
                <a:close/>
                <a:moveTo>
                  <a:pt x="1332" y="224"/>
                </a:moveTo>
                <a:cubicBezTo>
                  <a:pt x="1334" y="224"/>
                  <a:pt x="1335" y="224"/>
                  <a:pt x="1336" y="225"/>
                </a:cubicBezTo>
                <a:cubicBezTo>
                  <a:pt x="1337" y="226"/>
                  <a:pt x="1337" y="228"/>
                  <a:pt x="1337" y="229"/>
                </a:cubicBezTo>
                <a:cubicBezTo>
                  <a:pt x="1337" y="232"/>
                  <a:pt x="1336" y="234"/>
                  <a:pt x="1334" y="235"/>
                </a:cubicBezTo>
                <a:cubicBezTo>
                  <a:pt x="1333" y="237"/>
                  <a:pt x="1331" y="238"/>
                  <a:pt x="1328" y="239"/>
                </a:cubicBezTo>
                <a:cubicBezTo>
                  <a:pt x="1325" y="240"/>
                  <a:pt x="1323" y="241"/>
                  <a:pt x="1321" y="241"/>
                </a:cubicBezTo>
                <a:cubicBezTo>
                  <a:pt x="1321" y="238"/>
                  <a:pt x="1321" y="236"/>
                  <a:pt x="1322" y="233"/>
                </a:cubicBezTo>
                <a:cubicBezTo>
                  <a:pt x="1323" y="230"/>
                  <a:pt x="1325" y="228"/>
                  <a:pt x="1326" y="226"/>
                </a:cubicBezTo>
                <a:cubicBezTo>
                  <a:pt x="1328" y="225"/>
                  <a:pt x="1330" y="224"/>
                  <a:pt x="1332" y="224"/>
                </a:cubicBezTo>
                <a:close/>
              </a:path>
            </a:pathLst>
          </a:custGeom>
          <a:solidFill>
            <a:schemeClr val="tx2"/>
          </a:solidFill>
          <a:ln>
            <a:noFill/>
          </a:ln>
        </p:spPr>
        <p:txBody>
          <a:bodyPr vert="horz" wrap="square" lIns="121920" tIns="60960" rIns="121920" bIns="60960" numCol="1" anchor="t" anchorCtr="0" compatLnSpc="1">
            <a:prstTxWarp prst="textNoShape">
              <a:avLst/>
            </a:prstTxWarp>
          </a:bodyPr>
          <a:lstStyle/>
          <a:p>
            <a:endParaRPr lang="en-US" sz="2400"/>
          </a:p>
        </p:txBody>
      </p:sp>
    </p:spTree>
    <p:extLst>
      <p:ext uri="{BB962C8B-B14F-4D97-AF65-F5344CB8AC3E}">
        <p14:creationId xmlns:p14="http://schemas.microsoft.com/office/powerpoint/2010/main" val="43324541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3">
            <a:extLst>
              <a:ext uri="{FF2B5EF4-FFF2-40B4-BE49-F238E27FC236}">
                <a16:creationId xmlns:a16="http://schemas.microsoft.com/office/drawing/2014/main" id="{8F0EF30A-1447-9A81-7DB8-3A8C4FF79865}"/>
              </a:ext>
            </a:extLst>
          </p:cNvPr>
          <p:cNvSpPr>
            <a:spLocks noGrp="1"/>
          </p:cNvSpPr>
          <p:nvPr>
            <p:ph type="dt" sz="half" idx="10"/>
          </p:nvPr>
        </p:nvSpPr>
        <p:spPr/>
        <p:txBody>
          <a:bodyPr/>
          <a:lstStyle>
            <a:lvl1pPr>
              <a:defRPr/>
            </a:lvl1pPr>
          </a:lstStyle>
          <a:p>
            <a:pPr>
              <a:defRPr/>
            </a:pPr>
            <a:r>
              <a:rPr lang="en-US"/>
              <a:t>May 5 and 6, 2020</a:t>
            </a:r>
          </a:p>
        </p:txBody>
      </p:sp>
      <p:sp>
        <p:nvSpPr>
          <p:cNvPr id="4" name="Footer Placeholder 4">
            <a:extLst>
              <a:ext uri="{FF2B5EF4-FFF2-40B4-BE49-F238E27FC236}">
                <a16:creationId xmlns:a16="http://schemas.microsoft.com/office/drawing/2014/main" id="{4111414B-D938-9490-F9EC-93802A451671}"/>
              </a:ext>
            </a:extLst>
          </p:cNvPr>
          <p:cNvSpPr>
            <a:spLocks noGrp="1"/>
          </p:cNvSpPr>
          <p:nvPr>
            <p:ph type="ftr" sz="quarter" idx="11"/>
          </p:nvPr>
        </p:nvSpPr>
        <p:spPr/>
        <p:txBody>
          <a:bodyPr/>
          <a:lstStyle>
            <a:lvl1pPr>
              <a:defRPr/>
            </a:lvl1pPr>
          </a:lstStyle>
          <a:p>
            <a:pPr>
              <a:defRPr/>
            </a:pPr>
            <a:r>
              <a:rPr lang="en-US"/>
              <a:t>FY 2022 Strategy Session  [Name of Campaign] Campaign</a:t>
            </a:r>
          </a:p>
        </p:txBody>
      </p:sp>
      <p:sp>
        <p:nvSpPr>
          <p:cNvPr id="5" name="Slide Number Placeholder 5">
            <a:extLst>
              <a:ext uri="{FF2B5EF4-FFF2-40B4-BE49-F238E27FC236}">
                <a16:creationId xmlns:a16="http://schemas.microsoft.com/office/drawing/2014/main" id="{9931CB8A-0E94-DE98-5996-1F6A45520846}"/>
              </a:ext>
            </a:extLst>
          </p:cNvPr>
          <p:cNvSpPr>
            <a:spLocks noGrp="1"/>
          </p:cNvSpPr>
          <p:nvPr>
            <p:ph type="sldNum" sz="quarter" idx="12"/>
          </p:nvPr>
        </p:nvSpPr>
        <p:spPr/>
        <p:txBody>
          <a:bodyPr/>
          <a:lstStyle>
            <a:lvl1pPr>
              <a:defRPr/>
            </a:lvl1pPr>
          </a:lstStyle>
          <a:p>
            <a:pPr>
              <a:defRPr/>
            </a:pPr>
            <a:fld id="{6C71C966-AF51-47E6-BA05-852A18FE652E}" type="slidenum">
              <a:rPr lang="en-US"/>
              <a:pPr>
                <a:defRPr/>
              </a:pPr>
              <a:t>‹#›</a:t>
            </a:fld>
            <a:endParaRPr lang="en-US"/>
          </a:p>
        </p:txBody>
      </p:sp>
    </p:spTree>
    <p:extLst>
      <p:ext uri="{BB962C8B-B14F-4D97-AF65-F5344CB8AC3E}">
        <p14:creationId xmlns:p14="http://schemas.microsoft.com/office/powerpoint/2010/main" val="3502549920"/>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p:cSld name="Title Only w/bkgd_image bar">
    <p:bg>
      <p:bgPr>
        <a:solidFill>
          <a:schemeClr val="bg2"/>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192D0DBD-2D19-47C8-BFE8-5D1014D84882}"/>
              </a:ext>
            </a:extLst>
          </p:cNvPr>
          <p:cNvSpPr>
            <a:spLocks noGrp="1"/>
          </p:cNvSpPr>
          <p:nvPr>
            <p:ph type="pic" sz="quarter" idx="13"/>
          </p:nvPr>
        </p:nvSpPr>
        <p:spPr>
          <a:xfrm>
            <a:off x="-3321" y="0"/>
            <a:ext cx="12195321" cy="6859368"/>
          </a:xfrm>
          <a:custGeom>
            <a:avLst/>
            <a:gdLst>
              <a:gd name="connsiteX0" fmla="*/ 0 w 9144000"/>
              <a:gd name="connsiteY0" fmla="*/ 0 h 5143500"/>
              <a:gd name="connsiteX1" fmla="*/ 9144000 w 9144000"/>
              <a:gd name="connsiteY1" fmla="*/ 0 h 5143500"/>
              <a:gd name="connsiteX2" fmla="*/ 9144000 w 9144000"/>
              <a:gd name="connsiteY2" fmla="*/ 5143500 h 5143500"/>
              <a:gd name="connsiteX3" fmla="*/ 0 w 9144000"/>
              <a:gd name="connsiteY3" fmla="*/ 5143500 h 5143500"/>
              <a:gd name="connsiteX4" fmla="*/ 0 w 9144000"/>
              <a:gd name="connsiteY4" fmla="*/ 0 h 5143500"/>
              <a:gd name="connsiteX0" fmla="*/ 0 w 9144000"/>
              <a:gd name="connsiteY0" fmla="*/ 0 h 5143500"/>
              <a:gd name="connsiteX1" fmla="*/ 9144000 w 9144000"/>
              <a:gd name="connsiteY1" fmla="*/ 0 h 5143500"/>
              <a:gd name="connsiteX2" fmla="*/ 9144000 w 9144000"/>
              <a:gd name="connsiteY2" fmla="*/ 5143500 h 5143500"/>
              <a:gd name="connsiteX3" fmla="*/ 0 w 9144000"/>
              <a:gd name="connsiteY3" fmla="*/ 688731 h 5143500"/>
              <a:gd name="connsiteX4" fmla="*/ 0 w 9144000"/>
              <a:gd name="connsiteY4" fmla="*/ 0 h 5143500"/>
              <a:gd name="connsiteX0" fmla="*/ 0 w 9144000"/>
              <a:gd name="connsiteY0" fmla="*/ 0 h 5143500"/>
              <a:gd name="connsiteX1" fmla="*/ 9144000 w 9144000"/>
              <a:gd name="connsiteY1" fmla="*/ 0 h 5143500"/>
              <a:gd name="connsiteX2" fmla="*/ 9144000 w 9144000"/>
              <a:gd name="connsiteY2" fmla="*/ 5143500 h 5143500"/>
              <a:gd name="connsiteX3" fmla="*/ 4454769 w 9144000"/>
              <a:gd name="connsiteY3" fmla="*/ 2743200 h 5143500"/>
              <a:gd name="connsiteX4" fmla="*/ 0 w 9144000"/>
              <a:gd name="connsiteY4" fmla="*/ 688731 h 5143500"/>
              <a:gd name="connsiteX5" fmla="*/ 0 w 9144000"/>
              <a:gd name="connsiteY5" fmla="*/ 0 h 5143500"/>
              <a:gd name="connsiteX0" fmla="*/ 0 w 9144000"/>
              <a:gd name="connsiteY0" fmla="*/ 0 h 5143500"/>
              <a:gd name="connsiteX1" fmla="*/ 9144000 w 9144000"/>
              <a:gd name="connsiteY1" fmla="*/ 0 h 5143500"/>
              <a:gd name="connsiteX2" fmla="*/ 9144000 w 9144000"/>
              <a:gd name="connsiteY2" fmla="*/ 5143500 h 5143500"/>
              <a:gd name="connsiteX3" fmla="*/ 8721969 w 9144000"/>
              <a:gd name="connsiteY3" fmla="*/ 293077 h 5143500"/>
              <a:gd name="connsiteX4" fmla="*/ 0 w 9144000"/>
              <a:gd name="connsiteY4" fmla="*/ 688731 h 5143500"/>
              <a:gd name="connsiteX5" fmla="*/ 0 w 9144000"/>
              <a:gd name="connsiteY5" fmla="*/ 0 h 5143500"/>
              <a:gd name="connsiteX0" fmla="*/ 23446 w 9167446"/>
              <a:gd name="connsiteY0" fmla="*/ 0 h 5143500"/>
              <a:gd name="connsiteX1" fmla="*/ 9167446 w 9167446"/>
              <a:gd name="connsiteY1" fmla="*/ 0 h 5143500"/>
              <a:gd name="connsiteX2" fmla="*/ 9167446 w 9167446"/>
              <a:gd name="connsiteY2" fmla="*/ 5143500 h 5143500"/>
              <a:gd name="connsiteX3" fmla="*/ 8745415 w 9167446"/>
              <a:gd name="connsiteY3" fmla="*/ 293077 h 5143500"/>
              <a:gd name="connsiteX4" fmla="*/ 0 w 9167446"/>
              <a:gd name="connsiteY4" fmla="*/ 383931 h 5143500"/>
              <a:gd name="connsiteX5" fmla="*/ 23446 w 9167446"/>
              <a:gd name="connsiteY5" fmla="*/ 0 h 5143500"/>
              <a:gd name="connsiteX0" fmla="*/ 23446 w 9167446"/>
              <a:gd name="connsiteY0" fmla="*/ 0 h 5143500"/>
              <a:gd name="connsiteX1" fmla="*/ 9167446 w 9167446"/>
              <a:gd name="connsiteY1" fmla="*/ 0 h 5143500"/>
              <a:gd name="connsiteX2" fmla="*/ 9167446 w 9167446"/>
              <a:gd name="connsiteY2" fmla="*/ 5143500 h 5143500"/>
              <a:gd name="connsiteX3" fmla="*/ 8745415 w 9167446"/>
              <a:gd name="connsiteY3" fmla="*/ 422031 h 5143500"/>
              <a:gd name="connsiteX4" fmla="*/ 0 w 9167446"/>
              <a:gd name="connsiteY4" fmla="*/ 383931 h 5143500"/>
              <a:gd name="connsiteX5" fmla="*/ 23446 w 9167446"/>
              <a:gd name="connsiteY5" fmla="*/ 0 h 5143500"/>
              <a:gd name="connsiteX0" fmla="*/ 23446 w 9167446"/>
              <a:gd name="connsiteY0" fmla="*/ 0 h 5143500"/>
              <a:gd name="connsiteX1" fmla="*/ 9167446 w 9167446"/>
              <a:gd name="connsiteY1" fmla="*/ 0 h 5143500"/>
              <a:gd name="connsiteX2" fmla="*/ 9167446 w 9167446"/>
              <a:gd name="connsiteY2" fmla="*/ 5143500 h 5143500"/>
              <a:gd name="connsiteX3" fmla="*/ 8932984 w 9167446"/>
              <a:gd name="connsiteY3" fmla="*/ 2625969 h 5143500"/>
              <a:gd name="connsiteX4" fmla="*/ 8745415 w 9167446"/>
              <a:gd name="connsiteY4" fmla="*/ 422031 h 5143500"/>
              <a:gd name="connsiteX5" fmla="*/ 0 w 9167446"/>
              <a:gd name="connsiteY5" fmla="*/ 383931 h 5143500"/>
              <a:gd name="connsiteX6" fmla="*/ 23446 w 9167446"/>
              <a:gd name="connsiteY6" fmla="*/ 0 h 5143500"/>
              <a:gd name="connsiteX0" fmla="*/ 23446 w 9167446"/>
              <a:gd name="connsiteY0" fmla="*/ 0 h 5146431"/>
              <a:gd name="connsiteX1" fmla="*/ 9167446 w 9167446"/>
              <a:gd name="connsiteY1" fmla="*/ 0 h 5146431"/>
              <a:gd name="connsiteX2" fmla="*/ 9167446 w 9167446"/>
              <a:gd name="connsiteY2" fmla="*/ 5143500 h 5146431"/>
              <a:gd name="connsiteX3" fmla="*/ 8839199 w 9167446"/>
              <a:gd name="connsiteY3" fmla="*/ 5146431 h 5146431"/>
              <a:gd name="connsiteX4" fmla="*/ 8745415 w 9167446"/>
              <a:gd name="connsiteY4" fmla="*/ 422031 h 5146431"/>
              <a:gd name="connsiteX5" fmla="*/ 0 w 9167446"/>
              <a:gd name="connsiteY5" fmla="*/ 383931 h 5146431"/>
              <a:gd name="connsiteX6" fmla="*/ 23446 w 9167446"/>
              <a:gd name="connsiteY6" fmla="*/ 0 h 5146431"/>
              <a:gd name="connsiteX0" fmla="*/ 2491 w 9146491"/>
              <a:gd name="connsiteY0" fmla="*/ 0 h 5146431"/>
              <a:gd name="connsiteX1" fmla="*/ 9146491 w 9146491"/>
              <a:gd name="connsiteY1" fmla="*/ 0 h 5146431"/>
              <a:gd name="connsiteX2" fmla="*/ 9146491 w 9146491"/>
              <a:gd name="connsiteY2" fmla="*/ 5143500 h 5146431"/>
              <a:gd name="connsiteX3" fmla="*/ 8818244 w 9146491"/>
              <a:gd name="connsiteY3" fmla="*/ 5146431 h 5146431"/>
              <a:gd name="connsiteX4" fmla="*/ 8724460 w 9146491"/>
              <a:gd name="connsiteY4" fmla="*/ 422031 h 5146431"/>
              <a:gd name="connsiteX5" fmla="*/ 0 w 9146491"/>
              <a:gd name="connsiteY5" fmla="*/ 435366 h 5146431"/>
              <a:gd name="connsiteX6" fmla="*/ 2491 w 9146491"/>
              <a:gd name="connsiteY6" fmla="*/ 0 h 5146431"/>
              <a:gd name="connsiteX0" fmla="*/ 2491 w 9146491"/>
              <a:gd name="connsiteY0" fmla="*/ 0 h 5146431"/>
              <a:gd name="connsiteX1" fmla="*/ 9146491 w 9146491"/>
              <a:gd name="connsiteY1" fmla="*/ 0 h 5146431"/>
              <a:gd name="connsiteX2" fmla="*/ 9146491 w 9146491"/>
              <a:gd name="connsiteY2" fmla="*/ 5143500 h 5146431"/>
              <a:gd name="connsiteX3" fmla="*/ 8818244 w 9146491"/>
              <a:gd name="connsiteY3" fmla="*/ 5146431 h 5146431"/>
              <a:gd name="connsiteX4" fmla="*/ 8684455 w 9146491"/>
              <a:gd name="connsiteY4" fmla="*/ 427746 h 5146431"/>
              <a:gd name="connsiteX5" fmla="*/ 0 w 9146491"/>
              <a:gd name="connsiteY5" fmla="*/ 435366 h 5146431"/>
              <a:gd name="connsiteX6" fmla="*/ 2491 w 9146491"/>
              <a:gd name="connsiteY6" fmla="*/ 0 h 5146431"/>
              <a:gd name="connsiteX0" fmla="*/ 2491 w 9146491"/>
              <a:gd name="connsiteY0" fmla="*/ 0 h 5146431"/>
              <a:gd name="connsiteX1" fmla="*/ 9146491 w 9146491"/>
              <a:gd name="connsiteY1" fmla="*/ 0 h 5146431"/>
              <a:gd name="connsiteX2" fmla="*/ 9146491 w 9146491"/>
              <a:gd name="connsiteY2" fmla="*/ 5143500 h 5146431"/>
              <a:gd name="connsiteX3" fmla="*/ 8688704 w 9146491"/>
              <a:gd name="connsiteY3" fmla="*/ 5146431 h 5146431"/>
              <a:gd name="connsiteX4" fmla="*/ 8684455 w 9146491"/>
              <a:gd name="connsiteY4" fmla="*/ 427746 h 5146431"/>
              <a:gd name="connsiteX5" fmla="*/ 0 w 9146491"/>
              <a:gd name="connsiteY5" fmla="*/ 435366 h 5146431"/>
              <a:gd name="connsiteX6" fmla="*/ 2491 w 9146491"/>
              <a:gd name="connsiteY6" fmla="*/ 0 h 5146431"/>
              <a:gd name="connsiteX0" fmla="*/ 2491 w 9146491"/>
              <a:gd name="connsiteY0" fmla="*/ 0 h 5146431"/>
              <a:gd name="connsiteX1" fmla="*/ 9146491 w 9146491"/>
              <a:gd name="connsiteY1" fmla="*/ 0 h 5146431"/>
              <a:gd name="connsiteX2" fmla="*/ 9146491 w 9146491"/>
              <a:gd name="connsiteY2" fmla="*/ 5143500 h 5146431"/>
              <a:gd name="connsiteX3" fmla="*/ 8688704 w 9146491"/>
              <a:gd name="connsiteY3" fmla="*/ 5146431 h 5146431"/>
              <a:gd name="connsiteX4" fmla="*/ 8684455 w 9146491"/>
              <a:gd name="connsiteY4" fmla="*/ 431556 h 5146431"/>
              <a:gd name="connsiteX5" fmla="*/ 0 w 9146491"/>
              <a:gd name="connsiteY5" fmla="*/ 435366 h 5146431"/>
              <a:gd name="connsiteX6" fmla="*/ 2491 w 9146491"/>
              <a:gd name="connsiteY6" fmla="*/ 0 h 5146431"/>
              <a:gd name="connsiteX0" fmla="*/ 2491 w 9146491"/>
              <a:gd name="connsiteY0" fmla="*/ 0 h 5144526"/>
              <a:gd name="connsiteX1" fmla="*/ 9146491 w 9146491"/>
              <a:gd name="connsiteY1" fmla="*/ 0 h 5144526"/>
              <a:gd name="connsiteX2" fmla="*/ 9146491 w 9146491"/>
              <a:gd name="connsiteY2" fmla="*/ 5143500 h 5144526"/>
              <a:gd name="connsiteX3" fmla="*/ 8696324 w 9146491"/>
              <a:gd name="connsiteY3" fmla="*/ 5144526 h 5144526"/>
              <a:gd name="connsiteX4" fmla="*/ 8684455 w 9146491"/>
              <a:gd name="connsiteY4" fmla="*/ 431556 h 5144526"/>
              <a:gd name="connsiteX5" fmla="*/ 0 w 9146491"/>
              <a:gd name="connsiteY5" fmla="*/ 435366 h 5144526"/>
              <a:gd name="connsiteX6" fmla="*/ 2491 w 9146491"/>
              <a:gd name="connsiteY6" fmla="*/ 0 h 5144526"/>
              <a:gd name="connsiteX0" fmla="*/ 2491 w 9146491"/>
              <a:gd name="connsiteY0" fmla="*/ 0 h 5144526"/>
              <a:gd name="connsiteX1" fmla="*/ 9146491 w 9146491"/>
              <a:gd name="connsiteY1" fmla="*/ 0 h 5144526"/>
              <a:gd name="connsiteX2" fmla="*/ 9146491 w 9146491"/>
              <a:gd name="connsiteY2" fmla="*/ 5143500 h 5144526"/>
              <a:gd name="connsiteX3" fmla="*/ 8686799 w 9146491"/>
              <a:gd name="connsiteY3" fmla="*/ 5144526 h 5144526"/>
              <a:gd name="connsiteX4" fmla="*/ 8684455 w 9146491"/>
              <a:gd name="connsiteY4" fmla="*/ 431556 h 5144526"/>
              <a:gd name="connsiteX5" fmla="*/ 0 w 9146491"/>
              <a:gd name="connsiteY5" fmla="*/ 435366 h 5144526"/>
              <a:gd name="connsiteX6" fmla="*/ 2491 w 9146491"/>
              <a:gd name="connsiteY6" fmla="*/ 0 h 5144526"/>
              <a:gd name="connsiteX0" fmla="*/ 2491 w 9146491"/>
              <a:gd name="connsiteY0" fmla="*/ 0 h 5144526"/>
              <a:gd name="connsiteX1" fmla="*/ 9146491 w 9146491"/>
              <a:gd name="connsiteY1" fmla="*/ 0 h 5144526"/>
              <a:gd name="connsiteX2" fmla="*/ 9146491 w 9146491"/>
              <a:gd name="connsiteY2" fmla="*/ 5143500 h 5144526"/>
              <a:gd name="connsiteX3" fmla="*/ 8686799 w 9146491"/>
              <a:gd name="connsiteY3" fmla="*/ 5144526 h 5144526"/>
              <a:gd name="connsiteX4" fmla="*/ 8690170 w 9146491"/>
              <a:gd name="connsiteY4" fmla="*/ 433461 h 5144526"/>
              <a:gd name="connsiteX5" fmla="*/ 0 w 9146491"/>
              <a:gd name="connsiteY5" fmla="*/ 435366 h 5144526"/>
              <a:gd name="connsiteX6" fmla="*/ 2491 w 9146491"/>
              <a:gd name="connsiteY6" fmla="*/ 0 h 5144526"/>
              <a:gd name="connsiteX0" fmla="*/ 2491 w 9146491"/>
              <a:gd name="connsiteY0" fmla="*/ 0 h 5144526"/>
              <a:gd name="connsiteX1" fmla="*/ 9146491 w 9146491"/>
              <a:gd name="connsiteY1" fmla="*/ 0 h 5144526"/>
              <a:gd name="connsiteX2" fmla="*/ 9146491 w 9146491"/>
              <a:gd name="connsiteY2" fmla="*/ 5143500 h 5144526"/>
              <a:gd name="connsiteX3" fmla="*/ 8686799 w 9146491"/>
              <a:gd name="connsiteY3" fmla="*/ 5144526 h 5144526"/>
              <a:gd name="connsiteX4" fmla="*/ 8678740 w 9146491"/>
              <a:gd name="connsiteY4" fmla="*/ 435366 h 5144526"/>
              <a:gd name="connsiteX5" fmla="*/ 0 w 9146491"/>
              <a:gd name="connsiteY5" fmla="*/ 435366 h 5144526"/>
              <a:gd name="connsiteX6" fmla="*/ 2491 w 9146491"/>
              <a:gd name="connsiteY6" fmla="*/ 0 h 5144526"/>
              <a:gd name="connsiteX0" fmla="*/ 2491 w 9146491"/>
              <a:gd name="connsiteY0" fmla="*/ 0 h 5144526"/>
              <a:gd name="connsiteX1" fmla="*/ 9146491 w 9146491"/>
              <a:gd name="connsiteY1" fmla="*/ 0 h 5144526"/>
              <a:gd name="connsiteX2" fmla="*/ 9146491 w 9146491"/>
              <a:gd name="connsiteY2" fmla="*/ 5143500 h 5144526"/>
              <a:gd name="connsiteX3" fmla="*/ 8686799 w 9146491"/>
              <a:gd name="connsiteY3" fmla="*/ 5144526 h 5144526"/>
              <a:gd name="connsiteX4" fmla="*/ 8680645 w 9146491"/>
              <a:gd name="connsiteY4" fmla="*/ 433461 h 5144526"/>
              <a:gd name="connsiteX5" fmla="*/ 0 w 9146491"/>
              <a:gd name="connsiteY5" fmla="*/ 435366 h 5144526"/>
              <a:gd name="connsiteX6" fmla="*/ 2491 w 9146491"/>
              <a:gd name="connsiteY6" fmla="*/ 0 h 5144526"/>
              <a:gd name="connsiteX0" fmla="*/ 2491 w 9146491"/>
              <a:gd name="connsiteY0" fmla="*/ 0 h 5144526"/>
              <a:gd name="connsiteX1" fmla="*/ 9146491 w 9146491"/>
              <a:gd name="connsiteY1" fmla="*/ 0 h 5144526"/>
              <a:gd name="connsiteX2" fmla="*/ 9146491 w 9146491"/>
              <a:gd name="connsiteY2" fmla="*/ 5143500 h 5144526"/>
              <a:gd name="connsiteX3" fmla="*/ 8686799 w 9146491"/>
              <a:gd name="connsiteY3" fmla="*/ 5144526 h 5144526"/>
              <a:gd name="connsiteX4" fmla="*/ 8680645 w 9146491"/>
              <a:gd name="connsiteY4" fmla="*/ 439176 h 5144526"/>
              <a:gd name="connsiteX5" fmla="*/ 0 w 9146491"/>
              <a:gd name="connsiteY5" fmla="*/ 435366 h 5144526"/>
              <a:gd name="connsiteX6" fmla="*/ 2491 w 9146491"/>
              <a:gd name="connsiteY6" fmla="*/ 0 h 5144526"/>
              <a:gd name="connsiteX0" fmla="*/ 2491 w 9146491"/>
              <a:gd name="connsiteY0" fmla="*/ 0 h 5144526"/>
              <a:gd name="connsiteX1" fmla="*/ 9146491 w 9146491"/>
              <a:gd name="connsiteY1" fmla="*/ 0 h 5144526"/>
              <a:gd name="connsiteX2" fmla="*/ 9146491 w 9146491"/>
              <a:gd name="connsiteY2" fmla="*/ 5143500 h 5144526"/>
              <a:gd name="connsiteX3" fmla="*/ 8686799 w 9146491"/>
              <a:gd name="connsiteY3" fmla="*/ 5144526 h 5144526"/>
              <a:gd name="connsiteX4" fmla="*/ 8682550 w 9146491"/>
              <a:gd name="connsiteY4" fmla="*/ 439176 h 5144526"/>
              <a:gd name="connsiteX5" fmla="*/ 0 w 9146491"/>
              <a:gd name="connsiteY5" fmla="*/ 435366 h 5144526"/>
              <a:gd name="connsiteX6" fmla="*/ 2491 w 9146491"/>
              <a:gd name="connsiteY6" fmla="*/ 0 h 5144526"/>
              <a:gd name="connsiteX0" fmla="*/ 2491 w 9146491"/>
              <a:gd name="connsiteY0" fmla="*/ 0 h 5144526"/>
              <a:gd name="connsiteX1" fmla="*/ 9146491 w 9146491"/>
              <a:gd name="connsiteY1" fmla="*/ 0 h 5144526"/>
              <a:gd name="connsiteX2" fmla="*/ 9146491 w 9146491"/>
              <a:gd name="connsiteY2" fmla="*/ 5143500 h 5144526"/>
              <a:gd name="connsiteX3" fmla="*/ 8686799 w 9146491"/>
              <a:gd name="connsiteY3" fmla="*/ 5144526 h 5144526"/>
              <a:gd name="connsiteX4" fmla="*/ 8686360 w 9146491"/>
              <a:gd name="connsiteY4" fmla="*/ 439176 h 5144526"/>
              <a:gd name="connsiteX5" fmla="*/ 0 w 9146491"/>
              <a:gd name="connsiteY5" fmla="*/ 435366 h 5144526"/>
              <a:gd name="connsiteX6" fmla="*/ 2491 w 9146491"/>
              <a:gd name="connsiteY6" fmla="*/ 0 h 5144526"/>
              <a:gd name="connsiteX0" fmla="*/ 586 w 9144586"/>
              <a:gd name="connsiteY0" fmla="*/ 0 h 5144526"/>
              <a:gd name="connsiteX1" fmla="*/ 9144586 w 9144586"/>
              <a:gd name="connsiteY1" fmla="*/ 0 h 5144526"/>
              <a:gd name="connsiteX2" fmla="*/ 9144586 w 9144586"/>
              <a:gd name="connsiteY2" fmla="*/ 5143500 h 5144526"/>
              <a:gd name="connsiteX3" fmla="*/ 8684894 w 9144586"/>
              <a:gd name="connsiteY3" fmla="*/ 5144526 h 5144526"/>
              <a:gd name="connsiteX4" fmla="*/ 8684455 w 9144586"/>
              <a:gd name="connsiteY4" fmla="*/ 439176 h 5144526"/>
              <a:gd name="connsiteX5" fmla="*/ 0 w 9144586"/>
              <a:gd name="connsiteY5" fmla="*/ 435366 h 5144526"/>
              <a:gd name="connsiteX6" fmla="*/ 586 w 9144586"/>
              <a:gd name="connsiteY6" fmla="*/ 0 h 5144526"/>
              <a:gd name="connsiteX0" fmla="*/ 2491 w 9146491"/>
              <a:gd name="connsiteY0" fmla="*/ 0 h 5144526"/>
              <a:gd name="connsiteX1" fmla="*/ 9146491 w 9146491"/>
              <a:gd name="connsiteY1" fmla="*/ 0 h 5144526"/>
              <a:gd name="connsiteX2" fmla="*/ 9146491 w 9146491"/>
              <a:gd name="connsiteY2" fmla="*/ 5143500 h 5144526"/>
              <a:gd name="connsiteX3" fmla="*/ 8686799 w 9146491"/>
              <a:gd name="connsiteY3" fmla="*/ 5144526 h 5144526"/>
              <a:gd name="connsiteX4" fmla="*/ 8686360 w 9146491"/>
              <a:gd name="connsiteY4" fmla="*/ 439176 h 5144526"/>
              <a:gd name="connsiteX5" fmla="*/ 0 w 9146491"/>
              <a:gd name="connsiteY5" fmla="*/ 437271 h 5144526"/>
              <a:gd name="connsiteX6" fmla="*/ 2491 w 9146491"/>
              <a:gd name="connsiteY6" fmla="*/ 0 h 5144526"/>
              <a:gd name="connsiteX0" fmla="*/ 2491 w 9146491"/>
              <a:gd name="connsiteY0" fmla="*/ 0 h 5144526"/>
              <a:gd name="connsiteX1" fmla="*/ 9146491 w 9146491"/>
              <a:gd name="connsiteY1" fmla="*/ 0 h 5144526"/>
              <a:gd name="connsiteX2" fmla="*/ 9146491 w 9146491"/>
              <a:gd name="connsiteY2" fmla="*/ 5143500 h 5144526"/>
              <a:gd name="connsiteX3" fmla="*/ 8686799 w 9146491"/>
              <a:gd name="connsiteY3" fmla="*/ 5144526 h 5144526"/>
              <a:gd name="connsiteX4" fmla="*/ 8686360 w 9146491"/>
              <a:gd name="connsiteY4" fmla="*/ 439176 h 5144526"/>
              <a:gd name="connsiteX5" fmla="*/ 0 w 9146491"/>
              <a:gd name="connsiteY5" fmla="*/ 439176 h 5144526"/>
              <a:gd name="connsiteX6" fmla="*/ 2491 w 9146491"/>
              <a:gd name="connsiteY6" fmla="*/ 0 h 5144526"/>
              <a:gd name="connsiteX0" fmla="*/ 2491 w 9146491"/>
              <a:gd name="connsiteY0" fmla="*/ 0 h 5144526"/>
              <a:gd name="connsiteX1" fmla="*/ 9146491 w 9146491"/>
              <a:gd name="connsiteY1" fmla="*/ 0 h 5144526"/>
              <a:gd name="connsiteX2" fmla="*/ 9146491 w 9146491"/>
              <a:gd name="connsiteY2" fmla="*/ 5143500 h 5144526"/>
              <a:gd name="connsiteX3" fmla="*/ 8686799 w 9146491"/>
              <a:gd name="connsiteY3" fmla="*/ 5144526 h 5144526"/>
              <a:gd name="connsiteX4" fmla="*/ 8686360 w 9146491"/>
              <a:gd name="connsiteY4" fmla="*/ 439176 h 5144526"/>
              <a:gd name="connsiteX5" fmla="*/ 0 w 9146491"/>
              <a:gd name="connsiteY5" fmla="*/ 439176 h 5144526"/>
              <a:gd name="connsiteX6" fmla="*/ 2491 w 9146491"/>
              <a:gd name="connsiteY6" fmla="*/ 0 h 51445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46491" h="5144526">
                <a:moveTo>
                  <a:pt x="2491" y="0"/>
                </a:moveTo>
                <a:lnTo>
                  <a:pt x="9146491" y="0"/>
                </a:lnTo>
                <a:lnTo>
                  <a:pt x="9146491" y="5143500"/>
                </a:lnTo>
                <a:lnTo>
                  <a:pt x="8686799" y="5144526"/>
                </a:lnTo>
                <a:cubicBezTo>
                  <a:pt x="8685383" y="3571631"/>
                  <a:pt x="8687776" y="2012071"/>
                  <a:pt x="8686360" y="439176"/>
                </a:cubicBezTo>
                <a:lnTo>
                  <a:pt x="0" y="439176"/>
                </a:lnTo>
                <a:cubicBezTo>
                  <a:pt x="830" y="353109"/>
                  <a:pt x="1661" y="145122"/>
                  <a:pt x="2491" y="0"/>
                </a:cubicBezTo>
                <a:close/>
              </a:path>
            </a:pathLst>
          </a:custGeom>
          <a:solidFill>
            <a:schemeClr val="bg2">
              <a:lumMod val="90000"/>
            </a:schemeClr>
          </a:solidFill>
        </p:spPr>
        <p:txBody>
          <a:bodyPr/>
          <a:lstStyle>
            <a:lvl1pPr marL="0" indent="0" algn="ctr">
              <a:buNone/>
              <a:defRPr/>
            </a:lvl1pPr>
          </a:lstStyle>
          <a:p>
            <a:r>
              <a:rPr lang="en-US"/>
              <a:t>Click icon to add picture</a:t>
            </a:r>
          </a:p>
        </p:txBody>
      </p:sp>
      <p:sp>
        <p:nvSpPr>
          <p:cNvPr id="5" name="Slide Number Placeholder 4"/>
          <p:cNvSpPr>
            <a:spLocks noGrp="1"/>
          </p:cNvSpPr>
          <p:nvPr>
            <p:ph type="sldNum" sz="quarter" idx="12"/>
          </p:nvPr>
        </p:nvSpPr>
        <p:spPr/>
        <p:txBody>
          <a:bodyPr/>
          <a:lstStyle/>
          <a:p>
            <a:fld id="{2F687C33-47E0-407C-B61F-DB8DDD78F4C7}" type="slidenum">
              <a:rPr lang="en-US" smtClean="0"/>
              <a:t>‹#›</a:t>
            </a:fld>
            <a:endParaRPr lang="en-US"/>
          </a:p>
        </p:txBody>
      </p:sp>
      <p:sp>
        <p:nvSpPr>
          <p:cNvPr id="11" name="Freeform 5">
            <a:extLst>
              <a:ext uri="{FF2B5EF4-FFF2-40B4-BE49-F238E27FC236}">
                <a16:creationId xmlns:a16="http://schemas.microsoft.com/office/drawing/2014/main" id="{3E27C736-095E-4C51-9197-AD588C450B8D}"/>
              </a:ext>
            </a:extLst>
          </p:cNvPr>
          <p:cNvSpPr>
            <a:spLocks noEditPoints="1"/>
          </p:cNvSpPr>
          <p:nvPr/>
        </p:nvSpPr>
        <p:spPr bwMode="auto">
          <a:xfrm>
            <a:off x="725855" y="6393957"/>
            <a:ext cx="1669365" cy="312609"/>
          </a:xfrm>
          <a:custGeom>
            <a:avLst/>
            <a:gdLst>
              <a:gd name="T0" fmla="*/ 225 w 1440"/>
              <a:gd name="T1" fmla="*/ 110 h 267"/>
              <a:gd name="T2" fmla="*/ 317 w 1440"/>
              <a:gd name="T3" fmla="*/ 7 h 267"/>
              <a:gd name="T4" fmla="*/ 475 w 1440"/>
              <a:gd name="T5" fmla="*/ 19 h 267"/>
              <a:gd name="T6" fmla="*/ 830 w 1440"/>
              <a:gd name="T7" fmla="*/ 7 h 267"/>
              <a:gd name="T8" fmla="*/ 130 w 1440"/>
              <a:gd name="T9" fmla="*/ 210 h 267"/>
              <a:gd name="T10" fmla="*/ 437 w 1440"/>
              <a:gd name="T11" fmla="*/ 209 h 267"/>
              <a:gd name="T12" fmla="*/ 493 w 1440"/>
              <a:gd name="T13" fmla="*/ 198 h 267"/>
              <a:gd name="T14" fmla="*/ 866 w 1440"/>
              <a:gd name="T15" fmla="*/ 171 h 267"/>
              <a:gd name="T16" fmla="*/ 737 w 1440"/>
              <a:gd name="T17" fmla="*/ 261 h 267"/>
              <a:gd name="T18" fmla="*/ 958 w 1440"/>
              <a:gd name="T19" fmla="*/ 172 h 267"/>
              <a:gd name="T20" fmla="*/ 906 w 1440"/>
              <a:gd name="T21" fmla="*/ 254 h 267"/>
              <a:gd name="T22" fmla="*/ 309 w 1440"/>
              <a:gd name="T23" fmla="*/ 260 h 267"/>
              <a:gd name="T24" fmla="*/ 1053 w 1440"/>
              <a:gd name="T25" fmla="*/ 31 h 267"/>
              <a:gd name="T26" fmla="*/ 1075 w 1440"/>
              <a:gd name="T27" fmla="*/ 44 h 267"/>
              <a:gd name="T28" fmla="*/ 1091 w 1440"/>
              <a:gd name="T29" fmla="*/ 22 h 267"/>
              <a:gd name="T30" fmla="*/ 1107 w 1440"/>
              <a:gd name="T31" fmla="*/ 27 h 267"/>
              <a:gd name="T32" fmla="*/ 1125 w 1440"/>
              <a:gd name="T33" fmla="*/ 55 h 267"/>
              <a:gd name="T34" fmla="*/ 1159 w 1440"/>
              <a:gd name="T35" fmla="*/ 53 h 267"/>
              <a:gd name="T36" fmla="*/ 1160 w 1440"/>
              <a:gd name="T37" fmla="*/ 57 h 267"/>
              <a:gd name="T38" fmla="*/ 1177 w 1440"/>
              <a:gd name="T39" fmla="*/ 23 h 267"/>
              <a:gd name="T40" fmla="*/ 1207 w 1440"/>
              <a:gd name="T41" fmla="*/ 58 h 267"/>
              <a:gd name="T42" fmla="*/ 1245 w 1440"/>
              <a:gd name="T43" fmla="*/ 27 h 267"/>
              <a:gd name="T44" fmla="*/ 1225 w 1440"/>
              <a:gd name="T45" fmla="*/ 43 h 267"/>
              <a:gd name="T46" fmla="*/ 1271 w 1440"/>
              <a:gd name="T47" fmla="*/ 19 h 267"/>
              <a:gd name="T48" fmla="*/ 1259 w 1440"/>
              <a:gd name="T49" fmla="*/ 32 h 267"/>
              <a:gd name="T50" fmla="*/ 1290 w 1440"/>
              <a:gd name="T51" fmla="*/ 54 h 267"/>
              <a:gd name="T52" fmla="*/ 1310 w 1440"/>
              <a:gd name="T53" fmla="*/ 25 h 267"/>
              <a:gd name="T54" fmla="*/ 1059 w 1440"/>
              <a:gd name="T55" fmla="*/ 110 h 267"/>
              <a:gd name="T56" fmla="*/ 1099 w 1440"/>
              <a:gd name="T57" fmla="*/ 134 h 267"/>
              <a:gd name="T58" fmla="*/ 1120 w 1440"/>
              <a:gd name="T59" fmla="*/ 156 h 267"/>
              <a:gd name="T60" fmla="*/ 1141 w 1440"/>
              <a:gd name="T61" fmla="*/ 123 h 267"/>
              <a:gd name="T62" fmla="*/ 1148 w 1440"/>
              <a:gd name="T63" fmla="*/ 175 h 267"/>
              <a:gd name="T64" fmla="*/ 1184 w 1440"/>
              <a:gd name="T65" fmla="*/ 119 h 267"/>
              <a:gd name="T66" fmla="*/ 1181 w 1440"/>
              <a:gd name="T67" fmla="*/ 153 h 267"/>
              <a:gd name="T68" fmla="*/ 1201 w 1440"/>
              <a:gd name="T69" fmla="*/ 125 h 267"/>
              <a:gd name="T70" fmla="*/ 1230 w 1440"/>
              <a:gd name="T71" fmla="*/ 157 h 267"/>
              <a:gd name="T72" fmla="*/ 1260 w 1440"/>
              <a:gd name="T73" fmla="*/ 154 h 267"/>
              <a:gd name="T74" fmla="*/ 1261 w 1440"/>
              <a:gd name="T75" fmla="*/ 158 h 267"/>
              <a:gd name="T76" fmla="*/ 1284 w 1440"/>
              <a:gd name="T77" fmla="*/ 152 h 267"/>
              <a:gd name="T78" fmla="*/ 1294 w 1440"/>
              <a:gd name="T79" fmla="*/ 123 h 267"/>
              <a:gd name="T80" fmla="*/ 1317 w 1440"/>
              <a:gd name="T81" fmla="*/ 125 h 267"/>
              <a:gd name="T82" fmla="*/ 1342 w 1440"/>
              <a:gd name="T83" fmla="*/ 121 h 267"/>
              <a:gd name="T84" fmla="*/ 1351 w 1440"/>
              <a:gd name="T85" fmla="*/ 112 h 267"/>
              <a:gd name="T86" fmla="*/ 1364 w 1440"/>
              <a:gd name="T87" fmla="*/ 159 h 267"/>
              <a:gd name="T88" fmla="*/ 1399 w 1440"/>
              <a:gd name="T89" fmla="*/ 156 h 267"/>
              <a:gd name="T90" fmla="*/ 1432 w 1440"/>
              <a:gd name="T91" fmla="*/ 120 h 267"/>
              <a:gd name="T92" fmla="*/ 1410 w 1440"/>
              <a:gd name="T93" fmla="*/ 176 h 267"/>
              <a:gd name="T94" fmla="*/ 1076 w 1440"/>
              <a:gd name="T95" fmla="*/ 242 h 267"/>
              <a:gd name="T96" fmla="*/ 1062 w 1440"/>
              <a:gd name="T97" fmla="*/ 225 h 267"/>
              <a:gd name="T98" fmla="*/ 1091 w 1440"/>
              <a:gd name="T99" fmla="*/ 208 h 267"/>
              <a:gd name="T100" fmla="*/ 1112 w 1440"/>
              <a:gd name="T101" fmla="*/ 233 h 267"/>
              <a:gd name="T102" fmla="*/ 1128 w 1440"/>
              <a:gd name="T103" fmla="*/ 224 h 267"/>
              <a:gd name="T104" fmla="*/ 1168 w 1440"/>
              <a:gd name="T105" fmla="*/ 255 h 267"/>
              <a:gd name="T106" fmla="*/ 1154 w 1440"/>
              <a:gd name="T107" fmla="*/ 236 h 267"/>
              <a:gd name="T108" fmla="*/ 1203 w 1440"/>
              <a:gd name="T109" fmla="*/ 256 h 267"/>
              <a:gd name="T110" fmla="*/ 1200 w 1440"/>
              <a:gd name="T111" fmla="*/ 213 h 267"/>
              <a:gd name="T112" fmla="*/ 1227 w 1440"/>
              <a:gd name="T113" fmla="*/ 256 h 267"/>
              <a:gd name="T114" fmla="*/ 1249 w 1440"/>
              <a:gd name="T115" fmla="*/ 260 h 267"/>
              <a:gd name="T116" fmla="*/ 1255 w 1440"/>
              <a:gd name="T117" fmla="*/ 205 h 267"/>
              <a:gd name="T118" fmla="*/ 1297 w 1440"/>
              <a:gd name="T119" fmla="*/ 226 h 267"/>
              <a:gd name="T120" fmla="*/ 1303 w 1440"/>
              <a:gd name="T121" fmla="*/ 243 h 267"/>
              <a:gd name="T122" fmla="*/ 1344 w 1440"/>
              <a:gd name="T123" fmla="*/ 229 h 267"/>
              <a:gd name="T124" fmla="*/ 1328 w 1440"/>
              <a:gd name="T125" fmla="*/ 239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440" h="267">
                <a:moveTo>
                  <a:pt x="17" y="110"/>
                </a:moveTo>
                <a:cubicBezTo>
                  <a:pt x="3" y="110"/>
                  <a:pt x="3" y="110"/>
                  <a:pt x="3" y="110"/>
                </a:cubicBezTo>
                <a:cubicBezTo>
                  <a:pt x="3" y="1"/>
                  <a:pt x="3" y="1"/>
                  <a:pt x="3" y="1"/>
                </a:cubicBezTo>
                <a:cubicBezTo>
                  <a:pt x="81" y="83"/>
                  <a:pt x="81" y="83"/>
                  <a:pt x="81" y="83"/>
                </a:cubicBezTo>
                <a:cubicBezTo>
                  <a:pt x="81" y="7"/>
                  <a:pt x="81" y="7"/>
                  <a:pt x="81" y="7"/>
                </a:cubicBezTo>
                <a:cubicBezTo>
                  <a:pt x="95" y="7"/>
                  <a:pt x="95" y="7"/>
                  <a:pt x="95" y="7"/>
                </a:cubicBezTo>
                <a:cubicBezTo>
                  <a:pt x="95" y="117"/>
                  <a:pt x="95" y="117"/>
                  <a:pt x="95" y="117"/>
                </a:cubicBezTo>
                <a:cubicBezTo>
                  <a:pt x="17" y="35"/>
                  <a:pt x="17" y="35"/>
                  <a:pt x="17" y="35"/>
                </a:cubicBezTo>
                <a:lnTo>
                  <a:pt x="17" y="110"/>
                </a:lnTo>
                <a:close/>
                <a:moveTo>
                  <a:pt x="130" y="110"/>
                </a:moveTo>
                <a:cubicBezTo>
                  <a:pt x="145" y="110"/>
                  <a:pt x="145" y="110"/>
                  <a:pt x="145" y="110"/>
                </a:cubicBezTo>
                <a:cubicBezTo>
                  <a:pt x="178" y="33"/>
                  <a:pt x="178" y="33"/>
                  <a:pt x="178" y="33"/>
                </a:cubicBezTo>
                <a:cubicBezTo>
                  <a:pt x="210" y="109"/>
                  <a:pt x="210" y="109"/>
                  <a:pt x="210" y="109"/>
                </a:cubicBezTo>
                <a:cubicBezTo>
                  <a:pt x="210" y="110"/>
                  <a:pt x="210" y="110"/>
                  <a:pt x="210" y="110"/>
                </a:cubicBezTo>
                <a:cubicBezTo>
                  <a:pt x="225" y="110"/>
                  <a:pt x="225" y="110"/>
                  <a:pt x="225" y="110"/>
                </a:cubicBezTo>
                <a:cubicBezTo>
                  <a:pt x="178" y="0"/>
                  <a:pt x="178" y="0"/>
                  <a:pt x="178" y="0"/>
                </a:cubicBezTo>
                <a:lnTo>
                  <a:pt x="130" y="110"/>
                </a:lnTo>
                <a:close/>
                <a:moveTo>
                  <a:pt x="700" y="110"/>
                </a:moveTo>
                <a:cubicBezTo>
                  <a:pt x="715" y="110"/>
                  <a:pt x="715" y="110"/>
                  <a:pt x="715" y="110"/>
                </a:cubicBezTo>
                <a:cubicBezTo>
                  <a:pt x="748" y="33"/>
                  <a:pt x="748" y="33"/>
                  <a:pt x="748" y="33"/>
                </a:cubicBezTo>
                <a:cubicBezTo>
                  <a:pt x="780" y="109"/>
                  <a:pt x="780" y="109"/>
                  <a:pt x="780" y="109"/>
                </a:cubicBezTo>
                <a:cubicBezTo>
                  <a:pt x="780" y="110"/>
                  <a:pt x="780" y="110"/>
                  <a:pt x="780" y="110"/>
                </a:cubicBezTo>
                <a:cubicBezTo>
                  <a:pt x="795" y="110"/>
                  <a:pt x="795" y="110"/>
                  <a:pt x="795" y="110"/>
                </a:cubicBezTo>
                <a:cubicBezTo>
                  <a:pt x="748" y="0"/>
                  <a:pt x="748" y="0"/>
                  <a:pt x="748" y="0"/>
                </a:cubicBezTo>
                <a:lnTo>
                  <a:pt x="700" y="110"/>
                </a:lnTo>
                <a:close/>
                <a:moveTo>
                  <a:pt x="273" y="110"/>
                </a:moveTo>
                <a:cubicBezTo>
                  <a:pt x="286" y="110"/>
                  <a:pt x="286" y="110"/>
                  <a:pt x="286" y="110"/>
                </a:cubicBezTo>
                <a:cubicBezTo>
                  <a:pt x="286" y="20"/>
                  <a:pt x="286" y="20"/>
                  <a:pt x="286" y="20"/>
                </a:cubicBezTo>
                <a:cubicBezTo>
                  <a:pt x="317" y="20"/>
                  <a:pt x="317" y="20"/>
                  <a:pt x="317" y="20"/>
                </a:cubicBezTo>
                <a:cubicBezTo>
                  <a:pt x="317" y="7"/>
                  <a:pt x="317" y="7"/>
                  <a:pt x="317" y="7"/>
                </a:cubicBezTo>
                <a:cubicBezTo>
                  <a:pt x="242" y="7"/>
                  <a:pt x="242" y="7"/>
                  <a:pt x="242" y="7"/>
                </a:cubicBezTo>
                <a:cubicBezTo>
                  <a:pt x="242" y="20"/>
                  <a:pt x="242" y="20"/>
                  <a:pt x="242" y="20"/>
                </a:cubicBezTo>
                <a:cubicBezTo>
                  <a:pt x="273" y="20"/>
                  <a:pt x="273" y="20"/>
                  <a:pt x="273" y="20"/>
                </a:cubicBezTo>
                <a:lnTo>
                  <a:pt x="273" y="110"/>
                </a:lnTo>
                <a:close/>
                <a:moveTo>
                  <a:pt x="374" y="7"/>
                </a:moveTo>
                <a:cubicBezTo>
                  <a:pt x="360" y="7"/>
                  <a:pt x="360" y="7"/>
                  <a:pt x="360" y="7"/>
                </a:cubicBezTo>
                <a:cubicBezTo>
                  <a:pt x="360" y="110"/>
                  <a:pt x="360" y="110"/>
                  <a:pt x="360" y="110"/>
                </a:cubicBezTo>
                <a:cubicBezTo>
                  <a:pt x="374" y="110"/>
                  <a:pt x="374" y="110"/>
                  <a:pt x="374" y="110"/>
                </a:cubicBezTo>
                <a:lnTo>
                  <a:pt x="374" y="7"/>
                </a:lnTo>
                <a:close/>
                <a:moveTo>
                  <a:pt x="475" y="112"/>
                </a:moveTo>
                <a:cubicBezTo>
                  <a:pt x="445" y="112"/>
                  <a:pt x="421" y="88"/>
                  <a:pt x="421" y="59"/>
                </a:cubicBezTo>
                <a:cubicBezTo>
                  <a:pt x="421" y="29"/>
                  <a:pt x="445" y="5"/>
                  <a:pt x="475" y="5"/>
                </a:cubicBezTo>
                <a:cubicBezTo>
                  <a:pt x="505" y="5"/>
                  <a:pt x="528" y="29"/>
                  <a:pt x="528" y="59"/>
                </a:cubicBezTo>
                <a:cubicBezTo>
                  <a:pt x="528" y="88"/>
                  <a:pt x="505" y="112"/>
                  <a:pt x="475" y="112"/>
                </a:cubicBezTo>
                <a:close/>
                <a:moveTo>
                  <a:pt x="475" y="19"/>
                </a:moveTo>
                <a:cubicBezTo>
                  <a:pt x="453" y="19"/>
                  <a:pt x="435" y="37"/>
                  <a:pt x="435" y="59"/>
                </a:cubicBezTo>
                <a:cubicBezTo>
                  <a:pt x="435" y="81"/>
                  <a:pt x="453" y="99"/>
                  <a:pt x="475" y="99"/>
                </a:cubicBezTo>
                <a:cubicBezTo>
                  <a:pt x="497" y="99"/>
                  <a:pt x="514" y="81"/>
                  <a:pt x="514" y="59"/>
                </a:cubicBezTo>
                <a:cubicBezTo>
                  <a:pt x="514" y="37"/>
                  <a:pt x="497" y="19"/>
                  <a:pt x="475" y="19"/>
                </a:cubicBezTo>
                <a:close/>
                <a:moveTo>
                  <a:pt x="586" y="35"/>
                </a:moveTo>
                <a:cubicBezTo>
                  <a:pt x="664" y="117"/>
                  <a:pt x="664" y="117"/>
                  <a:pt x="664" y="117"/>
                </a:cubicBezTo>
                <a:cubicBezTo>
                  <a:pt x="664" y="7"/>
                  <a:pt x="664" y="7"/>
                  <a:pt x="664" y="7"/>
                </a:cubicBezTo>
                <a:cubicBezTo>
                  <a:pt x="650" y="7"/>
                  <a:pt x="650" y="7"/>
                  <a:pt x="650" y="7"/>
                </a:cubicBezTo>
                <a:cubicBezTo>
                  <a:pt x="650" y="83"/>
                  <a:pt x="650" y="83"/>
                  <a:pt x="650" y="83"/>
                </a:cubicBezTo>
                <a:cubicBezTo>
                  <a:pt x="572" y="1"/>
                  <a:pt x="572" y="1"/>
                  <a:pt x="572" y="1"/>
                </a:cubicBezTo>
                <a:cubicBezTo>
                  <a:pt x="572" y="110"/>
                  <a:pt x="572" y="110"/>
                  <a:pt x="572" y="110"/>
                </a:cubicBezTo>
                <a:cubicBezTo>
                  <a:pt x="586" y="110"/>
                  <a:pt x="586" y="110"/>
                  <a:pt x="586" y="110"/>
                </a:cubicBezTo>
                <a:lnTo>
                  <a:pt x="586" y="35"/>
                </a:lnTo>
                <a:close/>
                <a:moveTo>
                  <a:pt x="843" y="7"/>
                </a:moveTo>
                <a:cubicBezTo>
                  <a:pt x="830" y="7"/>
                  <a:pt x="830" y="7"/>
                  <a:pt x="830" y="7"/>
                </a:cubicBezTo>
                <a:cubicBezTo>
                  <a:pt x="830" y="110"/>
                  <a:pt x="830" y="110"/>
                  <a:pt x="830" y="110"/>
                </a:cubicBezTo>
                <a:cubicBezTo>
                  <a:pt x="885" y="110"/>
                  <a:pt x="885" y="110"/>
                  <a:pt x="885" y="110"/>
                </a:cubicBezTo>
                <a:cubicBezTo>
                  <a:pt x="885" y="97"/>
                  <a:pt x="885" y="97"/>
                  <a:pt x="885" y="97"/>
                </a:cubicBezTo>
                <a:cubicBezTo>
                  <a:pt x="843" y="97"/>
                  <a:pt x="843" y="97"/>
                  <a:pt x="843" y="97"/>
                </a:cubicBezTo>
                <a:lnTo>
                  <a:pt x="843" y="7"/>
                </a:lnTo>
                <a:close/>
                <a:moveTo>
                  <a:pt x="169" y="156"/>
                </a:moveTo>
                <a:cubicBezTo>
                  <a:pt x="139" y="156"/>
                  <a:pt x="116" y="179"/>
                  <a:pt x="116" y="209"/>
                </a:cubicBezTo>
                <a:cubicBezTo>
                  <a:pt x="116" y="240"/>
                  <a:pt x="139" y="262"/>
                  <a:pt x="169" y="262"/>
                </a:cubicBezTo>
                <a:cubicBezTo>
                  <a:pt x="175" y="262"/>
                  <a:pt x="188" y="261"/>
                  <a:pt x="200" y="252"/>
                </a:cubicBezTo>
                <a:cubicBezTo>
                  <a:pt x="200" y="252"/>
                  <a:pt x="200" y="252"/>
                  <a:pt x="200" y="252"/>
                </a:cubicBezTo>
                <a:cubicBezTo>
                  <a:pt x="200" y="234"/>
                  <a:pt x="200" y="234"/>
                  <a:pt x="200" y="234"/>
                </a:cubicBezTo>
                <a:cubicBezTo>
                  <a:pt x="198" y="236"/>
                  <a:pt x="198" y="236"/>
                  <a:pt x="198" y="236"/>
                </a:cubicBezTo>
                <a:cubicBezTo>
                  <a:pt x="196" y="239"/>
                  <a:pt x="192" y="242"/>
                  <a:pt x="187" y="245"/>
                </a:cubicBezTo>
                <a:cubicBezTo>
                  <a:pt x="181" y="247"/>
                  <a:pt x="175" y="249"/>
                  <a:pt x="169" y="249"/>
                </a:cubicBezTo>
                <a:cubicBezTo>
                  <a:pt x="142" y="249"/>
                  <a:pt x="130" y="226"/>
                  <a:pt x="130" y="210"/>
                </a:cubicBezTo>
                <a:cubicBezTo>
                  <a:pt x="130" y="187"/>
                  <a:pt x="147" y="169"/>
                  <a:pt x="169" y="169"/>
                </a:cubicBezTo>
                <a:cubicBezTo>
                  <a:pt x="174" y="169"/>
                  <a:pt x="180" y="170"/>
                  <a:pt x="185" y="173"/>
                </a:cubicBezTo>
                <a:cubicBezTo>
                  <a:pt x="190" y="175"/>
                  <a:pt x="194" y="178"/>
                  <a:pt x="198" y="182"/>
                </a:cubicBezTo>
                <a:cubicBezTo>
                  <a:pt x="200" y="184"/>
                  <a:pt x="200" y="184"/>
                  <a:pt x="200" y="184"/>
                </a:cubicBezTo>
                <a:cubicBezTo>
                  <a:pt x="200" y="166"/>
                  <a:pt x="200" y="166"/>
                  <a:pt x="200" y="166"/>
                </a:cubicBezTo>
                <a:cubicBezTo>
                  <a:pt x="200" y="166"/>
                  <a:pt x="200" y="166"/>
                  <a:pt x="200" y="166"/>
                </a:cubicBezTo>
                <a:cubicBezTo>
                  <a:pt x="191" y="159"/>
                  <a:pt x="181" y="156"/>
                  <a:pt x="169" y="156"/>
                </a:cubicBezTo>
                <a:close/>
                <a:moveTo>
                  <a:pt x="437" y="209"/>
                </a:moveTo>
                <a:cubicBezTo>
                  <a:pt x="437" y="225"/>
                  <a:pt x="431" y="238"/>
                  <a:pt x="419" y="249"/>
                </a:cubicBezTo>
                <a:cubicBezTo>
                  <a:pt x="409" y="257"/>
                  <a:pt x="399" y="261"/>
                  <a:pt x="382" y="261"/>
                </a:cubicBezTo>
                <a:cubicBezTo>
                  <a:pt x="360" y="261"/>
                  <a:pt x="360" y="261"/>
                  <a:pt x="360" y="261"/>
                </a:cubicBezTo>
                <a:cubicBezTo>
                  <a:pt x="360" y="157"/>
                  <a:pt x="360" y="157"/>
                  <a:pt x="360" y="157"/>
                </a:cubicBezTo>
                <a:cubicBezTo>
                  <a:pt x="382" y="157"/>
                  <a:pt x="382" y="157"/>
                  <a:pt x="382" y="157"/>
                </a:cubicBezTo>
                <a:cubicBezTo>
                  <a:pt x="393" y="157"/>
                  <a:pt x="407" y="159"/>
                  <a:pt x="420" y="170"/>
                </a:cubicBezTo>
                <a:cubicBezTo>
                  <a:pt x="426" y="175"/>
                  <a:pt x="437" y="187"/>
                  <a:pt x="437" y="209"/>
                </a:cubicBezTo>
                <a:close/>
                <a:moveTo>
                  <a:pt x="423" y="209"/>
                </a:moveTo>
                <a:cubicBezTo>
                  <a:pt x="423" y="186"/>
                  <a:pt x="407" y="171"/>
                  <a:pt x="382" y="171"/>
                </a:cubicBezTo>
                <a:cubicBezTo>
                  <a:pt x="374" y="171"/>
                  <a:pt x="374" y="171"/>
                  <a:pt x="374" y="171"/>
                </a:cubicBezTo>
                <a:cubicBezTo>
                  <a:pt x="374" y="247"/>
                  <a:pt x="374" y="247"/>
                  <a:pt x="374" y="247"/>
                </a:cubicBezTo>
                <a:cubicBezTo>
                  <a:pt x="382" y="247"/>
                  <a:pt x="382" y="247"/>
                  <a:pt x="382" y="247"/>
                </a:cubicBezTo>
                <a:cubicBezTo>
                  <a:pt x="390" y="247"/>
                  <a:pt x="401" y="246"/>
                  <a:pt x="410" y="239"/>
                </a:cubicBezTo>
                <a:cubicBezTo>
                  <a:pt x="416" y="234"/>
                  <a:pt x="423" y="224"/>
                  <a:pt x="423" y="209"/>
                </a:cubicBezTo>
                <a:close/>
                <a:moveTo>
                  <a:pt x="479" y="261"/>
                </a:moveTo>
                <a:cubicBezTo>
                  <a:pt x="541" y="261"/>
                  <a:pt x="541" y="261"/>
                  <a:pt x="541" y="261"/>
                </a:cubicBezTo>
                <a:cubicBezTo>
                  <a:pt x="541" y="247"/>
                  <a:pt x="541" y="247"/>
                  <a:pt x="541" y="247"/>
                </a:cubicBezTo>
                <a:cubicBezTo>
                  <a:pt x="493" y="247"/>
                  <a:pt x="493" y="247"/>
                  <a:pt x="493" y="247"/>
                </a:cubicBezTo>
                <a:cubicBezTo>
                  <a:pt x="493" y="211"/>
                  <a:pt x="493" y="211"/>
                  <a:pt x="493" y="211"/>
                </a:cubicBezTo>
                <a:cubicBezTo>
                  <a:pt x="535" y="211"/>
                  <a:pt x="535" y="211"/>
                  <a:pt x="535" y="211"/>
                </a:cubicBezTo>
                <a:cubicBezTo>
                  <a:pt x="535" y="198"/>
                  <a:pt x="535" y="198"/>
                  <a:pt x="535" y="198"/>
                </a:cubicBezTo>
                <a:cubicBezTo>
                  <a:pt x="493" y="198"/>
                  <a:pt x="493" y="198"/>
                  <a:pt x="493" y="198"/>
                </a:cubicBezTo>
                <a:cubicBezTo>
                  <a:pt x="493" y="171"/>
                  <a:pt x="493" y="171"/>
                  <a:pt x="493" y="171"/>
                </a:cubicBezTo>
                <a:cubicBezTo>
                  <a:pt x="541" y="171"/>
                  <a:pt x="541" y="171"/>
                  <a:pt x="541" y="171"/>
                </a:cubicBezTo>
                <a:cubicBezTo>
                  <a:pt x="541" y="157"/>
                  <a:pt x="541" y="157"/>
                  <a:pt x="541" y="157"/>
                </a:cubicBezTo>
                <a:cubicBezTo>
                  <a:pt x="479" y="157"/>
                  <a:pt x="479" y="157"/>
                  <a:pt x="479" y="157"/>
                </a:cubicBezTo>
                <a:lnTo>
                  <a:pt x="479" y="261"/>
                </a:lnTo>
                <a:close/>
                <a:moveTo>
                  <a:pt x="805" y="261"/>
                </a:moveTo>
                <a:cubicBezTo>
                  <a:pt x="866" y="261"/>
                  <a:pt x="866" y="261"/>
                  <a:pt x="866" y="261"/>
                </a:cubicBezTo>
                <a:cubicBezTo>
                  <a:pt x="866" y="247"/>
                  <a:pt x="866" y="247"/>
                  <a:pt x="866" y="247"/>
                </a:cubicBezTo>
                <a:cubicBezTo>
                  <a:pt x="819" y="247"/>
                  <a:pt x="819" y="247"/>
                  <a:pt x="819" y="247"/>
                </a:cubicBezTo>
                <a:cubicBezTo>
                  <a:pt x="819" y="211"/>
                  <a:pt x="819" y="211"/>
                  <a:pt x="819" y="211"/>
                </a:cubicBezTo>
                <a:cubicBezTo>
                  <a:pt x="860" y="211"/>
                  <a:pt x="860" y="211"/>
                  <a:pt x="860" y="211"/>
                </a:cubicBezTo>
                <a:cubicBezTo>
                  <a:pt x="860" y="198"/>
                  <a:pt x="860" y="198"/>
                  <a:pt x="860" y="198"/>
                </a:cubicBezTo>
                <a:cubicBezTo>
                  <a:pt x="819" y="198"/>
                  <a:pt x="819" y="198"/>
                  <a:pt x="819" y="198"/>
                </a:cubicBezTo>
                <a:cubicBezTo>
                  <a:pt x="819" y="171"/>
                  <a:pt x="819" y="171"/>
                  <a:pt x="819" y="171"/>
                </a:cubicBezTo>
                <a:cubicBezTo>
                  <a:pt x="866" y="171"/>
                  <a:pt x="866" y="171"/>
                  <a:pt x="866" y="171"/>
                </a:cubicBezTo>
                <a:cubicBezTo>
                  <a:pt x="866" y="157"/>
                  <a:pt x="866" y="157"/>
                  <a:pt x="866" y="157"/>
                </a:cubicBezTo>
                <a:cubicBezTo>
                  <a:pt x="805" y="157"/>
                  <a:pt x="805" y="157"/>
                  <a:pt x="805" y="157"/>
                </a:cubicBezTo>
                <a:lnTo>
                  <a:pt x="805" y="261"/>
                </a:lnTo>
                <a:close/>
                <a:moveTo>
                  <a:pt x="634" y="235"/>
                </a:moveTo>
                <a:cubicBezTo>
                  <a:pt x="595" y="149"/>
                  <a:pt x="595" y="149"/>
                  <a:pt x="595" y="149"/>
                </a:cubicBezTo>
                <a:cubicBezTo>
                  <a:pt x="578" y="261"/>
                  <a:pt x="578" y="261"/>
                  <a:pt x="578" y="261"/>
                </a:cubicBezTo>
                <a:cubicBezTo>
                  <a:pt x="592" y="261"/>
                  <a:pt x="592" y="261"/>
                  <a:pt x="592" y="261"/>
                </a:cubicBezTo>
                <a:cubicBezTo>
                  <a:pt x="601" y="194"/>
                  <a:pt x="601" y="194"/>
                  <a:pt x="601" y="194"/>
                </a:cubicBezTo>
                <a:cubicBezTo>
                  <a:pt x="634" y="267"/>
                  <a:pt x="634" y="267"/>
                  <a:pt x="634" y="267"/>
                </a:cubicBezTo>
                <a:cubicBezTo>
                  <a:pt x="668" y="194"/>
                  <a:pt x="668" y="194"/>
                  <a:pt x="668" y="194"/>
                </a:cubicBezTo>
                <a:cubicBezTo>
                  <a:pt x="677" y="261"/>
                  <a:pt x="677" y="261"/>
                  <a:pt x="677" y="261"/>
                </a:cubicBezTo>
                <a:cubicBezTo>
                  <a:pt x="691" y="261"/>
                  <a:pt x="691" y="261"/>
                  <a:pt x="691" y="261"/>
                </a:cubicBezTo>
                <a:cubicBezTo>
                  <a:pt x="674" y="148"/>
                  <a:pt x="674" y="148"/>
                  <a:pt x="674" y="148"/>
                </a:cubicBezTo>
                <a:lnTo>
                  <a:pt x="634" y="235"/>
                </a:lnTo>
                <a:close/>
                <a:moveTo>
                  <a:pt x="737" y="261"/>
                </a:moveTo>
                <a:cubicBezTo>
                  <a:pt x="751" y="261"/>
                  <a:pt x="751" y="261"/>
                  <a:pt x="751" y="261"/>
                </a:cubicBezTo>
                <a:cubicBezTo>
                  <a:pt x="751" y="157"/>
                  <a:pt x="751" y="157"/>
                  <a:pt x="751" y="157"/>
                </a:cubicBezTo>
                <a:cubicBezTo>
                  <a:pt x="737" y="157"/>
                  <a:pt x="737" y="157"/>
                  <a:pt x="737" y="157"/>
                </a:cubicBezTo>
                <a:lnTo>
                  <a:pt x="737" y="261"/>
                </a:lnTo>
                <a:close/>
                <a:moveTo>
                  <a:pt x="955" y="211"/>
                </a:moveTo>
                <a:cubicBezTo>
                  <a:pt x="950" y="207"/>
                  <a:pt x="945" y="204"/>
                  <a:pt x="939" y="201"/>
                </a:cubicBezTo>
                <a:cubicBezTo>
                  <a:pt x="929" y="197"/>
                  <a:pt x="929" y="197"/>
                  <a:pt x="929" y="197"/>
                </a:cubicBezTo>
                <a:cubicBezTo>
                  <a:pt x="925" y="195"/>
                  <a:pt x="922" y="194"/>
                  <a:pt x="919" y="191"/>
                </a:cubicBezTo>
                <a:cubicBezTo>
                  <a:pt x="916" y="189"/>
                  <a:pt x="916" y="187"/>
                  <a:pt x="916" y="183"/>
                </a:cubicBezTo>
                <a:cubicBezTo>
                  <a:pt x="916" y="175"/>
                  <a:pt x="922" y="169"/>
                  <a:pt x="931" y="169"/>
                </a:cubicBezTo>
                <a:cubicBezTo>
                  <a:pt x="936" y="169"/>
                  <a:pt x="940" y="171"/>
                  <a:pt x="942" y="172"/>
                </a:cubicBezTo>
                <a:cubicBezTo>
                  <a:pt x="944" y="174"/>
                  <a:pt x="946" y="177"/>
                  <a:pt x="947" y="179"/>
                </a:cubicBezTo>
                <a:cubicBezTo>
                  <a:pt x="948" y="181"/>
                  <a:pt x="948" y="181"/>
                  <a:pt x="948" y="181"/>
                </a:cubicBezTo>
                <a:cubicBezTo>
                  <a:pt x="959" y="173"/>
                  <a:pt x="959" y="173"/>
                  <a:pt x="959" y="173"/>
                </a:cubicBezTo>
                <a:cubicBezTo>
                  <a:pt x="958" y="172"/>
                  <a:pt x="958" y="172"/>
                  <a:pt x="958" y="172"/>
                </a:cubicBezTo>
                <a:cubicBezTo>
                  <a:pt x="956" y="167"/>
                  <a:pt x="952" y="163"/>
                  <a:pt x="948" y="161"/>
                </a:cubicBezTo>
                <a:cubicBezTo>
                  <a:pt x="943" y="157"/>
                  <a:pt x="938" y="156"/>
                  <a:pt x="931" y="156"/>
                </a:cubicBezTo>
                <a:cubicBezTo>
                  <a:pt x="914" y="156"/>
                  <a:pt x="902" y="167"/>
                  <a:pt x="902" y="183"/>
                </a:cubicBezTo>
                <a:cubicBezTo>
                  <a:pt x="902" y="190"/>
                  <a:pt x="904" y="195"/>
                  <a:pt x="909" y="200"/>
                </a:cubicBezTo>
                <a:cubicBezTo>
                  <a:pt x="913" y="205"/>
                  <a:pt x="918" y="207"/>
                  <a:pt x="922" y="209"/>
                </a:cubicBezTo>
                <a:cubicBezTo>
                  <a:pt x="932" y="213"/>
                  <a:pt x="932" y="213"/>
                  <a:pt x="932" y="213"/>
                </a:cubicBezTo>
                <a:cubicBezTo>
                  <a:pt x="937" y="215"/>
                  <a:pt x="941" y="217"/>
                  <a:pt x="944" y="220"/>
                </a:cubicBezTo>
                <a:cubicBezTo>
                  <a:pt x="947" y="223"/>
                  <a:pt x="948" y="226"/>
                  <a:pt x="948" y="231"/>
                </a:cubicBezTo>
                <a:cubicBezTo>
                  <a:pt x="948" y="240"/>
                  <a:pt x="942" y="249"/>
                  <a:pt x="929" y="249"/>
                </a:cubicBezTo>
                <a:cubicBezTo>
                  <a:pt x="924" y="249"/>
                  <a:pt x="919" y="247"/>
                  <a:pt x="916" y="244"/>
                </a:cubicBezTo>
                <a:cubicBezTo>
                  <a:pt x="913" y="241"/>
                  <a:pt x="911" y="236"/>
                  <a:pt x="910" y="232"/>
                </a:cubicBezTo>
                <a:cubicBezTo>
                  <a:pt x="910" y="230"/>
                  <a:pt x="910" y="230"/>
                  <a:pt x="910" y="230"/>
                </a:cubicBezTo>
                <a:cubicBezTo>
                  <a:pt x="896" y="234"/>
                  <a:pt x="896" y="234"/>
                  <a:pt x="896" y="234"/>
                </a:cubicBezTo>
                <a:cubicBezTo>
                  <a:pt x="897" y="235"/>
                  <a:pt x="897" y="235"/>
                  <a:pt x="897" y="235"/>
                </a:cubicBezTo>
                <a:cubicBezTo>
                  <a:pt x="898" y="243"/>
                  <a:pt x="902" y="249"/>
                  <a:pt x="906" y="254"/>
                </a:cubicBezTo>
                <a:cubicBezTo>
                  <a:pt x="912" y="260"/>
                  <a:pt x="920" y="262"/>
                  <a:pt x="929" y="262"/>
                </a:cubicBezTo>
                <a:cubicBezTo>
                  <a:pt x="948" y="262"/>
                  <a:pt x="962" y="249"/>
                  <a:pt x="962" y="230"/>
                </a:cubicBezTo>
                <a:cubicBezTo>
                  <a:pt x="962" y="222"/>
                  <a:pt x="960" y="216"/>
                  <a:pt x="955" y="211"/>
                </a:cubicBezTo>
                <a:close/>
                <a:moveTo>
                  <a:pt x="0" y="261"/>
                </a:moveTo>
                <a:cubicBezTo>
                  <a:pt x="15" y="261"/>
                  <a:pt x="15" y="261"/>
                  <a:pt x="15" y="261"/>
                </a:cubicBezTo>
                <a:cubicBezTo>
                  <a:pt x="48" y="184"/>
                  <a:pt x="48" y="184"/>
                  <a:pt x="48" y="184"/>
                </a:cubicBezTo>
                <a:cubicBezTo>
                  <a:pt x="79" y="260"/>
                  <a:pt x="79" y="260"/>
                  <a:pt x="79" y="260"/>
                </a:cubicBezTo>
                <a:cubicBezTo>
                  <a:pt x="80" y="261"/>
                  <a:pt x="80" y="261"/>
                  <a:pt x="80" y="261"/>
                </a:cubicBezTo>
                <a:cubicBezTo>
                  <a:pt x="95" y="261"/>
                  <a:pt x="95" y="261"/>
                  <a:pt x="95" y="261"/>
                </a:cubicBezTo>
                <a:cubicBezTo>
                  <a:pt x="48" y="151"/>
                  <a:pt x="48" y="151"/>
                  <a:pt x="48" y="151"/>
                </a:cubicBezTo>
                <a:lnTo>
                  <a:pt x="0" y="261"/>
                </a:lnTo>
                <a:close/>
                <a:moveTo>
                  <a:pt x="229" y="261"/>
                </a:moveTo>
                <a:cubicBezTo>
                  <a:pt x="244" y="261"/>
                  <a:pt x="244" y="261"/>
                  <a:pt x="244" y="261"/>
                </a:cubicBezTo>
                <a:cubicBezTo>
                  <a:pt x="277" y="184"/>
                  <a:pt x="277" y="184"/>
                  <a:pt x="277" y="184"/>
                </a:cubicBezTo>
                <a:cubicBezTo>
                  <a:pt x="309" y="260"/>
                  <a:pt x="309" y="260"/>
                  <a:pt x="309" y="260"/>
                </a:cubicBezTo>
                <a:cubicBezTo>
                  <a:pt x="309" y="261"/>
                  <a:pt x="309" y="261"/>
                  <a:pt x="309" y="261"/>
                </a:cubicBezTo>
                <a:cubicBezTo>
                  <a:pt x="324" y="261"/>
                  <a:pt x="324" y="261"/>
                  <a:pt x="324" y="261"/>
                </a:cubicBezTo>
                <a:cubicBezTo>
                  <a:pt x="277" y="151"/>
                  <a:pt x="277" y="151"/>
                  <a:pt x="277" y="151"/>
                </a:cubicBezTo>
                <a:lnTo>
                  <a:pt x="229" y="261"/>
                </a:lnTo>
                <a:close/>
                <a:moveTo>
                  <a:pt x="1071" y="11"/>
                </a:moveTo>
                <a:cubicBezTo>
                  <a:pt x="1071" y="18"/>
                  <a:pt x="1071" y="18"/>
                  <a:pt x="1071" y="18"/>
                </a:cubicBezTo>
                <a:cubicBezTo>
                  <a:pt x="1075" y="18"/>
                  <a:pt x="1075" y="18"/>
                  <a:pt x="1075" y="18"/>
                </a:cubicBezTo>
                <a:cubicBezTo>
                  <a:pt x="1077" y="9"/>
                  <a:pt x="1077" y="9"/>
                  <a:pt x="1077" y="9"/>
                </a:cubicBezTo>
                <a:cubicBezTo>
                  <a:pt x="1076" y="8"/>
                  <a:pt x="1074" y="7"/>
                  <a:pt x="1072" y="6"/>
                </a:cubicBezTo>
                <a:cubicBezTo>
                  <a:pt x="1070" y="6"/>
                  <a:pt x="1067" y="6"/>
                  <a:pt x="1064" y="6"/>
                </a:cubicBezTo>
                <a:cubicBezTo>
                  <a:pt x="1061" y="6"/>
                  <a:pt x="1058" y="6"/>
                  <a:pt x="1056" y="7"/>
                </a:cubicBezTo>
                <a:cubicBezTo>
                  <a:pt x="1053" y="9"/>
                  <a:pt x="1051" y="10"/>
                  <a:pt x="1049" y="12"/>
                </a:cubicBezTo>
                <a:cubicBezTo>
                  <a:pt x="1048" y="14"/>
                  <a:pt x="1047" y="17"/>
                  <a:pt x="1047" y="20"/>
                </a:cubicBezTo>
                <a:cubicBezTo>
                  <a:pt x="1047" y="22"/>
                  <a:pt x="1048" y="24"/>
                  <a:pt x="1049" y="26"/>
                </a:cubicBezTo>
                <a:cubicBezTo>
                  <a:pt x="1050" y="28"/>
                  <a:pt x="1051" y="30"/>
                  <a:pt x="1053" y="31"/>
                </a:cubicBezTo>
                <a:cubicBezTo>
                  <a:pt x="1055" y="32"/>
                  <a:pt x="1057" y="34"/>
                  <a:pt x="1059" y="35"/>
                </a:cubicBezTo>
                <a:cubicBezTo>
                  <a:pt x="1062" y="37"/>
                  <a:pt x="1064" y="39"/>
                  <a:pt x="1066" y="40"/>
                </a:cubicBezTo>
                <a:cubicBezTo>
                  <a:pt x="1067" y="42"/>
                  <a:pt x="1068" y="44"/>
                  <a:pt x="1068" y="47"/>
                </a:cubicBezTo>
                <a:cubicBezTo>
                  <a:pt x="1068" y="49"/>
                  <a:pt x="1067" y="52"/>
                  <a:pt x="1065" y="53"/>
                </a:cubicBezTo>
                <a:cubicBezTo>
                  <a:pt x="1062" y="55"/>
                  <a:pt x="1060" y="56"/>
                  <a:pt x="1057" y="56"/>
                </a:cubicBezTo>
                <a:cubicBezTo>
                  <a:pt x="1055" y="56"/>
                  <a:pt x="1053" y="56"/>
                  <a:pt x="1052" y="55"/>
                </a:cubicBezTo>
                <a:cubicBezTo>
                  <a:pt x="1050" y="55"/>
                  <a:pt x="1049" y="54"/>
                  <a:pt x="1048" y="54"/>
                </a:cubicBezTo>
                <a:cubicBezTo>
                  <a:pt x="1048" y="46"/>
                  <a:pt x="1048" y="46"/>
                  <a:pt x="1048" y="46"/>
                </a:cubicBezTo>
                <a:cubicBezTo>
                  <a:pt x="1044" y="46"/>
                  <a:pt x="1044" y="46"/>
                  <a:pt x="1044" y="46"/>
                </a:cubicBezTo>
                <a:cubicBezTo>
                  <a:pt x="1042" y="56"/>
                  <a:pt x="1042" y="56"/>
                  <a:pt x="1042" y="56"/>
                </a:cubicBezTo>
                <a:cubicBezTo>
                  <a:pt x="1043" y="57"/>
                  <a:pt x="1045" y="58"/>
                  <a:pt x="1048" y="58"/>
                </a:cubicBezTo>
                <a:cubicBezTo>
                  <a:pt x="1051" y="59"/>
                  <a:pt x="1054" y="59"/>
                  <a:pt x="1057" y="59"/>
                </a:cubicBezTo>
                <a:cubicBezTo>
                  <a:pt x="1060" y="59"/>
                  <a:pt x="1063" y="59"/>
                  <a:pt x="1066" y="57"/>
                </a:cubicBezTo>
                <a:cubicBezTo>
                  <a:pt x="1069" y="56"/>
                  <a:pt x="1071" y="54"/>
                  <a:pt x="1073" y="52"/>
                </a:cubicBezTo>
                <a:cubicBezTo>
                  <a:pt x="1074" y="50"/>
                  <a:pt x="1075" y="47"/>
                  <a:pt x="1075" y="44"/>
                </a:cubicBezTo>
                <a:cubicBezTo>
                  <a:pt x="1075" y="42"/>
                  <a:pt x="1074" y="40"/>
                  <a:pt x="1073" y="38"/>
                </a:cubicBezTo>
                <a:cubicBezTo>
                  <a:pt x="1072" y="36"/>
                  <a:pt x="1071" y="35"/>
                  <a:pt x="1069" y="34"/>
                </a:cubicBezTo>
                <a:cubicBezTo>
                  <a:pt x="1068" y="32"/>
                  <a:pt x="1066" y="31"/>
                  <a:pt x="1064" y="29"/>
                </a:cubicBezTo>
                <a:cubicBezTo>
                  <a:pt x="1060" y="27"/>
                  <a:pt x="1058" y="25"/>
                  <a:pt x="1056" y="24"/>
                </a:cubicBezTo>
                <a:cubicBezTo>
                  <a:pt x="1055" y="22"/>
                  <a:pt x="1054" y="20"/>
                  <a:pt x="1054" y="17"/>
                </a:cubicBezTo>
                <a:cubicBezTo>
                  <a:pt x="1054" y="15"/>
                  <a:pt x="1055" y="13"/>
                  <a:pt x="1057" y="11"/>
                </a:cubicBezTo>
                <a:cubicBezTo>
                  <a:pt x="1059" y="10"/>
                  <a:pt x="1061" y="9"/>
                  <a:pt x="1064" y="9"/>
                </a:cubicBezTo>
                <a:cubicBezTo>
                  <a:pt x="1065" y="9"/>
                  <a:pt x="1067" y="9"/>
                  <a:pt x="1068" y="10"/>
                </a:cubicBezTo>
                <a:cubicBezTo>
                  <a:pt x="1069" y="10"/>
                  <a:pt x="1070" y="10"/>
                  <a:pt x="1071" y="11"/>
                </a:cubicBezTo>
                <a:close/>
                <a:moveTo>
                  <a:pt x="1107" y="27"/>
                </a:moveTo>
                <a:cubicBezTo>
                  <a:pt x="1108" y="27"/>
                  <a:pt x="1108" y="27"/>
                  <a:pt x="1108" y="27"/>
                </a:cubicBezTo>
                <a:cubicBezTo>
                  <a:pt x="1110" y="20"/>
                  <a:pt x="1110" y="20"/>
                  <a:pt x="1110" y="20"/>
                </a:cubicBezTo>
                <a:cubicBezTo>
                  <a:pt x="1109" y="20"/>
                  <a:pt x="1108" y="19"/>
                  <a:pt x="1107" y="19"/>
                </a:cubicBezTo>
                <a:cubicBezTo>
                  <a:pt x="1105" y="19"/>
                  <a:pt x="1104" y="19"/>
                  <a:pt x="1102" y="19"/>
                </a:cubicBezTo>
                <a:cubicBezTo>
                  <a:pt x="1098" y="19"/>
                  <a:pt x="1094" y="20"/>
                  <a:pt x="1091" y="22"/>
                </a:cubicBezTo>
                <a:cubicBezTo>
                  <a:pt x="1088" y="25"/>
                  <a:pt x="1086" y="28"/>
                  <a:pt x="1084" y="32"/>
                </a:cubicBezTo>
                <a:cubicBezTo>
                  <a:pt x="1083" y="36"/>
                  <a:pt x="1082" y="40"/>
                  <a:pt x="1082" y="43"/>
                </a:cubicBezTo>
                <a:cubicBezTo>
                  <a:pt x="1082" y="48"/>
                  <a:pt x="1083" y="52"/>
                  <a:pt x="1085" y="55"/>
                </a:cubicBezTo>
                <a:cubicBezTo>
                  <a:pt x="1087" y="58"/>
                  <a:pt x="1091" y="59"/>
                  <a:pt x="1094" y="59"/>
                </a:cubicBezTo>
                <a:cubicBezTo>
                  <a:pt x="1098" y="59"/>
                  <a:pt x="1100" y="59"/>
                  <a:pt x="1102" y="57"/>
                </a:cubicBezTo>
                <a:cubicBezTo>
                  <a:pt x="1105" y="56"/>
                  <a:pt x="1106" y="54"/>
                  <a:pt x="1108" y="53"/>
                </a:cubicBezTo>
                <a:cubicBezTo>
                  <a:pt x="1106" y="50"/>
                  <a:pt x="1106" y="50"/>
                  <a:pt x="1106" y="50"/>
                </a:cubicBezTo>
                <a:cubicBezTo>
                  <a:pt x="1105" y="52"/>
                  <a:pt x="1103" y="53"/>
                  <a:pt x="1102" y="54"/>
                </a:cubicBezTo>
                <a:cubicBezTo>
                  <a:pt x="1100" y="54"/>
                  <a:pt x="1099" y="55"/>
                  <a:pt x="1097" y="55"/>
                </a:cubicBezTo>
                <a:cubicBezTo>
                  <a:pt x="1094" y="55"/>
                  <a:pt x="1092" y="54"/>
                  <a:pt x="1091" y="52"/>
                </a:cubicBezTo>
                <a:cubicBezTo>
                  <a:pt x="1090" y="50"/>
                  <a:pt x="1089" y="47"/>
                  <a:pt x="1089" y="43"/>
                </a:cubicBezTo>
                <a:cubicBezTo>
                  <a:pt x="1089" y="39"/>
                  <a:pt x="1090" y="35"/>
                  <a:pt x="1091" y="32"/>
                </a:cubicBezTo>
                <a:cubicBezTo>
                  <a:pt x="1092" y="30"/>
                  <a:pt x="1093" y="27"/>
                  <a:pt x="1095" y="26"/>
                </a:cubicBezTo>
                <a:cubicBezTo>
                  <a:pt x="1097" y="24"/>
                  <a:pt x="1099" y="23"/>
                  <a:pt x="1101" y="23"/>
                </a:cubicBezTo>
                <a:cubicBezTo>
                  <a:pt x="1102" y="23"/>
                  <a:pt x="1105" y="24"/>
                  <a:pt x="1107" y="27"/>
                </a:cubicBezTo>
                <a:close/>
                <a:moveTo>
                  <a:pt x="1124" y="52"/>
                </a:moveTo>
                <a:cubicBezTo>
                  <a:pt x="1129" y="19"/>
                  <a:pt x="1129" y="19"/>
                  <a:pt x="1129" y="19"/>
                </a:cubicBezTo>
                <a:cubicBezTo>
                  <a:pt x="1128" y="19"/>
                  <a:pt x="1128" y="19"/>
                  <a:pt x="1128" y="19"/>
                </a:cubicBezTo>
                <a:cubicBezTo>
                  <a:pt x="1118" y="20"/>
                  <a:pt x="1118" y="20"/>
                  <a:pt x="1118" y="20"/>
                </a:cubicBezTo>
                <a:cubicBezTo>
                  <a:pt x="1117" y="23"/>
                  <a:pt x="1117" y="23"/>
                  <a:pt x="1117" y="23"/>
                </a:cubicBezTo>
                <a:cubicBezTo>
                  <a:pt x="1122" y="24"/>
                  <a:pt x="1122" y="24"/>
                  <a:pt x="1122" y="24"/>
                </a:cubicBezTo>
                <a:cubicBezTo>
                  <a:pt x="1121" y="31"/>
                  <a:pt x="1120" y="37"/>
                  <a:pt x="1119" y="41"/>
                </a:cubicBezTo>
                <a:cubicBezTo>
                  <a:pt x="1118" y="49"/>
                  <a:pt x="1117" y="54"/>
                  <a:pt x="1117" y="55"/>
                </a:cubicBezTo>
                <a:cubicBezTo>
                  <a:pt x="1117" y="56"/>
                  <a:pt x="1118" y="57"/>
                  <a:pt x="1118" y="58"/>
                </a:cubicBezTo>
                <a:cubicBezTo>
                  <a:pt x="1119" y="59"/>
                  <a:pt x="1120" y="59"/>
                  <a:pt x="1122" y="59"/>
                </a:cubicBezTo>
                <a:cubicBezTo>
                  <a:pt x="1124" y="59"/>
                  <a:pt x="1125" y="59"/>
                  <a:pt x="1127" y="58"/>
                </a:cubicBezTo>
                <a:cubicBezTo>
                  <a:pt x="1128" y="57"/>
                  <a:pt x="1129" y="55"/>
                  <a:pt x="1130" y="54"/>
                </a:cubicBezTo>
                <a:cubicBezTo>
                  <a:pt x="1129" y="53"/>
                  <a:pt x="1129" y="53"/>
                  <a:pt x="1129" y="53"/>
                </a:cubicBezTo>
                <a:cubicBezTo>
                  <a:pt x="1128" y="54"/>
                  <a:pt x="1128" y="54"/>
                  <a:pt x="1127" y="54"/>
                </a:cubicBezTo>
                <a:cubicBezTo>
                  <a:pt x="1126" y="55"/>
                  <a:pt x="1126" y="55"/>
                  <a:pt x="1125" y="55"/>
                </a:cubicBezTo>
                <a:cubicBezTo>
                  <a:pt x="1125" y="55"/>
                  <a:pt x="1125" y="55"/>
                  <a:pt x="1125" y="54"/>
                </a:cubicBezTo>
                <a:cubicBezTo>
                  <a:pt x="1124" y="54"/>
                  <a:pt x="1124" y="54"/>
                  <a:pt x="1124" y="53"/>
                </a:cubicBezTo>
                <a:lnTo>
                  <a:pt x="1124" y="52"/>
                </a:lnTo>
                <a:close/>
                <a:moveTo>
                  <a:pt x="1127" y="11"/>
                </a:moveTo>
                <a:cubicBezTo>
                  <a:pt x="1128" y="11"/>
                  <a:pt x="1129" y="11"/>
                  <a:pt x="1130" y="10"/>
                </a:cubicBezTo>
                <a:cubicBezTo>
                  <a:pt x="1131" y="9"/>
                  <a:pt x="1131" y="7"/>
                  <a:pt x="1131" y="6"/>
                </a:cubicBezTo>
                <a:cubicBezTo>
                  <a:pt x="1131" y="5"/>
                  <a:pt x="1131" y="4"/>
                  <a:pt x="1130" y="3"/>
                </a:cubicBezTo>
                <a:cubicBezTo>
                  <a:pt x="1130" y="3"/>
                  <a:pt x="1129" y="2"/>
                  <a:pt x="1128" y="2"/>
                </a:cubicBezTo>
                <a:cubicBezTo>
                  <a:pt x="1126" y="2"/>
                  <a:pt x="1125" y="3"/>
                  <a:pt x="1124" y="4"/>
                </a:cubicBezTo>
                <a:cubicBezTo>
                  <a:pt x="1123" y="5"/>
                  <a:pt x="1123" y="6"/>
                  <a:pt x="1123" y="7"/>
                </a:cubicBezTo>
                <a:cubicBezTo>
                  <a:pt x="1123" y="8"/>
                  <a:pt x="1123" y="9"/>
                  <a:pt x="1124" y="10"/>
                </a:cubicBezTo>
                <a:cubicBezTo>
                  <a:pt x="1125" y="11"/>
                  <a:pt x="1126" y="11"/>
                  <a:pt x="1127" y="11"/>
                </a:cubicBezTo>
                <a:close/>
                <a:moveTo>
                  <a:pt x="1166" y="52"/>
                </a:moveTo>
                <a:cubicBezTo>
                  <a:pt x="1165" y="49"/>
                  <a:pt x="1165" y="49"/>
                  <a:pt x="1165" y="49"/>
                </a:cubicBezTo>
                <a:cubicBezTo>
                  <a:pt x="1163" y="51"/>
                  <a:pt x="1161" y="52"/>
                  <a:pt x="1159" y="53"/>
                </a:cubicBezTo>
                <a:cubicBezTo>
                  <a:pt x="1157" y="54"/>
                  <a:pt x="1155" y="55"/>
                  <a:pt x="1153" y="55"/>
                </a:cubicBezTo>
                <a:cubicBezTo>
                  <a:pt x="1150" y="55"/>
                  <a:pt x="1148" y="54"/>
                  <a:pt x="1147" y="51"/>
                </a:cubicBezTo>
                <a:cubicBezTo>
                  <a:pt x="1145" y="49"/>
                  <a:pt x="1145" y="46"/>
                  <a:pt x="1145" y="43"/>
                </a:cubicBezTo>
                <a:cubicBezTo>
                  <a:pt x="1148" y="43"/>
                  <a:pt x="1151" y="42"/>
                  <a:pt x="1155" y="41"/>
                </a:cubicBezTo>
                <a:cubicBezTo>
                  <a:pt x="1158" y="40"/>
                  <a:pt x="1162" y="38"/>
                  <a:pt x="1164" y="36"/>
                </a:cubicBezTo>
                <a:cubicBezTo>
                  <a:pt x="1167" y="33"/>
                  <a:pt x="1168" y="31"/>
                  <a:pt x="1168" y="27"/>
                </a:cubicBezTo>
                <a:cubicBezTo>
                  <a:pt x="1168" y="25"/>
                  <a:pt x="1167" y="23"/>
                  <a:pt x="1166" y="21"/>
                </a:cubicBezTo>
                <a:cubicBezTo>
                  <a:pt x="1164" y="19"/>
                  <a:pt x="1162" y="19"/>
                  <a:pt x="1158" y="19"/>
                </a:cubicBezTo>
                <a:cubicBezTo>
                  <a:pt x="1154" y="19"/>
                  <a:pt x="1151" y="20"/>
                  <a:pt x="1148" y="22"/>
                </a:cubicBezTo>
                <a:cubicBezTo>
                  <a:pt x="1145" y="24"/>
                  <a:pt x="1142" y="28"/>
                  <a:pt x="1140" y="31"/>
                </a:cubicBezTo>
                <a:cubicBezTo>
                  <a:pt x="1138" y="35"/>
                  <a:pt x="1138" y="40"/>
                  <a:pt x="1138" y="44"/>
                </a:cubicBezTo>
                <a:cubicBezTo>
                  <a:pt x="1138" y="47"/>
                  <a:pt x="1138" y="49"/>
                  <a:pt x="1139" y="52"/>
                </a:cubicBezTo>
                <a:cubicBezTo>
                  <a:pt x="1140" y="54"/>
                  <a:pt x="1142" y="56"/>
                  <a:pt x="1144" y="57"/>
                </a:cubicBezTo>
                <a:cubicBezTo>
                  <a:pt x="1146" y="59"/>
                  <a:pt x="1148" y="59"/>
                  <a:pt x="1151" y="59"/>
                </a:cubicBezTo>
                <a:cubicBezTo>
                  <a:pt x="1155" y="59"/>
                  <a:pt x="1158" y="58"/>
                  <a:pt x="1160" y="57"/>
                </a:cubicBezTo>
                <a:cubicBezTo>
                  <a:pt x="1163" y="55"/>
                  <a:pt x="1165" y="54"/>
                  <a:pt x="1166" y="52"/>
                </a:cubicBezTo>
                <a:close/>
                <a:moveTo>
                  <a:pt x="1157" y="22"/>
                </a:moveTo>
                <a:cubicBezTo>
                  <a:pt x="1158" y="22"/>
                  <a:pt x="1159" y="23"/>
                  <a:pt x="1160" y="24"/>
                </a:cubicBezTo>
                <a:cubicBezTo>
                  <a:pt x="1161" y="25"/>
                  <a:pt x="1161" y="26"/>
                  <a:pt x="1161" y="28"/>
                </a:cubicBezTo>
                <a:cubicBezTo>
                  <a:pt x="1161" y="30"/>
                  <a:pt x="1161" y="32"/>
                  <a:pt x="1159" y="34"/>
                </a:cubicBezTo>
                <a:cubicBezTo>
                  <a:pt x="1157" y="35"/>
                  <a:pt x="1155" y="37"/>
                  <a:pt x="1152" y="38"/>
                </a:cubicBezTo>
                <a:cubicBezTo>
                  <a:pt x="1150" y="39"/>
                  <a:pt x="1147" y="39"/>
                  <a:pt x="1145" y="39"/>
                </a:cubicBezTo>
                <a:cubicBezTo>
                  <a:pt x="1145" y="37"/>
                  <a:pt x="1146" y="34"/>
                  <a:pt x="1147" y="32"/>
                </a:cubicBezTo>
                <a:cubicBezTo>
                  <a:pt x="1148" y="29"/>
                  <a:pt x="1149" y="27"/>
                  <a:pt x="1151" y="25"/>
                </a:cubicBezTo>
                <a:cubicBezTo>
                  <a:pt x="1152" y="23"/>
                  <a:pt x="1154" y="22"/>
                  <a:pt x="1157" y="22"/>
                </a:cubicBezTo>
                <a:close/>
                <a:moveTo>
                  <a:pt x="1187" y="28"/>
                </a:moveTo>
                <a:cubicBezTo>
                  <a:pt x="1188" y="19"/>
                  <a:pt x="1188" y="19"/>
                  <a:pt x="1188" y="19"/>
                </a:cubicBezTo>
                <a:cubicBezTo>
                  <a:pt x="1186" y="19"/>
                  <a:pt x="1186" y="19"/>
                  <a:pt x="1186" y="19"/>
                </a:cubicBezTo>
                <a:cubicBezTo>
                  <a:pt x="1178" y="20"/>
                  <a:pt x="1178" y="20"/>
                  <a:pt x="1178" y="20"/>
                </a:cubicBezTo>
                <a:cubicBezTo>
                  <a:pt x="1177" y="23"/>
                  <a:pt x="1177" y="23"/>
                  <a:pt x="1177" y="23"/>
                </a:cubicBezTo>
                <a:cubicBezTo>
                  <a:pt x="1180" y="25"/>
                  <a:pt x="1180" y="25"/>
                  <a:pt x="1180" y="25"/>
                </a:cubicBezTo>
                <a:cubicBezTo>
                  <a:pt x="1176" y="58"/>
                  <a:pt x="1176" y="58"/>
                  <a:pt x="1176" y="58"/>
                </a:cubicBezTo>
                <a:cubicBezTo>
                  <a:pt x="1183" y="58"/>
                  <a:pt x="1183" y="58"/>
                  <a:pt x="1183" y="58"/>
                </a:cubicBezTo>
                <a:cubicBezTo>
                  <a:pt x="1186" y="33"/>
                  <a:pt x="1186" y="33"/>
                  <a:pt x="1186" y="33"/>
                </a:cubicBezTo>
                <a:cubicBezTo>
                  <a:pt x="1188" y="31"/>
                  <a:pt x="1190" y="28"/>
                  <a:pt x="1192" y="26"/>
                </a:cubicBezTo>
                <a:cubicBezTo>
                  <a:pt x="1194" y="25"/>
                  <a:pt x="1196" y="24"/>
                  <a:pt x="1198" y="24"/>
                </a:cubicBezTo>
                <a:cubicBezTo>
                  <a:pt x="1200" y="24"/>
                  <a:pt x="1201" y="24"/>
                  <a:pt x="1202" y="25"/>
                </a:cubicBezTo>
                <a:cubicBezTo>
                  <a:pt x="1202" y="26"/>
                  <a:pt x="1203" y="27"/>
                  <a:pt x="1203" y="29"/>
                </a:cubicBezTo>
                <a:cubicBezTo>
                  <a:pt x="1203" y="31"/>
                  <a:pt x="1202" y="33"/>
                  <a:pt x="1202" y="35"/>
                </a:cubicBezTo>
                <a:cubicBezTo>
                  <a:pt x="1202" y="37"/>
                  <a:pt x="1201" y="39"/>
                  <a:pt x="1201" y="41"/>
                </a:cubicBezTo>
                <a:cubicBezTo>
                  <a:pt x="1201" y="43"/>
                  <a:pt x="1201" y="43"/>
                  <a:pt x="1201" y="43"/>
                </a:cubicBezTo>
                <a:cubicBezTo>
                  <a:pt x="1200" y="46"/>
                  <a:pt x="1200" y="46"/>
                  <a:pt x="1200" y="46"/>
                </a:cubicBezTo>
                <a:cubicBezTo>
                  <a:pt x="1199" y="51"/>
                  <a:pt x="1199" y="54"/>
                  <a:pt x="1199" y="55"/>
                </a:cubicBezTo>
                <a:cubicBezTo>
                  <a:pt x="1199" y="58"/>
                  <a:pt x="1200" y="59"/>
                  <a:pt x="1203" y="59"/>
                </a:cubicBezTo>
                <a:cubicBezTo>
                  <a:pt x="1205" y="59"/>
                  <a:pt x="1206" y="59"/>
                  <a:pt x="1207" y="58"/>
                </a:cubicBezTo>
                <a:cubicBezTo>
                  <a:pt x="1208" y="58"/>
                  <a:pt x="1209" y="57"/>
                  <a:pt x="1210" y="57"/>
                </a:cubicBezTo>
                <a:cubicBezTo>
                  <a:pt x="1210" y="56"/>
                  <a:pt x="1211" y="55"/>
                  <a:pt x="1211" y="55"/>
                </a:cubicBezTo>
                <a:cubicBezTo>
                  <a:pt x="1210" y="53"/>
                  <a:pt x="1210" y="53"/>
                  <a:pt x="1210" y="53"/>
                </a:cubicBezTo>
                <a:cubicBezTo>
                  <a:pt x="1209" y="54"/>
                  <a:pt x="1208" y="55"/>
                  <a:pt x="1207" y="55"/>
                </a:cubicBezTo>
                <a:cubicBezTo>
                  <a:pt x="1206" y="55"/>
                  <a:pt x="1206" y="54"/>
                  <a:pt x="1206" y="53"/>
                </a:cubicBezTo>
                <a:cubicBezTo>
                  <a:pt x="1206" y="51"/>
                  <a:pt x="1206" y="48"/>
                  <a:pt x="1207" y="45"/>
                </a:cubicBezTo>
                <a:cubicBezTo>
                  <a:pt x="1208" y="41"/>
                  <a:pt x="1208" y="41"/>
                  <a:pt x="1208" y="41"/>
                </a:cubicBezTo>
                <a:cubicBezTo>
                  <a:pt x="1208" y="40"/>
                  <a:pt x="1208" y="40"/>
                  <a:pt x="1208" y="40"/>
                </a:cubicBezTo>
                <a:cubicBezTo>
                  <a:pt x="1209" y="34"/>
                  <a:pt x="1210" y="31"/>
                  <a:pt x="1210" y="29"/>
                </a:cubicBezTo>
                <a:cubicBezTo>
                  <a:pt x="1210" y="25"/>
                  <a:pt x="1209" y="23"/>
                  <a:pt x="1207" y="21"/>
                </a:cubicBezTo>
                <a:cubicBezTo>
                  <a:pt x="1206" y="19"/>
                  <a:pt x="1204" y="19"/>
                  <a:pt x="1201" y="19"/>
                </a:cubicBezTo>
                <a:cubicBezTo>
                  <a:pt x="1199" y="19"/>
                  <a:pt x="1196" y="19"/>
                  <a:pt x="1193" y="21"/>
                </a:cubicBezTo>
                <a:cubicBezTo>
                  <a:pt x="1191" y="23"/>
                  <a:pt x="1189" y="25"/>
                  <a:pt x="1187" y="28"/>
                </a:cubicBezTo>
                <a:close/>
                <a:moveTo>
                  <a:pt x="1243" y="27"/>
                </a:moveTo>
                <a:cubicBezTo>
                  <a:pt x="1245" y="27"/>
                  <a:pt x="1245" y="27"/>
                  <a:pt x="1245" y="27"/>
                </a:cubicBezTo>
                <a:cubicBezTo>
                  <a:pt x="1247" y="20"/>
                  <a:pt x="1247" y="20"/>
                  <a:pt x="1247" y="20"/>
                </a:cubicBezTo>
                <a:cubicBezTo>
                  <a:pt x="1246" y="20"/>
                  <a:pt x="1244" y="19"/>
                  <a:pt x="1243" y="19"/>
                </a:cubicBezTo>
                <a:cubicBezTo>
                  <a:pt x="1241" y="19"/>
                  <a:pt x="1240" y="19"/>
                  <a:pt x="1239" y="19"/>
                </a:cubicBezTo>
                <a:cubicBezTo>
                  <a:pt x="1234" y="19"/>
                  <a:pt x="1231" y="20"/>
                  <a:pt x="1228" y="22"/>
                </a:cubicBezTo>
                <a:cubicBezTo>
                  <a:pt x="1224" y="25"/>
                  <a:pt x="1222" y="28"/>
                  <a:pt x="1220" y="32"/>
                </a:cubicBezTo>
                <a:cubicBezTo>
                  <a:pt x="1219" y="36"/>
                  <a:pt x="1218" y="40"/>
                  <a:pt x="1218" y="43"/>
                </a:cubicBezTo>
                <a:cubicBezTo>
                  <a:pt x="1218" y="48"/>
                  <a:pt x="1219" y="52"/>
                  <a:pt x="1221" y="55"/>
                </a:cubicBezTo>
                <a:cubicBezTo>
                  <a:pt x="1224" y="58"/>
                  <a:pt x="1227" y="59"/>
                  <a:pt x="1231" y="59"/>
                </a:cubicBezTo>
                <a:cubicBezTo>
                  <a:pt x="1234" y="59"/>
                  <a:pt x="1236" y="59"/>
                  <a:pt x="1239" y="57"/>
                </a:cubicBezTo>
                <a:cubicBezTo>
                  <a:pt x="1241" y="56"/>
                  <a:pt x="1243" y="54"/>
                  <a:pt x="1244" y="53"/>
                </a:cubicBezTo>
                <a:cubicBezTo>
                  <a:pt x="1242" y="50"/>
                  <a:pt x="1242" y="50"/>
                  <a:pt x="1242" y="50"/>
                </a:cubicBezTo>
                <a:cubicBezTo>
                  <a:pt x="1241" y="52"/>
                  <a:pt x="1239" y="53"/>
                  <a:pt x="1238" y="54"/>
                </a:cubicBezTo>
                <a:cubicBezTo>
                  <a:pt x="1236" y="54"/>
                  <a:pt x="1235" y="55"/>
                  <a:pt x="1233" y="55"/>
                </a:cubicBezTo>
                <a:cubicBezTo>
                  <a:pt x="1230" y="55"/>
                  <a:pt x="1228" y="54"/>
                  <a:pt x="1227" y="52"/>
                </a:cubicBezTo>
                <a:cubicBezTo>
                  <a:pt x="1226" y="50"/>
                  <a:pt x="1225" y="47"/>
                  <a:pt x="1225" y="43"/>
                </a:cubicBezTo>
                <a:cubicBezTo>
                  <a:pt x="1225" y="39"/>
                  <a:pt x="1226" y="35"/>
                  <a:pt x="1227" y="32"/>
                </a:cubicBezTo>
                <a:cubicBezTo>
                  <a:pt x="1228" y="30"/>
                  <a:pt x="1229" y="27"/>
                  <a:pt x="1231" y="26"/>
                </a:cubicBezTo>
                <a:cubicBezTo>
                  <a:pt x="1233" y="24"/>
                  <a:pt x="1235" y="23"/>
                  <a:pt x="1237" y="23"/>
                </a:cubicBezTo>
                <a:cubicBezTo>
                  <a:pt x="1239" y="23"/>
                  <a:pt x="1241" y="24"/>
                  <a:pt x="1243" y="27"/>
                </a:cubicBezTo>
                <a:close/>
                <a:moveTo>
                  <a:pt x="1279" y="52"/>
                </a:moveTo>
                <a:cubicBezTo>
                  <a:pt x="1277" y="49"/>
                  <a:pt x="1277" y="49"/>
                  <a:pt x="1277" y="49"/>
                </a:cubicBezTo>
                <a:cubicBezTo>
                  <a:pt x="1276" y="51"/>
                  <a:pt x="1274" y="52"/>
                  <a:pt x="1272" y="53"/>
                </a:cubicBezTo>
                <a:cubicBezTo>
                  <a:pt x="1270" y="54"/>
                  <a:pt x="1268" y="55"/>
                  <a:pt x="1266" y="55"/>
                </a:cubicBezTo>
                <a:cubicBezTo>
                  <a:pt x="1263" y="55"/>
                  <a:pt x="1261" y="54"/>
                  <a:pt x="1259" y="51"/>
                </a:cubicBezTo>
                <a:cubicBezTo>
                  <a:pt x="1258" y="49"/>
                  <a:pt x="1257" y="46"/>
                  <a:pt x="1258" y="43"/>
                </a:cubicBezTo>
                <a:cubicBezTo>
                  <a:pt x="1260" y="43"/>
                  <a:pt x="1264" y="42"/>
                  <a:pt x="1267" y="41"/>
                </a:cubicBezTo>
                <a:cubicBezTo>
                  <a:pt x="1271" y="40"/>
                  <a:pt x="1274" y="38"/>
                  <a:pt x="1277" y="36"/>
                </a:cubicBezTo>
                <a:cubicBezTo>
                  <a:pt x="1280" y="33"/>
                  <a:pt x="1281" y="31"/>
                  <a:pt x="1281" y="27"/>
                </a:cubicBezTo>
                <a:cubicBezTo>
                  <a:pt x="1281" y="25"/>
                  <a:pt x="1280" y="23"/>
                  <a:pt x="1278" y="21"/>
                </a:cubicBezTo>
                <a:cubicBezTo>
                  <a:pt x="1277" y="19"/>
                  <a:pt x="1274" y="19"/>
                  <a:pt x="1271" y="19"/>
                </a:cubicBezTo>
                <a:cubicBezTo>
                  <a:pt x="1267" y="19"/>
                  <a:pt x="1264" y="20"/>
                  <a:pt x="1260" y="22"/>
                </a:cubicBezTo>
                <a:cubicBezTo>
                  <a:pt x="1257" y="24"/>
                  <a:pt x="1255" y="28"/>
                  <a:pt x="1253" y="31"/>
                </a:cubicBezTo>
                <a:cubicBezTo>
                  <a:pt x="1251" y="35"/>
                  <a:pt x="1250" y="40"/>
                  <a:pt x="1250" y="44"/>
                </a:cubicBezTo>
                <a:cubicBezTo>
                  <a:pt x="1250" y="47"/>
                  <a:pt x="1251" y="49"/>
                  <a:pt x="1252" y="52"/>
                </a:cubicBezTo>
                <a:cubicBezTo>
                  <a:pt x="1253" y="54"/>
                  <a:pt x="1254" y="56"/>
                  <a:pt x="1256" y="57"/>
                </a:cubicBezTo>
                <a:cubicBezTo>
                  <a:pt x="1258" y="59"/>
                  <a:pt x="1261" y="59"/>
                  <a:pt x="1264" y="59"/>
                </a:cubicBezTo>
                <a:cubicBezTo>
                  <a:pt x="1267" y="59"/>
                  <a:pt x="1270" y="58"/>
                  <a:pt x="1273" y="57"/>
                </a:cubicBezTo>
                <a:cubicBezTo>
                  <a:pt x="1276" y="55"/>
                  <a:pt x="1278" y="54"/>
                  <a:pt x="1279" y="52"/>
                </a:cubicBezTo>
                <a:close/>
                <a:moveTo>
                  <a:pt x="1269" y="22"/>
                </a:moveTo>
                <a:cubicBezTo>
                  <a:pt x="1271" y="22"/>
                  <a:pt x="1272" y="23"/>
                  <a:pt x="1273" y="24"/>
                </a:cubicBezTo>
                <a:cubicBezTo>
                  <a:pt x="1274" y="25"/>
                  <a:pt x="1274" y="26"/>
                  <a:pt x="1274" y="28"/>
                </a:cubicBezTo>
                <a:cubicBezTo>
                  <a:pt x="1274" y="30"/>
                  <a:pt x="1273" y="32"/>
                  <a:pt x="1272" y="34"/>
                </a:cubicBezTo>
                <a:cubicBezTo>
                  <a:pt x="1270" y="35"/>
                  <a:pt x="1268" y="37"/>
                  <a:pt x="1265" y="38"/>
                </a:cubicBezTo>
                <a:cubicBezTo>
                  <a:pt x="1263" y="39"/>
                  <a:pt x="1260" y="39"/>
                  <a:pt x="1258" y="39"/>
                </a:cubicBezTo>
                <a:cubicBezTo>
                  <a:pt x="1258" y="37"/>
                  <a:pt x="1259" y="34"/>
                  <a:pt x="1259" y="32"/>
                </a:cubicBezTo>
                <a:cubicBezTo>
                  <a:pt x="1260" y="29"/>
                  <a:pt x="1262" y="27"/>
                  <a:pt x="1263" y="25"/>
                </a:cubicBezTo>
                <a:cubicBezTo>
                  <a:pt x="1265" y="23"/>
                  <a:pt x="1267" y="22"/>
                  <a:pt x="1269" y="22"/>
                </a:cubicBezTo>
                <a:close/>
                <a:moveTo>
                  <a:pt x="1310" y="25"/>
                </a:moveTo>
                <a:cubicBezTo>
                  <a:pt x="1311" y="20"/>
                  <a:pt x="1311" y="20"/>
                  <a:pt x="1311" y="20"/>
                </a:cubicBezTo>
                <a:cubicBezTo>
                  <a:pt x="1311" y="20"/>
                  <a:pt x="1309" y="19"/>
                  <a:pt x="1308" y="19"/>
                </a:cubicBezTo>
                <a:cubicBezTo>
                  <a:pt x="1306" y="19"/>
                  <a:pt x="1304" y="19"/>
                  <a:pt x="1303" y="19"/>
                </a:cubicBezTo>
                <a:cubicBezTo>
                  <a:pt x="1300" y="19"/>
                  <a:pt x="1298" y="19"/>
                  <a:pt x="1296" y="20"/>
                </a:cubicBezTo>
                <a:cubicBezTo>
                  <a:pt x="1293" y="21"/>
                  <a:pt x="1292" y="22"/>
                  <a:pt x="1291" y="24"/>
                </a:cubicBezTo>
                <a:cubicBezTo>
                  <a:pt x="1289" y="26"/>
                  <a:pt x="1289" y="27"/>
                  <a:pt x="1289" y="30"/>
                </a:cubicBezTo>
                <a:cubicBezTo>
                  <a:pt x="1289" y="34"/>
                  <a:pt x="1291" y="38"/>
                  <a:pt x="1296" y="41"/>
                </a:cubicBezTo>
                <a:cubicBezTo>
                  <a:pt x="1298" y="43"/>
                  <a:pt x="1300" y="44"/>
                  <a:pt x="1301" y="45"/>
                </a:cubicBezTo>
                <a:cubicBezTo>
                  <a:pt x="1302" y="46"/>
                  <a:pt x="1303" y="48"/>
                  <a:pt x="1303" y="50"/>
                </a:cubicBezTo>
                <a:cubicBezTo>
                  <a:pt x="1303" y="51"/>
                  <a:pt x="1302" y="53"/>
                  <a:pt x="1301" y="54"/>
                </a:cubicBezTo>
                <a:cubicBezTo>
                  <a:pt x="1299" y="55"/>
                  <a:pt x="1297" y="55"/>
                  <a:pt x="1295" y="55"/>
                </a:cubicBezTo>
                <a:cubicBezTo>
                  <a:pt x="1293" y="55"/>
                  <a:pt x="1292" y="55"/>
                  <a:pt x="1290" y="54"/>
                </a:cubicBezTo>
                <a:cubicBezTo>
                  <a:pt x="1288" y="53"/>
                  <a:pt x="1287" y="53"/>
                  <a:pt x="1286" y="52"/>
                </a:cubicBezTo>
                <a:cubicBezTo>
                  <a:pt x="1285" y="57"/>
                  <a:pt x="1285" y="57"/>
                  <a:pt x="1285" y="57"/>
                </a:cubicBezTo>
                <a:cubicBezTo>
                  <a:pt x="1285" y="58"/>
                  <a:pt x="1287" y="58"/>
                  <a:pt x="1289" y="58"/>
                </a:cubicBezTo>
                <a:cubicBezTo>
                  <a:pt x="1291" y="59"/>
                  <a:pt x="1293" y="59"/>
                  <a:pt x="1295" y="59"/>
                </a:cubicBezTo>
                <a:cubicBezTo>
                  <a:pt x="1299" y="59"/>
                  <a:pt x="1303" y="58"/>
                  <a:pt x="1305" y="56"/>
                </a:cubicBezTo>
                <a:cubicBezTo>
                  <a:pt x="1308" y="54"/>
                  <a:pt x="1309" y="52"/>
                  <a:pt x="1309" y="48"/>
                </a:cubicBezTo>
                <a:cubicBezTo>
                  <a:pt x="1309" y="46"/>
                  <a:pt x="1309" y="45"/>
                  <a:pt x="1308" y="43"/>
                </a:cubicBezTo>
                <a:cubicBezTo>
                  <a:pt x="1307" y="42"/>
                  <a:pt x="1306" y="41"/>
                  <a:pt x="1305" y="40"/>
                </a:cubicBezTo>
                <a:cubicBezTo>
                  <a:pt x="1304" y="39"/>
                  <a:pt x="1303" y="38"/>
                  <a:pt x="1301" y="36"/>
                </a:cubicBezTo>
                <a:cubicBezTo>
                  <a:pt x="1299" y="35"/>
                  <a:pt x="1298" y="34"/>
                  <a:pt x="1297" y="32"/>
                </a:cubicBezTo>
                <a:cubicBezTo>
                  <a:pt x="1296" y="31"/>
                  <a:pt x="1295" y="30"/>
                  <a:pt x="1295" y="28"/>
                </a:cubicBezTo>
                <a:cubicBezTo>
                  <a:pt x="1295" y="26"/>
                  <a:pt x="1296" y="25"/>
                  <a:pt x="1297" y="24"/>
                </a:cubicBezTo>
                <a:cubicBezTo>
                  <a:pt x="1299" y="23"/>
                  <a:pt x="1300" y="23"/>
                  <a:pt x="1303" y="23"/>
                </a:cubicBezTo>
                <a:cubicBezTo>
                  <a:pt x="1304" y="23"/>
                  <a:pt x="1306" y="23"/>
                  <a:pt x="1307" y="24"/>
                </a:cubicBezTo>
                <a:cubicBezTo>
                  <a:pt x="1309" y="24"/>
                  <a:pt x="1310" y="25"/>
                  <a:pt x="1310" y="25"/>
                </a:cubicBezTo>
                <a:close/>
                <a:moveTo>
                  <a:pt x="1047" y="110"/>
                </a:moveTo>
                <a:cubicBezTo>
                  <a:pt x="1052" y="111"/>
                  <a:pt x="1052" y="111"/>
                  <a:pt x="1052" y="111"/>
                </a:cubicBezTo>
                <a:cubicBezTo>
                  <a:pt x="1046" y="156"/>
                  <a:pt x="1046" y="156"/>
                  <a:pt x="1046" y="156"/>
                </a:cubicBezTo>
                <a:cubicBezTo>
                  <a:pt x="1041" y="157"/>
                  <a:pt x="1041" y="157"/>
                  <a:pt x="1041" y="157"/>
                </a:cubicBezTo>
                <a:cubicBezTo>
                  <a:pt x="1041" y="159"/>
                  <a:pt x="1041" y="159"/>
                  <a:pt x="1041" y="159"/>
                </a:cubicBezTo>
                <a:cubicBezTo>
                  <a:pt x="1078" y="159"/>
                  <a:pt x="1078" y="159"/>
                  <a:pt x="1078" y="159"/>
                </a:cubicBezTo>
                <a:cubicBezTo>
                  <a:pt x="1081" y="147"/>
                  <a:pt x="1081" y="147"/>
                  <a:pt x="1081" y="147"/>
                </a:cubicBezTo>
                <a:cubicBezTo>
                  <a:pt x="1077" y="146"/>
                  <a:pt x="1077" y="146"/>
                  <a:pt x="1077" y="146"/>
                </a:cubicBezTo>
                <a:cubicBezTo>
                  <a:pt x="1073" y="155"/>
                  <a:pt x="1073" y="155"/>
                  <a:pt x="1073" y="155"/>
                </a:cubicBezTo>
                <a:cubicBezTo>
                  <a:pt x="1053" y="156"/>
                  <a:pt x="1053" y="156"/>
                  <a:pt x="1053" y="156"/>
                </a:cubicBezTo>
                <a:cubicBezTo>
                  <a:pt x="1056" y="134"/>
                  <a:pt x="1056" y="134"/>
                  <a:pt x="1056" y="134"/>
                </a:cubicBezTo>
                <a:cubicBezTo>
                  <a:pt x="1072" y="135"/>
                  <a:pt x="1072" y="135"/>
                  <a:pt x="1072" y="135"/>
                </a:cubicBezTo>
                <a:cubicBezTo>
                  <a:pt x="1073" y="130"/>
                  <a:pt x="1073" y="130"/>
                  <a:pt x="1073" y="130"/>
                </a:cubicBezTo>
                <a:cubicBezTo>
                  <a:pt x="1057" y="130"/>
                  <a:pt x="1057" y="130"/>
                  <a:pt x="1057" y="130"/>
                </a:cubicBezTo>
                <a:cubicBezTo>
                  <a:pt x="1059" y="110"/>
                  <a:pt x="1059" y="110"/>
                  <a:pt x="1059" y="110"/>
                </a:cubicBezTo>
                <a:cubicBezTo>
                  <a:pt x="1075" y="111"/>
                  <a:pt x="1075" y="111"/>
                  <a:pt x="1075" y="111"/>
                </a:cubicBezTo>
                <a:cubicBezTo>
                  <a:pt x="1076" y="118"/>
                  <a:pt x="1076" y="118"/>
                  <a:pt x="1076" y="118"/>
                </a:cubicBezTo>
                <a:cubicBezTo>
                  <a:pt x="1080" y="118"/>
                  <a:pt x="1080" y="118"/>
                  <a:pt x="1080" y="118"/>
                </a:cubicBezTo>
                <a:cubicBezTo>
                  <a:pt x="1081" y="107"/>
                  <a:pt x="1081" y="107"/>
                  <a:pt x="1081" y="107"/>
                </a:cubicBezTo>
                <a:cubicBezTo>
                  <a:pt x="1048" y="107"/>
                  <a:pt x="1048" y="107"/>
                  <a:pt x="1048" y="107"/>
                </a:cubicBezTo>
                <a:lnTo>
                  <a:pt x="1047" y="110"/>
                </a:lnTo>
                <a:close/>
                <a:moveTo>
                  <a:pt x="1100" y="129"/>
                </a:moveTo>
                <a:cubicBezTo>
                  <a:pt x="1100" y="120"/>
                  <a:pt x="1100" y="120"/>
                  <a:pt x="1100" y="120"/>
                </a:cubicBezTo>
                <a:cubicBezTo>
                  <a:pt x="1099" y="119"/>
                  <a:pt x="1099" y="119"/>
                  <a:pt x="1099" y="119"/>
                </a:cubicBezTo>
                <a:cubicBezTo>
                  <a:pt x="1090" y="121"/>
                  <a:pt x="1090" y="121"/>
                  <a:pt x="1090" y="121"/>
                </a:cubicBezTo>
                <a:cubicBezTo>
                  <a:pt x="1090" y="124"/>
                  <a:pt x="1090" y="124"/>
                  <a:pt x="1090" y="124"/>
                </a:cubicBezTo>
                <a:cubicBezTo>
                  <a:pt x="1093" y="125"/>
                  <a:pt x="1093" y="125"/>
                  <a:pt x="1093" y="125"/>
                </a:cubicBezTo>
                <a:cubicBezTo>
                  <a:pt x="1089" y="159"/>
                  <a:pt x="1089" y="159"/>
                  <a:pt x="1089" y="159"/>
                </a:cubicBezTo>
                <a:cubicBezTo>
                  <a:pt x="1095" y="159"/>
                  <a:pt x="1095" y="159"/>
                  <a:pt x="1095" y="159"/>
                </a:cubicBezTo>
                <a:cubicBezTo>
                  <a:pt x="1099" y="134"/>
                  <a:pt x="1099" y="134"/>
                  <a:pt x="1099" y="134"/>
                </a:cubicBezTo>
                <a:cubicBezTo>
                  <a:pt x="1101" y="131"/>
                  <a:pt x="1103" y="129"/>
                  <a:pt x="1105" y="127"/>
                </a:cubicBezTo>
                <a:cubicBezTo>
                  <a:pt x="1107" y="125"/>
                  <a:pt x="1109" y="124"/>
                  <a:pt x="1111" y="124"/>
                </a:cubicBezTo>
                <a:cubicBezTo>
                  <a:pt x="1113" y="124"/>
                  <a:pt x="1114" y="125"/>
                  <a:pt x="1114" y="126"/>
                </a:cubicBezTo>
                <a:cubicBezTo>
                  <a:pt x="1115" y="127"/>
                  <a:pt x="1115" y="128"/>
                  <a:pt x="1115" y="130"/>
                </a:cubicBezTo>
                <a:cubicBezTo>
                  <a:pt x="1115" y="132"/>
                  <a:pt x="1115" y="134"/>
                  <a:pt x="1115" y="135"/>
                </a:cubicBezTo>
                <a:cubicBezTo>
                  <a:pt x="1115" y="137"/>
                  <a:pt x="1114" y="140"/>
                  <a:pt x="1114" y="142"/>
                </a:cubicBezTo>
                <a:cubicBezTo>
                  <a:pt x="1114" y="144"/>
                  <a:pt x="1114" y="144"/>
                  <a:pt x="1114" y="144"/>
                </a:cubicBezTo>
                <a:cubicBezTo>
                  <a:pt x="1113" y="147"/>
                  <a:pt x="1113" y="147"/>
                  <a:pt x="1113" y="147"/>
                </a:cubicBezTo>
                <a:cubicBezTo>
                  <a:pt x="1112" y="151"/>
                  <a:pt x="1112" y="154"/>
                  <a:pt x="1112" y="156"/>
                </a:cubicBezTo>
                <a:cubicBezTo>
                  <a:pt x="1112" y="159"/>
                  <a:pt x="1113" y="160"/>
                  <a:pt x="1116" y="160"/>
                </a:cubicBezTo>
                <a:cubicBezTo>
                  <a:pt x="1117" y="160"/>
                  <a:pt x="1119" y="160"/>
                  <a:pt x="1120" y="159"/>
                </a:cubicBezTo>
                <a:cubicBezTo>
                  <a:pt x="1121" y="159"/>
                  <a:pt x="1122" y="158"/>
                  <a:pt x="1123" y="157"/>
                </a:cubicBezTo>
                <a:cubicBezTo>
                  <a:pt x="1123" y="157"/>
                  <a:pt x="1124" y="156"/>
                  <a:pt x="1124" y="156"/>
                </a:cubicBezTo>
                <a:cubicBezTo>
                  <a:pt x="1123" y="154"/>
                  <a:pt x="1123" y="154"/>
                  <a:pt x="1123" y="154"/>
                </a:cubicBezTo>
                <a:cubicBezTo>
                  <a:pt x="1122" y="155"/>
                  <a:pt x="1121" y="156"/>
                  <a:pt x="1120" y="156"/>
                </a:cubicBezTo>
                <a:cubicBezTo>
                  <a:pt x="1119" y="156"/>
                  <a:pt x="1119" y="155"/>
                  <a:pt x="1119" y="154"/>
                </a:cubicBezTo>
                <a:cubicBezTo>
                  <a:pt x="1119" y="152"/>
                  <a:pt x="1119" y="149"/>
                  <a:pt x="1120" y="145"/>
                </a:cubicBezTo>
                <a:cubicBezTo>
                  <a:pt x="1121" y="142"/>
                  <a:pt x="1121" y="142"/>
                  <a:pt x="1121" y="142"/>
                </a:cubicBezTo>
                <a:cubicBezTo>
                  <a:pt x="1121" y="140"/>
                  <a:pt x="1121" y="140"/>
                  <a:pt x="1121" y="140"/>
                </a:cubicBezTo>
                <a:cubicBezTo>
                  <a:pt x="1122" y="135"/>
                  <a:pt x="1122" y="132"/>
                  <a:pt x="1122" y="130"/>
                </a:cubicBezTo>
                <a:cubicBezTo>
                  <a:pt x="1122" y="126"/>
                  <a:pt x="1122" y="123"/>
                  <a:pt x="1120" y="122"/>
                </a:cubicBezTo>
                <a:cubicBezTo>
                  <a:pt x="1119" y="120"/>
                  <a:pt x="1117" y="119"/>
                  <a:pt x="1114" y="119"/>
                </a:cubicBezTo>
                <a:cubicBezTo>
                  <a:pt x="1112" y="119"/>
                  <a:pt x="1109" y="120"/>
                  <a:pt x="1106" y="122"/>
                </a:cubicBezTo>
                <a:cubicBezTo>
                  <a:pt x="1104" y="124"/>
                  <a:pt x="1102" y="126"/>
                  <a:pt x="1100" y="129"/>
                </a:cubicBezTo>
                <a:close/>
                <a:moveTo>
                  <a:pt x="1159" y="162"/>
                </a:moveTo>
                <a:cubicBezTo>
                  <a:pt x="1165" y="119"/>
                  <a:pt x="1165" y="119"/>
                  <a:pt x="1165" y="119"/>
                </a:cubicBezTo>
                <a:cubicBezTo>
                  <a:pt x="1160" y="121"/>
                  <a:pt x="1160" y="121"/>
                  <a:pt x="1160" y="121"/>
                </a:cubicBezTo>
                <a:cubicBezTo>
                  <a:pt x="1159" y="121"/>
                  <a:pt x="1158" y="120"/>
                  <a:pt x="1157" y="120"/>
                </a:cubicBezTo>
                <a:cubicBezTo>
                  <a:pt x="1155" y="120"/>
                  <a:pt x="1154" y="119"/>
                  <a:pt x="1153" y="119"/>
                </a:cubicBezTo>
                <a:cubicBezTo>
                  <a:pt x="1148" y="119"/>
                  <a:pt x="1144" y="121"/>
                  <a:pt x="1141" y="123"/>
                </a:cubicBezTo>
                <a:cubicBezTo>
                  <a:pt x="1137" y="126"/>
                  <a:pt x="1135" y="129"/>
                  <a:pt x="1133" y="133"/>
                </a:cubicBezTo>
                <a:cubicBezTo>
                  <a:pt x="1131" y="137"/>
                  <a:pt x="1130" y="141"/>
                  <a:pt x="1130" y="145"/>
                </a:cubicBezTo>
                <a:cubicBezTo>
                  <a:pt x="1130" y="150"/>
                  <a:pt x="1131" y="153"/>
                  <a:pt x="1133" y="156"/>
                </a:cubicBezTo>
                <a:cubicBezTo>
                  <a:pt x="1135" y="159"/>
                  <a:pt x="1138" y="160"/>
                  <a:pt x="1142" y="160"/>
                </a:cubicBezTo>
                <a:cubicBezTo>
                  <a:pt x="1144" y="160"/>
                  <a:pt x="1146" y="159"/>
                  <a:pt x="1148" y="158"/>
                </a:cubicBezTo>
                <a:cubicBezTo>
                  <a:pt x="1150" y="157"/>
                  <a:pt x="1152" y="156"/>
                  <a:pt x="1153" y="155"/>
                </a:cubicBezTo>
                <a:cubicBezTo>
                  <a:pt x="1151" y="164"/>
                  <a:pt x="1151" y="164"/>
                  <a:pt x="1151" y="164"/>
                </a:cubicBezTo>
                <a:cubicBezTo>
                  <a:pt x="1151" y="167"/>
                  <a:pt x="1150" y="169"/>
                  <a:pt x="1149" y="170"/>
                </a:cubicBezTo>
                <a:cubicBezTo>
                  <a:pt x="1147" y="172"/>
                  <a:pt x="1145" y="172"/>
                  <a:pt x="1142" y="172"/>
                </a:cubicBezTo>
                <a:cubicBezTo>
                  <a:pt x="1140" y="172"/>
                  <a:pt x="1139" y="172"/>
                  <a:pt x="1137" y="171"/>
                </a:cubicBezTo>
                <a:cubicBezTo>
                  <a:pt x="1136" y="171"/>
                  <a:pt x="1134" y="170"/>
                  <a:pt x="1133" y="170"/>
                </a:cubicBezTo>
                <a:cubicBezTo>
                  <a:pt x="1132" y="175"/>
                  <a:pt x="1132" y="175"/>
                  <a:pt x="1132" y="175"/>
                </a:cubicBezTo>
                <a:cubicBezTo>
                  <a:pt x="1132" y="176"/>
                  <a:pt x="1134" y="176"/>
                  <a:pt x="1135" y="176"/>
                </a:cubicBezTo>
                <a:cubicBezTo>
                  <a:pt x="1137" y="177"/>
                  <a:pt x="1138" y="177"/>
                  <a:pt x="1140" y="177"/>
                </a:cubicBezTo>
                <a:cubicBezTo>
                  <a:pt x="1142" y="177"/>
                  <a:pt x="1145" y="176"/>
                  <a:pt x="1148" y="175"/>
                </a:cubicBezTo>
                <a:cubicBezTo>
                  <a:pt x="1150" y="174"/>
                  <a:pt x="1153" y="173"/>
                  <a:pt x="1155" y="170"/>
                </a:cubicBezTo>
                <a:cubicBezTo>
                  <a:pt x="1157" y="168"/>
                  <a:pt x="1158" y="165"/>
                  <a:pt x="1159" y="162"/>
                </a:cubicBezTo>
                <a:close/>
                <a:moveTo>
                  <a:pt x="1157" y="125"/>
                </a:moveTo>
                <a:cubicBezTo>
                  <a:pt x="1154" y="150"/>
                  <a:pt x="1154" y="150"/>
                  <a:pt x="1154" y="150"/>
                </a:cubicBezTo>
                <a:cubicBezTo>
                  <a:pt x="1152" y="151"/>
                  <a:pt x="1151" y="153"/>
                  <a:pt x="1149" y="154"/>
                </a:cubicBezTo>
                <a:cubicBezTo>
                  <a:pt x="1148" y="155"/>
                  <a:pt x="1146" y="155"/>
                  <a:pt x="1144" y="155"/>
                </a:cubicBezTo>
                <a:cubicBezTo>
                  <a:pt x="1142" y="155"/>
                  <a:pt x="1140" y="155"/>
                  <a:pt x="1139" y="153"/>
                </a:cubicBezTo>
                <a:cubicBezTo>
                  <a:pt x="1138" y="151"/>
                  <a:pt x="1138" y="148"/>
                  <a:pt x="1138" y="145"/>
                </a:cubicBezTo>
                <a:cubicBezTo>
                  <a:pt x="1138" y="142"/>
                  <a:pt x="1138" y="138"/>
                  <a:pt x="1139" y="135"/>
                </a:cubicBezTo>
                <a:cubicBezTo>
                  <a:pt x="1140" y="132"/>
                  <a:pt x="1142" y="129"/>
                  <a:pt x="1144" y="127"/>
                </a:cubicBezTo>
                <a:cubicBezTo>
                  <a:pt x="1146" y="124"/>
                  <a:pt x="1149" y="123"/>
                  <a:pt x="1152" y="123"/>
                </a:cubicBezTo>
                <a:cubicBezTo>
                  <a:pt x="1154" y="123"/>
                  <a:pt x="1156" y="124"/>
                  <a:pt x="1157" y="125"/>
                </a:cubicBezTo>
                <a:close/>
                <a:moveTo>
                  <a:pt x="1181" y="153"/>
                </a:moveTo>
                <a:cubicBezTo>
                  <a:pt x="1185" y="120"/>
                  <a:pt x="1185" y="120"/>
                  <a:pt x="1185" y="120"/>
                </a:cubicBezTo>
                <a:cubicBezTo>
                  <a:pt x="1184" y="119"/>
                  <a:pt x="1184" y="119"/>
                  <a:pt x="1184" y="119"/>
                </a:cubicBezTo>
                <a:cubicBezTo>
                  <a:pt x="1174" y="121"/>
                  <a:pt x="1174" y="121"/>
                  <a:pt x="1174" y="121"/>
                </a:cubicBezTo>
                <a:cubicBezTo>
                  <a:pt x="1173" y="123"/>
                  <a:pt x="1173" y="123"/>
                  <a:pt x="1173" y="123"/>
                </a:cubicBezTo>
                <a:cubicBezTo>
                  <a:pt x="1178" y="125"/>
                  <a:pt x="1178" y="125"/>
                  <a:pt x="1178" y="125"/>
                </a:cubicBezTo>
                <a:cubicBezTo>
                  <a:pt x="1177" y="132"/>
                  <a:pt x="1176" y="138"/>
                  <a:pt x="1175" y="142"/>
                </a:cubicBezTo>
                <a:cubicBezTo>
                  <a:pt x="1174" y="150"/>
                  <a:pt x="1174" y="154"/>
                  <a:pt x="1173" y="156"/>
                </a:cubicBezTo>
                <a:cubicBezTo>
                  <a:pt x="1173" y="157"/>
                  <a:pt x="1174" y="158"/>
                  <a:pt x="1174" y="159"/>
                </a:cubicBezTo>
                <a:cubicBezTo>
                  <a:pt x="1175" y="160"/>
                  <a:pt x="1176" y="160"/>
                  <a:pt x="1178" y="160"/>
                </a:cubicBezTo>
                <a:cubicBezTo>
                  <a:pt x="1180" y="160"/>
                  <a:pt x="1182" y="159"/>
                  <a:pt x="1183" y="158"/>
                </a:cubicBezTo>
                <a:cubicBezTo>
                  <a:pt x="1184" y="157"/>
                  <a:pt x="1185" y="156"/>
                  <a:pt x="1186" y="155"/>
                </a:cubicBezTo>
                <a:cubicBezTo>
                  <a:pt x="1185" y="154"/>
                  <a:pt x="1185" y="154"/>
                  <a:pt x="1185" y="154"/>
                </a:cubicBezTo>
                <a:cubicBezTo>
                  <a:pt x="1184" y="154"/>
                  <a:pt x="1184" y="155"/>
                  <a:pt x="1183" y="155"/>
                </a:cubicBezTo>
                <a:cubicBezTo>
                  <a:pt x="1183" y="156"/>
                  <a:pt x="1182" y="156"/>
                  <a:pt x="1182" y="156"/>
                </a:cubicBezTo>
                <a:cubicBezTo>
                  <a:pt x="1181" y="156"/>
                  <a:pt x="1181" y="156"/>
                  <a:pt x="1181" y="155"/>
                </a:cubicBezTo>
                <a:cubicBezTo>
                  <a:pt x="1181" y="155"/>
                  <a:pt x="1180" y="155"/>
                  <a:pt x="1180" y="154"/>
                </a:cubicBezTo>
                <a:lnTo>
                  <a:pt x="1181" y="153"/>
                </a:lnTo>
                <a:close/>
                <a:moveTo>
                  <a:pt x="1183" y="112"/>
                </a:moveTo>
                <a:cubicBezTo>
                  <a:pt x="1184" y="112"/>
                  <a:pt x="1185" y="111"/>
                  <a:pt x="1186" y="110"/>
                </a:cubicBezTo>
                <a:cubicBezTo>
                  <a:pt x="1187" y="109"/>
                  <a:pt x="1188" y="108"/>
                  <a:pt x="1188" y="107"/>
                </a:cubicBezTo>
                <a:cubicBezTo>
                  <a:pt x="1188" y="106"/>
                  <a:pt x="1187" y="105"/>
                  <a:pt x="1187" y="104"/>
                </a:cubicBezTo>
                <a:cubicBezTo>
                  <a:pt x="1186" y="103"/>
                  <a:pt x="1185" y="103"/>
                  <a:pt x="1184" y="103"/>
                </a:cubicBezTo>
                <a:cubicBezTo>
                  <a:pt x="1182" y="103"/>
                  <a:pt x="1181" y="103"/>
                  <a:pt x="1180" y="104"/>
                </a:cubicBezTo>
                <a:cubicBezTo>
                  <a:pt x="1180" y="105"/>
                  <a:pt x="1179" y="107"/>
                  <a:pt x="1179" y="108"/>
                </a:cubicBezTo>
                <a:cubicBezTo>
                  <a:pt x="1179" y="109"/>
                  <a:pt x="1179" y="110"/>
                  <a:pt x="1180" y="111"/>
                </a:cubicBezTo>
                <a:cubicBezTo>
                  <a:pt x="1181" y="111"/>
                  <a:pt x="1182" y="112"/>
                  <a:pt x="1183" y="112"/>
                </a:cubicBezTo>
                <a:close/>
                <a:moveTo>
                  <a:pt x="1207" y="129"/>
                </a:moveTo>
                <a:cubicBezTo>
                  <a:pt x="1208" y="120"/>
                  <a:pt x="1208" y="120"/>
                  <a:pt x="1208" y="120"/>
                </a:cubicBezTo>
                <a:cubicBezTo>
                  <a:pt x="1207" y="119"/>
                  <a:pt x="1207" y="119"/>
                  <a:pt x="1207" y="119"/>
                </a:cubicBezTo>
                <a:cubicBezTo>
                  <a:pt x="1198" y="121"/>
                  <a:pt x="1198" y="121"/>
                  <a:pt x="1198" y="121"/>
                </a:cubicBezTo>
                <a:cubicBezTo>
                  <a:pt x="1198" y="124"/>
                  <a:pt x="1198" y="124"/>
                  <a:pt x="1198" y="124"/>
                </a:cubicBezTo>
                <a:cubicBezTo>
                  <a:pt x="1201" y="125"/>
                  <a:pt x="1201" y="125"/>
                  <a:pt x="1201" y="125"/>
                </a:cubicBezTo>
                <a:cubicBezTo>
                  <a:pt x="1196" y="159"/>
                  <a:pt x="1196" y="159"/>
                  <a:pt x="1196" y="159"/>
                </a:cubicBezTo>
                <a:cubicBezTo>
                  <a:pt x="1203" y="159"/>
                  <a:pt x="1203" y="159"/>
                  <a:pt x="1203" y="159"/>
                </a:cubicBezTo>
                <a:cubicBezTo>
                  <a:pt x="1207" y="134"/>
                  <a:pt x="1207" y="134"/>
                  <a:pt x="1207" y="134"/>
                </a:cubicBezTo>
                <a:cubicBezTo>
                  <a:pt x="1208" y="131"/>
                  <a:pt x="1210" y="129"/>
                  <a:pt x="1213" y="127"/>
                </a:cubicBezTo>
                <a:cubicBezTo>
                  <a:pt x="1215" y="125"/>
                  <a:pt x="1217" y="124"/>
                  <a:pt x="1219" y="124"/>
                </a:cubicBezTo>
                <a:cubicBezTo>
                  <a:pt x="1220" y="124"/>
                  <a:pt x="1221" y="125"/>
                  <a:pt x="1222" y="126"/>
                </a:cubicBezTo>
                <a:cubicBezTo>
                  <a:pt x="1223" y="127"/>
                  <a:pt x="1223" y="128"/>
                  <a:pt x="1223" y="130"/>
                </a:cubicBezTo>
                <a:cubicBezTo>
                  <a:pt x="1223" y="132"/>
                  <a:pt x="1223" y="134"/>
                  <a:pt x="1223" y="135"/>
                </a:cubicBezTo>
                <a:cubicBezTo>
                  <a:pt x="1222" y="137"/>
                  <a:pt x="1222" y="140"/>
                  <a:pt x="1222" y="142"/>
                </a:cubicBezTo>
                <a:cubicBezTo>
                  <a:pt x="1221" y="144"/>
                  <a:pt x="1221" y="144"/>
                  <a:pt x="1221" y="144"/>
                </a:cubicBezTo>
                <a:cubicBezTo>
                  <a:pt x="1221" y="147"/>
                  <a:pt x="1221" y="147"/>
                  <a:pt x="1221" y="147"/>
                </a:cubicBezTo>
                <a:cubicBezTo>
                  <a:pt x="1220" y="151"/>
                  <a:pt x="1219" y="154"/>
                  <a:pt x="1219" y="156"/>
                </a:cubicBezTo>
                <a:cubicBezTo>
                  <a:pt x="1219" y="159"/>
                  <a:pt x="1221" y="160"/>
                  <a:pt x="1224" y="160"/>
                </a:cubicBezTo>
                <a:cubicBezTo>
                  <a:pt x="1225" y="160"/>
                  <a:pt x="1226" y="160"/>
                  <a:pt x="1227" y="159"/>
                </a:cubicBezTo>
                <a:cubicBezTo>
                  <a:pt x="1228" y="159"/>
                  <a:pt x="1229" y="158"/>
                  <a:pt x="1230" y="157"/>
                </a:cubicBezTo>
                <a:cubicBezTo>
                  <a:pt x="1231" y="157"/>
                  <a:pt x="1231" y="156"/>
                  <a:pt x="1232" y="156"/>
                </a:cubicBezTo>
                <a:cubicBezTo>
                  <a:pt x="1231" y="154"/>
                  <a:pt x="1231" y="154"/>
                  <a:pt x="1231" y="154"/>
                </a:cubicBezTo>
                <a:cubicBezTo>
                  <a:pt x="1229" y="155"/>
                  <a:pt x="1228" y="156"/>
                  <a:pt x="1227" y="156"/>
                </a:cubicBezTo>
                <a:cubicBezTo>
                  <a:pt x="1227" y="156"/>
                  <a:pt x="1227" y="155"/>
                  <a:pt x="1227" y="154"/>
                </a:cubicBezTo>
                <a:cubicBezTo>
                  <a:pt x="1227" y="152"/>
                  <a:pt x="1227" y="149"/>
                  <a:pt x="1228" y="145"/>
                </a:cubicBezTo>
                <a:cubicBezTo>
                  <a:pt x="1228" y="142"/>
                  <a:pt x="1228" y="142"/>
                  <a:pt x="1228" y="142"/>
                </a:cubicBezTo>
                <a:cubicBezTo>
                  <a:pt x="1229" y="140"/>
                  <a:pt x="1229" y="140"/>
                  <a:pt x="1229" y="140"/>
                </a:cubicBezTo>
                <a:cubicBezTo>
                  <a:pt x="1230" y="135"/>
                  <a:pt x="1230" y="132"/>
                  <a:pt x="1230" y="130"/>
                </a:cubicBezTo>
                <a:cubicBezTo>
                  <a:pt x="1230" y="126"/>
                  <a:pt x="1229" y="123"/>
                  <a:pt x="1228" y="122"/>
                </a:cubicBezTo>
                <a:cubicBezTo>
                  <a:pt x="1227" y="120"/>
                  <a:pt x="1225" y="119"/>
                  <a:pt x="1222" y="119"/>
                </a:cubicBezTo>
                <a:cubicBezTo>
                  <a:pt x="1219" y="119"/>
                  <a:pt x="1217" y="120"/>
                  <a:pt x="1214" y="122"/>
                </a:cubicBezTo>
                <a:cubicBezTo>
                  <a:pt x="1211" y="124"/>
                  <a:pt x="1209" y="126"/>
                  <a:pt x="1207" y="129"/>
                </a:cubicBezTo>
                <a:close/>
                <a:moveTo>
                  <a:pt x="1267" y="153"/>
                </a:moveTo>
                <a:cubicBezTo>
                  <a:pt x="1266" y="150"/>
                  <a:pt x="1266" y="150"/>
                  <a:pt x="1266" y="150"/>
                </a:cubicBezTo>
                <a:cubicBezTo>
                  <a:pt x="1264" y="152"/>
                  <a:pt x="1262" y="153"/>
                  <a:pt x="1260" y="154"/>
                </a:cubicBezTo>
                <a:cubicBezTo>
                  <a:pt x="1258" y="155"/>
                  <a:pt x="1256" y="156"/>
                  <a:pt x="1254" y="156"/>
                </a:cubicBezTo>
                <a:cubicBezTo>
                  <a:pt x="1251" y="156"/>
                  <a:pt x="1249" y="154"/>
                  <a:pt x="1248" y="152"/>
                </a:cubicBezTo>
                <a:cubicBezTo>
                  <a:pt x="1246" y="150"/>
                  <a:pt x="1246" y="147"/>
                  <a:pt x="1246" y="143"/>
                </a:cubicBezTo>
                <a:cubicBezTo>
                  <a:pt x="1249" y="143"/>
                  <a:pt x="1252" y="143"/>
                  <a:pt x="1256" y="142"/>
                </a:cubicBezTo>
                <a:cubicBezTo>
                  <a:pt x="1259" y="140"/>
                  <a:pt x="1263" y="139"/>
                  <a:pt x="1265" y="136"/>
                </a:cubicBezTo>
                <a:cubicBezTo>
                  <a:pt x="1268" y="134"/>
                  <a:pt x="1269" y="131"/>
                  <a:pt x="1269" y="128"/>
                </a:cubicBezTo>
                <a:cubicBezTo>
                  <a:pt x="1269" y="125"/>
                  <a:pt x="1268" y="123"/>
                  <a:pt x="1267" y="122"/>
                </a:cubicBezTo>
                <a:cubicBezTo>
                  <a:pt x="1265" y="120"/>
                  <a:pt x="1263" y="119"/>
                  <a:pt x="1259" y="119"/>
                </a:cubicBezTo>
                <a:cubicBezTo>
                  <a:pt x="1255" y="119"/>
                  <a:pt x="1252" y="121"/>
                  <a:pt x="1249" y="123"/>
                </a:cubicBezTo>
                <a:cubicBezTo>
                  <a:pt x="1246" y="125"/>
                  <a:pt x="1243" y="128"/>
                  <a:pt x="1241" y="132"/>
                </a:cubicBezTo>
                <a:cubicBezTo>
                  <a:pt x="1240" y="136"/>
                  <a:pt x="1239" y="140"/>
                  <a:pt x="1239" y="145"/>
                </a:cubicBezTo>
                <a:cubicBezTo>
                  <a:pt x="1239" y="147"/>
                  <a:pt x="1239" y="150"/>
                  <a:pt x="1240" y="152"/>
                </a:cubicBezTo>
                <a:cubicBezTo>
                  <a:pt x="1241" y="155"/>
                  <a:pt x="1243" y="156"/>
                  <a:pt x="1245" y="158"/>
                </a:cubicBezTo>
                <a:cubicBezTo>
                  <a:pt x="1247" y="159"/>
                  <a:pt x="1249" y="160"/>
                  <a:pt x="1253" y="160"/>
                </a:cubicBezTo>
                <a:cubicBezTo>
                  <a:pt x="1256" y="160"/>
                  <a:pt x="1259" y="159"/>
                  <a:pt x="1261" y="158"/>
                </a:cubicBezTo>
                <a:cubicBezTo>
                  <a:pt x="1264" y="156"/>
                  <a:pt x="1266" y="154"/>
                  <a:pt x="1267" y="153"/>
                </a:cubicBezTo>
                <a:close/>
                <a:moveTo>
                  <a:pt x="1258" y="123"/>
                </a:moveTo>
                <a:cubicBezTo>
                  <a:pt x="1259" y="123"/>
                  <a:pt x="1260" y="124"/>
                  <a:pt x="1261" y="125"/>
                </a:cubicBezTo>
                <a:cubicBezTo>
                  <a:pt x="1262" y="125"/>
                  <a:pt x="1263" y="127"/>
                  <a:pt x="1263" y="129"/>
                </a:cubicBezTo>
                <a:cubicBezTo>
                  <a:pt x="1263" y="131"/>
                  <a:pt x="1262" y="133"/>
                  <a:pt x="1260" y="135"/>
                </a:cubicBezTo>
                <a:cubicBezTo>
                  <a:pt x="1258" y="136"/>
                  <a:pt x="1256" y="138"/>
                  <a:pt x="1253" y="139"/>
                </a:cubicBezTo>
                <a:cubicBezTo>
                  <a:pt x="1251" y="139"/>
                  <a:pt x="1248" y="140"/>
                  <a:pt x="1246" y="140"/>
                </a:cubicBezTo>
                <a:cubicBezTo>
                  <a:pt x="1246" y="138"/>
                  <a:pt x="1247" y="135"/>
                  <a:pt x="1248" y="132"/>
                </a:cubicBezTo>
                <a:cubicBezTo>
                  <a:pt x="1249" y="130"/>
                  <a:pt x="1250" y="127"/>
                  <a:pt x="1252" y="126"/>
                </a:cubicBezTo>
                <a:cubicBezTo>
                  <a:pt x="1254" y="124"/>
                  <a:pt x="1255" y="123"/>
                  <a:pt x="1258" y="123"/>
                </a:cubicBezTo>
                <a:close/>
                <a:moveTo>
                  <a:pt x="1303" y="153"/>
                </a:moveTo>
                <a:cubicBezTo>
                  <a:pt x="1302" y="150"/>
                  <a:pt x="1302" y="150"/>
                  <a:pt x="1302" y="150"/>
                </a:cubicBezTo>
                <a:cubicBezTo>
                  <a:pt x="1300" y="152"/>
                  <a:pt x="1298" y="153"/>
                  <a:pt x="1296" y="154"/>
                </a:cubicBezTo>
                <a:cubicBezTo>
                  <a:pt x="1294" y="155"/>
                  <a:pt x="1292" y="156"/>
                  <a:pt x="1290" y="156"/>
                </a:cubicBezTo>
                <a:cubicBezTo>
                  <a:pt x="1287" y="156"/>
                  <a:pt x="1285" y="154"/>
                  <a:pt x="1284" y="152"/>
                </a:cubicBezTo>
                <a:cubicBezTo>
                  <a:pt x="1282" y="150"/>
                  <a:pt x="1282" y="147"/>
                  <a:pt x="1282" y="143"/>
                </a:cubicBezTo>
                <a:cubicBezTo>
                  <a:pt x="1285" y="143"/>
                  <a:pt x="1288" y="143"/>
                  <a:pt x="1292" y="142"/>
                </a:cubicBezTo>
                <a:cubicBezTo>
                  <a:pt x="1295" y="140"/>
                  <a:pt x="1299" y="139"/>
                  <a:pt x="1301" y="136"/>
                </a:cubicBezTo>
                <a:cubicBezTo>
                  <a:pt x="1304" y="134"/>
                  <a:pt x="1305" y="131"/>
                  <a:pt x="1305" y="128"/>
                </a:cubicBezTo>
                <a:cubicBezTo>
                  <a:pt x="1305" y="125"/>
                  <a:pt x="1304" y="123"/>
                  <a:pt x="1303" y="122"/>
                </a:cubicBezTo>
                <a:cubicBezTo>
                  <a:pt x="1301" y="120"/>
                  <a:pt x="1299" y="119"/>
                  <a:pt x="1295" y="119"/>
                </a:cubicBezTo>
                <a:cubicBezTo>
                  <a:pt x="1291" y="119"/>
                  <a:pt x="1288" y="121"/>
                  <a:pt x="1285" y="123"/>
                </a:cubicBezTo>
                <a:cubicBezTo>
                  <a:pt x="1282" y="125"/>
                  <a:pt x="1279" y="128"/>
                  <a:pt x="1277" y="132"/>
                </a:cubicBezTo>
                <a:cubicBezTo>
                  <a:pt x="1275" y="136"/>
                  <a:pt x="1275" y="140"/>
                  <a:pt x="1275" y="145"/>
                </a:cubicBezTo>
                <a:cubicBezTo>
                  <a:pt x="1275" y="147"/>
                  <a:pt x="1275" y="150"/>
                  <a:pt x="1276" y="152"/>
                </a:cubicBezTo>
                <a:cubicBezTo>
                  <a:pt x="1277" y="155"/>
                  <a:pt x="1279" y="156"/>
                  <a:pt x="1281" y="158"/>
                </a:cubicBezTo>
                <a:cubicBezTo>
                  <a:pt x="1283" y="159"/>
                  <a:pt x="1285" y="160"/>
                  <a:pt x="1288" y="160"/>
                </a:cubicBezTo>
                <a:cubicBezTo>
                  <a:pt x="1292" y="160"/>
                  <a:pt x="1295" y="159"/>
                  <a:pt x="1297" y="158"/>
                </a:cubicBezTo>
                <a:cubicBezTo>
                  <a:pt x="1300" y="156"/>
                  <a:pt x="1302" y="154"/>
                  <a:pt x="1303" y="153"/>
                </a:cubicBezTo>
                <a:close/>
                <a:moveTo>
                  <a:pt x="1294" y="123"/>
                </a:moveTo>
                <a:cubicBezTo>
                  <a:pt x="1295" y="123"/>
                  <a:pt x="1296" y="124"/>
                  <a:pt x="1297" y="125"/>
                </a:cubicBezTo>
                <a:cubicBezTo>
                  <a:pt x="1298" y="125"/>
                  <a:pt x="1298" y="127"/>
                  <a:pt x="1298" y="129"/>
                </a:cubicBezTo>
                <a:cubicBezTo>
                  <a:pt x="1298" y="131"/>
                  <a:pt x="1298" y="133"/>
                  <a:pt x="1296" y="135"/>
                </a:cubicBezTo>
                <a:cubicBezTo>
                  <a:pt x="1294" y="136"/>
                  <a:pt x="1292" y="138"/>
                  <a:pt x="1289" y="139"/>
                </a:cubicBezTo>
                <a:cubicBezTo>
                  <a:pt x="1287" y="139"/>
                  <a:pt x="1284" y="140"/>
                  <a:pt x="1282" y="140"/>
                </a:cubicBezTo>
                <a:cubicBezTo>
                  <a:pt x="1282" y="138"/>
                  <a:pt x="1283" y="135"/>
                  <a:pt x="1284" y="132"/>
                </a:cubicBezTo>
                <a:cubicBezTo>
                  <a:pt x="1285" y="130"/>
                  <a:pt x="1286" y="127"/>
                  <a:pt x="1288" y="126"/>
                </a:cubicBezTo>
                <a:cubicBezTo>
                  <a:pt x="1289" y="124"/>
                  <a:pt x="1291" y="123"/>
                  <a:pt x="1294" y="123"/>
                </a:cubicBezTo>
                <a:close/>
                <a:moveTo>
                  <a:pt x="1322" y="129"/>
                </a:moveTo>
                <a:cubicBezTo>
                  <a:pt x="1323" y="127"/>
                  <a:pt x="1323" y="127"/>
                  <a:pt x="1323" y="127"/>
                </a:cubicBezTo>
                <a:cubicBezTo>
                  <a:pt x="1323" y="120"/>
                  <a:pt x="1323" y="120"/>
                  <a:pt x="1323" y="120"/>
                </a:cubicBezTo>
                <a:cubicBezTo>
                  <a:pt x="1322" y="119"/>
                  <a:pt x="1322" y="119"/>
                  <a:pt x="1322" y="119"/>
                </a:cubicBezTo>
                <a:cubicBezTo>
                  <a:pt x="1314" y="121"/>
                  <a:pt x="1314" y="121"/>
                  <a:pt x="1314" y="121"/>
                </a:cubicBezTo>
                <a:cubicBezTo>
                  <a:pt x="1313" y="124"/>
                  <a:pt x="1313" y="124"/>
                  <a:pt x="1313" y="124"/>
                </a:cubicBezTo>
                <a:cubicBezTo>
                  <a:pt x="1317" y="125"/>
                  <a:pt x="1317" y="125"/>
                  <a:pt x="1317" y="125"/>
                </a:cubicBezTo>
                <a:cubicBezTo>
                  <a:pt x="1312" y="159"/>
                  <a:pt x="1312" y="159"/>
                  <a:pt x="1312" y="159"/>
                </a:cubicBezTo>
                <a:cubicBezTo>
                  <a:pt x="1319" y="159"/>
                  <a:pt x="1319" y="159"/>
                  <a:pt x="1319" y="159"/>
                </a:cubicBezTo>
                <a:cubicBezTo>
                  <a:pt x="1322" y="134"/>
                  <a:pt x="1322" y="134"/>
                  <a:pt x="1322" y="134"/>
                </a:cubicBezTo>
                <a:cubicBezTo>
                  <a:pt x="1323" y="132"/>
                  <a:pt x="1325" y="130"/>
                  <a:pt x="1327" y="129"/>
                </a:cubicBezTo>
                <a:cubicBezTo>
                  <a:pt x="1329" y="127"/>
                  <a:pt x="1331" y="127"/>
                  <a:pt x="1333" y="127"/>
                </a:cubicBezTo>
                <a:cubicBezTo>
                  <a:pt x="1334" y="127"/>
                  <a:pt x="1335" y="127"/>
                  <a:pt x="1336" y="127"/>
                </a:cubicBezTo>
                <a:cubicBezTo>
                  <a:pt x="1338" y="120"/>
                  <a:pt x="1338" y="120"/>
                  <a:pt x="1338" y="120"/>
                </a:cubicBezTo>
                <a:cubicBezTo>
                  <a:pt x="1337" y="120"/>
                  <a:pt x="1336" y="119"/>
                  <a:pt x="1335" y="119"/>
                </a:cubicBezTo>
                <a:cubicBezTo>
                  <a:pt x="1333" y="119"/>
                  <a:pt x="1331" y="120"/>
                  <a:pt x="1330" y="121"/>
                </a:cubicBezTo>
                <a:cubicBezTo>
                  <a:pt x="1328" y="122"/>
                  <a:pt x="1326" y="123"/>
                  <a:pt x="1325" y="125"/>
                </a:cubicBezTo>
                <a:cubicBezTo>
                  <a:pt x="1324" y="126"/>
                  <a:pt x="1323" y="128"/>
                  <a:pt x="1322" y="129"/>
                </a:cubicBezTo>
                <a:close/>
                <a:moveTo>
                  <a:pt x="1349" y="153"/>
                </a:moveTo>
                <a:cubicBezTo>
                  <a:pt x="1354" y="120"/>
                  <a:pt x="1354" y="120"/>
                  <a:pt x="1354" y="120"/>
                </a:cubicBezTo>
                <a:cubicBezTo>
                  <a:pt x="1352" y="119"/>
                  <a:pt x="1352" y="119"/>
                  <a:pt x="1352" y="119"/>
                </a:cubicBezTo>
                <a:cubicBezTo>
                  <a:pt x="1342" y="121"/>
                  <a:pt x="1342" y="121"/>
                  <a:pt x="1342" y="121"/>
                </a:cubicBezTo>
                <a:cubicBezTo>
                  <a:pt x="1342" y="123"/>
                  <a:pt x="1342" y="123"/>
                  <a:pt x="1342" y="123"/>
                </a:cubicBezTo>
                <a:cubicBezTo>
                  <a:pt x="1346" y="125"/>
                  <a:pt x="1346" y="125"/>
                  <a:pt x="1346" y="125"/>
                </a:cubicBezTo>
                <a:cubicBezTo>
                  <a:pt x="1345" y="132"/>
                  <a:pt x="1345" y="138"/>
                  <a:pt x="1344" y="142"/>
                </a:cubicBezTo>
                <a:cubicBezTo>
                  <a:pt x="1343" y="150"/>
                  <a:pt x="1342" y="154"/>
                  <a:pt x="1342" y="156"/>
                </a:cubicBezTo>
                <a:cubicBezTo>
                  <a:pt x="1342" y="157"/>
                  <a:pt x="1342" y="158"/>
                  <a:pt x="1343" y="159"/>
                </a:cubicBezTo>
                <a:cubicBezTo>
                  <a:pt x="1344" y="160"/>
                  <a:pt x="1345" y="160"/>
                  <a:pt x="1347" y="160"/>
                </a:cubicBezTo>
                <a:cubicBezTo>
                  <a:pt x="1349" y="160"/>
                  <a:pt x="1350" y="159"/>
                  <a:pt x="1352" y="158"/>
                </a:cubicBezTo>
                <a:cubicBezTo>
                  <a:pt x="1353" y="157"/>
                  <a:pt x="1354" y="156"/>
                  <a:pt x="1355" y="155"/>
                </a:cubicBezTo>
                <a:cubicBezTo>
                  <a:pt x="1354" y="154"/>
                  <a:pt x="1354" y="154"/>
                  <a:pt x="1354" y="154"/>
                </a:cubicBezTo>
                <a:cubicBezTo>
                  <a:pt x="1353" y="154"/>
                  <a:pt x="1352" y="155"/>
                  <a:pt x="1352" y="155"/>
                </a:cubicBezTo>
                <a:cubicBezTo>
                  <a:pt x="1351" y="156"/>
                  <a:pt x="1351" y="156"/>
                  <a:pt x="1350" y="156"/>
                </a:cubicBezTo>
                <a:cubicBezTo>
                  <a:pt x="1350" y="156"/>
                  <a:pt x="1350" y="156"/>
                  <a:pt x="1349" y="155"/>
                </a:cubicBezTo>
                <a:cubicBezTo>
                  <a:pt x="1349" y="155"/>
                  <a:pt x="1349" y="155"/>
                  <a:pt x="1349" y="154"/>
                </a:cubicBezTo>
                <a:lnTo>
                  <a:pt x="1349" y="153"/>
                </a:lnTo>
                <a:close/>
                <a:moveTo>
                  <a:pt x="1351" y="112"/>
                </a:moveTo>
                <a:cubicBezTo>
                  <a:pt x="1353" y="112"/>
                  <a:pt x="1354" y="111"/>
                  <a:pt x="1355" y="110"/>
                </a:cubicBezTo>
                <a:cubicBezTo>
                  <a:pt x="1356" y="109"/>
                  <a:pt x="1356" y="108"/>
                  <a:pt x="1356" y="107"/>
                </a:cubicBezTo>
                <a:cubicBezTo>
                  <a:pt x="1356" y="106"/>
                  <a:pt x="1356" y="105"/>
                  <a:pt x="1355" y="104"/>
                </a:cubicBezTo>
                <a:cubicBezTo>
                  <a:pt x="1354" y="103"/>
                  <a:pt x="1353" y="103"/>
                  <a:pt x="1352" y="103"/>
                </a:cubicBezTo>
                <a:cubicBezTo>
                  <a:pt x="1351" y="103"/>
                  <a:pt x="1350" y="103"/>
                  <a:pt x="1349" y="104"/>
                </a:cubicBezTo>
                <a:cubicBezTo>
                  <a:pt x="1348" y="105"/>
                  <a:pt x="1348" y="107"/>
                  <a:pt x="1348" y="108"/>
                </a:cubicBezTo>
                <a:cubicBezTo>
                  <a:pt x="1348" y="109"/>
                  <a:pt x="1348" y="110"/>
                  <a:pt x="1349" y="111"/>
                </a:cubicBezTo>
                <a:cubicBezTo>
                  <a:pt x="1350" y="111"/>
                  <a:pt x="1350" y="112"/>
                  <a:pt x="1351" y="112"/>
                </a:cubicBezTo>
                <a:close/>
                <a:moveTo>
                  <a:pt x="1374" y="129"/>
                </a:moveTo>
                <a:cubicBezTo>
                  <a:pt x="1375" y="120"/>
                  <a:pt x="1375" y="120"/>
                  <a:pt x="1375" y="120"/>
                </a:cubicBezTo>
                <a:cubicBezTo>
                  <a:pt x="1374" y="119"/>
                  <a:pt x="1374" y="119"/>
                  <a:pt x="1374" y="119"/>
                </a:cubicBezTo>
                <a:cubicBezTo>
                  <a:pt x="1365" y="121"/>
                  <a:pt x="1365" y="121"/>
                  <a:pt x="1365" y="121"/>
                </a:cubicBezTo>
                <a:cubicBezTo>
                  <a:pt x="1365" y="124"/>
                  <a:pt x="1365" y="124"/>
                  <a:pt x="1365" y="124"/>
                </a:cubicBezTo>
                <a:cubicBezTo>
                  <a:pt x="1368" y="125"/>
                  <a:pt x="1368" y="125"/>
                  <a:pt x="1368" y="125"/>
                </a:cubicBezTo>
                <a:cubicBezTo>
                  <a:pt x="1364" y="159"/>
                  <a:pt x="1364" y="159"/>
                  <a:pt x="1364" y="159"/>
                </a:cubicBezTo>
                <a:cubicBezTo>
                  <a:pt x="1370" y="159"/>
                  <a:pt x="1370" y="159"/>
                  <a:pt x="1370" y="159"/>
                </a:cubicBezTo>
                <a:cubicBezTo>
                  <a:pt x="1374" y="134"/>
                  <a:pt x="1374" y="134"/>
                  <a:pt x="1374" y="134"/>
                </a:cubicBezTo>
                <a:cubicBezTo>
                  <a:pt x="1375" y="131"/>
                  <a:pt x="1377" y="129"/>
                  <a:pt x="1380" y="127"/>
                </a:cubicBezTo>
                <a:cubicBezTo>
                  <a:pt x="1382" y="125"/>
                  <a:pt x="1384" y="124"/>
                  <a:pt x="1386" y="124"/>
                </a:cubicBezTo>
                <a:cubicBezTo>
                  <a:pt x="1388" y="124"/>
                  <a:pt x="1389" y="125"/>
                  <a:pt x="1389" y="126"/>
                </a:cubicBezTo>
                <a:cubicBezTo>
                  <a:pt x="1390" y="127"/>
                  <a:pt x="1390" y="128"/>
                  <a:pt x="1390" y="130"/>
                </a:cubicBezTo>
                <a:cubicBezTo>
                  <a:pt x="1390" y="132"/>
                  <a:pt x="1390" y="134"/>
                  <a:pt x="1390" y="135"/>
                </a:cubicBezTo>
                <a:cubicBezTo>
                  <a:pt x="1390" y="137"/>
                  <a:pt x="1389" y="140"/>
                  <a:pt x="1389" y="142"/>
                </a:cubicBezTo>
                <a:cubicBezTo>
                  <a:pt x="1388" y="144"/>
                  <a:pt x="1388" y="144"/>
                  <a:pt x="1388" y="144"/>
                </a:cubicBezTo>
                <a:cubicBezTo>
                  <a:pt x="1388" y="147"/>
                  <a:pt x="1388" y="147"/>
                  <a:pt x="1388" y="147"/>
                </a:cubicBezTo>
                <a:cubicBezTo>
                  <a:pt x="1387" y="151"/>
                  <a:pt x="1387" y="154"/>
                  <a:pt x="1387" y="156"/>
                </a:cubicBezTo>
                <a:cubicBezTo>
                  <a:pt x="1387" y="159"/>
                  <a:pt x="1388" y="160"/>
                  <a:pt x="1391" y="160"/>
                </a:cubicBezTo>
                <a:cubicBezTo>
                  <a:pt x="1392" y="160"/>
                  <a:pt x="1394" y="160"/>
                  <a:pt x="1395" y="159"/>
                </a:cubicBezTo>
                <a:cubicBezTo>
                  <a:pt x="1396" y="159"/>
                  <a:pt x="1397" y="158"/>
                  <a:pt x="1397" y="157"/>
                </a:cubicBezTo>
                <a:cubicBezTo>
                  <a:pt x="1398" y="157"/>
                  <a:pt x="1399" y="156"/>
                  <a:pt x="1399" y="156"/>
                </a:cubicBezTo>
                <a:cubicBezTo>
                  <a:pt x="1398" y="154"/>
                  <a:pt x="1398" y="154"/>
                  <a:pt x="1398" y="154"/>
                </a:cubicBezTo>
                <a:cubicBezTo>
                  <a:pt x="1397" y="155"/>
                  <a:pt x="1396" y="156"/>
                  <a:pt x="1395" y="156"/>
                </a:cubicBezTo>
                <a:cubicBezTo>
                  <a:pt x="1394" y="156"/>
                  <a:pt x="1394" y="155"/>
                  <a:pt x="1394" y="154"/>
                </a:cubicBezTo>
                <a:cubicBezTo>
                  <a:pt x="1394" y="152"/>
                  <a:pt x="1394" y="149"/>
                  <a:pt x="1395" y="145"/>
                </a:cubicBezTo>
                <a:cubicBezTo>
                  <a:pt x="1395" y="142"/>
                  <a:pt x="1395" y="142"/>
                  <a:pt x="1395" y="142"/>
                </a:cubicBezTo>
                <a:cubicBezTo>
                  <a:pt x="1396" y="140"/>
                  <a:pt x="1396" y="140"/>
                  <a:pt x="1396" y="140"/>
                </a:cubicBezTo>
                <a:cubicBezTo>
                  <a:pt x="1397" y="135"/>
                  <a:pt x="1397" y="132"/>
                  <a:pt x="1397" y="130"/>
                </a:cubicBezTo>
                <a:cubicBezTo>
                  <a:pt x="1397" y="126"/>
                  <a:pt x="1397" y="123"/>
                  <a:pt x="1395" y="122"/>
                </a:cubicBezTo>
                <a:cubicBezTo>
                  <a:pt x="1394" y="120"/>
                  <a:pt x="1392" y="119"/>
                  <a:pt x="1389" y="119"/>
                </a:cubicBezTo>
                <a:cubicBezTo>
                  <a:pt x="1386" y="119"/>
                  <a:pt x="1384" y="120"/>
                  <a:pt x="1381" y="122"/>
                </a:cubicBezTo>
                <a:cubicBezTo>
                  <a:pt x="1379" y="124"/>
                  <a:pt x="1376" y="126"/>
                  <a:pt x="1374" y="129"/>
                </a:cubicBezTo>
                <a:close/>
                <a:moveTo>
                  <a:pt x="1433" y="162"/>
                </a:moveTo>
                <a:cubicBezTo>
                  <a:pt x="1440" y="119"/>
                  <a:pt x="1440" y="119"/>
                  <a:pt x="1440" y="119"/>
                </a:cubicBezTo>
                <a:cubicBezTo>
                  <a:pt x="1435" y="121"/>
                  <a:pt x="1435" y="121"/>
                  <a:pt x="1435" y="121"/>
                </a:cubicBezTo>
                <a:cubicBezTo>
                  <a:pt x="1434" y="121"/>
                  <a:pt x="1433" y="120"/>
                  <a:pt x="1432" y="120"/>
                </a:cubicBezTo>
                <a:cubicBezTo>
                  <a:pt x="1430" y="120"/>
                  <a:pt x="1429" y="119"/>
                  <a:pt x="1428" y="119"/>
                </a:cubicBezTo>
                <a:cubicBezTo>
                  <a:pt x="1423" y="119"/>
                  <a:pt x="1419" y="121"/>
                  <a:pt x="1416" y="123"/>
                </a:cubicBezTo>
                <a:cubicBezTo>
                  <a:pt x="1412" y="126"/>
                  <a:pt x="1410" y="129"/>
                  <a:pt x="1408" y="133"/>
                </a:cubicBezTo>
                <a:cubicBezTo>
                  <a:pt x="1406" y="137"/>
                  <a:pt x="1405" y="141"/>
                  <a:pt x="1405" y="145"/>
                </a:cubicBezTo>
                <a:cubicBezTo>
                  <a:pt x="1405" y="150"/>
                  <a:pt x="1406" y="153"/>
                  <a:pt x="1408" y="156"/>
                </a:cubicBezTo>
                <a:cubicBezTo>
                  <a:pt x="1410" y="159"/>
                  <a:pt x="1413" y="160"/>
                  <a:pt x="1417" y="160"/>
                </a:cubicBezTo>
                <a:cubicBezTo>
                  <a:pt x="1419" y="160"/>
                  <a:pt x="1421" y="159"/>
                  <a:pt x="1423" y="158"/>
                </a:cubicBezTo>
                <a:cubicBezTo>
                  <a:pt x="1425" y="157"/>
                  <a:pt x="1426" y="156"/>
                  <a:pt x="1428" y="155"/>
                </a:cubicBezTo>
                <a:cubicBezTo>
                  <a:pt x="1426" y="164"/>
                  <a:pt x="1426" y="164"/>
                  <a:pt x="1426" y="164"/>
                </a:cubicBezTo>
                <a:cubicBezTo>
                  <a:pt x="1426" y="167"/>
                  <a:pt x="1425" y="169"/>
                  <a:pt x="1424" y="170"/>
                </a:cubicBezTo>
                <a:cubicBezTo>
                  <a:pt x="1422" y="172"/>
                  <a:pt x="1420" y="172"/>
                  <a:pt x="1417" y="172"/>
                </a:cubicBezTo>
                <a:cubicBezTo>
                  <a:pt x="1415" y="172"/>
                  <a:pt x="1414" y="172"/>
                  <a:pt x="1412" y="171"/>
                </a:cubicBezTo>
                <a:cubicBezTo>
                  <a:pt x="1410" y="171"/>
                  <a:pt x="1409" y="170"/>
                  <a:pt x="1408" y="170"/>
                </a:cubicBezTo>
                <a:cubicBezTo>
                  <a:pt x="1406" y="175"/>
                  <a:pt x="1406" y="175"/>
                  <a:pt x="1406" y="175"/>
                </a:cubicBezTo>
                <a:cubicBezTo>
                  <a:pt x="1407" y="176"/>
                  <a:pt x="1408" y="176"/>
                  <a:pt x="1410" y="176"/>
                </a:cubicBezTo>
                <a:cubicBezTo>
                  <a:pt x="1411" y="177"/>
                  <a:pt x="1413" y="177"/>
                  <a:pt x="1414" y="177"/>
                </a:cubicBezTo>
                <a:cubicBezTo>
                  <a:pt x="1417" y="177"/>
                  <a:pt x="1420" y="176"/>
                  <a:pt x="1423" y="175"/>
                </a:cubicBezTo>
                <a:cubicBezTo>
                  <a:pt x="1425" y="174"/>
                  <a:pt x="1428" y="173"/>
                  <a:pt x="1430" y="170"/>
                </a:cubicBezTo>
                <a:cubicBezTo>
                  <a:pt x="1432" y="168"/>
                  <a:pt x="1433" y="165"/>
                  <a:pt x="1433" y="162"/>
                </a:cubicBezTo>
                <a:close/>
                <a:moveTo>
                  <a:pt x="1432" y="125"/>
                </a:moveTo>
                <a:cubicBezTo>
                  <a:pt x="1428" y="150"/>
                  <a:pt x="1428" y="150"/>
                  <a:pt x="1428" y="150"/>
                </a:cubicBezTo>
                <a:cubicBezTo>
                  <a:pt x="1427" y="151"/>
                  <a:pt x="1426" y="153"/>
                  <a:pt x="1424" y="154"/>
                </a:cubicBezTo>
                <a:cubicBezTo>
                  <a:pt x="1423" y="155"/>
                  <a:pt x="1421" y="155"/>
                  <a:pt x="1419" y="155"/>
                </a:cubicBezTo>
                <a:cubicBezTo>
                  <a:pt x="1417" y="155"/>
                  <a:pt x="1415" y="155"/>
                  <a:pt x="1414" y="153"/>
                </a:cubicBezTo>
                <a:cubicBezTo>
                  <a:pt x="1413" y="151"/>
                  <a:pt x="1412" y="148"/>
                  <a:pt x="1412" y="145"/>
                </a:cubicBezTo>
                <a:cubicBezTo>
                  <a:pt x="1412" y="142"/>
                  <a:pt x="1413" y="138"/>
                  <a:pt x="1414" y="135"/>
                </a:cubicBezTo>
                <a:cubicBezTo>
                  <a:pt x="1415" y="132"/>
                  <a:pt x="1417" y="129"/>
                  <a:pt x="1419" y="127"/>
                </a:cubicBezTo>
                <a:cubicBezTo>
                  <a:pt x="1421" y="124"/>
                  <a:pt x="1424" y="123"/>
                  <a:pt x="1427" y="123"/>
                </a:cubicBezTo>
                <a:cubicBezTo>
                  <a:pt x="1429" y="123"/>
                  <a:pt x="1431" y="124"/>
                  <a:pt x="1432" y="125"/>
                </a:cubicBezTo>
                <a:close/>
                <a:moveTo>
                  <a:pt x="1076" y="242"/>
                </a:moveTo>
                <a:cubicBezTo>
                  <a:pt x="1072" y="249"/>
                  <a:pt x="1072" y="249"/>
                  <a:pt x="1072" y="249"/>
                </a:cubicBezTo>
                <a:cubicBezTo>
                  <a:pt x="1072" y="242"/>
                  <a:pt x="1072" y="242"/>
                  <a:pt x="1072" y="242"/>
                </a:cubicBezTo>
                <a:cubicBezTo>
                  <a:pt x="1066" y="208"/>
                  <a:pt x="1066" y="208"/>
                  <a:pt x="1066" y="208"/>
                </a:cubicBezTo>
                <a:cubicBezTo>
                  <a:pt x="1050" y="208"/>
                  <a:pt x="1050" y="208"/>
                  <a:pt x="1050" y="208"/>
                </a:cubicBezTo>
                <a:cubicBezTo>
                  <a:pt x="1049" y="211"/>
                  <a:pt x="1049" y="211"/>
                  <a:pt x="1049" y="211"/>
                </a:cubicBezTo>
                <a:cubicBezTo>
                  <a:pt x="1056" y="212"/>
                  <a:pt x="1056" y="212"/>
                  <a:pt x="1056" y="212"/>
                </a:cubicBezTo>
                <a:cubicBezTo>
                  <a:pt x="1045" y="256"/>
                  <a:pt x="1045" y="256"/>
                  <a:pt x="1045" y="256"/>
                </a:cubicBezTo>
                <a:cubicBezTo>
                  <a:pt x="1039" y="257"/>
                  <a:pt x="1039" y="257"/>
                  <a:pt x="1039" y="257"/>
                </a:cubicBezTo>
                <a:cubicBezTo>
                  <a:pt x="1039" y="260"/>
                  <a:pt x="1039" y="260"/>
                  <a:pt x="1039" y="260"/>
                </a:cubicBezTo>
                <a:cubicBezTo>
                  <a:pt x="1057" y="260"/>
                  <a:pt x="1057" y="260"/>
                  <a:pt x="1057" y="260"/>
                </a:cubicBezTo>
                <a:cubicBezTo>
                  <a:pt x="1057" y="257"/>
                  <a:pt x="1057" y="257"/>
                  <a:pt x="1057" y="257"/>
                </a:cubicBezTo>
                <a:cubicBezTo>
                  <a:pt x="1050" y="256"/>
                  <a:pt x="1050" y="256"/>
                  <a:pt x="1050" y="256"/>
                </a:cubicBezTo>
                <a:cubicBezTo>
                  <a:pt x="1057" y="225"/>
                  <a:pt x="1057" y="225"/>
                  <a:pt x="1057" y="225"/>
                </a:cubicBezTo>
                <a:cubicBezTo>
                  <a:pt x="1060" y="211"/>
                  <a:pt x="1060" y="211"/>
                  <a:pt x="1060" y="211"/>
                </a:cubicBezTo>
                <a:cubicBezTo>
                  <a:pt x="1062" y="225"/>
                  <a:pt x="1062" y="225"/>
                  <a:pt x="1062" y="225"/>
                </a:cubicBezTo>
                <a:cubicBezTo>
                  <a:pt x="1068" y="261"/>
                  <a:pt x="1068" y="261"/>
                  <a:pt x="1068" y="261"/>
                </a:cubicBezTo>
                <a:cubicBezTo>
                  <a:pt x="1072" y="260"/>
                  <a:pt x="1072" y="260"/>
                  <a:pt x="1072" y="260"/>
                </a:cubicBezTo>
                <a:cubicBezTo>
                  <a:pt x="1088" y="224"/>
                  <a:pt x="1088" y="224"/>
                  <a:pt x="1088" y="224"/>
                </a:cubicBezTo>
                <a:cubicBezTo>
                  <a:pt x="1094" y="211"/>
                  <a:pt x="1094" y="211"/>
                  <a:pt x="1094" y="211"/>
                </a:cubicBezTo>
                <a:cubicBezTo>
                  <a:pt x="1093" y="225"/>
                  <a:pt x="1093" y="225"/>
                  <a:pt x="1093" y="225"/>
                </a:cubicBezTo>
                <a:cubicBezTo>
                  <a:pt x="1091" y="256"/>
                  <a:pt x="1091" y="256"/>
                  <a:pt x="1091" y="256"/>
                </a:cubicBezTo>
                <a:cubicBezTo>
                  <a:pt x="1085" y="257"/>
                  <a:pt x="1085" y="257"/>
                  <a:pt x="1085" y="257"/>
                </a:cubicBezTo>
                <a:cubicBezTo>
                  <a:pt x="1084" y="260"/>
                  <a:pt x="1084" y="260"/>
                  <a:pt x="1084" y="260"/>
                </a:cubicBezTo>
                <a:cubicBezTo>
                  <a:pt x="1104" y="260"/>
                  <a:pt x="1104" y="260"/>
                  <a:pt x="1104" y="260"/>
                </a:cubicBezTo>
                <a:cubicBezTo>
                  <a:pt x="1104" y="257"/>
                  <a:pt x="1104" y="257"/>
                  <a:pt x="1104" y="257"/>
                </a:cubicBezTo>
                <a:cubicBezTo>
                  <a:pt x="1098" y="256"/>
                  <a:pt x="1098" y="256"/>
                  <a:pt x="1098" y="256"/>
                </a:cubicBezTo>
                <a:cubicBezTo>
                  <a:pt x="1099" y="212"/>
                  <a:pt x="1099" y="212"/>
                  <a:pt x="1099" y="212"/>
                </a:cubicBezTo>
                <a:cubicBezTo>
                  <a:pt x="1106" y="211"/>
                  <a:pt x="1106" y="211"/>
                  <a:pt x="1106" y="211"/>
                </a:cubicBezTo>
                <a:cubicBezTo>
                  <a:pt x="1106" y="208"/>
                  <a:pt x="1106" y="208"/>
                  <a:pt x="1106" y="208"/>
                </a:cubicBezTo>
                <a:cubicBezTo>
                  <a:pt x="1091" y="208"/>
                  <a:pt x="1091" y="208"/>
                  <a:pt x="1091" y="208"/>
                </a:cubicBezTo>
                <a:cubicBezTo>
                  <a:pt x="1090" y="211"/>
                  <a:pt x="1087" y="217"/>
                  <a:pt x="1083" y="225"/>
                </a:cubicBezTo>
                <a:cubicBezTo>
                  <a:pt x="1079" y="233"/>
                  <a:pt x="1077" y="239"/>
                  <a:pt x="1076" y="242"/>
                </a:cubicBezTo>
                <a:close/>
                <a:moveTo>
                  <a:pt x="1138" y="253"/>
                </a:moveTo>
                <a:cubicBezTo>
                  <a:pt x="1136" y="251"/>
                  <a:pt x="1136" y="251"/>
                  <a:pt x="1136" y="251"/>
                </a:cubicBezTo>
                <a:cubicBezTo>
                  <a:pt x="1134" y="253"/>
                  <a:pt x="1133" y="254"/>
                  <a:pt x="1131" y="255"/>
                </a:cubicBezTo>
                <a:cubicBezTo>
                  <a:pt x="1129" y="256"/>
                  <a:pt x="1126" y="256"/>
                  <a:pt x="1124" y="256"/>
                </a:cubicBezTo>
                <a:cubicBezTo>
                  <a:pt x="1121" y="256"/>
                  <a:pt x="1119" y="255"/>
                  <a:pt x="1118" y="253"/>
                </a:cubicBezTo>
                <a:cubicBezTo>
                  <a:pt x="1117" y="250"/>
                  <a:pt x="1116" y="247"/>
                  <a:pt x="1116" y="244"/>
                </a:cubicBezTo>
                <a:cubicBezTo>
                  <a:pt x="1119" y="244"/>
                  <a:pt x="1123" y="244"/>
                  <a:pt x="1126" y="242"/>
                </a:cubicBezTo>
                <a:cubicBezTo>
                  <a:pt x="1130" y="241"/>
                  <a:pt x="1133" y="240"/>
                  <a:pt x="1136" y="237"/>
                </a:cubicBezTo>
                <a:cubicBezTo>
                  <a:pt x="1138" y="235"/>
                  <a:pt x="1140" y="232"/>
                  <a:pt x="1140" y="229"/>
                </a:cubicBezTo>
                <a:cubicBezTo>
                  <a:pt x="1140" y="226"/>
                  <a:pt x="1139" y="224"/>
                  <a:pt x="1137" y="223"/>
                </a:cubicBezTo>
                <a:cubicBezTo>
                  <a:pt x="1135" y="221"/>
                  <a:pt x="1133" y="220"/>
                  <a:pt x="1130" y="220"/>
                </a:cubicBezTo>
                <a:cubicBezTo>
                  <a:pt x="1126" y="220"/>
                  <a:pt x="1122" y="221"/>
                  <a:pt x="1119" y="224"/>
                </a:cubicBezTo>
                <a:cubicBezTo>
                  <a:pt x="1116" y="226"/>
                  <a:pt x="1114" y="229"/>
                  <a:pt x="1112" y="233"/>
                </a:cubicBezTo>
                <a:cubicBezTo>
                  <a:pt x="1110" y="237"/>
                  <a:pt x="1109" y="241"/>
                  <a:pt x="1109" y="246"/>
                </a:cubicBezTo>
                <a:cubicBezTo>
                  <a:pt x="1109" y="248"/>
                  <a:pt x="1110" y="251"/>
                  <a:pt x="1111" y="253"/>
                </a:cubicBezTo>
                <a:cubicBezTo>
                  <a:pt x="1111" y="255"/>
                  <a:pt x="1113" y="257"/>
                  <a:pt x="1115" y="259"/>
                </a:cubicBezTo>
                <a:cubicBezTo>
                  <a:pt x="1117" y="260"/>
                  <a:pt x="1120" y="261"/>
                  <a:pt x="1123" y="261"/>
                </a:cubicBezTo>
                <a:cubicBezTo>
                  <a:pt x="1126" y="261"/>
                  <a:pt x="1129" y="260"/>
                  <a:pt x="1132" y="258"/>
                </a:cubicBezTo>
                <a:cubicBezTo>
                  <a:pt x="1135" y="257"/>
                  <a:pt x="1136" y="255"/>
                  <a:pt x="1138" y="253"/>
                </a:cubicBezTo>
                <a:close/>
                <a:moveTo>
                  <a:pt x="1128" y="224"/>
                </a:moveTo>
                <a:cubicBezTo>
                  <a:pt x="1130" y="224"/>
                  <a:pt x="1131" y="224"/>
                  <a:pt x="1132" y="225"/>
                </a:cubicBezTo>
                <a:cubicBezTo>
                  <a:pt x="1132" y="226"/>
                  <a:pt x="1133" y="228"/>
                  <a:pt x="1133" y="229"/>
                </a:cubicBezTo>
                <a:cubicBezTo>
                  <a:pt x="1133" y="232"/>
                  <a:pt x="1132" y="234"/>
                  <a:pt x="1130" y="235"/>
                </a:cubicBezTo>
                <a:cubicBezTo>
                  <a:pt x="1129" y="237"/>
                  <a:pt x="1126" y="238"/>
                  <a:pt x="1124" y="239"/>
                </a:cubicBezTo>
                <a:cubicBezTo>
                  <a:pt x="1121" y="240"/>
                  <a:pt x="1119" y="241"/>
                  <a:pt x="1116" y="241"/>
                </a:cubicBezTo>
                <a:cubicBezTo>
                  <a:pt x="1117" y="238"/>
                  <a:pt x="1117" y="236"/>
                  <a:pt x="1118" y="233"/>
                </a:cubicBezTo>
                <a:cubicBezTo>
                  <a:pt x="1119" y="230"/>
                  <a:pt x="1121" y="228"/>
                  <a:pt x="1122" y="226"/>
                </a:cubicBezTo>
                <a:cubicBezTo>
                  <a:pt x="1124" y="225"/>
                  <a:pt x="1126" y="224"/>
                  <a:pt x="1128" y="224"/>
                </a:cubicBezTo>
                <a:close/>
                <a:moveTo>
                  <a:pt x="1175" y="254"/>
                </a:moveTo>
                <a:cubicBezTo>
                  <a:pt x="1182" y="204"/>
                  <a:pt x="1182" y="204"/>
                  <a:pt x="1182" y="204"/>
                </a:cubicBezTo>
                <a:cubicBezTo>
                  <a:pt x="1181" y="204"/>
                  <a:pt x="1181" y="204"/>
                  <a:pt x="1181" y="204"/>
                </a:cubicBezTo>
                <a:cubicBezTo>
                  <a:pt x="1171" y="205"/>
                  <a:pt x="1171" y="205"/>
                  <a:pt x="1171" y="205"/>
                </a:cubicBezTo>
                <a:cubicBezTo>
                  <a:pt x="1170" y="207"/>
                  <a:pt x="1170" y="207"/>
                  <a:pt x="1170" y="207"/>
                </a:cubicBezTo>
                <a:cubicBezTo>
                  <a:pt x="1175" y="208"/>
                  <a:pt x="1175" y="208"/>
                  <a:pt x="1175" y="208"/>
                </a:cubicBezTo>
                <a:cubicBezTo>
                  <a:pt x="1173" y="221"/>
                  <a:pt x="1173" y="221"/>
                  <a:pt x="1173" y="221"/>
                </a:cubicBezTo>
                <a:cubicBezTo>
                  <a:pt x="1171" y="220"/>
                  <a:pt x="1169" y="220"/>
                  <a:pt x="1168" y="220"/>
                </a:cubicBezTo>
                <a:cubicBezTo>
                  <a:pt x="1163" y="220"/>
                  <a:pt x="1159" y="222"/>
                  <a:pt x="1156" y="224"/>
                </a:cubicBezTo>
                <a:cubicBezTo>
                  <a:pt x="1152" y="227"/>
                  <a:pt x="1150" y="230"/>
                  <a:pt x="1148" y="234"/>
                </a:cubicBezTo>
                <a:cubicBezTo>
                  <a:pt x="1146" y="238"/>
                  <a:pt x="1145" y="242"/>
                  <a:pt x="1145" y="246"/>
                </a:cubicBezTo>
                <a:cubicBezTo>
                  <a:pt x="1145" y="250"/>
                  <a:pt x="1146" y="254"/>
                  <a:pt x="1148" y="257"/>
                </a:cubicBezTo>
                <a:cubicBezTo>
                  <a:pt x="1150" y="259"/>
                  <a:pt x="1153" y="261"/>
                  <a:pt x="1157" y="261"/>
                </a:cubicBezTo>
                <a:cubicBezTo>
                  <a:pt x="1159" y="261"/>
                  <a:pt x="1162" y="260"/>
                  <a:pt x="1163" y="259"/>
                </a:cubicBezTo>
                <a:cubicBezTo>
                  <a:pt x="1165" y="258"/>
                  <a:pt x="1167" y="256"/>
                  <a:pt x="1168" y="255"/>
                </a:cubicBezTo>
                <a:cubicBezTo>
                  <a:pt x="1168" y="256"/>
                  <a:pt x="1168" y="256"/>
                  <a:pt x="1168" y="256"/>
                </a:cubicBezTo>
                <a:cubicBezTo>
                  <a:pt x="1168" y="259"/>
                  <a:pt x="1170" y="261"/>
                  <a:pt x="1173" y="261"/>
                </a:cubicBezTo>
                <a:cubicBezTo>
                  <a:pt x="1174" y="261"/>
                  <a:pt x="1176" y="260"/>
                  <a:pt x="1177" y="259"/>
                </a:cubicBezTo>
                <a:cubicBezTo>
                  <a:pt x="1178" y="258"/>
                  <a:pt x="1179" y="257"/>
                  <a:pt x="1180" y="256"/>
                </a:cubicBezTo>
                <a:cubicBezTo>
                  <a:pt x="1179" y="255"/>
                  <a:pt x="1179" y="255"/>
                  <a:pt x="1179" y="255"/>
                </a:cubicBezTo>
                <a:cubicBezTo>
                  <a:pt x="1178" y="256"/>
                  <a:pt x="1177" y="256"/>
                  <a:pt x="1176" y="256"/>
                </a:cubicBezTo>
                <a:cubicBezTo>
                  <a:pt x="1175" y="256"/>
                  <a:pt x="1175" y="256"/>
                  <a:pt x="1175" y="255"/>
                </a:cubicBezTo>
                <a:cubicBezTo>
                  <a:pt x="1175" y="254"/>
                  <a:pt x="1175" y="254"/>
                  <a:pt x="1175" y="254"/>
                </a:cubicBezTo>
                <a:close/>
                <a:moveTo>
                  <a:pt x="1172" y="225"/>
                </a:moveTo>
                <a:cubicBezTo>
                  <a:pt x="1169" y="250"/>
                  <a:pt x="1169" y="250"/>
                  <a:pt x="1169" y="250"/>
                </a:cubicBezTo>
                <a:cubicBezTo>
                  <a:pt x="1168" y="252"/>
                  <a:pt x="1166" y="253"/>
                  <a:pt x="1164" y="254"/>
                </a:cubicBezTo>
                <a:cubicBezTo>
                  <a:pt x="1163" y="256"/>
                  <a:pt x="1161" y="256"/>
                  <a:pt x="1159" y="256"/>
                </a:cubicBezTo>
                <a:cubicBezTo>
                  <a:pt x="1157" y="256"/>
                  <a:pt x="1155" y="255"/>
                  <a:pt x="1154" y="253"/>
                </a:cubicBezTo>
                <a:cubicBezTo>
                  <a:pt x="1153" y="252"/>
                  <a:pt x="1153" y="249"/>
                  <a:pt x="1153" y="246"/>
                </a:cubicBezTo>
                <a:cubicBezTo>
                  <a:pt x="1153" y="242"/>
                  <a:pt x="1153" y="239"/>
                  <a:pt x="1154" y="236"/>
                </a:cubicBezTo>
                <a:cubicBezTo>
                  <a:pt x="1155" y="232"/>
                  <a:pt x="1157" y="230"/>
                  <a:pt x="1159" y="227"/>
                </a:cubicBezTo>
                <a:cubicBezTo>
                  <a:pt x="1161" y="225"/>
                  <a:pt x="1164" y="224"/>
                  <a:pt x="1167" y="224"/>
                </a:cubicBezTo>
                <a:cubicBezTo>
                  <a:pt x="1169" y="224"/>
                  <a:pt x="1171" y="224"/>
                  <a:pt x="1172" y="225"/>
                </a:cubicBezTo>
                <a:close/>
                <a:moveTo>
                  <a:pt x="1198" y="254"/>
                </a:moveTo>
                <a:cubicBezTo>
                  <a:pt x="1202" y="221"/>
                  <a:pt x="1202" y="221"/>
                  <a:pt x="1202" y="221"/>
                </a:cubicBezTo>
                <a:cubicBezTo>
                  <a:pt x="1201" y="220"/>
                  <a:pt x="1201" y="220"/>
                  <a:pt x="1201" y="220"/>
                </a:cubicBezTo>
                <a:cubicBezTo>
                  <a:pt x="1191" y="222"/>
                  <a:pt x="1191" y="222"/>
                  <a:pt x="1191" y="222"/>
                </a:cubicBezTo>
                <a:cubicBezTo>
                  <a:pt x="1190" y="224"/>
                  <a:pt x="1190" y="224"/>
                  <a:pt x="1190" y="224"/>
                </a:cubicBezTo>
                <a:cubicBezTo>
                  <a:pt x="1195" y="226"/>
                  <a:pt x="1195" y="226"/>
                  <a:pt x="1195" y="226"/>
                </a:cubicBezTo>
                <a:cubicBezTo>
                  <a:pt x="1194" y="233"/>
                  <a:pt x="1193" y="239"/>
                  <a:pt x="1192" y="243"/>
                </a:cubicBezTo>
                <a:cubicBezTo>
                  <a:pt x="1191" y="251"/>
                  <a:pt x="1191" y="255"/>
                  <a:pt x="1191" y="256"/>
                </a:cubicBezTo>
                <a:cubicBezTo>
                  <a:pt x="1190" y="258"/>
                  <a:pt x="1191" y="259"/>
                  <a:pt x="1192" y="260"/>
                </a:cubicBezTo>
                <a:cubicBezTo>
                  <a:pt x="1192" y="260"/>
                  <a:pt x="1194" y="261"/>
                  <a:pt x="1195" y="261"/>
                </a:cubicBezTo>
                <a:cubicBezTo>
                  <a:pt x="1197" y="261"/>
                  <a:pt x="1199" y="260"/>
                  <a:pt x="1200" y="259"/>
                </a:cubicBezTo>
                <a:cubicBezTo>
                  <a:pt x="1202" y="258"/>
                  <a:pt x="1203" y="257"/>
                  <a:pt x="1203" y="256"/>
                </a:cubicBezTo>
                <a:cubicBezTo>
                  <a:pt x="1202" y="254"/>
                  <a:pt x="1202" y="254"/>
                  <a:pt x="1202" y="254"/>
                </a:cubicBezTo>
                <a:cubicBezTo>
                  <a:pt x="1202" y="255"/>
                  <a:pt x="1201" y="256"/>
                  <a:pt x="1200" y="256"/>
                </a:cubicBezTo>
                <a:cubicBezTo>
                  <a:pt x="1200" y="256"/>
                  <a:pt x="1199" y="256"/>
                  <a:pt x="1199" y="256"/>
                </a:cubicBezTo>
                <a:cubicBezTo>
                  <a:pt x="1198" y="256"/>
                  <a:pt x="1198" y="256"/>
                  <a:pt x="1198" y="256"/>
                </a:cubicBezTo>
                <a:cubicBezTo>
                  <a:pt x="1198" y="256"/>
                  <a:pt x="1198" y="255"/>
                  <a:pt x="1198" y="255"/>
                </a:cubicBezTo>
                <a:lnTo>
                  <a:pt x="1198" y="254"/>
                </a:lnTo>
                <a:close/>
                <a:moveTo>
                  <a:pt x="1200" y="213"/>
                </a:moveTo>
                <a:cubicBezTo>
                  <a:pt x="1201" y="213"/>
                  <a:pt x="1202" y="212"/>
                  <a:pt x="1203" y="211"/>
                </a:cubicBezTo>
                <a:cubicBezTo>
                  <a:pt x="1204" y="210"/>
                  <a:pt x="1205" y="209"/>
                  <a:pt x="1205" y="207"/>
                </a:cubicBezTo>
                <a:cubicBezTo>
                  <a:pt x="1205" y="206"/>
                  <a:pt x="1204" y="206"/>
                  <a:pt x="1204" y="205"/>
                </a:cubicBezTo>
                <a:cubicBezTo>
                  <a:pt x="1203" y="204"/>
                  <a:pt x="1202" y="204"/>
                  <a:pt x="1201" y="204"/>
                </a:cubicBezTo>
                <a:cubicBezTo>
                  <a:pt x="1200" y="204"/>
                  <a:pt x="1198" y="204"/>
                  <a:pt x="1198" y="205"/>
                </a:cubicBezTo>
                <a:cubicBezTo>
                  <a:pt x="1197" y="206"/>
                  <a:pt x="1196" y="207"/>
                  <a:pt x="1196" y="209"/>
                </a:cubicBezTo>
                <a:cubicBezTo>
                  <a:pt x="1196" y="210"/>
                  <a:pt x="1197" y="211"/>
                  <a:pt x="1197" y="212"/>
                </a:cubicBezTo>
                <a:cubicBezTo>
                  <a:pt x="1198" y="212"/>
                  <a:pt x="1199" y="213"/>
                  <a:pt x="1200" y="213"/>
                </a:cubicBezTo>
                <a:close/>
                <a:moveTo>
                  <a:pt x="1237" y="228"/>
                </a:moveTo>
                <a:cubicBezTo>
                  <a:pt x="1238" y="229"/>
                  <a:pt x="1238" y="229"/>
                  <a:pt x="1238" y="229"/>
                </a:cubicBezTo>
                <a:cubicBezTo>
                  <a:pt x="1240" y="222"/>
                  <a:pt x="1240" y="222"/>
                  <a:pt x="1240" y="222"/>
                </a:cubicBezTo>
                <a:cubicBezTo>
                  <a:pt x="1239" y="221"/>
                  <a:pt x="1238" y="221"/>
                  <a:pt x="1237" y="221"/>
                </a:cubicBezTo>
                <a:cubicBezTo>
                  <a:pt x="1235" y="220"/>
                  <a:pt x="1234" y="220"/>
                  <a:pt x="1232" y="220"/>
                </a:cubicBezTo>
                <a:cubicBezTo>
                  <a:pt x="1228" y="220"/>
                  <a:pt x="1224" y="221"/>
                  <a:pt x="1221" y="224"/>
                </a:cubicBezTo>
                <a:cubicBezTo>
                  <a:pt x="1218" y="227"/>
                  <a:pt x="1216" y="230"/>
                  <a:pt x="1214" y="234"/>
                </a:cubicBezTo>
                <a:cubicBezTo>
                  <a:pt x="1213" y="237"/>
                  <a:pt x="1212" y="241"/>
                  <a:pt x="1212" y="245"/>
                </a:cubicBezTo>
                <a:cubicBezTo>
                  <a:pt x="1212" y="250"/>
                  <a:pt x="1213" y="254"/>
                  <a:pt x="1215" y="257"/>
                </a:cubicBezTo>
                <a:cubicBezTo>
                  <a:pt x="1217" y="259"/>
                  <a:pt x="1220" y="261"/>
                  <a:pt x="1224" y="261"/>
                </a:cubicBezTo>
                <a:cubicBezTo>
                  <a:pt x="1227" y="261"/>
                  <a:pt x="1230" y="260"/>
                  <a:pt x="1232" y="259"/>
                </a:cubicBezTo>
                <a:cubicBezTo>
                  <a:pt x="1235" y="257"/>
                  <a:pt x="1236" y="256"/>
                  <a:pt x="1238" y="254"/>
                </a:cubicBezTo>
                <a:cubicBezTo>
                  <a:pt x="1236" y="252"/>
                  <a:pt x="1236" y="252"/>
                  <a:pt x="1236" y="252"/>
                </a:cubicBezTo>
                <a:cubicBezTo>
                  <a:pt x="1235" y="253"/>
                  <a:pt x="1233" y="254"/>
                  <a:pt x="1232" y="255"/>
                </a:cubicBezTo>
                <a:cubicBezTo>
                  <a:pt x="1230" y="256"/>
                  <a:pt x="1229" y="256"/>
                  <a:pt x="1227" y="256"/>
                </a:cubicBezTo>
                <a:cubicBezTo>
                  <a:pt x="1224" y="256"/>
                  <a:pt x="1222" y="255"/>
                  <a:pt x="1221" y="253"/>
                </a:cubicBezTo>
                <a:cubicBezTo>
                  <a:pt x="1220" y="251"/>
                  <a:pt x="1219" y="248"/>
                  <a:pt x="1219" y="244"/>
                </a:cubicBezTo>
                <a:cubicBezTo>
                  <a:pt x="1219" y="240"/>
                  <a:pt x="1219" y="237"/>
                  <a:pt x="1221" y="234"/>
                </a:cubicBezTo>
                <a:cubicBezTo>
                  <a:pt x="1222" y="231"/>
                  <a:pt x="1223" y="229"/>
                  <a:pt x="1225" y="227"/>
                </a:cubicBezTo>
                <a:cubicBezTo>
                  <a:pt x="1227" y="225"/>
                  <a:pt x="1229" y="225"/>
                  <a:pt x="1231" y="225"/>
                </a:cubicBezTo>
                <a:cubicBezTo>
                  <a:pt x="1232" y="225"/>
                  <a:pt x="1235" y="226"/>
                  <a:pt x="1237" y="228"/>
                </a:cubicBezTo>
                <a:close/>
                <a:moveTo>
                  <a:pt x="1255" y="254"/>
                </a:moveTo>
                <a:cubicBezTo>
                  <a:pt x="1260" y="221"/>
                  <a:pt x="1260" y="221"/>
                  <a:pt x="1260" y="221"/>
                </a:cubicBezTo>
                <a:cubicBezTo>
                  <a:pt x="1259" y="220"/>
                  <a:pt x="1259" y="220"/>
                  <a:pt x="1259" y="220"/>
                </a:cubicBezTo>
                <a:cubicBezTo>
                  <a:pt x="1249" y="222"/>
                  <a:pt x="1249" y="222"/>
                  <a:pt x="1249" y="222"/>
                </a:cubicBezTo>
                <a:cubicBezTo>
                  <a:pt x="1248" y="224"/>
                  <a:pt x="1248" y="224"/>
                  <a:pt x="1248" y="224"/>
                </a:cubicBezTo>
                <a:cubicBezTo>
                  <a:pt x="1253" y="226"/>
                  <a:pt x="1253" y="226"/>
                  <a:pt x="1253" y="226"/>
                </a:cubicBezTo>
                <a:cubicBezTo>
                  <a:pt x="1252" y="233"/>
                  <a:pt x="1251" y="239"/>
                  <a:pt x="1250" y="243"/>
                </a:cubicBezTo>
                <a:cubicBezTo>
                  <a:pt x="1249" y="251"/>
                  <a:pt x="1248" y="255"/>
                  <a:pt x="1248" y="256"/>
                </a:cubicBezTo>
                <a:cubicBezTo>
                  <a:pt x="1248" y="258"/>
                  <a:pt x="1249" y="259"/>
                  <a:pt x="1249" y="260"/>
                </a:cubicBezTo>
                <a:cubicBezTo>
                  <a:pt x="1250" y="260"/>
                  <a:pt x="1251" y="261"/>
                  <a:pt x="1253" y="261"/>
                </a:cubicBezTo>
                <a:cubicBezTo>
                  <a:pt x="1255" y="261"/>
                  <a:pt x="1256" y="260"/>
                  <a:pt x="1258" y="259"/>
                </a:cubicBezTo>
                <a:cubicBezTo>
                  <a:pt x="1259" y="258"/>
                  <a:pt x="1260" y="257"/>
                  <a:pt x="1261" y="256"/>
                </a:cubicBezTo>
                <a:cubicBezTo>
                  <a:pt x="1260" y="254"/>
                  <a:pt x="1260" y="254"/>
                  <a:pt x="1260" y="254"/>
                </a:cubicBezTo>
                <a:cubicBezTo>
                  <a:pt x="1259" y="255"/>
                  <a:pt x="1259" y="256"/>
                  <a:pt x="1258" y="256"/>
                </a:cubicBezTo>
                <a:cubicBezTo>
                  <a:pt x="1258" y="256"/>
                  <a:pt x="1257" y="256"/>
                  <a:pt x="1256" y="256"/>
                </a:cubicBezTo>
                <a:cubicBezTo>
                  <a:pt x="1256" y="256"/>
                  <a:pt x="1256" y="256"/>
                  <a:pt x="1256" y="256"/>
                </a:cubicBezTo>
                <a:cubicBezTo>
                  <a:pt x="1255" y="256"/>
                  <a:pt x="1255" y="255"/>
                  <a:pt x="1255" y="255"/>
                </a:cubicBezTo>
                <a:lnTo>
                  <a:pt x="1255" y="254"/>
                </a:lnTo>
                <a:close/>
                <a:moveTo>
                  <a:pt x="1258" y="213"/>
                </a:moveTo>
                <a:cubicBezTo>
                  <a:pt x="1259" y="213"/>
                  <a:pt x="1260" y="212"/>
                  <a:pt x="1261" y="211"/>
                </a:cubicBezTo>
                <a:cubicBezTo>
                  <a:pt x="1262" y="210"/>
                  <a:pt x="1262" y="209"/>
                  <a:pt x="1262" y="207"/>
                </a:cubicBezTo>
                <a:cubicBezTo>
                  <a:pt x="1262" y="206"/>
                  <a:pt x="1262" y="206"/>
                  <a:pt x="1261" y="205"/>
                </a:cubicBezTo>
                <a:cubicBezTo>
                  <a:pt x="1261" y="204"/>
                  <a:pt x="1260" y="204"/>
                  <a:pt x="1259" y="204"/>
                </a:cubicBezTo>
                <a:cubicBezTo>
                  <a:pt x="1257" y="204"/>
                  <a:pt x="1256" y="204"/>
                  <a:pt x="1255" y="205"/>
                </a:cubicBezTo>
                <a:cubicBezTo>
                  <a:pt x="1254" y="206"/>
                  <a:pt x="1254" y="207"/>
                  <a:pt x="1254" y="209"/>
                </a:cubicBezTo>
                <a:cubicBezTo>
                  <a:pt x="1254" y="210"/>
                  <a:pt x="1254" y="211"/>
                  <a:pt x="1255" y="212"/>
                </a:cubicBezTo>
                <a:cubicBezTo>
                  <a:pt x="1256" y="212"/>
                  <a:pt x="1257" y="213"/>
                  <a:pt x="1258" y="213"/>
                </a:cubicBezTo>
                <a:close/>
                <a:moveTo>
                  <a:pt x="1282" y="229"/>
                </a:moveTo>
                <a:cubicBezTo>
                  <a:pt x="1283" y="221"/>
                  <a:pt x="1283" y="221"/>
                  <a:pt x="1283" y="221"/>
                </a:cubicBezTo>
                <a:cubicBezTo>
                  <a:pt x="1281" y="220"/>
                  <a:pt x="1281" y="220"/>
                  <a:pt x="1281" y="220"/>
                </a:cubicBezTo>
                <a:cubicBezTo>
                  <a:pt x="1273" y="222"/>
                  <a:pt x="1273" y="222"/>
                  <a:pt x="1273" y="222"/>
                </a:cubicBezTo>
                <a:cubicBezTo>
                  <a:pt x="1272" y="224"/>
                  <a:pt x="1272" y="224"/>
                  <a:pt x="1272" y="224"/>
                </a:cubicBezTo>
                <a:cubicBezTo>
                  <a:pt x="1275" y="226"/>
                  <a:pt x="1275" y="226"/>
                  <a:pt x="1275" y="226"/>
                </a:cubicBezTo>
                <a:cubicBezTo>
                  <a:pt x="1271" y="260"/>
                  <a:pt x="1271" y="260"/>
                  <a:pt x="1271" y="260"/>
                </a:cubicBezTo>
                <a:cubicBezTo>
                  <a:pt x="1278" y="260"/>
                  <a:pt x="1278" y="260"/>
                  <a:pt x="1278" y="260"/>
                </a:cubicBezTo>
                <a:cubicBezTo>
                  <a:pt x="1281" y="235"/>
                  <a:pt x="1281" y="235"/>
                  <a:pt x="1281" y="235"/>
                </a:cubicBezTo>
                <a:cubicBezTo>
                  <a:pt x="1283" y="232"/>
                  <a:pt x="1285" y="230"/>
                  <a:pt x="1287" y="228"/>
                </a:cubicBezTo>
                <a:cubicBezTo>
                  <a:pt x="1289" y="226"/>
                  <a:pt x="1291" y="225"/>
                  <a:pt x="1293" y="225"/>
                </a:cubicBezTo>
                <a:cubicBezTo>
                  <a:pt x="1295" y="225"/>
                  <a:pt x="1296" y="226"/>
                  <a:pt x="1297" y="226"/>
                </a:cubicBezTo>
                <a:cubicBezTo>
                  <a:pt x="1297" y="227"/>
                  <a:pt x="1298" y="229"/>
                  <a:pt x="1298" y="231"/>
                </a:cubicBezTo>
                <a:cubicBezTo>
                  <a:pt x="1298" y="233"/>
                  <a:pt x="1297" y="234"/>
                  <a:pt x="1297" y="236"/>
                </a:cubicBezTo>
                <a:cubicBezTo>
                  <a:pt x="1297" y="238"/>
                  <a:pt x="1297" y="240"/>
                  <a:pt x="1296" y="243"/>
                </a:cubicBezTo>
                <a:cubicBezTo>
                  <a:pt x="1296" y="245"/>
                  <a:pt x="1296" y="245"/>
                  <a:pt x="1296" y="245"/>
                </a:cubicBezTo>
                <a:cubicBezTo>
                  <a:pt x="1295" y="248"/>
                  <a:pt x="1295" y="248"/>
                  <a:pt x="1295" y="248"/>
                </a:cubicBezTo>
                <a:cubicBezTo>
                  <a:pt x="1294" y="252"/>
                  <a:pt x="1294" y="255"/>
                  <a:pt x="1294" y="256"/>
                </a:cubicBezTo>
                <a:cubicBezTo>
                  <a:pt x="1294" y="259"/>
                  <a:pt x="1295" y="261"/>
                  <a:pt x="1298" y="261"/>
                </a:cubicBezTo>
                <a:cubicBezTo>
                  <a:pt x="1300" y="261"/>
                  <a:pt x="1301" y="260"/>
                  <a:pt x="1302" y="260"/>
                </a:cubicBezTo>
                <a:cubicBezTo>
                  <a:pt x="1303" y="259"/>
                  <a:pt x="1304" y="259"/>
                  <a:pt x="1305" y="258"/>
                </a:cubicBezTo>
                <a:cubicBezTo>
                  <a:pt x="1305" y="258"/>
                  <a:pt x="1306" y="257"/>
                  <a:pt x="1306" y="257"/>
                </a:cubicBezTo>
                <a:cubicBezTo>
                  <a:pt x="1305" y="255"/>
                  <a:pt x="1305" y="255"/>
                  <a:pt x="1305" y="255"/>
                </a:cubicBezTo>
                <a:cubicBezTo>
                  <a:pt x="1304" y="256"/>
                  <a:pt x="1303" y="256"/>
                  <a:pt x="1302" y="256"/>
                </a:cubicBezTo>
                <a:cubicBezTo>
                  <a:pt x="1301" y="256"/>
                  <a:pt x="1301" y="256"/>
                  <a:pt x="1301" y="255"/>
                </a:cubicBezTo>
                <a:cubicBezTo>
                  <a:pt x="1301" y="253"/>
                  <a:pt x="1301" y="250"/>
                  <a:pt x="1302" y="246"/>
                </a:cubicBezTo>
                <a:cubicBezTo>
                  <a:pt x="1303" y="243"/>
                  <a:pt x="1303" y="243"/>
                  <a:pt x="1303" y="243"/>
                </a:cubicBezTo>
                <a:cubicBezTo>
                  <a:pt x="1303" y="241"/>
                  <a:pt x="1303" y="241"/>
                  <a:pt x="1303" y="241"/>
                </a:cubicBezTo>
                <a:cubicBezTo>
                  <a:pt x="1304" y="236"/>
                  <a:pt x="1305" y="232"/>
                  <a:pt x="1305" y="230"/>
                </a:cubicBezTo>
                <a:cubicBezTo>
                  <a:pt x="1305" y="227"/>
                  <a:pt x="1304" y="224"/>
                  <a:pt x="1302" y="223"/>
                </a:cubicBezTo>
                <a:cubicBezTo>
                  <a:pt x="1301" y="221"/>
                  <a:pt x="1299" y="220"/>
                  <a:pt x="1296" y="220"/>
                </a:cubicBezTo>
                <a:cubicBezTo>
                  <a:pt x="1294" y="220"/>
                  <a:pt x="1291" y="221"/>
                  <a:pt x="1289" y="223"/>
                </a:cubicBezTo>
                <a:cubicBezTo>
                  <a:pt x="1286" y="224"/>
                  <a:pt x="1284" y="227"/>
                  <a:pt x="1282" y="229"/>
                </a:cubicBezTo>
                <a:close/>
                <a:moveTo>
                  <a:pt x="1342" y="253"/>
                </a:moveTo>
                <a:cubicBezTo>
                  <a:pt x="1340" y="251"/>
                  <a:pt x="1340" y="251"/>
                  <a:pt x="1340" y="251"/>
                </a:cubicBezTo>
                <a:cubicBezTo>
                  <a:pt x="1339" y="253"/>
                  <a:pt x="1337" y="254"/>
                  <a:pt x="1335" y="255"/>
                </a:cubicBezTo>
                <a:cubicBezTo>
                  <a:pt x="1333" y="256"/>
                  <a:pt x="1331" y="256"/>
                  <a:pt x="1329" y="256"/>
                </a:cubicBezTo>
                <a:cubicBezTo>
                  <a:pt x="1326" y="256"/>
                  <a:pt x="1323" y="255"/>
                  <a:pt x="1322" y="253"/>
                </a:cubicBezTo>
                <a:cubicBezTo>
                  <a:pt x="1321" y="250"/>
                  <a:pt x="1320" y="247"/>
                  <a:pt x="1320" y="244"/>
                </a:cubicBezTo>
                <a:cubicBezTo>
                  <a:pt x="1323" y="244"/>
                  <a:pt x="1327" y="244"/>
                  <a:pt x="1330" y="242"/>
                </a:cubicBezTo>
                <a:cubicBezTo>
                  <a:pt x="1334" y="241"/>
                  <a:pt x="1337" y="240"/>
                  <a:pt x="1340" y="237"/>
                </a:cubicBezTo>
                <a:cubicBezTo>
                  <a:pt x="1342" y="235"/>
                  <a:pt x="1344" y="232"/>
                  <a:pt x="1344" y="229"/>
                </a:cubicBezTo>
                <a:cubicBezTo>
                  <a:pt x="1344" y="226"/>
                  <a:pt x="1343" y="224"/>
                  <a:pt x="1341" y="223"/>
                </a:cubicBezTo>
                <a:cubicBezTo>
                  <a:pt x="1340" y="221"/>
                  <a:pt x="1337" y="220"/>
                  <a:pt x="1334" y="220"/>
                </a:cubicBezTo>
                <a:cubicBezTo>
                  <a:pt x="1330" y="220"/>
                  <a:pt x="1326" y="221"/>
                  <a:pt x="1323" y="224"/>
                </a:cubicBezTo>
                <a:cubicBezTo>
                  <a:pt x="1320" y="226"/>
                  <a:pt x="1318" y="229"/>
                  <a:pt x="1316" y="233"/>
                </a:cubicBezTo>
                <a:cubicBezTo>
                  <a:pt x="1314" y="237"/>
                  <a:pt x="1313" y="241"/>
                  <a:pt x="1313" y="246"/>
                </a:cubicBezTo>
                <a:cubicBezTo>
                  <a:pt x="1313" y="248"/>
                  <a:pt x="1314" y="251"/>
                  <a:pt x="1315" y="253"/>
                </a:cubicBezTo>
                <a:cubicBezTo>
                  <a:pt x="1316" y="255"/>
                  <a:pt x="1317" y="257"/>
                  <a:pt x="1319" y="259"/>
                </a:cubicBezTo>
                <a:cubicBezTo>
                  <a:pt x="1321" y="260"/>
                  <a:pt x="1324" y="261"/>
                  <a:pt x="1327" y="261"/>
                </a:cubicBezTo>
                <a:cubicBezTo>
                  <a:pt x="1330" y="261"/>
                  <a:pt x="1333" y="260"/>
                  <a:pt x="1336" y="258"/>
                </a:cubicBezTo>
                <a:cubicBezTo>
                  <a:pt x="1339" y="257"/>
                  <a:pt x="1341" y="255"/>
                  <a:pt x="1342" y="253"/>
                </a:cubicBezTo>
                <a:close/>
                <a:moveTo>
                  <a:pt x="1332" y="224"/>
                </a:moveTo>
                <a:cubicBezTo>
                  <a:pt x="1334" y="224"/>
                  <a:pt x="1335" y="224"/>
                  <a:pt x="1336" y="225"/>
                </a:cubicBezTo>
                <a:cubicBezTo>
                  <a:pt x="1337" y="226"/>
                  <a:pt x="1337" y="228"/>
                  <a:pt x="1337" y="229"/>
                </a:cubicBezTo>
                <a:cubicBezTo>
                  <a:pt x="1337" y="232"/>
                  <a:pt x="1336" y="234"/>
                  <a:pt x="1334" y="235"/>
                </a:cubicBezTo>
                <a:cubicBezTo>
                  <a:pt x="1333" y="237"/>
                  <a:pt x="1331" y="238"/>
                  <a:pt x="1328" y="239"/>
                </a:cubicBezTo>
                <a:cubicBezTo>
                  <a:pt x="1325" y="240"/>
                  <a:pt x="1323" y="241"/>
                  <a:pt x="1321" y="241"/>
                </a:cubicBezTo>
                <a:cubicBezTo>
                  <a:pt x="1321" y="238"/>
                  <a:pt x="1321" y="236"/>
                  <a:pt x="1322" y="233"/>
                </a:cubicBezTo>
                <a:cubicBezTo>
                  <a:pt x="1323" y="230"/>
                  <a:pt x="1325" y="228"/>
                  <a:pt x="1326" y="226"/>
                </a:cubicBezTo>
                <a:cubicBezTo>
                  <a:pt x="1328" y="225"/>
                  <a:pt x="1330" y="224"/>
                  <a:pt x="1332" y="224"/>
                </a:cubicBezTo>
                <a:close/>
              </a:path>
            </a:pathLst>
          </a:custGeom>
          <a:solidFill>
            <a:schemeClr val="tx2"/>
          </a:solidFill>
          <a:ln>
            <a:noFill/>
          </a:ln>
        </p:spPr>
        <p:txBody>
          <a:bodyPr vert="horz" wrap="square" lIns="121920" tIns="60960" rIns="121920" bIns="60960" numCol="1" anchor="t" anchorCtr="0" compatLnSpc="1">
            <a:prstTxWarp prst="textNoShape">
              <a:avLst/>
            </a:prstTxWarp>
          </a:bodyPr>
          <a:lstStyle/>
          <a:p>
            <a:endParaRPr lang="en-US" sz="2400"/>
          </a:p>
        </p:txBody>
      </p:sp>
      <p:sp>
        <p:nvSpPr>
          <p:cNvPr id="2" name="Title 1"/>
          <p:cNvSpPr>
            <a:spLocks noGrp="1"/>
          </p:cNvSpPr>
          <p:nvPr>
            <p:ph type="title"/>
          </p:nvPr>
        </p:nvSpPr>
        <p:spPr>
          <a:xfrm>
            <a:off x="660400" y="1463632"/>
            <a:ext cx="9601200" cy="929749"/>
          </a:xfrm>
        </p:spPr>
        <p:txBody>
          <a:bodyPr/>
          <a:lstStyle/>
          <a:p>
            <a:r>
              <a:rPr lang="en-US"/>
              <a:t>Click to edit Master title style</a:t>
            </a:r>
          </a:p>
        </p:txBody>
      </p:sp>
      <p:sp>
        <p:nvSpPr>
          <p:cNvPr id="12" name="Text Placeholder 11">
            <a:extLst>
              <a:ext uri="{FF2B5EF4-FFF2-40B4-BE49-F238E27FC236}">
                <a16:creationId xmlns:a16="http://schemas.microsoft.com/office/drawing/2014/main" id="{C612CE87-21AB-4B74-A011-BD24041C27F6}"/>
              </a:ext>
            </a:extLst>
          </p:cNvPr>
          <p:cNvSpPr>
            <a:spLocks noGrp="1"/>
          </p:cNvSpPr>
          <p:nvPr>
            <p:ph type="body" sz="quarter" idx="14"/>
          </p:nvPr>
        </p:nvSpPr>
        <p:spPr>
          <a:xfrm>
            <a:off x="660401" y="3020102"/>
            <a:ext cx="2614084" cy="3110189"/>
          </a:xfrm>
        </p:spPr>
        <p:txBody>
          <a:bodyPr/>
          <a:lstStyle>
            <a:lvl1pPr marL="0" indent="0">
              <a:lnSpc>
                <a:spcPct val="120000"/>
              </a:lnSpc>
              <a:buNone/>
              <a:defRPr>
                <a:solidFill>
                  <a:schemeClr val="tx2"/>
                </a:solidFill>
              </a:defRPr>
            </a:lvl1pPr>
            <a:lvl2pPr marL="304792" indent="-304792">
              <a:lnSpc>
                <a:spcPct val="100000"/>
              </a:lnSpc>
              <a:spcBef>
                <a:spcPts val="400"/>
              </a:spcBef>
              <a:buFont typeface="Arial" panose="020B0604020202020204" pitchFamily="34" charset="0"/>
              <a:buChar char="•"/>
              <a:defRPr>
                <a:solidFill>
                  <a:schemeClr val="tx2"/>
                </a:solidFill>
              </a:defRPr>
            </a:lvl2pPr>
          </a:lstStyle>
          <a:p>
            <a:pPr lvl="0"/>
            <a:r>
              <a:rPr lang="en-US"/>
              <a:t>Edit Master text styles</a:t>
            </a:r>
          </a:p>
          <a:p>
            <a:pPr lvl="1"/>
            <a:r>
              <a:rPr lang="en-US"/>
              <a:t>Second level</a:t>
            </a:r>
          </a:p>
        </p:txBody>
      </p:sp>
    </p:spTree>
    <p:extLst>
      <p:ext uri="{BB962C8B-B14F-4D97-AF65-F5344CB8AC3E}">
        <p14:creationId xmlns:p14="http://schemas.microsoft.com/office/powerpoint/2010/main" val="2332429627"/>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obj" preserve="1">
  <p:cSld name="Chart_Table an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660400" y="1483785"/>
            <a:ext cx="4815840" cy="4661919"/>
          </a:xfrm>
        </p:spPr>
        <p:txBody>
          <a:bodyPr/>
          <a:lstStyle>
            <a:lvl1pPr marL="230712" indent="-230712">
              <a:lnSpc>
                <a:spcPct val="100000"/>
              </a:lnSpc>
              <a:spcBef>
                <a:spcPts val="400"/>
              </a:spcBef>
              <a:defRPr sz="1600"/>
            </a:lvl1pPr>
            <a:lvl2pPr marL="459306" indent="-228594">
              <a:lnSpc>
                <a:spcPct val="100000"/>
              </a:lnSpc>
              <a:spcBef>
                <a:spcPts val="400"/>
              </a:spcBef>
              <a:defRPr sz="1467"/>
            </a:lvl2pPr>
            <a:lvl3pPr marL="690016" indent="-230712">
              <a:lnSpc>
                <a:spcPct val="100000"/>
              </a:lnSpc>
              <a:spcBef>
                <a:spcPts val="400"/>
              </a:spcBef>
              <a:defRPr sz="1333"/>
            </a:lvl3pPr>
            <a:lvl4pPr marL="920728" indent="-230712">
              <a:lnSpc>
                <a:spcPct val="100000"/>
              </a:lnSpc>
              <a:spcBef>
                <a:spcPts val="400"/>
              </a:spcBef>
              <a:defRPr sz="1200"/>
            </a:lvl4pPr>
            <a:lvl5pPr marL="1138738" indent="-218012">
              <a:lnSpc>
                <a:spcPct val="100000"/>
              </a:lnSpc>
              <a:spcBef>
                <a:spcPts val="400"/>
              </a:spcBef>
              <a:defRPr sz="1067"/>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2F687C33-47E0-407C-B61F-DB8DDD78F4C7}" type="slidenum">
              <a:rPr lang="en-US" smtClean="0"/>
              <a:t>‹#›</a:t>
            </a:fld>
            <a:endParaRPr lang="en-US"/>
          </a:p>
        </p:txBody>
      </p:sp>
      <p:sp>
        <p:nvSpPr>
          <p:cNvPr id="5" name="Content Placeholder 2">
            <a:extLst>
              <a:ext uri="{FF2B5EF4-FFF2-40B4-BE49-F238E27FC236}">
                <a16:creationId xmlns:a16="http://schemas.microsoft.com/office/drawing/2014/main" id="{07CECDB5-813F-44A7-A308-C2E59BAB2159}"/>
              </a:ext>
            </a:extLst>
          </p:cNvPr>
          <p:cNvSpPr>
            <a:spLocks noGrp="1"/>
          </p:cNvSpPr>
          <p:nvPr>
            <p:ph idx="13"/>
          </p:nvPr>
        </p:nvSpPr>
        <p:spPr>
          <a:xfrm>
            <a:off x="5927060" y="1483785"/>
            <a:ext cx="4815840" cy="4661919"/>
          </a:xfrm>
        </p:spPr>
        <p:txBody>
          <a:bodyPr/>
          <a:lstStyle>
            <a:lvl1pPr marL="230712" indent="-230712">
              <a:lnSpc>
                <a:spcPct val="100000"/>
              </a:lnSpc>
              <a:spcBef>
                <a:spcPts val="400"/>
              </a:spcBef>
              <a:defRPr sz="1600"/>
            </a:lvl1pPr>
            <a:lvl2pPr marL="459306" indent="-228594">
              <a:lnSpc>
                <a:spcPct val="100000"/>
              </a:lnSpc>
              <a:spcBef>
                <a:spcPts val="400"/>
              </a:spcBef>
              <a:defRPr sz="1467"/>
            </a:lvl2pPr>
            <a:lvl3pPr marL="690016" indent="-230712">
              <a:lnSpc>
                <a:spcPct val="100000"/>
              </a:lnSpc>
              <a:spcBef>
                <a:spcPts val="400"/>
              </a:spcBef>
              <a:defRPr sz="1333"/>
            </a:lvl3pPr>
            <a:lvl4pPr marL="920728" indent="-230712">
              <a:lnSpc>
                <a:spcPct val="100000"/>
              </a:lnSpc>
              <a:spcBef>
                <a:spcPts val="400"/>
              </a:spcBef>
              <a:defRPr sz="1200"/>
            </a:lvl4pPr>
            <a:lvl5pPr marL="1138738" indent="-218012">
              <a:lnSpc>
                <a:spcPct val="100000"/>
              </a:lnSpc>
              <a:spcBef>
                <a:spcPts val="400"/>
              </a:spcBef>
              <a:defRPr sz="1067"/>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43656826"/>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obj" preserve="1">
  <p:cSld name="Four Char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660400" y="1483785"/>
            <a:ext cx="4815840" cy="2173816"/>
          </a:xfrm>
        </p:spPr>
        <p:txBody>
          <a:bodyPr/>
          <a:lstStyle>
            <a:lvl1pPr marL="230712" indent="-230712">
              <a:lnSpc>
                <a:spcPct val="100000"/>
              </a:lnSpc>
              <a:spcBef>
                <a:spcPts val="400"/>
              </a:spcBef>
              <a:defRPr sz="1600"/>
            </a:lvl1pPr>
            <a:lvl2pPr marL="459306" indent="-228594">
              <a:lnSpc>
                <a:spcPct val="100000"/>
              </a:lnSpc>
              <a:spcBef>
                <a:spcPts val="400"/>
              </a:spcBef>
              <a:defRPr sz="1467"/>
            </a:lvl2pPr>
            <a:lvl3pPr marL="690016" indent="-230712">
              <a:lnSpc>
                <a:spcPct val="100000"/>
              </a:lnSpc>
              <a:spcBef>
                <a:spcPts val="400"/>
              </a:spcBef>
              <a:defRPr sz="1333"/>
            </a:lvl3pPr>
            <a:lvl4pPr marL="920728" indent="-230712">
              <a:lnSpc>
                <a:spcPct val="100000"/>
              </a:lnSpc>
              <a:spcBef>
                <a:spcPts val="400"/>
              </a:spcBef>
              <a:defRPr sz="1200"/>
            </a:lvl4pPr>
            <a:lvl5pPr marL="1138738" indent="-218012">
              <a:lnSpc>
                <a:spcPct val="100000"/>
              </a:lnSpc>
              <a:spcBef>
                <a:spcPts val="400"/>
              </a:spcBef>
              <a:defRPr sz="1067"/>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2F687C33-47E0-407C-B61F-DB8DDD78F4C7}" type="slidenum">
              <a:rPr lang="en-US" smtClean="0"/>
              <a:t>‹#›</a:t>
            </a:fld>
            <a:endParaRPr lang="en-US"/>
          </a:p>
        </p:txBody>
      </p:sp>
      <p:sp>
        <p:nvSpPr>
          <p:cNvPr id="5" name="Content Placeholder 2">
            <a:extLst>
              <a:ext uri="{FF2B5EF4-FFF2-40B4-BE49-F238E27FC236}">
                <a16:creationId xmlns:a16="http://schemas.microsoft.com/office/drawing/2014/main" id="{07CECDB5-813F-44A7-A308-C2E59BAB2159}"/>
              </a:ext>
            </a:extLst>
          </p:cNvPr>
          <p:cNvSpPr>
            <a:spLocks noGrp="1"/>
          </p:cNvSpPr>
          <p:nvPr>
            <p:ph idx="13"/>
          </p:nvPr>
        </p:nvSpPr>
        <p:spPr>
          <a:xfrm>
            <a:off x="6400799" y="1483785"/>
            <a:ext cx="4815840" cy="2173816"/>
          </a:xfrm>
        </p:spPr>
        <p:txBody>
          <a:bodyPr/>
          <a:lstStyle>
            <a:lvl1pPr marL="230712" indent="-230712">
              <a:lnSpc>
                <a:spcPct val="100000"/>
              </a:lnSpc>
              <a:spcBef>
                <a:spcPts val="400"/>
              </a:spcBef>
              <a:defRPr sz="1600"/>
            </a:lvl1pPr>
            <a:lvl2pPr marL="459306" indent="-228594">
              <a:lnSpc>
                <a:spcPct val="100000"/>
              </a:lnSpc>
              <a:spcBef>
                <a:spcPts val="400"/>
              </a:spcBef>
              <a:defRPr sz="1467"/>
            </a:lvl2pPr>
            <a:lvl3pPr marL="690016" indent="-230712">
              <a:lnSpc>
                <a:spcPct val="100000"/>
              </a:lnSpc>
              <a:spcBef>
                <a:spcPts val="400"/>
              </a:spcBef>
              <a:defRPr sz="1333"/>
            </a:lvl3pPr>
            <a:lvl4pPr marL="920728" indent="-230712">
              <a:lnSpc>
                <a:spcPct val="100000"/>
              </a:lnSpc>
              <a:spcBef>
                <a:spcPts val="400"/>
              </a:spcBef>
              <a:defRPr sz="1200"/>
            </a:lvl4pPr>
            <a:lvl5pPr marL="1138738" indent="-218012">
              <a:lnSpc>
                <a:spcPct val="100000"/>
              </a:lnSpc>
              <a:spcBef>
                <a:spcPts val="400"/>
              </a:spcBef>
              <a:defRPr sz="1067"/>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2">
            <a:extLst>
              <a:ext uri="{FF2B5EF4-FFF2-40B4-BE49-F238E27FC236}">
                <a16:creationId xmlns:a16="http://schemas.microsoft.com/office/drawing/2014/main" id="{FACA3486-D945-4810-86FB-CFE25496D8CE}"/>
              </a:ext>
            </a:extLst>
          </p:cNvPr>
          <p:cNvSpPr>
            <a:spLocks noGrp="1"/>
          </p:cNvSpPr>
          <p:nvPr>
            <p:ph idx="14"/>
          </p:nvPr>
        </p:nvSpPr>
        <p:spPr>
          <a:xfrm>
            <a:off x="660400" y="3961479"/>
            <a:ext cx="4815840" cy="2173816"/>
          </a:xfrm>
        </p:spPr>
        <p:txBody>
          <a:bodyPr/>
          <a:lstStyle>
            <a:lvl1pPr marL="230712" indent="-230712">
              <a:lnSpc>
                <a:spcPct val="100000"/>
              </a:lnSpc>
              <a:spcBef>
                <a:spcPts val="400"/>
              </a:spcBef>
              <a:defRPr sz="1600"/>
            </a:lvl1pPr>
            <a:lvl2pPr marL="459306" indent="-228594">
              <a:lnSpc>
                <a:spcPct val="100000"/>
              </a:lnSpc>
              <a:spcBef>
                <a:spcPts val="400"/>
              </a:spcBef>
              <a:defRPr sz="1467"/>
            </a:lvl2pPr>
            <a:lvl3pPr marL="690016" indent="-230712">
              <a:lnSpc>
                <a:spcPct val="100000"/>
              </a:lnSpc>
              <a:spcBef>
                <a:spcPts val="400"/>
              </a:spcBef>
              <a:defRPr sz="1333"/>
            </a:lvl3pPr>
            <a:lvl4pPr marL="920728" indent="-230712">
              <a:lnSpc>
                <a:spcPct val="100000"/>
              </a:lnSpc>
              <a:spcBef>
                <a:spcPts val="400"/>
              </a:spcBef>
              <a:defRPr sz="1200"/>
            </a:lvl4pPr>
            <a:lvl5pPr marL="1138738" indent="-218012">
              <a:lnSpc>
                <a:spcPct val="100000"/>
              </a:lnSpc>
              <a:spcBef>
                <a:spcPts val="400"/>
              </a:spcBef>
              <a:defRPr sz="1067"/>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Content Placeholder 2">
            <a:extLst>
              <a:ext uri="{FF2B5EF4-FFF2-40B4-BE49-F238E27FC236}">
                <a16:creationId xmlns:a16="http://schemas.microsoft.com/office/drawing/2014/main" id="{CC97F3C2-9B44-4B13-92ED-0E8BB5C6D9DC}"/>
              </a:ext>
            </a:extLst>
          </p:cNvPr>
          <p:cNvSpPr>
            <a:spLocks noGrp="1"/>
          </p:cNvSpPr>
          <p:nvPr>
            <p:ph idx="15"/>
          </p:nvPr>
        </p:nvSpPr>
        <p:spPr>
          <a:xfrm>
            <a:off x="6400799" y="3961479"/>
            <a:ext cx="4815840" cy="2173816"/>
          </a:xfrm>
        </p:spPr>
        <p:txBody>
          <a:bodyPr/>
          <a:lstStyle>
            <a:lvl1pPr marL="230712" indent="-230712">
              <a:lnSpc>
                <a:spcPct val="100000"/>
              </a:lnSpc>
              <a:spcBef>
                <a:spcPts val="400"/>
              </a:spcBef>
              <a:defRPr sz="1600"/>
            </a:lvl1pPr>
            <a:lvl2pPr marL="459306" indent="-228594">
              <a:lnSpc>
                <a:spcPct val="100000"/>
              </a:lnSpc>
              <a:spcBef>
                <a:spcPts val="400"/>
              </a:spcBef>
              <a:defRPr sz="1467"/>
            </a:lvl2pPr>
            <a:lvl3pPr marL="690016" indent="-230712">
              <a:lnSpc>
                <a:spcPct val="100000"/>
              </a:lnSpc>
              <a:spcBef>
                <a:spcPts val="400"/>
              </a:spcBef>
              <a:defRPr sz="1333"/>
            </a:lvl3pPr>
            <a:lvl4pPr marL="920728" indent="-230712">
              <a:lnSpc>
                <a:spcPct val="100000"/>
              </a:lnSpc>
              <a:spcBef>
                <a:spcPts val="400"/>
              </a:spcBef>
              <a:defRPr sz="1200"/>
            </a:lvl4pPr>
            <a:lvl5pPr marL="1138738" indent="-218012">
              <a:lnSpc>
                <a:spcPct val="100000"/>
              </a:lnSpc>
              <a:spcBef>
                <a:spcPts val="400"/>
              </a:spcBef>
              <a:defRPr sz="1067"/>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08649369"/>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p:cSld name="Title Only w/picture">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B527E53A-D5D5-477E-B569-A07974DC097C}"/>
              </a:ext>
            </a:extLst>
          </p:cNvPr>
          <p:cNvSpPr>
            <a:spLocks noGrp="1"/>
          </p:cNvSpPr>
          <p:nvPr>
            <p:ph type="pic" sz="quarter" idx="13"/>
          </p:nvPr>
        </p:nvSpPr>
        <p:spPr>
          <a:xfrm>
            <a:off x="11594592" y="0"/>
            <a:ext cx="597408" cy="6858000"/>
          </a:xfrm>
          <a:solidFill>
            <a:schemeClr val="bg2"/>
          </a:solidFill>
        </p:spPr>
        <p:txBody>
          <a:bodyPr tIns="1005840" anchor="t" anchorCtr="0"/>
          <a:lstStyle>
            <a:lvl1pPr marL="0" indent="0" algn="ctr">
              <a:buNone/>
              <a:defRPr sz="1400"/>
            </a:lvl1pPr>
          </a:lstStyle>
          <a:p>
            <a:r>
              <a:rPr lang="en-US"/>
              <a:t>Click icon to add picture</a:t>
            </a:r>
          </a:p>
        </p:txBody>
      </p:sp>
      <p:sp>
        <p:nvSpPr>
          <p:cNvPr id="2" name="Title 1"/>
          <p:cNvSpPr>
            <a:spLocks noGrp="1"/>
          </p:cNvSpPr>
          <p:nvPr>
            <p:ph type="title"/>
          </p:nvPr>
        </p:nvSpPr>
        <p:spPr/>
        <p:txBody>
          <a:bodyPr/>
          <a:lstStyle/>
          <a:p>
            <a:r>
              <a:rPr lang="en-US"/>
              <a:t>Click to edit Master title style</a:t>
            </a:r>
          </a:p>
        </p:txBody>
      </p:sp>
      <p:sp>
        <p:nvSpPr>
          <p:cNvPr id="5" name="Slide Number Placeholder 4"/>
          <p:cNvSpPr>
            <a:spLocks noGrp="1"/>
          </p:cNvSpPr>
          <p:nvPr>
            <p:ph type="sldNum" sz="quarter" idx="12"/>
          </p:nvPr>
        </p:nvSpPr>
        <p:spPr/>
        <p:txBody>
          <a:bodyPr/>
          <a:lstStyle/>
          <a:p>
            <a:fld id="{2F687C33-47E0-407C-B61F-DB8DDD78F4C7}" type="slidenum">
              <a:rPr lang="en-US" smtClean="0"/>
              <a:t>‹#›</a:t>
            </a:fld>
            <a:endParaRPr lang="en-US"/>
          </a:p>
        </p:txBody>
      </p:sp>
    </p:spTree>
    <p:extLst>
      <p:ext uri="{BB962C8B-B14F-4D97-AF65-F5344CB8AC3E}">
        <p14:creationId xmlns:p14="http://schemas.microsoft.com/office/powerpoint/2010/main" val="24619515"/>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2F687C33-47E0-407C-B61F-DB8DDD78F4C7}" type="slidenum">
              <a:rPr lang="en-US" smtClean="0"/>
              <a:t>‹#›</a:t>
            </a:fld>
            <a:endParaRPr lang="en-US"/>
          </a:p>
        </p:txBody>
      </p:sp>
    </p:spTree>
    <p:extLst>
      <p:ext uri="{BB962C8B-B14F-4D97-AF65-F5344CB8AC3E}">
        <p14:creationId xmlns:p14="http://schemas.microsoft.com/office/powerpoint/2010/main" val="1696678008"/>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F687C33-47E0-407C-B61F-DB8DDD78F4C7}" type="slidenum">
              <a:rPr lang="en-US" smtClean="0"/>
              <a:t>‹#›</a:t>
            </a:fld>
            <a:endParaRPr lang="en-US"/>
          </a:p>
        </p:txBody>
      </p:sp>
    </p:spTree>
    <p:extLst>
      <p:ext uri="{BB962C8B-B14F-4D97-AF65-F5344CB8AC3E}">
        <p14:creationId xmlns:p14="http://schemas.microsoft.com/office/powerpoint/2010/main" val="790170874"/>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p:cSld name="Title Slide - Deep Purple">
    <p:spTree>
      <p:nvGrpSpPr>
        <p:cNvPr id="1" name=""/>
        <p:cNvGrpSpPr/>
        <p:nvPr/>
      </p:nvGrpSpPr>
      <p:grpSpPr>
        <a:xfrm>
          <a:off x="0" y="0"/>
          <a:ext cx="0" cy="0"/>
          <a:chOff x="0" y="0"/>
          <a:chExt cx="0" cy="0"/>
        </a:xfrm>
      </p:grpSpPr>
      <p:sp>
        <p:nvSpPr>
          <p:cNvPr id="15" name="Picture Placeholder 14">
            <a:extLst>
              <a:ext uri="{FF2B5EF4-FFF2-40B4-BE49-F238E27FC236}">
                <a16:creationId xmlns:a16="http://schemas.microsoft.com/office/drawing/2014/main" id="{42927F7C-53AC-400F-8DAD-235A2AF61FB8}"/>
              </a:ext>
            </a:extLst>
          </p:cNvPr>
          <p:cNvSpPr>
            <a:spLocks noGrp="1"/>
          </p:cNvSpPr>
          <p:nvPr>
            <p:ph type="pic" sz="quarter" idx="11"/>
          </p:nvPr>
        </p:nvSpPr>
        <p:spPr>
          <a:xfrm>
            <a:off x="0" y="1"/>
            <a:ext cx="12192000" cy="6280151"/>
          </a:xfrm>
          <a:solidFill>
            <a:schemeClr val="bg2">
              <a:lumMod val="90000"/>
            </a:schemeClr>
          </a:solidFill>
        </p:spPr>
        <p:txBody>
          <a:bodyPr/>
          <a:lstStyle/>
          <a:p>
            <a:r>
              <a:rPr lang="en-US"/>
              <a:t>Click icon to add picture</a:t>
            </a:r>
          </a:p>
        </p:txBody>
      </p:sp>
      <p:sp>
        <p:nvSpPr>
          <p:cNvPr id="13" name="Text Placeholder 12">
            <a:extLst>
              <a:ext uri="{FF2B5EF4-FFF2-40B4-BE49-F238E27FC236}">
                <a16:creationId xmlns:a16="http://schemas.microsoft.com/office/drawing/2014/main" id="{D2D74F39-96DB-4808-8693-9F55A9D7DB98}"/>
              </a:ext>
            </a:extLst>
          </p:cNvPr>
          <p:cNvSpPr>
            <a:spLocks noGrp="1"/>
          </p:cNvSpPr>
          <p:nvPr>
            <p:ph type="body" sz="quarter" idx="10"/>
          </p:nvPr>
        </p:nvSpPr>
        <p:spPr>
          <a:xfrm>
            <a:off x="0" y="1563078"/>
            <a:ext cx="7737229" cy="5294921"/>
          </a:xfrm>
          <a:solidFill>
            <a:schemeClr val="tx2"/>
          </a:solidFill>
        </p:spPr>
        <p:txBody>
          <a:bodyPr lIns="502920" tIns="274320" rIns="457200" bIns="457200"/>
          <a:lstStyle>
            <a:lvl1pPr marL="0" indent="0">
              <a:lnSpc>
                <a:spcPct val="100000"/>
              </a:lnSpc>
              <a:buNone/>
              <a:defRPr sz="4000">
                <a:solidFill>
                  <a:schemeClr val="bg1"/>
                </a:solidFill>
                <a:latin typeface="+mj-lt"/>
              </a:defRPr>
            </a:lvl1pPr>
            <a:lvl2pPr marL="0" indent="0">
              <a:spcBef>
                <a:spcPts val="1200"/>
              </a:spcBef>
              <a:buNone/>
              <a:defRPr sz="2000">
                <a:solidFill>
                  <a:srgbClr val="7899F2"/>
                </a:solidFill>
                <a:latin typeface="+mj-lt"/>
              </a:defRPr>
            </a:lvl2pPr>
            <a:lvl3pPr marL="609585" indent="0">
              <a:buNone/>
              <a:defRPr>
                <a:solidFill>
                  <a:schemeClr val="bg1"/>
                </a:solidFill>
                <a:latin typeface="+mj-lt"/>
              </a:defRPr>
            </a:lvl3pPr>
            <a:lvl4pPr marL="922844" indent="0">
              <a:buNone/>
              <a:defRPr>
                <a:solidFill>
                  <a:schemeClr val="bg1"/>
                </a:solidFill>
                <a:latin typeface="+mj-lt"/>
              </a:defRPr>
            </a:lvl4pPr>
            <a:lvl5pPr marL="1219170" indent="0">
              <a:buNone/>
              <a:defRPr>
                <a:solidFill>
                  <a:schemeClr val="bg1"/>
                </a:solidFill>
                <a:latin typeface="+mj-lt"/>
              </a:defRPr>
            </a:lvl5pPr>
          </a:lstStyle>
          <a:p>
            <a:pPr lvl="0"/>
            <a:r>
              <a:rPr lang="en-US"/>
              <a:t>Edit Master text styles</a:t>
            </a:r>
          </a:p>
          <a:p>
            <a:pPr lvl="1"/>
            <a:r>
              <a:rPr lang="en-US"/>
              <a:t>Second level</a:t>
            </a:r>
          </a:p>
        </p:txBody>
      </p:sp>
      <p:sp>
        <p:nvSpPr>
          <p:cNvPr id="3" name="Subtitle 2"/>
          <p:cNvSpPr>
            <a:spLocks noGrp="1"/>
          </p:cNvSpPr>
          <p:nvPr>
            <p:ph type="subTitle" idx="1"/>
          </p:nvPr>
        </p:nvSpPr>
        <p:spPr>
          <a:xfrm>
            <a:off x="701040" y="4738102"/>
            <a:ext cx="6461760" cy="225639"/>
          </a:xfrm>
        </p:spPr>
        <p:txBody>
          <a:bodyPr anchor="b" anchorCtr="0">
            <a:spAutoFit/>
          </a:bodyPr>
          <a:lstStyle>
            <a:lvl1pPr marL="0" indent="0" algn="l">
              <a:buNone/>
              <a:defRPr sz="1333" i="1">
                <a:solidFill>
                  <a:schemeClr val="bg1"/>
                </a:solidFill>
                <a:latin typeface="+mj-l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
        <p:nvSpPr>
          <p:cNvPr id="9" name="Freeform 5">
            <a:extLst>
              <a:ext uri="{FF2B5EF4-FFF2-40B4-BE49-F238E27FC236}">
                <a16:creationId xmlns:a16="http://schemas.microsoft.com/office/drawing/2014/main" id="{6EF64205-A64B-4137-BA41-5E5CFE0F359E}"/>
              </a:ext>
            </a:extLst>
          </p:cNvPr>
          <p:cNvSpPr>
            <a:spLocks noEditPoints="1"/>
          </p:cNvSpPr>
          <p:nvPr/>
        </p:nvSpPr>
        <p:spPr bwMode="auto">
          <a:xfrm>
            <a:off x="643609" y="578451"/>
            <a:ext cx="2922943" cy="547357"/>
          </a:xfrm>
          <a:custGeom>
            <a:avLst/>
            <a:gdLst>
              <a:gd name="T0" fmla="*/ 225 w 1440"/>
              <a:gd name="T1" fmla="*/ 110 h 267"/>
              <a:gd name="T2" fmla="*/ 317 w 1440"/>
              <a:gd name="T3" fmla="*/ 7 h 267"/>
              <a:gd name="T4" fmla="*/ 475 w 1440"/>
              <a:gd name="T5" fmla="*/ 19 h 267"/>
              <a:gd name="T6" fmla="*/ 830 w 1440"/>
              <a:gd name="T7" fmla="*/ 7 h 267"/>
              <a:gd name="T8" fmla="*/ 130 w 1440"/>
              <a:gd name="T9" fmla="*/ 210 h 267"/>
              <a:gd name="T10" fmla="*/ 437 w 1440"/>
              <a:gd name="T11" fmla="*/ 209 h 267"/>
              <a:gd name="T12" fmla="*/ 493 w 1440"/>
              <a:gd name="T13" fmla="*/ 198 h 267"/>
              <a:gd name="T14" fmla="*/ 866 w 1440"/>
              <a:gd name="T15" fmla="*/ 171 h 267"/>
              <a:gd name="T16" fmla="*/ 737 w 1440"/>
              <a:gd name="T17" fmla="*/ 261 h 267"/>
              <a:gd name="T18" fmla="*/ 958 w 1440"/>
              <a:gd name="T19" fmla="*/ 172 h 267"/>
              <a:gd name="T20" fmla="*/ 906 w 1440"/>
              <a:gd name="T21" fmla="*/ 254 h 267"/>
              <a:gd name="T22" fmla="*/ 309 w 1440"/>
              <a:gd name="T23" fmla="*/ 260 h 267"/>
              <a:gd name="T24" fmla="*/ 1053 w 1440"/>
              <a:gd name="T25" fmla="*/ 31 h 267"/>
              <a:gd name="T26" fmla="*/ 1075 w 1440"/>
              <a:gd name="T27" fmla="*/ 44 h 267"/>
              <a:gd name="T28" fmla="*/ 1091 w 1440"/>
              <a:gd name="T29" fmla="*/ 22 h 267"/>
              <a:gd name="T30" fmla="*/ 1107 w 1440"/>
              <a:gd name="T31" fmla="*/ 27 h 267"/>
              <a:gd name="T32" fmla="*/ 1125 w 1440"/>
              <a:gd name="T33" fmla="*/ 55 h 267"/>
              <a:gd name="T34" fmla="*/ 1159 w 1440"/>
              <a:gd name="T35" fmla="*/ 53 h 267"/>
              <a:gd name="T36" fmla="*/ 1160 w 1440"/>
              <a:gd name="T37" fmla="*/ 57 h 267"/>
              <a:gd name="T38" fmla="*/ 1177 w 1440"/>
              <a:gd name="T39" fmla="*/ 23 h 267"/>
              <a:gd name="T40" fmla="*/ 1207 w 1440"/>
              <a:gd name="T41" fmla="*/ 58 h 267"/>
              <a:gd name="T42" fmla="*/ 1245 w 1440"/>
              <a:gd name="T43" fmla="*/ 27 h 267"/>
              <a:gd name="T44" fmla="*/ 1225 w 1440"/>
              <a:gd name="T45" fmla="*/ 43 h 267"/>
              <a:gd name="T46" fmla="*/ 1271 w 1440"/>
              <a:gd name="T47" fmla="*/ 19 h 267"/>
              <a:gd name="T48" fmla="*/ 1259 w 1440"/>
              <a:gd name="T49" fmla="*/ 32 h 267"/>
              <a:gd name="T50" fmla="*/ 1290 w 1440"/>
              <a:gd name="T51" fmla="*/ 54 h 267"/>
              <a:gd name="T52" fmla="*/ 1310 w 1440"/>
              <a:gd name="T53" fmla="*/ 25 h 267"/>
              <a:gd name="T54" fmla="*/ 1059 w 1440"/>
              <a:gd name="T55" fmla="*/ 110 h 267"/>
              <a:gd name="T56" fmla="*/ 1099 w 1440"/>
              <a:gd name="T57" fmla="*/ 134 h 267"/>
              <a:gd name="T58" fmla="*/ 1120 w 1440"/>
              <a:gd name="T59" fmla="*/ 156 h 267"/>
              <a:gd name="T60" fmla="*/ 1141 w 1440"/>
              <a:gd name="T61" fmla="*/ 123 h 267"/>
              <a:gd name="T62" fmla="*/ 1148 w 1440"/>
              <a:gd name="T63" fmla="*/ 175 h 267"/>
              <a:gd name="T64" fmla="*/ 1184 w 1440"/>
              <a:gd name="T65" fmla="*/ 119 h 267"/>
              <a:gd name="T66" fmla="*/ 1181 w 1440"/>
              <a:gd name="T67" fmla="*/ 153 h 267"/>
              <a:gd name="T68" fmla="*/ 1201 w 1440"/>
              <a:gd name="T69" fmla="*/ 125 h 267"/>
              <a:gd name="T70" fmla="*/ 1230 w 1440"/>
              <a:gd name="T71" fmla="*/ 157 h 267"/>
              <a:gd name="T72" fmla="*/ 1260 w 1440"/>
              <a:gd name="T73" fmla="*/ 154 h 267"/>
              <a:gd name="T74" fmla="*/ 1261 w 1440"/>
              <a:gd name="T75" fmla="*/ 158 h 267"/>
              <a:gd name="T76" fmla="*/ 1284 w 1440"/>
              <a:gd name="T77" fmla="*/ 152 h 267"/>
              <a:gd name="T78" fmla="*/ 1294 w 1440"/>
              <a:gd name="T79" fmla="*/ 123 h 267"/>
              <a:gd name="T80" fmla="*/ 1317 w 1440"/>
              <a:gd name="T81" fmla="*/ 125 h 267"/>
              <a:gd name="T82" fmla="*/ 1342 w 1440"/>
              <a:gd name="T83" fmla="*/ 121 h 267"/>
              <a:gd name="T84" fmla="*/ 1351 w 1440"/>
              <a:gd name="T85" fmla="*/ 112 h 267"/>
              <a:gd name="T86" fmla="*/ 1364 w 1440"/>
              <a:gd name="T87" fmla="*/ 159 h 267"/>
              <a:gd name="T88" fmla="*/ 1399 w 1440"/>
              <a:gd name="T89" fmla="*/ 156 h 267"/>
              <a:gd name="T90" fmla="*/ 1432 w 1440"/>
              <a:gd name="T91" fmla="*/ 120 h 267"/>
              <a:gd name="T92" fmla="*/ 1410 w 1440"/>
              <a:gd name="T93" fmla="*/ 176 h 267"/>
              <a:gd name="T94" fmla="*/ 1076 w 1440"/>
              <a:gd name="T95" fmla="*/ 242 h 267"/>
              <a:gd name="T96" fmla="*/ 1062 w 1440"/>
              <a:gd name="T97" fmla="*/ 225 h 267"/>
              <a:gd name="T98" fmla="*/ 1091 w 1440"/>
              <a:gd name="T99" fmla="*/ 208 h 267"/>
              <a:gd name="T100" fmla="*/ 1112 w 1440"/>
              <a:gd name="T101" fmla="*/ 233 h 267"/>
              <a:gd name="T102" fmla="*/ 1128 w 1440"/>
              <a:gd name="T103" fmla="*/ 224 h 267"/>
              <a:gd name="T104" fmla="*/ 1168 w 1440"/>
              <a:gd name="T105" fmla="*/ 255 h 267"/>
              <a:gd name="T106" fmla="*/ 1154 w 1440"/>
              <a:gd name="T107" fmla="*/ 236 h 267"/>
              <a:gd name="T108" fmla="*/ 1203 w 1440"/>
              <a:gd name="T109" fmla="*/ 256 h 267"/>
              <a:gd name="T110" fmla="*/ 1200 w 1440"/>
              <a:gd name="T111" fmla="*/ 213 h 267"/>
              <a:gd name="T112" fmla="*/ 1227 w 1440"/>
              <a:gd name="T113" fmla="*/ 256 h 267"/>
              <a:gd name="T114" fmla="*/ 1249 w 1440"/>
              <a:gd name="T115" fmla="*/ 260 h 267"/>
              <a:gd name="T116" fmla="*/ 1255 w 1440"/>
              <a:gd name="T117" fmla="*/ 205 h 267"/>
              <a:gd name="T118" fmla="*/ 1297 w 1440"/>
              <a:gd name="T119" fmla="*/ 226 h 267"/>
              <a:gd name="T120" fmla="*/ 1303 w 1440"/>
              <a:gd name="T121" fmla="*/ 243 h 267"/>
              <a:gd name="T122" fmla="*/ 1344 w 1440"/>
              <a:gd name="T123" fmla="*/ 229 h 267"/>
              <a:gd name="T124" fmla="*/ 1328 w 1440"/>
              <a:gd name="T125" fmla="*/ 239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440" h="267">
                <a:moveTo>
                  <a:pt x="17" y="110"/>
                </a:moveTo>
                <a:cubicBezTo>
                  <a:pt x="3" y="110"/>
                  <a:pt x="3" y="110"/>
                  <a:pt x="3" y="110"/>
                </a:cubicBezTo>
                <a:cubicBezTo>
                  <a:pt x="3" y="1"/>
                  <a:pt x="3" y="1"/>
                  <a:pt x="3" y="1"/>
                </a:cubicBezTo>
                <a:cubicBezTo>
                  <a:pt x="81" y="83"/>
                  <a:pt x="81" y="83"/>
                  <a:pt x="81" y="83"/>
                </a:cubicBezTo>
                <a:cubicBezTo>
                  <a:pt x="81" y="7"/>
                  <a:pt x="81" y="7"/>
                  <a:pt x="81" y="7"/>
                </a:cubicBezTo>
                <a:cubicBezTo>
                  <a:pt x="95" y="7"/>
                  <a:pt x="95" y="7"/>
                  <a:pt x="95" y="7"/>
                </a:cubicBezTo>
                <a:cubicBezTo>
                  <a:pt x="95" y="117"/>
                  <a:pt x="95" y="117"/>
                  <a:pt x="95" y="117"/>
                </a:cubicBezTo>
                <a:cubicBezTo>
                  <a:pt x="17" y="35"/>
                  <a:pt x="17" y="35"/>
                  <a:pt x="17" y="35"/>
                </a:cubicBezTo>
                <a:lnTo>
                  <a:pt x="17" y="110"/>
                </a:lnTo>
                <a:close/>
                <a:moveTo>
                  <a:pt x="130" y="110"/>
                </a:moveTo>
                <a:cubicBezTo>
                  <a:pt x="145" y="110"/>
                  <a:pt x="145" y="110"/>
                  <a:pt x="145" y="110"/>
                </a:cubicBezTo>
                <a:cubicBezTo>
                  <a:pt x="178" y="33"/>
                  <a:pt x="178" y="33"/>
                  <a:pt x="178" y="33"/>
                </a:cubicBezTo>
                <a:cubicBezTo>
                  <a:pt x="210" y="109"/>
                  <a:pt x="210" y="109"/>
                  <a:pt x="210" y="109"/>
                </a:cubicBezTo>
                <a:cubicBezTo>
                  <a:pt x="210" y="110"/>
                  <a:pt x="210" y="110"/>
                  <a:pt x="210" y="110"/>
                </a:cubicBezTo>
                <a:cubicBezTo>
                  <a:pt x="225" y="110"/>
                  <a:pt x="225" y="110"/>
                  <a:pt x="225" y="110"/>
                </a:cubicBezTo>
                <a:cubicBezTo>
                  <a:pt x="178" y="0"/>
                  <a:pt x="178" y="0"/>
                  <a:pt x="178" y="0"/>
                </a:cubicBezTo>
                <a:lnTo>
                  <a:pt x="130" y="110"/>
                </a:lnTo>
                <a:close/>
                <a:moveTo>
                  <a:pt x="700" y="110"/>
                </a:moveTo>
                <a:cubicBezTo>
                  <a:pt x="715" y="110"/>
                  <a:pt x="715" y="110"/>
                  <a:pt x="715" y="110"/>
                </a:cubicBezTo>
                <a:cubicBezTo>
                  <a:pt x="748" y="33"/>
                  <a:pt x="748" y="33"/>
                  <a:pt x="748" y="33"/>
                </a:cubicBezTo>
                <a:cubicBezTo>
                  <a:pt x="780" y="109"/>
                  <a:pt x="780" y="109"/>
                  <a:pt x="780" y="109"/>
                </a:cubicBezTo>
                <a:cubicBezTo>
                  <a:pt x="780" y="110"/>
                  <a:pt x="780" y="110"/>
                  <a:pt x="780" y="110"/>
                </a:cubicBezTo>
                <a:cubicBezTo>
                  <a:pt x="795" y="110"/>
                  <a:pt x="795" y="110"/>
                  <a:pt x="795" y="110"/>
                </a:cubicBezTo>
                <a:cubicBezTo>
                  <a:pt x="748" y="0"/>
                  <a:pt x="748" y="0"/>
                  <a:pt x="748" y="0"/>
                </a:cubicBezTo>
                <a:lnTo>
                  <a:pt x="700" y="110"/>
                </a:lnTo>
                <a:close/>
                <a:moveTo>
                  <a:pt x="273" y="110"/>
                </a:moveTo>
                <a:cubicBezTo>
                  <a:pt x="286" y="110"/>
                  <a:pt x="286" y="110"/>
                  <a:pt x="286" y="110"/>
                </a:cubicBezTo>
                <a:cubicBezTo>
                  <a:pt x="286" y="20"/>
                  <a:pt x="286" y="20"/>
                  <a:pt x="286" y="20"/>
                </a:cubicBezTo>
                <a:cubicBezTo>
                  <a:pt x="317" y="20"/>
                  <a:pt x="317" y="20"/>
                  <a:pt x="317" y="20"/>
                </a:cubicBezTo>
                <a:cubicBezTo>
                  <a:pt x="317" y="7"/>
                  <a:pt x="317" y="7"/>
                  <a:pt x="317" y="7"/>
                </a:cubicBezTo>
                <a:cubicBezTo>
                  <a:pt x="242" y="7"/>
                  <a:pt x="242" y="7"/>
                  <a:pt x="242" y="7"/>
                </a:cubicBezTo>
                <a:cubicBezTo>
                  <a:pt x="242" y="20"/>
                  <a:pt x="242" y="20"/>
                  <a:pt x="242" y="20"/>
                </a:cubicBezTo>
                <a:cubicBezTo>
                  <a:pt x="273" y="20"/>
                  <a:pt x="273" y="20"/>
                  <a:pt x="273" y="20"/>
                </a:cubicBezTo>
                <a:lnTo>
                  <a:pt x="273" y="110"/>
                </a:lnTo>
                <a:close/>
                <a:moveTo>
                  <a:pt x="374" y="7"/>
                </a:moveTo>
                <a:cubicBezTo>
                  <a:pt x="360" y="7"/>
                  <a:pt x="360" y="7"/>
                  <a:pt x="360" y="7"/>
                </a:cubicBezTo>
                <a:cubicBezTo>
                  <a:pt x="360" y="110"/>
                  <a:pt x="360" y="110"/>
                  <a:pt x="360" y="110"/>
                </a:cubicBezTo>
                <a:cubicBezTo>
                  <a:pt x="374" y="110"/>
                  <a:pt x="374" y="110"/>
                  <a:pt x="374" y="110"/>
                </a:cubicBezTo>
                <a:lnTo>
                  <a:pt x="374" y="7"/>
                </a:lnTo>
                <a:close/>
                <a:moveTo>
                  <a:pt x="475" y="112"/>
                </a:moveTo>
                <a:cubicBezTo>
                  <a:pt x="445" y="112"/>
                  <a:pt x="421" y="88"/>
                  <a:pt x="421" y="59"/>
                </a:cubicBezTo>
                <a:cubicBezTo>
                  <a:pt x="421" y="29"/>
                  <a:pt x="445" y="5"/>
                  <a:pt x="475" y="5"/>
                </a:cubicBezTo>
                <a:cubicBezTo>
                  <a:pt x="505" y="5"/>
                  <a:pt x="528" y="29"/>
                  <a:pt x="528" y="59"/>
                </a:cubicBezTo>
                <a:cubicBezTo>
                  <a:pt x="528" y="88"/>
                  <a:pt x="505" y="112"/>
                  <a:pt x="475" y="112"/>
                </a:cubicBezTo>
                <a:close/>
                <a:moveTo>
                  <a:pt x="475" y="19"/>
                </a:moveTo>
                <a:cubicBezTo>
                  <a:pt x="453" y="19"/>
                  <a:pt x="435" y="37"/>
                  <a:pt x="435" y="59"/>
                </a:cubicBezTo>
                <a:cubicBezTo>
                  <a:pt x="435" y="81"/>
                  <a:pt x="453" y="99"/>
                  <a:pt x="475" y="99"/>
                </a:cubicBezTo>
                <a:cubicBezTo>
                  <a:pt x="497" y="99"/>
                  <a:pt x="514" y="81"/>
                  <a:pt x="514" y="59"/>
                </a:cubicBezTo>
                <a:cubicBezTo>
                  <a:pt x="514" y="37"/>
                  <a:pt x="497" y="19"/>
                  <a:pt x="475" y="19"/>
                </a:cubicBezTo>
                <a:close/>
                <a:moveTo>
                  <a:pt x="586" y="35"/>
                </a:moveTo>
                <a:cubicBezTo>
                  <a:pt x="664" y="117"/>
                  <a:pt x="664" y="117"/>
                  <a:pt x="664" y="117"/>
                </a:cubicBezTo>
                <a:cubicBezTo>
                  <a:pt x="664" y="7"/>
                  <a:pt x="664" y="7"/>
                  <a:pt x="664" y="7"/>
                </a:cubicBezTo>
                <a:cubicBezTo>
                  <a:pt x="650" y="7"/>
                  <a:pt x="650" y="7"/>
                  <a:pt x="650" y="7"/>
                </a:cubicBezTo>
                <a:cubicBezTo>
                  <a:pt x="650" y="83"/>
                  <a:pt x="650" y="83"/>
                  <a:pt x="650" y="83"/>
                </a:cubicBezTo>
                <a:cubicBezTo>
                  <a:pt x="572" y="1"/>
                  <a:pt x="572" y="1"/>
                  <a:pt x="572" y="1"/>
                </a:cubicBezTo>
                <a:cubicBezTo>
                  <a:pt x="572" y="110"/>
                  <a:pt x="572" y="110"/>
                  <a:pt x="572" y="110"/>
                </a:cubicBezTo>
                <a:cubicBezTo>
                  <a:pt x="586" y="110"/>
                  <a:pt x="586" y="110"/>
                  <a:pt x="586" y="110"/>
                </a:cubicBezTo>
                <a:lnTo>
                  <a:pt x="586" y="35"/>
                </a:lnTo>
                <a:close/>
                <a:moveTo>
                  <a:pt x="843" y="7"/>
                </a:moveTo>
                <a:cubicBezTo>
                  <a:pt x="830" y="7"/>
                  <a:pt x="830" y="7"/>
                  <a:pt x="830" y="7"/>
                </a:cubicBezTo>
                <a:cubicBezTo>
                  <a:pt x="830" y="110"/>
                  <a:pt x="830" y="110"/>
                  <a:pt x="830" y="110"/>
                </a:cubicBezTo>
                <a:cubicBezTo>
                  <a:pt x="885" y="110"/>
                  <a:pt x="885" y="110"/>
                  <a:pt x="885" y="110"/>
                </a:cubicBezTo>
                <a:cubicBezTo>
                  <a:pt x="885" y="97"/>
                  <a:pt x="885" y="97"/>
                  <a:pt x="885" y="97"/>
                </a:cubicBezTo>
                <a:cubicBezTo>
                  <a:pt x="843" y="97"/>
                  <a:pt x="843" y="97"/>
                  <a:pt x="843" y="97"/>
                </a:cubicBezTo>
                <a:lnTo>
                  <a:pt x="843" y="7"/>
                </a:lnTo>
                <a:close/>
                <a:moveTo>
                  <a:pt x="169" y="156"/>
                </a:moveTo>
                <a:cubicBezTo>
                  <a:pt x="139" y="156"/>
                  <a:pt x="116" y="179"/>
                  <a:pt x="116" y="209"/>
                </a:cubicBezTo>
                <a:cubicBezTo>
                  <a:pt x="116" y="240"/>
                  <a:pt x="139" y="262"/>
                  <a:pt x="169" y="262"/>
                </a:cubicBezTo>
                <a:cubicBezTo>
                  <a:pt x="175" y="262"/>
                  <a:pt x="188" y="261"/>
                  <a:pt x="200" y="252"/>
                </a:cubicBezTo>
                <a:cubicBezTo>
                  <a:pt x="200" y="252"/>
                  <a:pt x="200" y="252"/>
                  <a:pt x="200" y="252"/>
                </a:cubicBezTo>
                <a:cubicBezTo>
                  <a:pt x="200" y="234"/>
                  <a:pt x="200" y="234"/>
                  <a:pt x="200" y="234"/>
                </a:cubicBezTo>
                <a:cubicBezTo>
                  <a:pt x="198" y="236"/>
                  <a:pt x="198" y="236"/>
                  <a:pt x="198" y="236"/>
                </a:cubicBezTo>
                <a:cubicBezTo>
                  <a:pt x="196" y="239"/>
                  <a:pt x="192" y="242"/>
                  <a:pt x="187" y="245"/>
                </a:cubicBezTo>
                <a:cubicBezTo>
                  <a:pt x="181" y="247"/>
                  <a:pt x="175" y="249"/>
                  <a:pt x="169" y="249"/>
                </a:cubicBezTo>
                <a:cubicBezTo>
                  <a:pt x="142" y="249"/>
                  <a:pt x="130" y="226"/>
                  <a:pt x="130" y="210"/>
                </a:cubicBezTo>
                <a:cubicBezTo>
                  <a:pt x="130" y="187"/>
                  <a:pt x="147" y="169"/>
                  <a:pt x="169" y="169"/>
                </a:cubicBezTo>
                <a:cubicBezTo>
                  <a:pt x="174" y="169"/>
                  <a:pt x="180" y="170"/>
                  <a:pt x="185" y="173"/>
                </a:cubicBezTo>
                <a:cubicBezTo>
                  <a:pt x="190" y="175"/>
                  <a:pt x="194" y="178"/>
                  <a:pt x="198" y="182"/>
                </a:cubicBezTo>
                <a:cubicBezTo>
                  <a:pt x="200" y="184"/>
                  <a:pt x="200" y="184"/>
                  <a:pt x="200" y="184"/>
                </a:cubicBezTo>
                <a:cubicBezTo>
                  <a:pt x="200" y="166"/>
                  <a:pt x="200" y="166"/>
                  <a:pt x="200" y="166"/>
                </a:cubicBezTo>
                <a:cubicBezTo>
                  <a:pt x="200" y="166"/>
                  <a:pt x="200" y="166"/>
                  <a:pt x="200" y="166"/>
                </a:cubicBezTo>
                <a:cubicBezTo>
                  <a:pt x="191" y="159"/>
                  <a:pt x="181" y="156"/>
                  <a:pt x="169" y="156"/>
                </a:cubicBezTo>
                <a:close/>
                <a:moveTo>
                  <a:pt x="437" y="209"/>
                </a:moveTo>
                <a:cubicBezTo>
                  <a:pt x="437" y="225"/>
                  <a:pt x="431" y="238"/>
                  <a:pt x="419" y="249"/>
                </a:cubicBezTo>
                <a:cubicBezTo>
                  <a:pt x="409" y="257"/>
                  <a:pt x="399" y="261"/>
                  <a:pt x="382" y="261"/>
                </a:cubicBezTo>
                <a:cubicBezTo>
                  <a:pt x="360" y="261"/>
                  <a:pt x="360" y="261"/>
                  <a:pt x="360" y="261"/>
                </a:cubicBezTo>
                <a:cubicBezTo>
                  <a:pt x="360" y="157"/>
                  <a:pt x="360" y="157"/>
                  <a:pt x="360" y="157"/>
                </a:cubicBezTo>
                <a:cubicBezTo>
                  <a:pt x="382" y="157"/>
                  <a:pt x="382" y="157"/>
                  <a:pt x="382" y="157"/>
                </a:cubicBezTo>
                <a:cubicBezTo>
                  <a:pt x="393" y="157"/>
                  <a:pt x="407" y="159"/>
                  <a:pt x="420" y="170"/>
                </a:cubicBezTo>
                <a:cubicBezTo>
                  <a:pt x="426" y="175"/>
                  <a:pt x="437" y="187"/>
                  <a:pt x="437" y="209"/>
                </a:cubicBezTo>
                <a:close/>
                <a:moveTo>
                  <a:pt x="423" y="209"/>
                </a:moveTo>
                <a:cubicBezTo>
                  <a:pt x="423" y="186"/>
                  <a:pt x="407" y="171"/>
                  <a:pt x="382" y="171"/>
                </a:cubicBezTo>
                <a:cubicBezTo>
                  <a:pt x="374" y="171"/>
                  <a:pt x="374" y="171"/>
                  <a:pt x="374" y="171"/>
                </a:cubicBezTo>
                <a:cubicBezTo>
                  <a:pt x="374" y="247"/>
                  <a:pt x="374" y="247"/>
                  <a:pt x="374" y="247"/>
                </a:cubicBezTo>
                <a:cubicBezTo>
                  <a:pt x="382" y="247"/>
                  <a:pt x="382" y="247"/>
                  <a:pt x="382" y="247"/>
                </a:cubicBezTo>
                <a:cubicBezTo>
                  <a:pt x="390" y="247"/>
                  <a:pt x="401" y="246"/>
                  <a:pt x="410" y="239"/>
                </a:cubicBezTo>
                <a:cubicBezTo>
                  <a:pt x="416" y="234"/>
                  <a:pt x="423" y="224"/>
                  <a:pt x="423" y="209"/>
                </a:cubicBezTo>
                <a:close/>
                <a:moveTo>
                  <a:pt x="479" y="261"/>
                </a:moveTo>
                <a:cubicBezTo>
                  <a:pt x="541" y="261"/>
                  <a:pt x="541" y="261"/>
                  <a:pt x="541" y="261"/>
                </a:cubicBezTo>
                <a:cubicBezTo>
                  <a:pt x="541" y="247"/>
                  <a:pt x="541" y="247"/>
                  <a:pt x="541" y="247"/>
                </a:cubicBezTo>
                <a:cubicBezTo>
                  <a:pt x="493" y="247"/>
                  <a:pt x="493" y="247"/>
                  <a:pt x="493" y="247"/>
                </a:cubicBezTo>
                <a:cubicBezTo>
                  <a:pt x="493" y="211"/>
                  <a:pt x="493" y="211"/>
                  <a:pt x="493" y="211"/>
                </a:cubicBezTo>
                <a:cubicBezTo>
                  <a:pt x="535" y="211"/>
                  <a:pt x="535" y="211"/>
                  <a:pt x="535" y="211"/>
                </a:cubicBezTo>
                <a:cubicBezTo>
                  <a:pt x="535" y="198"/>
                  <a:pt x="535" y="198"/>
                  <a:pt x="535" y="198"/>
                </a:cubicBezTo>
                <a:cubicBezTo>
                  <a:pt x="493" y="198"/>
                  <a:pt x="493" y="198"/>
                  <a:pt x="493" y="198"/>
                </a:cubicBezTo>
                <a:cubicBezTo>
                  <a:pt x="493" y="171"/>
                  <a:pt x="493" y="171"/>
                  <a:pt x="493" y="171"/>
                </a:cubicBezTo>
                <a:cubicBezTo>
                  <a:pt x="541" y="171"/>
                  <a:pt x="541" y="171"/>
                  <a:pt x="541" y="171"/>
                </a:cubicBezTo>
                <a:cubicBezTo>
                  <a:pt x="541" y="157"/>
                  <a:pt x="541" y="157"/>
                  <a:pt x="541" y="157"/>
                </a:cubicBezTo>
                <a:cubicBezTo>
                  <a:pt x="479" y="157"/>
                  <a:pt x="479" y="157"/>
                  <a:pt x="479" y="157"/>
                </a:cubicBezTo>
                <a:lnTo>
                  <a:pt x="479" y="261"/>
                </a:lnTo>
                <a:close/>
                <a:moveTo>
                  <a:pt x="805" y="261"/>
                </a:moveTo>
                <a:cubicBezTo>
                  <a:pt x="866" y="261"/>
                  <a:pt x="866" y="261"/>
                  <a:pt x="866" y="261"/>
                </a:cubicBezTo>
                <a:cubicBezTo>
                  <a:pt x="866" y="247"/>
                  <a:pt x="866" y="247"/>
                  <a:pt x="866" y="247"/>
                </a:cubicBezTo>
                <a:cubicBezTo>
                  <a:pt x="819" y="247"/>
                  <a:pt x="819" y="247"/>
                  <a:pt x="819" y="247"/>
                </a:cubicBezTo>
                <a:cubicBezTo>
                  <a:pt x="819" y="211"/>
                  <a:pt x="819" y="211"/>
                  <a:pt x="819" y="211"/>
                </a:cubicBezTo>
                <a:cubicBezTo>
                  <a:pt x="860" y="211"/>
                  <a:pt x="860" y="211"/>
                  <a:pt x="860" y="211"/>
                </a:cubicBezTo>
                <a:cubicBezTo>
                  <a:pt x="860" y="198"/>
                  <a:pt x="860" y="198"/>
                  <a:pt x="860" y="198"/>
                </a:cubicBezTo>
                <a:cubicBezTo>
                  <a:pt x="819" y="198"/>
                  <a:pt x="819" y="198"/>
                  <a:pt x="819" y="198"/>
                </a:cubicBezTo>
                <a:cubicBezTo>
                  <a:pt x="819" y="171"/>
                  <a:pt x="819" y="171"/>
                  <a:pt x="819" y="171"/>
                </a:cubicBezTo>
                <a:cubicBezTo>
                  <a:pt x="866" y="171"/>
                  <a:pt x="866" y="171"/>
                  <a:pt x="866" y="171"/>
                </a:cubicBezTo>
                <a:cubicBezTo>
                  <a:pt x="866" y="157"/>
                  <a:pt x="866" y="157"/>
                  <a:pt x="866" y="157"/>
                </a:cubicBezTo>
                <a:cubicBezTo>
                  <a:pt x="805" y="157"/>
                  <a:pt x="805" y="157"/>
                  <a:pt x="805" y="157"/>
                </a:cubicBezTo>
                <a:lnTo>
                  <a:pt x="805" y="261"/>
                </a:lnTo>
                <a:close/>
                <a:moveTo>
                  <a:pt x="634" y="235"/>
                </a:moveTo>
                <a:cubicBezTo>
                  <a:pt x="595" y="149"/>
                  <a:pt x="595" y="149"/>
                  <a:pt x="595" y="149"/>
                </a:cubicBezTo>
                <a:cubicBezTo>
                  <a:pt x="578" y="261"/>
                  <a:pt x="578" y="261"/>
                  <a:pt x="578" y="261"/>
                </a:cubicBezTo>
                <a:cubicBezTo>
                  <a:pt x="592" y="261"/>
                  <a:pt x="592" y="261"/>
                  <a:pt x="592" y="261"/>
                </a:cubicBezTo>
                <a:cubicBezTo>
                  <a:pt x="601" y="194"/>
                  <a:pt x="601" y="194"/>
                  <a:pt x="601" y="194"/>
                </a:cubicBezTo>
                <a:cubicBezTo>
                  <a:pt x="634" y="267"/>
                  <a:pt x="634" y="267"/>
                  <a:pt x="634" y="267"/>
                </a:cubicBezTo>
                <a:cubicBezTo>
                  <a:pt x="668" y="194"/>
                  <a:pt x="668" y="194"/>
                  <a:pt x="668" y="194"/>
                </a:cubicBezTo>
                <a:cubicBezTo>
                  <a:pt x="677" y="261"/>
                  <a:pt x="677" y="261"/>
                  <a:pt x="677" y="261"/>
                </a:cubicBezTo>
                <a:cubicBezTo>
                  <a:pt x="691" y="261"/>
                  <a:pt x="691" y="261"/>
                  <a:pt x="691" y="261"/>
                </a:cubicBezTo>
                <a:cubicBezTo>
                  <a:pt x="674" y="148"/>
                  <a:pt x="674" y="148"/>
                  <a:pt x="674" y="148"/>
                </a:cubicBezTo>
                <a:lnTo>
                  <a:pt x="634" y="235"/>
                </a:lnTo>
                <a:close/>
                <a:moveTo>
                  <a:pt x="737" y="261"/>
                </a:moveTo>
                <a:cubicBezTo>
                  <a:pt x="751" y="261"/>
                  <a:pt x="751" y="261"/>
                  <a:pt x="751" y="261"/>
                </a:cubicBezTo>
                <a:cubicBezTo>
                  <a:pt x="751" y="157"/>
                  <a:pt x="751" y="157"/>
                  <a:pt x="751" y="157"/>
                </a:cubicBezTo>
                <a:cubicBezTo>
                  <a:pt x="737" y="157"/>
                  <a:pt x="737" y="157"/>
                  <a:pt x="737" y="157"/>
                </a:cubicBezTo>
                <a:lnTo>
                  <a:pt x="737" y="261"/>
                </a:lnTo>
                <a:close/>
                <a:moveTo>
                  <a:pt x="955" y="211"/>
                </a:moveTo>
                <a:cubicBezTo>
                  <a:pt x="950" y="207"/>
                  <a:pt x="945" y="204"/>
                  <a:pt x="939" y="201"/>
                </a:cubicBezTo>
                <a:cubicBezTo>
                  <a:pt x="929" y="197"/>
                  <a:pt x="929" y="197"/>
                  <a:pt x="929" y="197"/>
                </a:cubicBezTo>
                <a:cubicBezTo>
                  <a:pt x="925" y="195"/>
                  <a:pt x="922" y="194"/>
                  <a:pt x="919" y="191"/>
                </a:cubicBezTo>
                <a:cubicBezTo>
                  <a:pt x="916" y="189"/>
                  <a:pt x="916" y="187"/>
                  <a:pt x="916" y="183"/>
                </a:cubicBezTo>
                <a:cubicBezTo>
                  <a:pt x="916" y="175"/>
                  <a:pt x="922" y="169"/>
                  <a:pt x="931" y="169"/>
                </a:cubicBezTo>
                <a:cubicBezTo>
                  <a:pt x="936" y="169"/>
                  <a:pt x="940" y="171"/>
                  <a:pt x="942" y="172"/>
                </a:cubicBezTo>
                <a:cubicBezTo>
                  <a:pt x="944" y="174"/>
                  <a:pt x="946" y="177"/>
                  <a:pt x="947" y="179"/>
                </a:cubicBezTo>
                <a:cubicBezTo>
                  <a:pt x="948" y="181"/>
                  <a:pt x="948" y="181"/>
                  <a:pt x="948" y="181"/>
                </a:cubicBezTo>
                <a:cubicBezTo>
                  <a:pt x="959" y="173"/>
                  <a:pt x="959" y="173"/>
                  <a:pt x="959" y="173"/>
                </a:cubicBezTo>
                <a:cubicBezTo>
                  <a:pt x="958" y="172"/>
                  <a:pt x="958" y="172"/>
                  <a:pt x="958" y="172"/>
                </a:cubicBezTo>
                <a:cubicBezTo>
                  <a:pt x="956" y="167"/>
                  <a:pt x="952" y="163"/>
                  <a:pt x="948" y="161"/>
                </a:cubicBezTo>
                <a:cubicBezTo>
                  <a:pt x="943" y="157"/>
                  <a:pt x="938" y="156"/>
                  <a:pt x="931" y="156"/>
                </a:cubicBezTo>
                <a:cubicBezTo>
                  <a:pt x="914" y="156"/>
                  <a:pt x="902" y="167"/>
                  <a:pt x="902" y="183"/>
                </a:cubicBezTo>
                <a:cubicBezTo>
                  <a:pt x="902" y="190"/>
                  <a:pt x="904" y="195"/>
                  <a:pt x="909" y="200"/>
                </a:cubicBezTo>
                <a:cubicBezTo>
                  <a:pt x="913" y="205"/>
                  <a:pt x="918" y="207"/>
                  <a:pt x="922" y="209"/>
                </a:cubicBezTo>
                <a:cubicBezTo>
                  <a:pt x="932" y="213"/>
                  <a:pt x="932" y="213"/>
                  <a:pt x="932" y="213"/>
                </a:cubicBezTo>
                <a:cubicBezTo>
                  <a:pt x="937" y="215"/>
                  <a:pt x="941" y="217"/>
                  <a:pt x="944" y="220"/>
                </a:cubicBezTo>
                <a:cubicBezTo>
                  <a:pt x="947" y="223"/>
                  <a:pt x="948" y="226"/>
                  <a:pt x="948" y="231"/>
                </a:cubicBezTo>
                <a:cubicBezTo>
                  <a:pt x="948" y="240"/>
                  <a:pt x="942" y="249"/>
                  <a:pt x="929" y="249"/>
                </a:cubicBezTo>
                <a:cubicBezTo>
                  <a:pt x="924" y="249"/>
                  <a:pt x="919" y="247"/>
                  <a:pt x="916" y="244"/>
                </a:cubicBezTo>
                <a:cubicBezTo>
                  <a:pt x="913" y="241"/>
                  <a:pt x="911" y="236"/>
                  <a:pt x="910" y="232"/>
                </a:cubicBezTo>
                <a:cubicBezTo>
                  <a:pt x="910" y="230"/>
                  <a:pt x="910" y="230"/>
                  <a:pt x="910" y="230"/>
                </a:cubicBezTo>
                <a:cubicBezTo>
                  <a:pt x="896" y="234"/>
                  <a:pt x="896" y="234"/>
                  <a:pt x="896" y="234"/>
                </a:cubicBezTo>
                <a:cubicBezTo>
                  <a:pt x="897" y="235"/>
                  <a:pt x="897" y="235"/>
                  <a:pt x="897" y="235"/>
                </a:cubicBezTo>
                <a:cubicBezTo>
                  <a:pt x="898" y="243"/>
                  <a:pt x="902" y="249"/>
                  <a:pt x="906" y="254"/>
                </a:cubicBezTo>
                <a:cubicBezTo>
                  <a:pt x="912" y="260"/>
                  <a:pt x="920" y="262"/>
                  <a:pt x="929" y="262"/>
                </a:cubicBezTo>
                <a:cubicBezTo>
                  <a:pt x="948" y="262"/>
                  <a:pt x="962" y="249"/>
                  <a:pt x="962" y="230"/>
                </a:cubicBezTo>
                <a:cubicBezTo>
                  <a:pt x="962" y="222"/>
                  <a:pt x="960" y="216"/>
                  <a:pt x="955" y="211"/>
                </a:cubicBezTo>
                <a:close/>
                <a:moveTo>
                  <a:pt x="0" y="261"/>
                </a:moveTo>
                <a:cubicBezTo>
                  <a:pt x="15" y="261"/>
                  <a:pt x="15" y="261"/>
                  <a:pt x="15" y="261"/>
                </a:cubicBezTo>
                <a:cubicBezTo>
                  <a:pt x="48" y="184"/>
                  <a:pt x="48" y="184"/>
                  <a:pt x="48" y="184"/>
                </a:cubicBezTo>
                <a:cubicBezTo>
                  <a:pt x="79" y="260"/>
                  <a:pt x="79" y="260"/>
                  <a:pt x="79" y="260"/>
                </a:cubicBezTo>
                <a:cubicBezTo>
                  <a:pt x="80" y="261"/>
                  <a:pt x="80" y="261"/>
                  <a:pt x="80" y="261"/>
                </a:cubicBezTo>
                <a:cubicBezTo>
                  <a:pt x="95" y="261"/>
                  <a:pt x="95" y="261"/>
                  <a:pt x="95" y="261"/>
                </a:cubicBezTo>
                <a:cubicBezTo>
                  <a:pt x="48" y="151"/>
                  <a:pt x="48" y="151"/>
                  <a:pt x="48" y="151"/>
                </a:cubicBezTo>
                <a:lnTo>
                  <a:pt x="0" y="261"/>
                </a:lnTo>
                <a:close/>
                <a:moveTo>
                  <a:pt x="229" y="261"/>
                </a:moveTo>
                <a:cubicBezTo>
                  <a:pt x="244" y="261"/>
                  <a:pt x="244" y="261"/>
                  <a:pt x="244" y="261"/>
                </a:cubicBezTo>
                <a:cubicBezTo>
                  <a:pt x="277" y="184"/>
                  <a:pt x="277" y="184"/>
                  <a:pt x="277" y="184"/>
                </a:cubicBezTo>
                <a:cubicBezTo>
                  <a:pt x="309" y="260"/>
                  <a:pt x="309" y="260"/>
                  <a:pt x="309" y="260"/>
                </a:cubicBezTo>
                <a:cubicBezTo>
                  <a:pt x="309" y="261"/>
                  <a:pt x="309" y="261"/>
                  <a:pt x="309" y="261"/>
                </a:cubicBezTo>
                <a:cubicBezTo>
                  <a:pt x="324" y="261"/>
                  <a:pt x="324" y="261"/>
                  <a:pt x="324" y="261"/>
                </a:cubicBezTo>
                <a:cubicBezTo>
                  <a:pt x="277" y="151"/>
                  <a:pt x="277" y="151"/>
                  <a:pt x="277" y="151"/>
                </a:cubicBezTo>
                <a:lnTo>
                  <a:pt x="229" y="261"/>
                </a:lnTo>
                <a:close/>
                <a:moveTo>
                  <a:pt x="1071" y="11"/>
                </a:moveTo>
                <a:cubicBezTo>
                  <a:pt x="1071" y="18"/>
                  <a:pt x="1071" y="18"/>
                  <a:pt x="1071" y="18"/>
                </a:cubicBezTo>
                <a:cubicBezTo>
                  <a:pt x="1075" y="18"/>
                  <a:pt x="1075" y="18"/>
                  <a:pt x="1075" y="18"/>
                </a:cubicBezTo>
                <a:cubicBezTo>
                  <a:pt x="1077" y="9"/>
                  <a:pt x="1077" y="9"/>
                  <a:pt x="1077" y="9"/>
                </a:cubicBezTo>
                <a:cubicBezTo>
                  <a:pt x="1076" y="8"/>
                  <a:pt x="1074" y="7"/>
                  <a:pt x="1072" y="6"/>
                </a:cubicBezTo>
                <a:cubicBezTo>
                  <a:pt x="1070" y="6"/>
                  <a:pt x="1067" y="6"/>
                  <a:pt x="1064" y="6"/>
                </a:cubicBezTo>
                <a:cubicBezTo>
                  <a:pt x="1061" y="6"/>
                  <a:pt x="1058" y="6"/>
                  <a:pt x="1056" y="7"/>
                </a:cubicBezTo>
                <a:cubicBezTo>
                  <a:pt x="1053" y="9"/>
                  <a:pt x="1051" y="10"/>
                  <a:pt x="1049" y="12"/>
                </a:cubicBezTo>
                <a:cubicBezTo>
                  <a:pt x="1048" y="14"/>
                  <a:pt x="1047" y="17"/>
                  <a:pt x="1047" y="20"/>
                </a:cubicBezTo>
                <a:cubicBezTo>
                  <a:pt x="1047" y="22"/>
                  <a:pt x="1048" y="24"/>
                  <a:pt x="1049" y="26"/>
                </a:cubicBezTo>
                <a:cubicBezTo>
                  <a:pt x="1050" y="28"/>
                  <a:pt x="1051" y="30"/>
                  <a:pt x="1053" y="31"/>
                </a:cubicBezTo>
                <a:cubicBezTo>
                  <a:pt x="1055" y="32"/>
                  <a:pt x="1057" y="34"/>
                  <a:pt x="1059" y="35"/>
                </a:cubicBezTo>
                <a:cubicBezTo>
                  <a:pt x="1062" y="37"/>
                  <a:pt x="1064" y="39"/>
                  <a:pt x="1066" y="40"/>
                </a:cubicBezTo>
                <a:cubicBezTo>
                  <a:pt x="1067" y="42"/>
                  <a:pt x="1068" y="44"/>
                  <a:pt x="1068" y="47"/>
                </a:cubicBezTo>
                <a:cubicBezTo>
                  <a:pt x="1068" y="49"/>
                  <a:pt x="1067" y="52"/>
                  <a:pt x="1065" y="53"/>
                </a:cubicBezTo>
                <a:cubicBezTo>
                  <a:pt x="1062" y="55"/>
                  <a:pt x="1060" y="56"/>
                  <a:pt x="1057" y="56"/>
                </a:cubicBezTo>
                <a:cubicBezTo>
                  <a:pt x="1055" y="56"/>
                  <a:pt x="1053" y="56"/>
                  <a:pt x="1052" y="55"/>
                </a:cubicBezTo>
                <a:cubicBezTo>
                  <a:pt x="1050" y="55"/>
                  <a:pt x="1049" y="54"/>
                  <a:pt x="1048" y="54"/>
                </a:cubicBezTo>
                <a:cubicBezTo>
                  <a:pt x="1048" y="46"/>
                  <a:pt x="1048" y="46"/>
                  <a:pt x="1048" y="46"/>
                </a:cubicBezTo>
                <a:cubicBezTo>
                  <a:pt x="1044" y="46"/>
                  <a:pt x="1044" y="46"/>
                  <a:pt x="1044" y="46"/>
                </a:cubicBezTo>
                <a:cubicBezTo>
                  <a:pt x="1042" y="56"/>
                  <a:pt x="1042" y="56"/>
                  <a:pt x="1042" y="56"/>
                </a:cubicBezTo>
                <a:cubicBezTo>
                  <a:pt x="1043" y="57"/>
                  <a:pt x="1045" y="58"/>
                  <a:pt x="1048" y="58"/>
                </a:cubicBezTo>
                <a:cubicBezTo>
                  <a:pt x="1051" y="59"/>
                  <a:pt x="1054" y="59"/>
                  <a:pt x="1057" y="59"/>
                </a:cubicBezTo>
                <a:cubicBezTo>
                  <a:pt x="1060" y="59"/>
                  <a:pt x="1063" y="59"/>
                  <a:pt x="1066" y="57"/>
                </a:cubicBezTo>
                <a:cubicBezTo>
                  <a:pt x="1069" y="56"/>
                  <a:pt x="1071" y="54"/>
                  <a:pt x="1073" y="52"/>
                </a:cubicBezTo>
                <a:cubicBezTo>
                  <a:pt x="1074" y="50"/>
                  <a:pt x="1075" y="47"/>
                  <a:pt x="1075" y="44"/>
                </a:cubicBezTo>
                <a:cubicBezTo>
                  <a:pt x="1075" y="42"/>
                  <a:pt x="1074" y="40"/>
                  <a:pt x="1073" y="38"/>
                </a:cubicBezTo>
                <a:cubicBezTo>
                  <a:pt x="1072" y="36"/>
                  <a:pt x="1071" y="35"/>
                  <a:pt x="1069" y="34"/>
                </a:cubicBezTo>
                <a:cubicBezTo>
                  <a:pt x="1068" y="32"/>
                  <a:pt x="1066" y="31"/>
                  <a:pt x="1064" y="29"/>
                </a:cubicBezTo>
                <a:cubicBezTo>
                  <a:pt x="1060" y="27"/>
                  <a:pt x="1058" y="25"/>
                  <a:pt x="1056" y="24"/>
                </a:cubicBezTo>
                <a:cubicBezTo>
                  <a:pt x="1055" y="22"/>
                  <a:pt x="1054" y="20"/>
                  <a:pt x="1054" y="17"/>
                </a:cubicBezTo>
                <a:cubicBezTo>
                  <a:pt x="1054" y="15"/>
                  <a:pt x="1055" y="13"/>
                  <a:pt x="1057" y="11"/>
                </a:cubicBezTo>
                <a:cubicBezTo>
                  <a:pt x="1059" y="10"/>
                  <a:pt x="1061" y="9"/>
                  <a:pt x="1064" y="9"/>
                </a:cubicBezTo>
                <a:cubicBezTo>
                  <a:pt x="1065" y="9"/>
                  <a:pt x="1067" y="9"/>
                  <a:pt x="1068" y="10"/>
                </a:cubicBezTo>
                <a:cubicBezTo>
                  <a:pt x="1069" y="10"/>
                  <a:pt x="1070" y="10"/>
                  <a:pt x="1071" y="11"/>
                </a:cubicBezTo>
                <a:close/>
                <a:moveTo>
                  <a:pt x="1107" y="27"/>
                </a:moveTo>
                <a:cubicBezTo>
                  <a:pt x="1108" y="27"/>
                  <a:pt x="1108" y="27"/>
                  <a:pt x="1108" y="27"/>
                </a:cubicBezTo>
                <a:cubicBezTo>
                  <a:pt x="1110" y="20"/>
                  <a:pt x="1110" y="20"/>
                  <a:pt x="1110" y="20"/>
                </a:cubicBezTo>
                <a:cubicBezTo>
                  <a:pt x="1109" y="20"/>
                  <a:pt x="1108" y="19"/>
                  <a:pt x="1107" y="19"/>
                </a:cubicBezTo>
                <a:cubicBezTo>
                  <a:pt x="1105" y="19"/>
                  <a:pt x="1104" y="19"/>
                  <a:pt x="1102" y="19"/>
                </a:cubicBezTo>
                <a:cubicBezTo>
                  <a:pt x="1098" y="19"/>
                  <a:pt x="1094" y="20"/>
                  <a:pt x="1091" y="22"/>
                </a:cubicBezTo>
                <a:cubicBezTo>
                  <a:pt x="1088" y="25"/>
                  <a:pt x="1086" y="28"/>
                  <a:pt x="1084" y="32"/>
                </a:cubicBezTo>
                <a:cubicBezTo>
                  <a:pt x="1083" y="36"/>
                  <a:pt x="1082" y="40"/>
                  <a:pt x="1082" y="43"/>
                </a:cubicBezTo>
                <a:cubicBezTo>
                  <a:pt x="1082" y="48"/>
                  <a:pt x="1083" y="52"/>
                  <a:pt x="1085" y="55"/>
                </a:cubicBezTo>
                <a:cubicBezTo>
                  <a:pt x="1087" y="58"/>
                  <a:pt x="1091" y="59"/>
                  <a:pt x="1094" y="59"/>
                </a:cubicBezTo>
                <a:cubicBezTo>
                  <a:pt x="1098" y="59"/>
                  <a:pt x="1100" y="59"/>
                  <a:pt x="1102" y="57"/>
                </a:cubicBezTo>
                <a:cubicBezTo>
                  <a:pt x="1105" y="56"/>
                  <a:pt x="1106" y="54"/>
                  <a:pt x="1108" y="53"/>
                </a:cubicBezTo>
                <a:cubicBezTo>
                  <a:pt x="1106" y="50"/>
                  <a:pt x="1106" y="50"/>
                  <a:pt x="1106" y="50"/>
                </a:cubicBezTo>
                <a:cubicBezTo>
                  <a:pt x="1105" y="52"/>
                  <a:pt x="1103" y="53"/>
                  <a:pt x="1102" y="54"/>
                </a:cubicBezTo>
                <a:cubicBezTo>
                  <a:pt x="1100" y="54"/>
                  <a:pt x="1099" y="55"/>
                  <a:pt x="1097" y="55"/>
                </a:cubicBezTo>
                <a:cubicBezTo>
                  <a:pt x="1094" y="55"/>
                  <a:pt x="1092" y="54"/>
                  <a:pt x="1091" y="52"/>
                </a:cubicBezTo>
                <a:cubicBezTo>
                  <a:pt x="1090" y="50"/>
                  <a:pt x="1089" y="47"/>
                  <a:pt x="1089" y="43"/>
                </a:cubicBezTo>
                <a:cubicBezTo>
                  <a:pt x="1089" y="39"/>
                  <a:pt x="1090" y="35"/>
                  <a:pt x="1091" y="32"/>
                </a:cubicBezTo>
                <a:cubicBezTo>
                  <a:pt x="1092" y="30"/>
                  <a:pt x="1093" y="27"/>
                  <a:pt x="1095" y="26"/>
                </a:cubicBezTo>
                <a:cubicBezTo>
                  <a:pt x="1097" y="24"/>
                  <a:pt x="1099" y="23"/>
                  <a:pt x="1101" y="23"/>
                </a:cubicBezTo>
                <a:cubicBezTo>
                  <a:pt x="1102" y="23"/>
                  <a:pt x="1105" y="24"/>
                  <a:pt x="1107" y="27"/>
                </a:cubicBezTo>
                <a:close/>
                <a:moveTo>
                  <a:pt x="1124" y="52"/>
                </a:moveTo>
                <a:cubicBezTo>
                  <a:pt x="1129" y="19"/>
                  <a:pt x="1129" y="19"/>
                  <a:pt x="1129" y="19"/>
                </a:cubicBezTo>
                <a:cubicBezTo>
                  <a:pt x="1128" y="19"/>
                  <a:pt x="1128" y="19"/>
                  <a:pt x="1128" y="19"/>
                </a:cubicBezTo>
                <a:cubicBezTo>
                  <a:pt x="1118" y="20"/>
                  <a:pt x="1118" y="20"/>
                  <a:pt x="1118" y="20"/>
                </a:cubicBezTo>
                <a:cubicBezTo>
                  <a:pt x="1117" y="23"/>
                  <a:pt x="1117" y="23"/>
                  <a:pt x="1117" y="23"/>
                </a:cubicBezTo>
                <a:cubicBezTo>
                  <a:pt x="1122" y="24"/>
                  <a:pt x="1122" y="24"/>
                  <a:pt x="1122" y="24"/>
                </a:cubicBezTo>
                <a:cubicBezTo>
                  <a:pt x="1121" y="31"/>
                  <a:pt x="1120" y="37"/>
                  <a:pt x="1119" y="41"/>
                </a:cubicBezTo>
                <a:cubicBezTo>
                  <a:pt x="1118" y="49"/>
                  <a:pt x="1117" y="54"/>
                  <a:pt x="1117" y="55"/>
                </a:cubicBezTo>
                <a:cubicBezTo>
                  <a:pt x="1117" y="56"/>
                  <a:pt x="1118" y="57"/>
                  <a:pt x="1118" y="58"/>
                </a:cubicBezTo>
                <a:cubicBezTo>
                  <a:pt x="1119" y="59"/>
                  <a:pt x="1120" y="59"/>
                  <a:pt x="1122" y="59"/>
                </a:cubicBezTo>
                <a:cubicBezTo>
                  <a:pt x="1124" y="59"/>
                  <a:pt x="1125" y="59"/>
                  <a:pt x="1127" y="58"/>
                </a:cubicBezTo>
                <a:cubicBezTo>
                  <a:pt x="1128" y="57"/>
                  <a:pt x="1129" y="55"/>
                  <a:pt x="1130" y="54"/>
                </a:cubicBezTo>
                <a:cubicBezTo>
                  <a:pt x="1129" y="53"/>
                  <a:pt x="1129" y="53"/>
                  <a:pt x="1129" y="53"/>
                </a:cubicBezTo>
                <a:cubicBezTo>
                  <a:pt x="1128" y="54"/>
                  <a:pt x="1128" y="54"/>
                  <a:pt x="1127" y="54"/>
                </a:cubicBezTo>
                <a:cubicBezTo>
                  <a:pt x="1126" y="55"/>
                  <a:pt x="1126" y="55"/>
                  <a:pt x="1125" y="55"/>
                </a:cubicBezTo>
                <a:cubicBezTo>
                  <a:pt x="1125" y="55"/>
                  <a:pt x="1125" y="55"/>
                  <a:pt x="1125" y="54"/>
                </a:cubicBezTo>
                <a:cubicBezTo>
                  <a:pt x="1124" y="54"/>
                  <a:pt x="1124" y="54"/>
                  <a:pt x="1124" y="53"/>
                </a:cubicBezTo>
                <a:lnTo>
                  <a:pt x="1124" y="52"/>
                </a:lnTo>
                <a:close/>
                <a:moveTo>
                  <a:pt x="1127" y="11"/>
                </a:moveTo>
                <a:cubicBezTo>
                  <a:pt x="1128" y="11"/>
                  <a:pt x="1129" y="11"/>
                  <a:pt x="1130" y="10"/>
                </a:cubicBezTo>
                <a:cubicBezTo>
                  <a:pt x="1131" y="9"/>
                  <a:pt x="1131" y="7"/>
                  <a:pt x="1131" y="6"/>
                </a:cubicBezTo>
                <a:cubicBezTo>
                  <a:pt x="1131" y="5"/>
                  <a:pt x="1131" y="4"/>
                  <a:pt x="1130" y="3"/>
                </a:cubicBezTo>
                <a:cubicBezTo>
                  <a:pt x="1130" y="3"/>
                  <a:pt x="1129" y="2"/>
                  <a:pt x="1128" y="2"/>
                </a:cubicBezTo>
                <a:cubicBezTo>
                  <a:pt x="1126" y="2"/>
                  <a:pt x="1125" y="3"/>
                  <a:pt x="1124" y="4"/>
                </a:cubicBezTo>
                <a:cubicBezTo>
                  <a:pt x="1123" y="5"/>
                  <a:pt x="1123" y="6"/>
                  <a:pt x="1123" y="7"/>
                </a:cubicBezTo>
                <a:cubicBezTo>
                  <a:pt x="1123" y="8"/>
                  <a:pt x="1123" y="9"/>
                  <a:pt x="1124" y="10"/>
                </a:cubicBezTo>
                <a:cubicBezTo>
                  <a:pt x="1125" y="11"/>
                  <a:pt x="1126" y="11"/>
                  <a:pt x="1127" y="11"/>
                </a:cubicBezTo>
                <a:close/>
                <a:moveTo>
                  <a:pt x="1166" y="52"/>
                </a:moveTo>
                <a:cubicBezTo>
                  <a:pt x="1165" y="49"/>
                  <a:pt x="1165" y="49"/>
                  <a:pt x="1165" y="49"/>
                </a:cubicBezTo>
                <a:cubicBezTo>
                  <a:pt x="1163" y="51"/>
                  <a:pt x="1161" y="52"/>
                  <a:pt x="1159" y="53"/>
                </a:cubicBezTo>
                <a:cubicBezTo>
                  <a:pt x="1157" y="54"/>
                  <a:pt x="1155" y="55"/>
                  <a:pt x="1153" y="55"/>
                </a:cubicBezTo>
                <a:cubicBezTo>
                  <a:pt x="1150" y="55"/>
                  <a:pt x="1148" y="54"/>
                  <a:pt x="1147" y="51"/>
                </a:cubicBezTo>
                <a:cubicBezTo>
                  <a:pt x="1145" y="49"/>
                  <a:pt x="1145" y="46"/>
                  <a:pt x="1145" y="43"/>
                </a:cubicBezTo>
                <a:cubicBezTo>
                  <a:pt x="1148" y="43"/>
                  <a:pt x="1151" y="42"/>
                  <a:pt x="1155" y="41"/>
                </a:cubicBezTo>
                <a:cubicBezTo>
                  <a:pt x="1158" y="40"/>
                  <a:pt x="1162" y="38"/>
                  <a:pt x="1164" y="36"/>
                </a:cubicBezTo>
                <a:cubicBezTo>
                  <a:pt x="1167" y="33"/>
                  <a:pt x="1168" y="31"/>
                  <a:pt x="1168" y="27"/>
                </a:cubicBezTo>
                <a:cubicBezTo>
                  <a:pt x="1168" y="25"/>
                  <a:pt x="1167" y="23"/>
                  <a:pt x="1166" y="21"/>
                </a:cubicBezTo>
                <a:cubicBezTo>
                  <a:pt x="1164" y="19"/>
                  <a:pt x="1162" y="19"/>
                  <a:pt x="1158" y="19"/>
                </a:cubicBezTo>
                <a:cubicBezTo>
                  <a:pt x="1154" y="19"/>
                  <a:pt x="1151" y="20"/>
                  <a:pt x="1148" y="22"/>
                </a:cubicBezTo>
                <a:cubicBezTo>
                  <a:pt x="1145" y="24"/>
                  <a:pt x="1142" y="28"/>
                  <a:pt x="1140" y="31"/>
                </a:cubicBezTo>
                <a:cubicBezTo>
                  <a:pt x="1138" y="35"/>
                  <a:pt x="1138" y="40"/>
                  <a:pt x="1138" y="44"/>
                </a:cubicBezTo>
                <a:cubicBezTo>
                  <a:pt x="1138" y="47"/>
                  <a:pt x="1138" y="49"/>
                  <a:pt x="1139" y="52"/>
                </a:cubicBezTo>
                <a:cubicBezTo>
                  <a:pt x="1140" y="54"/>
                  <a:pt x="1142" y="56"/>
                  <a:pt x="1144" y="57"/>
                </a:cubicBezTo>
                <a:cubicBezTo>
                  <a:pt x="1146" y="59"/>
                  <a:pt x="1148" y="59"/>
                  <a:pt x="1151" y="59"/>
                </a:cubicBezTo>
                <a:cubicBezTo>
                  <a:pt x="1155" y="59"/>
                  <a:pt x="1158" y="58"/>
                  <a:pt x="1160" y="57"/>
                </a:cubicBezTo>
                <a:cubicBezTo>
                  <a:pt x="1163" y="55"/>
                  <a:pt x="1165" y="54"/>
                  <a:pt x="1166" y="52"/>
                </a:cubicBezTo>
                <a:close/>
                <a:moveTo>
                  <a:pt x="1157" y="22"/>
                </a:moveTo>
                <a:cubicBezTo>
                  <a:pt x="1158" y="22"/>
                  <a:pt x="1159" y="23"/>
                  <a:pt x="1160" y="24"/>
                </a:cubicBezTo>
                <a:cubicBezTo>
                  <a:pt x="1161" y="25"/>
                  <a:pt x="1161" y="26"/>
                  <a:pt x="1161" y="28"/>
                </a:cubicBezTo>
                <a:cubicBezTo>
                  <a:pt x="1161" y="30"/>
                  <a:pt x="1161" y="32"/>
                  <a:pt x="1159" y="34"/>
                </a:cubicBezTo>
                <a:cubicBezTo>
                  <a:pt x="1157" y="35"/>
                  <a:pt x="1155" y="37"/>
                  <a:pt x="1152" y="38"/>
                </a:cubicBezTo>
                <a:cubicBezTo>
                  <a:pt x="1150" y="39"/>
                  <a:pt x="1147" y="39"/>
                  <a:pt x="1145" y="39"/>
                </a:cubicBezTo>
                <a:cubicBezTo>
                  <a:pt x="1145" y="37"/>
                  <a:pt x="1146" y="34"/>
                  <a:pt x="1147" y="32"/>
                </a:cubicBezTo>
                <a:cubicBezTo>
                  <a:pt x="1148" y="29"/>
                  <a:pt x="1149" y="27"/>
                  <a:pt x="1151" y="25"/>
                </a:cubicBezTo>
                <a:cubicBezTo>
                  <a:pt x="1152" y="23"/>
                  <a:pt x="1154" y="22"/>
                  <a:pt x="1157" y="22"/>
                </a:cubicBezTo>
                <a:close/>
                <a:moveTo>
                  <a:pt x="1187" y="28"/>
                </a:moveTo>
                <a:cubicBezTo>
                  <a:pt x="1188" y="19"/>
                  <a:pt x="1188" y="19"/>
                  <a:pt x="1188" y="19"/>
                </a:cubicBezTo>
                <a:cubicBezTo>
                  <a:pt x="1186" y="19"/>
                  <a:pt x="1186" y="19"/>
                  <a:pt x="1186" y="19"/>
                </a:cubicBezTo>
                <a:cubicBezTo>
                  <a:pt x="1178" y="20"/>
                  <a:pt x="1178" y="20"/>
                  <a:pt x="1178" y="20"/>
                </a:cubicBezTo>
                <a:cubicBezTo>
                  <a:pt x="1177" y="23"/>
                  <a:pt x="1177" y="23"/>
                  <a:pt x="1177" y="23"/>
                </a:cubicBezTo>
                <a:cubicBezTo>
                  <a:pt x="1180" y="25"/>
                  <a:pt x="1180" y="25"/>
                  <a:pt x="1180" y="25"/>
                </a:cubicBezTo>
                <a:cubicBezTo>
                  <a:pt x="1176" y="58"/>
                  <a:pt x="1176" y="58"/>
                  <a:pt x="1176" y="58"/>
                </a:cubicBezTo>
                <a:cubicBezTo>
                  <a:pt x="1183" y="58"/>
                  <a:pt x="1183" y="58"/>
                  <a:pt x="1183" y="58"/>
                </a:cubicBezTo>
                <a:cubicBezTo>
                  <a:pt x="1186" y="33"/>
                  <a:pt x="1186" y="33"/>
                  <a:pt x="1186" y="33"/>
                </a:cubicBezTo>
                <a:cubicBezTo>
                  <a:pt x="1188" y="31"/>
                  <a:pt x="1190" y="28"/>
                  <a:pt x="1192" y="26"/>
                </a:cubicBezTo>
                <a:cubicBezTo>
                  <a:pt x="1194" y="25"/>
                  <a:pt x="1196" y="24"/>
                  <a:pt x="1198" y="24"/>
                </a:cubicBezTo>
                <a:cubicBezTo>
                  <a:pt x="1200" y="24"/>
                  <a:pt x="1201" y="24"/>
                  <a:pt x="1202" y="25"/>
                </a:cubicBezTo>
                <a:cubicBezTo>
                  <a:pt x="1202" y="26"/>
                  <a:pt x="1203" y="27"/>
                  <a:pt x="1203" y="29"/>
                </a:cubicBezTo>
                <a:cubicBezTo>
                  <a:pt x="1203" y="31"/>
                  <a:pt x="1202" y="33"/>
                  <a:pt x="1202" y="35"/>
                </a:cubicBezTo>
                <a:cubicBezTo>
                  <a:pt x="1202" y="37"/>
                  <a:pt x="1201" y="39"/>
                  <a:pt x="1201" y="41"/>
                </a:cubicBezTo>
                <a:cubicBezTo>
                  <a:pt x="1201" y="43"/>
                  <a:pt x="1201" y="43"/>
                  <a:pt x="1201" y="43"/>
                </a:cubicBezTo>
                <a:cubicBezTo>
                  <a:pt x="1200" y="46"/>
                  <a:pt x="1200" y="46"/>
                  <a:pt x="1200" y="46"/>
                </a:cubicBezTo>
                <a:cubicBezTo>
                  <a:pt x="1199" y="51"/>
                  <a:pt x="1199" y="54"/>
                  <a:pt x="1199" y="55"/>
                </a:cubicBezTo>
                <a:cubicBezTo>
                  <a:pt x="1199" y="58"/>
                  <a:pt x="1200" y="59"/>
                  <a:pt x="1203" y="59"/>
                </a:cubicBezTo>
                <a:cubicBezTo>
                  <a:pt x="1205" y="59"/>
                  <a:pt x="1206" y="59"/>
                  <a:pt x="1207" y="58"/>
                </a:cubicBezTo>
                <a:cubicBezTo>
                  <a:pt x="1208" y="58"/>
                  <a:pt x="1209" y="57"/>
                  <a:pt x="1210" y="57"/>
                </a:cubicBezTo>
                <a:cubicBezTo>
                  <a:pt x="1210" y="56"/>
                  <a:pt x="1211" y="55"/>
                  <a:pt x="1211" y="55"/>
                </a:cubicBezTo>
                <a:cubicBezTo>
                  <a:pt x="1210" y="53"/>
                  <a:pt x="1210" y="53"/>
                  <a:pt x="1210" y="53"/>
                </a:cubicBezTo>
                <a:cubicBezTo>
                  <a:pt x="1209" y="54"/>
                  <a:pt x="1208" y="55"/>
                  <a:pt x="1207" y="55"/>
                </a:cubicBezTo>
                <a:cubicBezTo>
                  <a:pt x="1206" y="55"/>
                  <a:pt x="1206" y="54"/>
                  <a:pt x="1206" y="53"/>
                </a:cubicBezTo>
                <a:cubicBezTo>
                  <a:pt x="1206" y="51"/>
                  <a:pt x="1206" y="48"/>
                  <a:pt x="1207" y="45"/>
                </a:cubicBezTo>
                <a:cubicBezTo>
                  <a:pt x="1208" y="41"/>
                  <a:pt x="1208" y="41"/>
                  <a:pt x="1208" y="41"/>
                </a:cubicBezTo>
                <a:cubicBezTo>
                  <a:pt x="1208" y="40"/>
                  <a:pt x="1208" y="40"/>
                  <a:pt x="1208" y="40"/>
                </a:cubicBezTo>
                <a:cubicBezTo>
                  <a:pt x="1209" y="34"/>
                  <a:pt x="1210" y="31"/>
                  <a:pt x="1210" y="29"/>
                </a:cubicBezTo>
                <a:cubicBezTo>
                  <a:pt x="1210" y="25"/>
                  <a:pt x="1209" y="23"/>
                  <a:pt x="1207" y="21"/>
                </a:cubicBezTo>
                <a:cubicBezTo>
                  <a:pt x="1206" y="19"/>
                  <a:pt x="1204" y="19"/>
                  <a:pt x="1201" y="19"/>
                </a:cubicBezTo>
                <a:cubicBezTo>
                  <a:pt x="1199" y="19"/>
                  <a:pt x="1196" y="19"/>
                  <a:pt x="1193" y="21"/>
                </a:cubicBezTo>
                <a:cubicBezTo>
                  <a:pt x="1191" y="23"/>
                  <a:pt x="1189" y="25"/>
                  <a:pt x="1187" y="28"/>
                </a:cubicBezTo>
                <a:close/>
                <a:moveTo>
                  <a:pt x="1243" y="27"/>
                </a:moveTo>
                <a:cubicBezTo>
                  <a:pt x="1245" y="27"/>
                  <a:pt x="1245" y="27"/>
                  <a:pt x="1245" y="27"/>
                </a:cubicBezTo>
                <a:cubicBezTo>
                  <a:pt x="1247" y="20"/>
                  <a:pt x="1247" y="20"/>
                  <a:pt x="1247" y="20"/>
                </a:cubicBezTo>
                <a:cubicBezTo>
                  <a:pt x="1246" y="20"/>
                  <a:pt x="1244" y="19"/>
                  <a:pt x="1243" y="19"/>
                </a:cubicBezTo>
                <a:cubicBezTo>
                  <a:pt x="1241" y="19"/>
                  <a:pt x="1240" y="19"/>
                  <a:pt x="1239" y="19"/>
                </a:cubicBezTo>
                <a:cubicBezTo>
                  <a:pt x="1234" y="19"/>
                  <a:pt x="1231" y="20"/>
                  <a:pt x="1228" y="22"/>
                </a:cubicBezTo>
                <a:cubicBezTo>
                  <a:pt x="1224" y="25"/>
                  <a:pt x="1222" y="28"/>
                  <a:pt x="1220" y="32"/>
                </a:cubicBezTo>
                <a:cubicBezTo>
                  <a:pt x="1219" y="36"/>
                  <a:pt x="1218" y="40"/>
                  <a:pt x="1218" y="43"/>
                </a:cubicBezTo>
                <a:cubicBezTo>
                  <a:pt x="1218" y="48"/>
                  <a:pt x="1219" y="52"/>
                  <a:pt x="1221" y="55"/>
                </a:cubicBezTo>
                <a:cubicBezTo>
                  <a:pt x="1224" y="58"/>
                  <a:pt x="1227" y="59"/>
                  <a:pt x="1231" y="59"/>
                </a:cubicBezTo>
                <a:cubicBezTo>
                  <a:pt x="1234" y="59"/>
                  <a:pt x="1236" y="59"/>
                  <a:pt x="1239" y="57"/>
                </a:cubicBezTo>
                <a:cubicBezTo>
                  <a:pt x="1241" y="56"/>
                  <a:pt x="1243" y="54"/>
                  <a:pt x="1244" y="53"/>
                </a:cubicBezTo>
                <a:cubicBezTo>
                  <a:pt x="1242" y="50"/>
                  <a:pt x="1242" y="50"/>
                  <a:pt x="1242" y="50"/>
                </a:cubicBezTo>
                <a:cubicBezTo>
                  <a:pt x="1241" y="52"/>
                  <a:pt x="1239" y="53"/>
                  <a:pt x="1238" y="54"/>
                </a:cubicBezTo>
                <a:cubicBezTo>
                  <a:pt x="1236" y="54"/>
                  <a:pt x="1235" y="55"/>
                  <a:pt x="1233" y="55"/>
                </a:cubicBezTo>
                <a:cubicBezTo>
                  <a:pt x="1230" y="55"/>
                  <a:pt x="1228" y="54"/>
                  <a:pt x="1227" y="52"/>
                </a:cubicBezTo>
                <a:cubicBezTo>
                  <a:pt x="1226" y="50"/>
                  <a:pt x="1225" y="47"/>
                  <a:pt x="1225" y="43"/>
                </a:cubicBezTo>
                <a:cubicBezTo>
                  <a:pt x="1225" y="39"/>
                  <a:pt x="1226" y="35"/>
                  <a:pt x="1227" y="32"/>
                </a:cubicBezTo>
                <a:cubicBezTo>
                  <a:pt x="1228" y="30"/>
                  <a:pt x="1229" y="27"/>
                  <a:pt x="1231" y="26"/>
                </a:cubicBezTo>
                <a:cubicBezTo>
                  <a:pt x="1233" y="24"/>
                  <a:pt x="1235" y="23"/>
                  <a:pt x="1237" y="23"/>
                </a:cubicBezTo>
                <a:cubicBezTo>
                  <a:pt x="1239" y="23"/>
                  <a:pt x="1241" y="24"/>
                  <a:pt x="1243" y="27"/>
                </a:cubicBezTo>
                <a:close/>
                <a:moveTo>
                  <a:pt x="1279" y="52"/>
                </a:moveTo>
                <a:cubicBezTo>
                  <a:pt x="1277" y="49"/>
                  <a:pt x="1277" y="49"/>
                  <a:pt x="1277" y="49"/>
                </a:cubicBezTo>
                <a:cubicBezTo>
                  <a:pt x="1276" y="51"/>
                  <a:pt x="1274" y="52"/>
                  <a:pt x="1272" y="53"/>
                </a:cubicBezTo>
                <a:cubicBezTo>
                  <a:pt x="1270" y="54"/>
                  <a:pt x="1268" y="55"/>
                  <a:pt x="1266" y="55"/>
                </a:cubicBezTo>
                <a:cubicBezTo>
                  <a:pt x="1263" y="55"/>
                  <a:pt x="1261" y="54"/>
                  <a:pt x="1259" y="51"/>
                </a:cubicBezTo>
                <a:cubicBezTo>
                  <a:pt x="1258" y="49"/>
                  <a:pt x="1257" y="46"/>
                  <a:pt x="1258" y="43"/>
                </a:cubicBezTo>
                <a:cubicBezTo>
                  <a:pt x="1260" y="43"/>
                  <a:pt x="1264" y="42"/>
                  <a:pt x="1267" y="41"/>
                </a:cubicBezTo>
                <a:cubicBezTo>
                  <a:pt x="1271" y="40"/>
                  <a:pt x="1274" y="38"/>
                  <a:pt x="1277" y="36"/>
                </a:cubicBezTo>
                <a:cubicBezTo>
                  <a:pt x="1280" y="33"/>
                  <a:pt x="1281" y="31"/>
                  <a:pt x="1281" y="27"/>
                </a:cubicBezTo>
                <a:cubicBezTo>
                  <a:pt x="1281" y="25"/>
                  <a:pt x="1280" y="23"/>
                  <a:pt x="1278" y="21"/>
                </a:cubicBezTo>
                <a:cubicBezTo>
                  <a:pt x="1277" y="19"/>
                  <a:pt x="1274" y="19"/>
                  <a:pt x="1271" y="19"/>
                </a:cubicBezTo>
                <a:cubicBezTo>
                  <a:pt x="1267" y="19"/>
                  <a:pt x="1264" y="20"/>
                  <a:pt x="1260" y="22"/>
                </a:cubicBezTo>
                <a:cubicBezTo>
                  <a:pt x="1257" y="24"/>
                  <a:pt x="1255" y="28"/>
                  <a:pt x="1253" y="31"/>
                </a:cubicBezTo>
                <a:cubicBezTo>
                  <a:pt x="1251" y="35"/>
                  <a:pt x="1250" y="40"/>
                  <a:pt x="1250" y="44"/>
                </a:cubicBezTo>
                <a:cubicBezTo>
                  <a:pt x="1250" y="47"/>
                  <a:pt x="1251" y="49"/>
                  <a:pt x="1252" y="52"/>
                </a:cubicBezTo>
                <a:cubicBezTo>
                  <a:pt x="1253" y="54"/>
                  <a:pt x="1254" y="56"/>
                  <a:pt x="1256" y="57"/>
                </a:cubicBezTo>
                <a:cubicBezTo>
                  <a:pt x="1258" y="59"/>
                  <a:pt x="1261" y="59"/>
                  <a:pt x="1264" y="59"/>
                </a:cubicBezTo>
                <a:cubicBezTo>
                  <a:pt x="1267" y="59"/>
                  <a:pt x="1270" y="58"/>
                  <a:pt x="1273" y="57"/>
                </a:cubicBezTo>
                <a:cubicBezTo>
                  <a:pt x="1276" y="55"/>
                  <a:pt x="1278" y="54"/>
                  <a:pt x="1279" y="52"/>
                </a:cubicBezTo>
                <a:close/>
                <a:moveTo>
                  <a:pt x="1269" y="22"/>
                </a:moveTo>
                <a:cubicBezTo>
                  <a:pt x="1271" y="22"/>
                  <a:pt x="1272" y="23"/>
                  <a:pt x="1273" y="24"/>
                </a:cubicBezTo>
                <a:cubicBezTo>
                  <a:pt x="1274" y="25"/>
                  <a:pt x="1274" y="26"/>
                  <a:pt x="1274" y="28"/>
                </a:cubicBezTo>
                <a:cubicBezTo>
                  <a:pt x="1274" y="30"/>
                  <a:pt x="1273" y="32"/>
                  <a:pt x="1272" y="34"/>
                </a:cubicBezTo>
                <a:cubicBezTo>
                  <a:pt x="1270" y="35"/>
                  <a:pt x="1268" y="37"/>
                  <a:pt x="1265" y="38"/>
                </a:cubicBezTo>
                <a:cubicBezTo>
                  <a:pt x="1263" y="39"/>
                  <a:pt x="1260" y="39"/>
                  <a:pt x="1258" y="39"/>
                </a:cubicBezTo>
                <a:cubicBezTo>
                  <a:pt x="1258" y="37"/>
                  <a:pt x="1259" y="34"/>
                  <a:pt x="1259" y="32"/>
                </a:cubicBezTo>
                <a:cubicBezTo>
                  <a:pt x="1260" y="29"/>
                  <a:pt x="1262" y="27"/>
                  <a:pt x="1263" y="25"/>
                </a:cubicBezTo>
                <a:cubicBezTo>
                  <a:pt x="1265" y="23"/>
                  <a:pt x="1267" y="22"/>
                  <a:pt x="1269" y="22"/>
                </a:cubicBezTo>
                <a:close/>
                <a:moveTo>
                  <a:pt x="1310" y="25"/>
                </a:moveTo>
                <a:cubicBezTo>
                  <a:pt x="1311" y="20"/>
                  <a:pt x="1311" y="20"/>
                  <a:pt x="1311" y="20"/>
                </a:cubicBezTo>
                <a:cubicBezTo>
                  <a:pt x="1311" y="20"/>
                  <a:pt x="1309" y="19"/>
                  <a:pt x="1308" y="19"/>
                </a:cubicBezTo>
                <a:cubicBezTo>
                  <a:pt x="1306" y="19"/>
                  <a:pt x="1304" y="19"/>
                  <a:pt x="1303" y="19"/>
                </a:cubicBezTo>
                <a:cubicBezTo>
                  <a:pt x="1300" y="19"/>
                  <a:pt x="1298" y="19"/>
                  <a:pt x="1296" y="20"/>
                </a:cubicBezTo>
                <a:cubicBezTo>
                  <a:pt x="1293" y="21"/>
                  <a:pt x="1292" y="22"/>
                  <a:pt x="1291" y="24"/>
                </a:cubicBezTo>
                <a:cubicBezTo>
                  <a:pt x="1289" y="26"/>
                  <a:pt x="1289" y="27"/>
                  <a:pt x="1289" y="30"/>
                </a:cubicBezTo>
                <a:cubicBezTo>
                  <a:pt x="1289" y="34"/>
                  <a:pt x="1291" y="38"/>
                  <a:pt x="1296" y="41"/>
                </a:cubicBezTo>
                <a:cubicBezTo>
                  <a:pt x="1298" y="43"/>
                  <a:pt x="1300" y="44"/>
                  <a:pt x="1301" y="45"/>
                </a:cubicBezTo>
                <a:cubicBezTo>
                  <a:pt x="1302" y="46"/>
                  <a:pt x="1303" y="48"/>
                  <a:pt x="1303" y="50"/>
                </a:cubicBezTo>
                <a:cubicBezTo>
                  <a:pt x="1303" y="51"/>
                  <a:pt x="1302" y="53"/>
                  <a:pt x="1301" y="54"/>
                </a:cubicBezTo>
                <a:cubicBezTo>
                  <a:pt x="1299" y="55"/>
                  <a:pt x="1297" y="55"/>
                  <a:pt x="1295" y="55"/>
                </a:cubicBezTo>
                <a:cubicBezTo>
                  <a:pt x="1293" y="55"/>
                  <a:pt x="1292" y="55"/>
                  <a:pt x="1290" y="54"/>
                </a:cubicBezTo>
                <a:cubicBezTo>
                  <a:pt x="1288" y="53"/>
                  <a:pt x="1287" y="53"/>
                  <a:pt x="1286" y="52"/>
                </a:cubicBezTo>
                <a:cubicBezTo>
                  <a:pt x="1285" y="57"/>
                  <a:pt x="1285" y="57"/>
                  <a:pt x="1285" y="57"/>
                </a:cubicBezTo>
                <a:cubicBezTo>
                  <a:pt x="1285" y="58"/>
                  <a:pt x="1287" y="58"/>
                  <a:pt x="1289" y="58"/>
                </a:cubicBezTo>
                <a:cubicBezTo>
                  <a:pt x="1291" y="59"/>
                  <a:pt x="1293" y="59"/>
                  <a:pt x="1295" y="59"/>
                </a:cubicBezTo>
                <a:cubicBezTo>
                  <a:pt x="1299" y="59"/>
                  <a:pt x="1303" y="58"/>
                  <a:pt x="1305" y="56"/>
                </a:cubicBezTo>
                <a:cubicBezTo>
                  <a:pt x="1308" y="54"/>
                  <a:pt x="1309" y="52"/>
                  <a:pt x="1309" y="48"/>
                </a:cubicBezTo>
                <a:cubicBezTo>
                  <a:pt x="1309" y="46"/>
                  <a:pt x="1309" y="45"/>
                  <a:pt x="1308" y="43"/>
                </a:cubicBezTo>
                <a:cubicBezTo>
                  <a:pt x="1307" y="42"/>
                  <a:pt x="1306" y="41"/>
                  <a:pt x="1305" y="40"/>
                </a:cubicBezTo>
                <a:cubicBezTo>
                  <a:pt x="1304" y="39"/>
                  <a:pt x="1303" y="38"/>
                  <a:pt x="1301" y="36"/>
                </a:cubicBezTo>
                <a:cubicBezTo>
                  <a:pt x="1299" y="35"/>
                  <a:pt x="1298" y="34"/>
                  <a:pt x="1297" y="32"/>
                </a:cubicBezTo>
                <a:cubicBezTo>
                  <a:pt x="1296" y="31"/>
                  <a:pt x="1295" y="30"/>
                  <a:pt x="1295" y="28"/>
                </a:cubicBezTo>
                <a:cubicBezTo>
                  <a:pt x="1295" y="26"/>
                  <a:pt x="1296" y="25"/>
                  <a:pt x="1297" y="24"/>
                </a:cubicBezTo>
                <a:cubicBezTo>
                  <a:pt x="1299" y="23"/>
                  <a:pt x="1300" y="23"/>
                  <a:pt x="1303" y="23"/>
                </a:cubicBezTo>
                <a:cubicBezTo>
                  <a:pt x="1304" y="23"/>
                  <a:pt x="1306" y="23"/>
                  <a:pt x="1307" y="24"/>
                </a:cubicBezTo>
                <a:cubicBezTo>
                  <a:pt x="1309" y="24"/>
                  <a:pt x="1310" y="25"/>
                  <a:pt x="1310" y="25"/>
                </a:cubicBezTo>
                <a:close/>
                <a:moveTo>
                  <a:pt x="1047" y="110"/>
                </a:moveTo>
                <a:cubicBezTo>
                  <a:pt x="1052" y="111"/>
                  <a:pt x="1052" y="111"/>
                  <a:pt x="1052" y="111"/>
                </a:cubicBezTo>
                <a:cubicBezTo>
                  <a:pt x="1046" y="156"/>
                  <a:pt x="1046" y="156"/>
                  <a:pt x="1046" y="156"/>
                </a:cubicBezTo>
                <a:cubicBezTo>
                  <a:pt x="1041" y="157"/>
                  <a:pt x="1041" y="157"/>
                  <a:pt x="1041" y="157"/>
                </a:cubicBezTo>
                <a:cubicBezTo>
                  <a:pt x="1041" y="159"/>
                  <a:pt x="1041" y="159"/>
                  <a:pt x="1041" y="159"/>
                </a:cubicBezTo>
                <a:cubicBezTo>
                  <a:pt x="1078" y="159"/>
                  <a:pt x="1078" y="159"/>
                  <a:pt x="1078" y="159"/>
                </a:cubicBezTo>
                <a:cubicBezTo>
                  <a:pt x="1081" y="147"/>
                  <a:pt x="1081" y="147"/>
                  <a:pt x="1081" y="147"/>
                </a:cubicBezTo>
                <a:cubicBezTo>
                  <a:pt x="1077" y="146"/>
                  <a:pt x="1077" y="146"/>
                  <a:pt x="1077" y="146"/>
                </a:cubicBezTo>
                <a:cubicBezTo>
                  <a:pt x="1073" y="155"/>
                  <a:pt x="1073" y="155"/>
                  <a:pt x="1073" y="155"/>
                </a:cubicBezTo>
                <a:cubicBezTo>
                  <a:pt x="1053" y="156"/>
                  <a:pt x="1053" y="156"/>
                  <a:pt x="1053" y="156"/>
                </a:cubicBezTo>
                <a:cubicBezTo>
                  <a:pt x="1056" y="134"/>
                  <a:pt x="1056" y="134"/>
                  <a:pt x="1056" y="134"/>
                </a:cubicBezTo>
                <a:cubicBezTo>
                  <a:pt x="1072" y="135"/>
                  <a:pt x="1072" y="135"/>
                  <a:pt x="1072" y="135"/>
                </a:cubicBezTo>
                <a:cubicBezTo>
                  <a:pt x="1073" y="130"/>
                  <a:pt x="1073" y="130"/>
                  <a:pt x="1073" y="130"/>
                </a:cubicBezTo>
                <a:cubicBezTo>
                  <a:pt x="1057" y="130"/>
                  <a:pt x="1057" y="130"/>
                  <a:pt x="1057" y="130"/>
                </a:cubicBezTo>
                <a:cubicBezTo>
                  <a:pt x="1059" y="110"/>
                  <a:pt x="1059" y="110"/>
                  <a:pt x="1059" y="110"/>
                </a:cubicBezTo>
                <a:cubicBezTo>
                  <a:pt x="1075" y="111"/>
                  <a:pt x="1075" y="111"/>
                  <a:pt x="1075" y="111"/>
                </a:cubicBezTo>
                <a:cubicBezTo>
                  <a:pt x="1076" y="118"/>
                  <a:pt x="1076" y="118"/>
                  <a:pt x="1076" y="118"/>
                </a:cubicBezTo>
                <a:cubicBezTo>
                  <a:pt x="1080" y="118"/>
                  <a:pt x="1080" y="118"/>
                  <a:pt x="1080" y="118"/>
                </a:cubicBezTo>
                <a:cubicBezTo>
                  <a:pt x="1081" y="107"/>
                  <a:pt x="1081" y="107"/>
                  <a:pt x="1081" y="107"/>
                </a:cubicBezTo>
                <a:cubicBezTo>
                  <a:pt x="1048" y="107"/>
                  <a:pt x="1048" y="107"/>
                  <a:pt x="1048" y="107"/>
                </a:cubicBezTo>
                <a:lnTo>
                  <a:pt x="1047" y="110"/>
                </a:lnTo>
                <a:close/>
                <a:moveTo>
                  <a:pt x="1100" y="129"/>
                </a:moveTo>
                <a:cubicBezTo>
                  <a:pt x="1100" y="120"/>
                  <a:pt x="1100" y="120"/>
                  <a:pt x="1100" y="120"/>
                </a:cubicBezTo>
                <a:cubicBezTo>
                  <a:pt x="1099" y="119"/>
                  <a:pt x="1099" y="119"/>
                  <a:pt x="1099" y="119"/>
                </a:cubicBezTo>
                <a:cubicBezTo>
                  <a:pt x="1090" y="121"/>
                  <a:pt x="1090" y="121"/>
                  <a:pt x="1090" y="121"/>
                </a:cubicBezTo>
                <a:cubicBezTo>
                  <a:pt x="1090" y="124"/>
                  <a:pt x="1090" y="124"/>
                  <a:pt x="1090" y="124"/>
                </a:cubicBezTo>
                <a:cubicBezTo>
                  <a:pt x="1093" y="125"/>
                  <a:pt x="1093" y="125"/>
                  <a:pt x="1093" y="125"/>
                </a:cubicBezTo>
                <a:cubicBezTo>
                  <a:pt x="1089" y="159"/>
                  <a:pt x="1089" y="159"/>
                  <a:pt x="1089" y="159"/>
                </a:cubicBezTo>
                <a:cubicBezTo>
                  <a:pt x="1095" y="159"/>
                  <a:pt x="1095" y="159"/>
                  <a:pt x="1095" y="159"/>
                </a:cubicBezTo>
                <a:cubicBezTo>
                  <a:pt x="1099" y="134"/>
                  <a:pt x="1099" y="134"/>
                  <a:pt x="1099" y="134"/>
                </a:cubicBezTo>
                <a:cubicBezTo>
                  <a:pt x="1101" y="131"/>
                  <a:pt x="1103" y="129"/>
                  <a:pt x="1105" y="127"/>
                </a:cubicBezTo>
                <a:cubicBezTo>
                  <a:pt x="1107" y="125"/>
                  <a:pt x="1109" y="124"/>
                  <a:pt x="1111" y="124"/>
                </a:cubicBezTo>
                <a:cubicBezTo>
                  <a:pt x="1113" y="124"/>
                  <a:pt x="1114" y="125"/>
                  <a:pt x="1114" y="126"/>
                </a:cubicBezTo>
                <a:cubicBezTo>
                  <a:pt x="1115" y="127"/>
                  <a:pt x="1115" y="128"/>
                  <a:pt x="1115" y="130"/>
                </a:cubicBezTo>
                <a:cubicBezTo>
                  <a:pt x="1115" y="132"/>
                  <a:pt x="1115" y="134"/>
                  <a:pt x="1115" y="135"/>
                </a:cubicBezTo>
                <a:cubicBezTo>
                  <a:pt x="1115" y="137"/>
                  <a:pt x="1114" y="140"/>
                  <a:pt x="1114" y="142"/>
                </a:cubicBezTo>
                <a:cubicBezTo>
                  <a:pt x="1114" y="144"/>
                  <a:pt x="1114" y="144"/>
                  <a:pt x="1114" y="144"/>
                </a:cubicBezTo>
                <a:cubicBezTo>
                  <a:pt x="1113" y="147"/>
                  <a:pt x="1113" y="147"/>
                  <a:pt x="1113" y="147"/>
                </a:cubicBezTo>
                <a:cubicBezTo>
                  <a:pt x="1112" y="151"/>
                  <a:pt x="1112" y="154"/>
                  <a:pt x="1112" y="156"/>
                </a:cubicBezTo>
                <a:cubicBezTo>
                  <a:pt x="1112" y="159"/>
                  <a:pt x="1113" y="160"/>
                  <a:pt x="1116" y="160"/>
                </a:cubicBezTo>
                <a:cubicBezTo>
                  <a:pt x="1117" y="160"/>
                  <a:pt x="1119" y="160"/>
                  <a:pt x="1120" y="159"/>
                </a:cubicBezTo>
                <a:cubicBezTo>
                  <a:pt x="1121" y="159"/>
                  <a:pt x="1122" y="158"/>
                  <a:pt x="1123" y="157"/>
                </a:cubicBezTo>
                <a:cubicBezTo>
                  <a:pt x="1123" y="157"/>
                  <a:pt x="1124" y="156"/>
                  <a:pt x="1124" y="156"/>
                </a:cubicBezTo>
                <a:cubicBezTo>
                  <a:pt x="1123" y="154"/>
                  <a:pt x="1123" y="154"/>
                  <a:pt x="1123" y="154"/>
                </a:cubicBezTo>
                <a:cubicBezTo>
                  <a:pt x="1122" y="155"/>
                  <a:pt x="1121" y="156"/>
                  <a:pt x="1120" y="156"/>
                </a:cubicBezTo>
                <a:cubicBezTo>
                  <a:pt x="1119" y="156"/>
                  <a:pt x="1119" y="155"/>
                  <a:pt x="1119" y="154"/>
                </a:cubicBezTo>
                <a:cubicBezTo>
                  <a:pt x="1119" y="152"/>
                  <a:pt x="1119" y="149"/>
                  <a:pt x="1120" y="145"/>
                </a:cubicBezTo>
                <a:cubicBezTo>
                  <a:pt x="1121" y="142"/>
                  <a:pt x="1121" y="142"/>
                  <a:pt x="1121" y="142"/>
                </a:cubicBezTo>
                <a:cubicBezTo>
                  <a:pt x="1121" y="140"/>
                  <a:pt x="1121" y="140"/>
                  <a:pt x="1121" y="140"/>
                </a:cubicBezTo>
                <a:cubicBezTo>
                  <a:pt x="1122" y="135"/>
                  <a:pt x="1122" y="132"/>
                  <a:pt x="1122" y="130"/>
                </a:cubicBezTo>
                <a:cubicBezTo>
                  <a:pt x="1122" y="126"/>
                  <a:pt x="1122" y="123"/>
                  <a:pt x="1120" y="122"/>
                </a:cubicBezTo>
                <a:cubicBezTo>
                  <a:pt x="1119" y="120"/>
                  <a:pt x="1117" y="119"/>
                  <a:pt x="1114" y="119"/>
                </a:cubicBezTo>
                <a:cubicBezTo>
                  <a:pt x="1112" y="119"/>
                  <a:pt x="1109" y="120"/>
                  <a:pt x="1106" y="122"/>
                </a:cubicBezTo>
                <a:cubicBezTo>
                  <a:pt x="1104" y="124"/>
                  <a:pt x="1102" y="126"/>
                  <a:pt x="1100" y="129"/>
                </a:cubicBezTo>
                <a:close/>
                <a:moveTo>
                  <a:pt x="1159" y="162"/>
                </a:moveTo>
                <a:cubicBezTo>
                  <a:pt x="1165" y="119"/>
                  <a:pt x="1165" y="119"/>
                  <a:pt x="1165" y="119"/>
                </a:cubicBezTo>
                <a:cubicBezTo>
                  <a:pt x="1160" y="121"/>
                  <a:pt x="1160" y="121"/>
                  <a:pt x="1160" y="121"/>
                </a:cubicBezTo>
                <a:cubicBezTo>
                  <a:pt x="1159" y="121"/>
                  <a:pt x="1158" y="120"/>
                  <a:pt x="1157" y="120"/>
                </a:cubicBezTo>
                <a:cubicBezTo>
                  <a:pt x="1155" y="120"/>
                  <a:pt x="1154" y="119"/>
                  <a:pt x="1153" y="119"/>
                </a:cubicBezTo>
                <a:cubicBezTo>
                  <a:pt x="1148" y="119"/>
                  <a:pt x="1144" y="121"/>
                  <a:pt x="1141" y="123"/>
                </a:cubicBezTo>
                <a:cubicBezTo>
                  <a:pt x="1137" y="126"/>
                  <a:pt x="1135" y="129"/>
                  <a:pt x="1133" y="133"/>
                </a:cubicBezTo>
                <a:cubicBezTo>
                  <a:pt x="1131" y="137"/>
                  <a:pt x="1130" y="141"/>
                  <a:pt x="1130" y="145"/>
                </a:cubicBezTo>
                <a:cubicBezTo>
                  <a:pt x="1130" y="150"/>
                  <a:pt x="1131" y="153"/>
                  <a:pt x="1133" y="156"/>
                </a:cubicBezTo>
                <a:cubicBezTo>
                  <a:pt x="1135" y="159"/>
                  <a:pt x="1138" y="160"/>
                  <a:pt x="1142" y="160"/>
                </a:cubicBezTo>
                <a:cubicBezTo>
                  <a:pt x="1144" y="160"/>
                  <a:pt x="1146" y="159"/>
                  <a:pt x="1148" y="158"/>
                </a:cubicBezTo>
                <a:cubicBezTo>
                  <a:pt x="1150" y="157"/>
                  <a:pt x="1152" y="156"/>
                  <a:pt x="1153" y="155"/>
                </a:cubicBezTo>
                <a:cubicBezTo>
                  <a:pt x="1151" y="164"/>
                  <a:pt x="1151" y="164"/>
                  <a:pt x="1151" y="164"/>
                </a:cubicBezTo>
                <a:cubicBezTo>
                  <a:pt x="1151" y="167"/>
                  <a:pt x="1150" y="169"/>
                  <a:pt x="1149" y="170"/>
                </a:cubicBezTo>
                <a:cubicBezTo>
                  <a:pt x="1147" y="172"/>
                  <a:pt x="1145" y="172"/>
                  <a:pt x="1142" y="172"/>
                </a:cubicBezTo>
                <a:cubicBezTo>
                  <a:pt x="1140" y="172"/>
                  <a:pt x="1139" y="172"/>
                  <a:pt x="1137" y="171"/>
                </a:cubicBezTo>
                <a:cubicBezTo>
                  <a:pt x="1136" y="171"/>
                  <a:pt x="1134" y="170"/>
                  <a:pt x="1133" y="170"/>
                </a:cubicBezTo>
                <a:cubicBezTo>
                  <a:pt x="1132" y="175"/>
                  <a:pt x="1132" y="175"/>
                  <a:pt x="1132" y="175"/>
                </a:cubicBezTo>
                <a:cubicBezTo>
                  <a:pt x="1132" y="176"/>
                  <a:pt x="1134" y="176"/>
                  <a:pt x="1135" y="176"/>
                </a:cubicBezTo>
                <a:cubicBezTo>
                  <a:pt x="1137" y="177"/>
                  <a:pt x="1138" y="177"/>
                  <a:pt x="1140" y="177"/>
                </a:cubicBezTo>
                <a:cubicBezTo>
                  <a:pt x="1142" y="177"/>
                  <a:pt x="1145" y="176"/>
                  <a:pt x="1148" y="175"/>
                </a:cubicBezTo>
                <a:cubicBezTo>
                  <a:pt x="1150" y="174"/>
                  <a:pt x="1153" y="173"/>
                  <a:pt x="1155" y="170"/>
                </a:cubicBezTo>
                <a:cubicBezTo>
                  <a:pt x="1157" y="168"/>
                  <a:pt x="1158" y="165"/>
                  <a:pt x="1159" y="162"/>
                </a:cubicBezTo>
                <a:close/>
                <a:moveTo>
                  <a:pt x="1157" y="125"/>
                </a:moveTo>
                <a:cubicBezTo>
                  <a:pt x="1154" y="150"/>
                  <a:pt x="1154" y="150"/>
                  <a:pt x="1154" y="150"/>
                </a:cubicBezTo>
                <a:cubicBezTo>
                  <a:pt x="1152" y="151"/>
                  <a:pt x="1151" y="153"/>
                  <a:pt x="1149" y="154"/>
                </a:cubicBezTo>
                <a:cubicBezTo>
                  <a:pt x="1148" y="155"/>
                  <a:pt x="1146" y="155"/>
                  <a:pt x="1144" y="155"/>
                </a:cubicBezTo>
                <a:cubicBezTo>
                  <a:pt x="1142" y="155"/>
                  <a:pt x="1140" y="155"/>
                  <a:pt x="1139" y="153"/>
                </a:cubicBezTo>
                <a:cubicBezTo>
                  <a:pt x="1138" y="151"/>
                  <a:pt x="1138" y="148"/>
                  <a:pt x="1138" y="145"/>
                </a:cubicBezTo>
                <a:cubicBezTo>
                  <a:pt x="1138" y="142"/>
                  <a:pt x="1138" y="138"/>
                  <a:pt x="1139" y="135"/>
                </a:cubicBezTo>
                <a:cubicBezTo>
                  <a:pt x="1140" y="132"/>
                  <a:pt x="1142" y="129"/>
                  <a:pt x="1144" y="127"/>
                </a:cubicBezTo>
                <a:cubicBezTo>
                  <a:pt x="1146" y="124"/>
                  <a:pt x="1149" y="123"/>
                  <a:pt x="1152" y="123"/>
                </a:cubicBezTo>
                <a:cubicBezTo>
                  <a:pt x="1154" y="123"/>
                  <a:pt x="1156" y="124"/>
                  <a:pt x="1157" y="125"/>
                </a:cubicBezTo>
                <a:close/>
                <a:moveTo>
                  <a:pt x="1181" y="153"/>
                </a:moveTo>
                <a:cubicBezTo>
                  <a:pt x="1185" y="120"/>
                  <a:pt x="1185" y="120"/>
                  <a:pt x="1185" y="120"/>
                </a:cubicBezTo>
                <a:cubicBezTo>
                  <a:pt x="1184" y="119"/>
                  <a:pt x="1184" y="119"/>
                  <a:pt x="1184" y="119"/>
                </a:cubicBezTo>
                <a:cubicBezTo>
                  <a:pt x="1174" y="121"/>
                  <a:pt x="1174" y="121"/>
                  <a:pt x="1174" y="121"/>
                </a:cubicBezTo>
                <a:cubicBezTo>
                  <a:pt x="1173" y="123"/>
                  <a:pt x="1173" y="123"/>
                  <a:pt x="1173" y="123"/>
                </a:cubicBezTo>
                <a:cubicBezTo>
                  <a:pt x="1178" y="125"/>
                  <a:pt x="1178" y="125"/>
                  <a:pt x="1178" y="125"/>
                </a:cubicBezTo>
                <a:cubicBezTo>
                  <a:pt x="1177" y="132"/>
                  <a:pt x="1176" y="138"/>
                  <a:pt x="1175" y="142"/>
                </a:cubicBezTo>
                <a:cubicBezTo>
                  <a:pt x="1174" y="150"/>
                  <a:pt x="1174" y="154"/>
                  <a:pt x="1173" y="156"/>
                </a:cubicBezTo>
                <a:cubicBezTo>
                  <a:pt x="1173" y="157"/>
                  <a:pt x="1174" y="158"/>
                  <a:pt x="1174" y="159"/>
                </a:cubicBezTo>
                <a:cubicBezTo>
                  <a:pt x="1175" y="160"/>
                  <a:pt x="1176" y="160"/>
                  <a:pt x="1178" y="160"/>
                </a:cubicBezTo>
                <a:cubicBezTo>
                  <a:pt x="1180" y="160"/>
                  <a:pt x="1182" y="159"/>
                  <a:pt x="1183" y="158"/>
                </a:cubicBezTo>
                <a:cubicBezTo>
                  <a:pt x="1184" y="157"/>
                  <a:pt x="1185" y="156"/>
                  <a:pt x="1186" y="155"/>
                </a:cubicBezTo>
                <a:cubicBezTo>
                  <a:pt x="1185" y="154"/>
                  <a:pt x="1185" y="154"/>
                  <a:pt x="1185" y="154"/>
                </a:cubicBezTo>
                <a:cubicBezTo>
                  <a:pt x="1184" y="154"/>
                  <a:pt x="1184" y="155"/>
                  <a:pt x="1183" y="155"/>
                </a:cubicBezTo>
                <a:cubicBezTo>
                  <a:pt x="1183" y="156"/>
                  <a:pt x="1182" y="156"/>
                  <a:pt x="1182" y="156"/>
                </a:cubicBezTo>
                <a:cubicBezTo>
                  <a:pt x="1181" y="156"/>
                  <a:pt x="1181" y="156"/>
                  <a:pt x="1181" y="155"/>
                </a:cubicBezTo>
                <a:cubicBezTo>
                  <a:pt x="1181" y="155"/>
                  <a:pt x="1180" y="155"/>
                  <a:pt x="1180" y="154"/>
                </a:cubicBezTo>
                <a:lnTo>
                  <a:pt x="1181" y="153"/>
                </a:lnTo>
                <a:close/>
                <a:moveTo>
                  <a:pt x="1183" y="112"/>
                </a:moveTo>
                <a:cubicBezTo>
                  <a:pt x="1184" y="112"/>
                  <a:pt x="1185" y="111"/>
                  <a:pt x="1186" y="110"/>
                </a:cubicBezTo>
                <a:cubicBezTo>
                  <a:pt x="1187" y="109"/>
                  <a:pt x="1188" y="108"/>
                  <a:pt x="1188" y="107"/>
                </a:cubicBezTo>
                <a:cubicBezTo>
                  <a:pt x="1188" y="106"/>
                  <a:pt x="1187" y="105"/>
                  <a:pt x="1187" y="104"/>
                </a:cubicBezTo>
                <a:cubicBezTo>
                  <a:pt x="1186" y="103"/>
                  <a:pt x="1185" y="103"/>
                  <a:pt x="1184" y="103"/>
                </a:cubicBezTo>
                <a:cubicBezTo>
                  <a:pt x="1182" y="103"/>
                  <a:pt x="1181" y="103"/>
                  <a:pt x="1180" y="104"/>
                </a:cubicBezTo>
                <a:cubicBezTo>
                  <a:pt x="1180" y="105"/>
                  <a:pt x="1179" y="107"/>
                  <a:pt x="1179" y="108"/>
                </a:cubicBezTo>
                <a:cubicBezTo>
                  <a:pt x="1179" y="109"/>
                  <a:pt x="1179" y="110"/>
                  <a:pt x="1180" y="111"/>
                </a:cubicBezTo>
                <a:cubicBezTo>
                  <a:pt x="1181" y="111"/>
                  <a:pt x="1182" y="112"/>
                  <a:pt x="1183" y="112"/>
                </a:cubicBezTo>
                <a:close/>
                <a:moveTo>
                  <a:pt x="1207" y="129"/>
                </a:moveTo>
                <a:cubicBezTo>
                  <a:pt x="1208" y="120"/>
                  <a:pt x="1208" y="120"/>
                  <a:pt x="1208" y="120"/>
                </a:cubicBezTo>
                <a:cubicBezTo>
                  <a:pt x="1207" y="119"/>
                  <a:pt x="1207" y="119"/>
                  <a:pt x="1207" y="119"/>
                </a:cubicBezTo>
                <a:cubicBezTo>
                  <a:pt x="1198" y="121"/>
                  <a:pt x="1198" y="121"/>
                  <a:pt x="1198" y="121"/>
                </a:cubicBezTo>
                <a:cubicBezTo>
                  <a:pt x="1198" y="124"/>
                  <a:pt x="1198" y="124"/>
                  <a:pt x="1198" y="124"/>
                </a:cubicBezTo>
                <a:cubicBezTo>
                  <a:pt x="1201" y="125"/>
                  <a:pt x="1201" y="125"/>
                  <a:pt x="1201" y="125"/>
                </a:cubicBezTo>
                <a:cubicBezTo>
                  <a:pt x="1196" y="159"/>
                  <a:pt x="1196" y="159"/>
                  <a:pt x="1196" y="159"/>
                </a:cubicBezTo>
                <a:cubicBezTo>
                  <a:pt x="1203" y="159"/>
                  <a:pt x="1203" y="159"/>
                  <a:pt x="1203" y="159"/>
                </a:cubicBezTo>
                <a:cubicBezTo>
                  <a:pt x="1207" y="134"/>
                  <a:pt x="1207" y="134"/>
                  <a:pt x="1207" y="134"/>
                </a:cubicBezTo>
                <a:cubicBezTo>
                  <a:pt x="1208" y="131"/>
                  <a:pt x="1210" y="129"/>
                  <a:pt x="1213" y="127"/>
                </a:cubicBezTo>
                <a:cubicBezTo>
                  <a:pt x="1215" y="125"/>
                  <a:pt x="1217" y="124"/>
                  <a:pt x="1219" y="124"/>
                </a:cubicBezTo>
                <a:cubicBezTo>
                  <a:pt x="1220" y="124"/>
                  <a:pt x="1221" y="125"/>
                  <a:pt x="1222" y="126"/>
                </a:cubicBezTo>
                <a:cubicBezTo>
                  <a:pt x="1223" y="127"/>
                  <a:pt x="1223" y="128"/>
                  <a:pt x="1223" y="130"/>
                </a:cubicBezTo>
                <a:cubicBezTo>
                  <a:pt x="1223" y="132"/>
                  <a:pt x="1223" y="134"/>
                  <a:pt x="1223" y="135"/>
                </a:cubicBezTo>
                <a:cubicBezTo>
                  <a:pt x="1222" y="137"/>
                  <a:pt x="1222" y="140"/>
                  <a:pt x="1222" y="142"/>
                </a:cubicBezTo>
                <a:cubicBezTo>
                  <a:pt x="1221" y="144"/>
                  <a:pt x="1221" y="144"/>
                  <a:pt x="1221" y="144"/>
                </a:cubicBezTo>
                <a:cubicBezTo>
                  <a:pt x="1221" y="147"/>
                  <a:pt x="1221" y="147"/>
                  <a:pt x="1221" y="147"/>
                </a:cubicBezTo>
                <a:cubicBezTo>
                  <a:pt x="1220" y="151"/>
                  <a:pt x="1219" y="154"/>
                  <a:pt x="1219" y="156"/>
                </a:cubicBezTo>
                <a:cubicBezTo>
                  <a:pt x="1219" y="159"/>
                  <a:pt x="1221" y="160"/>
                  <a:pt x="1224" y="160"/>
                </a:cubicBezTo>
                <a:cubicBezTo>
                  <a:pt x="1225" y="160"/>
                  <a:pt x="1226" y="160"/>
                  <a:pt x="1227" y="159"/>
                </a:cubicBezTo>
                <a:cubicBezTo>
                  <a:pt x="1228" y="159"/>
                  <a:pt x="1229" y="158"/>
                  <a:pt x="1230" y="157"/>
                </a:cubicBezTo>
                <a:cubicBezTo>
                  <a:pt x="1231" y="157"/>
                  <a:pt x="1231" y="156"/>
                  <a:pt x="1232" y="156"/>
                </a:cubicBezTo>
                <a:cubicBezTo>
                  <a:pt x="1231" y="154"/>
                  <a:pt x="1231" y="154"/>
                  <a:pt x="1231" y="154"/>
                </a:cubicBezTo>
                <a:cubicBezTo>
                  <a:pt x="1229" y="155"/>
                  <a:pt x="1228" y="156"/>
                  <a:pt x="1227" y="156"/>
                </a:cubicBezTo>
                <a:cubicBezTo>
                  <a:pt x="1227" y="156"/>
                  <a:pt x="1227" y="155"/>
                  <a:pt x="1227" y="154"/>
                </a:cubicBezTo>
                <a:cubicBezTo>
                  <a:pt x="1227" y="152"/>
                  <a:pt x="1227" y="149"/>
                  <a:pt x="1228" y="145"/>
                </a:cubicBezTo>
                <a:cubicBezTo>
                  <a:pt x="1228" y="142"/>
                  <a:pt x="1228" y="142"/>
                  <a:pt x="1228" y="142"/>
                </a:cubicBezTo>
                <a:cubicBezTo>
                  <a:pt x="1229" y="140"/>
                  <a:pt x="1229" y="140"/>
                  <a:pt x="1229" y="140"/>
                </a:cubicBezTo>
                <a:cubicBezTo>
                  <a:pt x="1230" y="135"/>
                  <a:pt x="1230" y="132"/>
                  <a:pt x="1230" y="130"/>
                </a:cubicBezTo>
                <a:cubicBezTo>
                  <a:pt x="1230" y="126"/>
                  <a:pt x="1229" y="123"/>
                  <a:pt x="1228" y="122"/>
                </a:cubicBezTo>
                <a:cubicBezTo>
                  <a:pt x="1227" y="120"/>
                  <a:pt x="1225" y="119"/>
                  <a:pt x="1222" y="119"/>
                </a:cubicBezTo>
                <a:cubicBezTo>
                  <a:pt x="1219" y="119"/>
                  <a:pt x="1217" y="120"/>
                  <a:pt x="1214" y="122"/>
                </a:cubicBezTo>
                <a:cubicBezTo>
                  <a:pt x="1211" y="124"/>
                  <a:pt x="1209" y="126"/>
                  <a:pt x="1207" y="129"/>
                </a:cubicBezTo>
                <a:close/>
                <a:moveTo>
                  <a:pt x="1267" y="153"/>
                </a:moveTo>
                <a:cubicBezTo>
                  <a:pt x="1266" y="150"/>
                  <a:pt x="1266" y="150"/>
                  <a:pt x="1266" y="150"/>
                </a:cubicBezTo>
                <a:cubicBezTo>
                  <a:pt x="1264" y="152"/>
                  <a:pt x="1262" y="153"/>
                  <a:pt x="1260" y="154"/>
                </a:cubicBezTo>
                <a:cubicBezTo>
                  <a:pt x="1258" y="155"/>
                  <a:pt x="1256" y="156"/>
                  <a:pt x="1254" y="156"/>
                </a:cubicBezTo>
                <a:cubicBezTo>
                  <a:pt x="1251" y="156"/>
                  <a:pt x="1249" y="154"/>
                  <a:pt x="1248" y="152"/>
                </a:cubicBezTo>
                <a:cubicBezTo>
                  <a:pt x="1246" y="150"/>
                  <a:pt x="1246" y="147"/>
                  <a:pt x="1246" y="143"/>
                </a:cubicBezTo>
                <a:cubicBezTo>
                  <a:pt x="1249" y="143"/>
                  <a:pt x="1252" y="143"/>
                  <a:pt x="1256" y="142"/>
                </a:cubicBezTo>
                <a:cubicBezTo>
                  <a:pt x="1259" y="140"/>
                  <a:pt x="1263" y="139"/>
                  <a:pt x="1265" y="136"/>
                </a:cubicBezTo>
                <a:cubicBezTo>
                  <a:pt x="1268" y="134"/>
                  <a:pt x="1269" y="131"/>
                  <a:pt x="1269" y="128"/>
                </a:cubicBezTo>
                <a:cubicBezTo>
                  <a:pt x="1269" y="125"/>
                  <a:pt x="1268" y="123"/>
                  <a:pt x="1267" y="122"/>
                </a:cubicBezTo>
                <a:cubicBezTo>
                  <a:pt x="1265" y="120"/>
                  <a:pt x="1263" y="119"/>
                  <a:pt x="1259" y="119"/>
                </a:cubicBezTo>
                <a:cubicBezTo>
                  <a:pt x="1255" y="119"/>
                  <a:pt x="1252" y="121"/>
                  <a:pt x="1249" y="123"/>
                </a:cubicBezTo>
                <a:cubicBezTo>
                  <a:pt x="1246" y="125"/>
                  <a:pt x="1243" y="128"/>
                  <a:pt x="1241" y="132"/>
                </a:cubicBezTo>
                <a:cubicBezTo>
                  <a:pt x="1240" y="136"/>
                  <a:pt x="1239" y="140"/>
                  <a:pt x="1239" y="145"/>
                </a:cubicBezTo>
                <a:cubicBezTo>
                  <a:pt x="1239" y="147"/>
                  <a:pt x="1239" y="150"/>
                  <a:pt x="1240" y="152"/>
                </a:cubicBezTo>
                <a:cubicBezTo>
                  <a:pt x="1241" y="155"/>
                  <a:pt x="1243" y="156"/>
                  <a:pt x="1245" y="158"/>
                </a:cubicBezTo>
                <a:cubicBezTo>
                  <a:pt x="1247" y="159"/>
                  <a:pt x="1249" y="160"/>
                  <a:pt x="1253" y="160"/>
                </a:cubicBezTo>
                <a:cubicBezTo>
                  <a:pt x="1256" y="160"/>
                  <a:pt x="1259" y="159"/>
                  <a:pt x="1261" y="158"/>
                </a:cubicBezTo>
                <a:cubicBezTo>
                  <a:pt x="1264" y="156"/>
                  <a:pt x="1266" y="154"/>
                  <a:pt x="1267" y="153"/>
                </a:cubicBezTo>
                <a:close/>
                <a:moveTo>
                  <a:pt x="1258" y="123"/>
                </a:moveTo>
                <a:cubicBezTo>
                  <a:pt x="1259" y="123"/>
                  <a:pt x="1260" y="124"/>
                  <a:pt x="1261" y="125"/>
                </a:cubicBezTo>
                <a:cubicBezTo>
                  <a:pt x="1262" y="125"/>
                  <a:pt x="1263" y="127"/>
                  <a:pt x="1263" y="129"/>
                </a:cubicBezTo>
                <a:cubicBezTo>
                  <a:pt x="1263" y="131"/>
                  <a:pt x="1262" y="133"/>
                  <a:pt x="1260" y="135"/>
                </a:cubicBezTo>
                <a:cubicBezTo>
                  <a:pt x="1258" y="136"/>
                  <a:pt x="1256" y="138"/>
                  <a:pt x="1253" y="139"/>
                </a:cubicBezTo>
                <a:cubicBezTo>
                  <a:pt x="1251" y="139"/>
                  <a:pt x="1248" y="140"/>
                  <a:pt x="1246" y="140"/>
                </a:cubicBezTo>
                <a:cubicBezTo>
                  <a:pt x="1246" y="138"/>
                  <a:pt x="1247" y="135"/>
                  <a:pt x="1248" y="132"/>
                </a:cubicBezTo>
                <a:cubicBezTo>
                  <a:pt x="1249" y="130"/>
                  <a:pt x="1250" y="127"/>
                  <a:pt x="1252" y="126"/>
                </a:cubicBezTo>
                <a:cubicBezTo>
                  <a:pt x="1254" y="124"/>
                  <a:pt x="1255" y="123"/>
                  <a:pt x="1258" y="123"/>
                </a:cubicBezTo>
                <a:close/>
                <a:moveTo>
                  <a:pt x="1303" y="153"/>
                </a:moveTo>
                <a:cubicBezTo>
                  <a:pt x="1302" y="150"/>
                  <a:pt x="1302" y="150"/>
                  <a:pt x="1302" y="150"/>
                </a:cubicBezTo>
                <a:cubicBezTo>
                  <a:pt x="1300" y="152"/>
                  <a:pt x="1298" y="153"/>
                  <a:pt x="1296" y="154"/>
                </a:cubicBezTo>
                <a:cubicBezTo>
                  <a:pt x="1294" y="155"/>
                  <a:pt x="1292" y="156"/>
                  <a:pt x="1290" y="156"/>
                </a:cubicBezTo>
                <a:cubicBezTo>
                  <a:pt x="1287" y="156"/>
                  <a:pt x="1285" y="154"/>
                  <a:pt x="1284" y="152"/>
                </a:cubicBezTo>
                <a:cubicBezTo>
                  <a:pt x="1282" y="150"/>
                  <a:pt x="1282" y="147"/>
                  <a:pt x="1282" y="143"/>
                </a:cubicBezTo>
                <a:cubicBezTo>
                  <a:pt x="1285" y="143"/>
                  <a:pt x="1288" y="143"/>
                  <a:pt x="1292" y="142"/>
                </a:cubicBezTo>
                <a:cubicBezTo>
                  <a:pt x="1295" y="140"/>
                  <a:pt x="1299" y="139"/>
                  <a:pt x="1301" y="136"/>
                </a:cubicBezTo>
                <a:cubicBezTo>
                  <a:pt x="1304" y="134"/>
                  <a:pt x="1305" y="131"/>
                  <a:pt x="1305" y="128"/>
                </a:cubicBezTo>
                <a:cubicBezTo>
                  <a:pt x="1305" y="125"/>
                  <a:pt x="1304" y="123"/>
                  <a:pt x="1303" y="122"/>
                </a:cubicBezTo>
                <a:cubicBezTo>
                  <a:pt x="1301" y="120"/>
                  <a:pt x="1299" y="119"/>
                  <a:pt x="1295" y="119"/>
                </a:cubicBezTo>
                <a:cubicBezTo>
                  <a:pt x="1291" y="119"/>
                  <a:pt x="1288" y="121"/>
                  <a:pt x="1285" y="123"/>
                </a:cubicBezTo>
                <a:cubicBezTo>
                  <a:pt x="1282" y="125"/>
                  <a:pt x="1279" y="128"/>
                  <a:pt x="1277" y="132"/>
                </a:cubicBezTo>
                <a:cubicBezTo>
                  <a:pt x="1275" y="136"/>
                  <a:pt x="1275" y="140"/>
                  <a:pt x="1275" y="145"/>
                </a:cubicBezTo>
                <a:cubicBezTo>
                  <a:pt x="1275" y="147"/>
                  <a:pt x="1275" y="150"/>
                  <a:pt x="1276" y="152"/>
                </a:cubicBezTo>
                <a:cubicBezTo>
                  <a:pt x="1277" y="155"/>
                  <a:pt x="1279" y="156"/>
                  <a:pt x="1281" y="158"/>
                </a:cubicBezTo>
                <a:cubicBezTo>
                  <a:pt x="1283" y="159"/>
                  <a:pt x="1285" y="160"/>
                  <a:pt x="1288" y="160"/>
                </a:cubicBezTo>
                <a:cubicBezTo>
                  <a:pt x="1292" y="160"/>
                  <a:pt x="1295" y="159"/>
                  <a:pt x="1297" y="158"/>
                </a:cubicBezTo>
                <a:cubicBezTo>
                  <a:pt x="1300" y="156"/>
                  <a:pt x="1302" y="154"/>
                  <a:pt x="1303" y="153"/>
                </a:cubicBezTo>
                <a:close/>
                <a:moveTo>
                  <a:pt x="1294" y="123"/>
                </a:moveTo>
                <a:cubicBezTo>
                  <a:pt x="1295" y="123"/>
                  <a:pt x="1296" y="124"/>
                  <a:pt x="1297" y="125"/>
                </a:cubicBezTo>
                <a:cubicBezTo>
                  <a:pt x="1298" y="125"/>
                  <a:pt x="1298" y="127"/>
                  <a:pt x="1298" y="129"/>
                </a:cubicBezTo>
                <a:cubicBezTo>
                  <a:pt x="1298" y="131"/>
                  <a:pt x="1298" y="133"/>
                  <a:pt x="1296" y="135"/>
                </a:cubicBezTo>
                <a:cubicBezTo>
                  <a:pt x="1294" y="136"/>
                  <a:pt x="1292" y="138"/>
                  <a:pt x="1289" y="139"/>
                </a:cubicBezTo>
                <a:cubicBezTo>
                  <a:pt x="1287" y="139"/>
                  <a:pt x="1284" y="140"/>
                  <a:pt x="1282" y="140"/>
                </a:cubicBezTo>
                <a:cubicBezTo>
                  <a:pt x="1282" y="138"/>
                  <a:pt x="1283" y="135"/>
                  <a:pt x="1284" y="132"/>
                </a:cubicBezTo>
                <a:cubicBezTo>
                  <a:pt x="1285" y="130"/>
                  <a:pt x="1286" y="127"/>
                  <a:pt x="1288" y="126"/>
                </a:cubicBezTo>
                <a:cubicBezTo>
                  <a:pt x="1289" y="124"/>
                  <a:pt x="1291" y="123"/>
                  <a:pt x="1294" y="123"/>
                </a:cubicBezTo>
                <a:close/>
                <a:moveTo>
                  <a:pt x="1322" y="129"/>
                </a:moveTo>
                <a:cubicBezTo>
                  <a:pt x="1323" y="127"/>
                  <a:pt x="1323" y="127"/>
                  <a:pt x="1323" y="127"/>
                </a:cubicBezTo>
                <a:cubicBezTo>
                  <a:pt x="1323" y="120"/>
                  <a:pt x="1323" y="120"/>
                  <a:pt x="1323" y="120"/>
                </a:cubicBezTo>
                <a:cubicBezTo>
                  <a:pt x="1322" y="119"/>
                  <a:pt x="1322" y="119"/>
                  <a:pt x="1322" y="119"/>
                </a:cubicBezTo>
                <a:cubicBezTo>
                  <a:pt x="1314" y="121"/>
                  <a:pt x="1314" y="121"/>
                  <a:pt x="1314" y="121"/>
                </a:cubicBezTo>
                <a:cubicBezTo>
                  <a:pt x="1313" y="124"/>
                  <a:pt x="1313" y="124"/>
                  <a:pt x="1313" y="124"/>
                </a:cubicBezTo>
                <a:cubicBezTo>
                  <a:pt x="1317" y="125"/>
                  <a:pt x="1317" y="125"/>
                  <a:pt x="1317" y="125"/>
                </a:cubicBezTo>
                <a:cubicBezTo>
                  <a:pt x="1312" y="159"/>
                  <a:pt x="1312" y="159"/>
                  <a:pt x="1312" y="159"/>
                </a:cubicBezTo>
                <a:cubicBezTo>
                  <a:pt x="1319" y="159"/>
                  <a:pt x="1319" y="159"/>
                  <a:pt x="1319" y="159"/>
                </a:cubicBezTo>
                <a:cubicBezTo>
                  <a:pt x="1322" y="134"/>
                  <a:pt x="1322" y="134"/>
                  <a:pt x="1322" y="134"/>
                </a:cubicBezTo>
                <a:cubicBezTo>
                  <a:pt x="1323" y="132"/>
                  <a:pt x="1325" y="130"/>
                  <a:pt x="1327" y="129"/>
                </a:cubicBezTo>
                <a:cubicBezTo>
                  <a:pt x="1329" y="127"/>
                  <a:pt x="1331" y="127"/>
                  <a:pt x="1333" y="127"/>
                </a:cubicBezTo>
                <a:cubicBezTo>
                  <a:pt x="1334" y="127"/>
                  <a:pt x="1335" y="127"/>
                  <a:pt x="1336" y="127"/>
                </a:cubicBezTo>
                <a:cubicBezTo>
                  <a:pt x="1338" y="120"/>
                  <a:pt x="1338" y="120"/>
                  <a:pt x="1338" y="120"/>
                </a:cubicBezTo>
                <a:cubicBezTo>
                  <a:pt x="1337" y="120"/>
                  <a:pt x="1336" y="119"/>
                  <a:pt x="1335" y="119"/>
                </a:cubicBezTo>
                <a:cubicBezTo>
                  <a:pt x="1333" y="119"/>
                  <a:pt x="1331" y="120"/>
                  <a:pt x="1330" y="121"/>
                </a:cubicBezTo>
                <a:cubicBezTo>
                  <a:pt x="1328" y="122"/>
                  <a:pt x="1326" y="123"/>
                  <a:pt x="1325" y="125"/>
                </a:cubicBezTo>
                <a:cubicBezTo>
                  <a:pt x="1324" y="126"/>
                  <a:pt x="1323" y="128"/>
                  <a:pt x="1322" y="129"/>
                </a:cubicBezTo>
                <a:close/>
                <a:moveTo>
                  <a:pt x="1349" y="153"/>
                </a:moveTo>
                <a:cubicBezTo>
                  <a:pt x="1354" y="120"/>
                  <a:pt x="1354" y="120"/>
                  <a:pt x="1354" y="120"/>
                </a:cubicBezTo>
                <a:cubicBezTo>
                  <a:pt x="1352" y="119"/>
                  <a:pt x="1352" y="119"/>
                  <a:pt x="1352" y="119"/>
                </a:cubicBezTo>
                <a:cubicBezTo>
                  <a:pt x="1342" y="121"/>
                  <a:pt x="1342" y="121"/>
                  <a:pt x="1342" y="121"/>
                </a:cubicBezTo>
                <a:cubicBezTo>
                  <a:pt x="1342" y="123"/>
                  <a:pt x="1342" y="123"/>
                  <a:pt x="1342" y="123"/>
                </a:cubicBezTo>
                <a:cubicBezTo>
                  <a:pt x="1346" y="125"/>
                  <a:pt x="1346" y="125"/>
                  <a:pt x="1346" y="125"/>
                </a:cubicBezTo>
                <a:cubicBezTo>
                  <a:pt x="1345" y="132"/>
                  <a:pt x="1345" y="138"/>
                  <a:pt x="1344" y="142"/>
                </a:cubicBezTo>
                <a:cubicBezTo>
                  <a:pt x="1343" y="150"/>
                  <a:pt x="1342" y="154"/>
                  <a:pt x="1342" y="156"/>
                </a:cubicBezTo>
                <a:cubicBezTo>
                  <a:pt x="1342" y="157"/>
                  <a:pt x="1342" y="158"/>
                  <a:pt x="1343" y="159"/>
                </a:cubicBezTo>
                <a:cubicBezTo>
                  <a:pt x="1344" y="160"/>
                  <a:pt x="1345" y="160"/>
                  <a:pt x="1347" y="160"/>
                </a:cubicBezTo>
                <a:cubicBezTo>
                  <a:pt x="1349" y="160"/>
                  <a:pt x="1350" y="159"/>
                  <a:pt x="1352" y="158"/>
                </a:cubicBezTo>
                <a:cubicBezTo>
                  <a:pt x="1353" y="157"/>
                  <a:pt x="1354" y="156"/>
                  <a:pt x="1355" y="155"/>
                </a:cubicBezTo>
                <a:cubicBezTo>
                  <a:pt x="1354" y="154"/>
                  <a:pt x="1354" y="154"/>
                  <a:pt x="1354" y="154"/>
                </a:cubicBezTo>
                <a:cubicBezTo>
                  <a:pt x="1353" y="154"/>
                  <a:pt x="1352" y="155"/>
                  <a:pt x="1352" y="155"/>
                </a:cubicBezTo>
                <a:cubicBezTo>
                  <a:pt x="1351" y="156"/>
                  <a:pt x="1351" y="156"/>
                  <a:pt x="1350" y="156"/>
                </a:cubicBezTo>
                <a:cubicBezTo>
                  <a:pt x="1350" y="156"/>
                  <a:pt x="1350" y="156"/>
                  <a:pt x="1349" y="155"/>
                </a:cubicBezTo>
                <a:cubicBezTo>
                  <a:pt x="1349" y="155"/>
                  <a:pt x="1349" y="155"/>
                  <a:pt x="1349" y="154"/>
                </a:cubicBezTo>
                <a:lnTo>
                  <a:pt x="1349" y="153"/>
                </a:lnTo>
                <a:close/>
                <a:moveTo>
                  <a:pt x="1351" y="112"/>
                </a:moveTo>
                <a:cubicBezTo>
                  <a:pt x="1353" y="112"/>
                  <a:pt x="1354" y="111"/>
                  <a:pt x="1355" y="110"/>
                </a:cubicBezTo>
                <a:cubicBezTo>
                  <a:pt x="1356" y="109"/>
                  <a:pt x="1356" y="108"/>
                  <a:pt x="1356" y="107"/>
                </a:cubicBezTo>
                <a:cubicBezTo>
                  <a:pt x="1356" y="106"/>
                  <a:pt x="1356" y="105"/>
                  <a:pt x="1355" y="104"/>
                </a:cubicBezTo>
                <a:cubicBezTo>
                  <a:pt x="1354" y="103"/>
                  <a:pt x="1353" y="103"/>
                  <a:pt x="1352" y="103"/>
                </a:cubicBezTo>
                <a:cubicBezTo>
                  <a:pt x="1351" y="103"/>
                  <a:pt x="1350" y="103"/>
                  <a:pt x="1349" y="104"/>
                </a:cubicBezTo>
                <a:cubicBezTo>
                  <a:pt x="1348" y="105"/>
                  <a:pt x="1348" y="107"/>
                  <a:pt x="1348" y="108"/>
                </a:cubicBezTo>
                <a:cubicBezTo>
                  <a:pt x="1348" y="109"/>
                  <a:pt x="1348" y="110"/>
                  <a:pt x="1349" y="111"/>
                </a:cubicBezTo>
                <a:cubicBezTo>
                  <a:pt x="1350" y="111"/>
                  <a:pt x="1350" y="112"/>
                  <a:pt x="1351" y="112"/>
                </a:cubicBezTo>
                <a:close/>
                <a:moveTo>
                  <a:pt x="1374" y="129"/>
                </a:moveTo>
                <a:cubicBezTo>
                  <a:pt x="1375" y="120"/>
                  <a:pt x="1375" y="120"/>
                  <a:pt x="1375" y="120"/>
                </a:cubicBezTo>
                <a:cubicBezTo>
                  <a:pt x="1374" y="119"/>
                  <a:pt x="1374" y="119"/>
                  <a:pt x="1374" y="119"/>
                </a:cubicBezTo>
                <a:cubicBezTo>
                  <a:pt x="1365" y="121"/>
                  <a:pt x="1365" y="121"/>
                  <a:pt x="1365" y="121"/>
                </a:cubicBezTo>
                <a:cubicBezTo>
                  <a:pt x="1365" y="124"/>
                  <a:pt x="1365" y="124"/>
                  <a:pt x="1365" y="124"/>
                </a:cubicBezTo>
                <a:cubicBezTo>
                  <a:pt x="1368" y="125"/>
                  <a:pt x="1368" y="125"/>
                  <a:pt x="1368" y="125"/>
                </a:cubicBezTo>
                <a:cubicBezTo>
                  <a:pt x="1364" y="159"/>
                  <a:pt x="1364" y="159"/>
                  <a:pt x="1364" y="159"/>
                </a:cubicBezTo>
                <a:cubicBezTo>
                  <a:pt x="1370" y="159"/>
                  <a:pt x="1370" y="159"/>
                  <a:pt x="1370" y="159"/>
                </a:cubicBezTo>
                <a:cubicBezTo>
                  <a:pt x="1374" y="134"/>
                  <a:pt x="1374" y="134"/>
                  <a:pt x="1374" y="134"/>
                </a:cubicBezTo>
                <a:cubicBezTo>
                  <a:pt x="1375" y="131"/>
                  <a:pt x="1377" y="129"/>
                  <a:pt x="1380" y="127"/>
                </a:cubicBezTo>
                <a:cubicBezTo>
                  <a:pt x="1382" y="125"/>
                  <a:pt x="1384" y="124"/>
                  <a:pt x="1386" y="124"/>
                </a:cubicBezTo>
                <a:cubicBezTo>
                  <a:pt x="1388" y="124"/>
                  <a:pt x="1389" y="125"/>
                  <a:pt x="1389" y="126"/>
                </a:cubicBezTo>
                <a:cubicBezTo>
                  <a:pt x="1390" y="127"/>
                  <a:pt x="1390" y="128"/>
                  <a:pt x="1390" y="130"/>
                </a:cubicBezTo>
                <a:cubicBezTo>
                  <a:pt x="1390" y="132"/>
                  <a:pt x="1390" y="134"/>
                  <a:pt x="1390" y="135"/>
                </a:cubicBezTo>
                <a:cubicBezTo>
                  <a:pt x="1390" y="137"/>
                  <a:pt x="1389" y="140"/>
                  <a:pt x="1389" y="142"/>
                </a:cubicBezTo>
                <a:cubicBezTo>
                  <a:pt x="1388" y="144"/>
                  <a:pt x="1388" y="144"/>
                  <a:pt x="1388" y="144"/>
                </a:cubicBezTo>
                <a:cubicBezTo>
                  <a:pt x="1388" y="147"/>
                  <a:pt x="1388" y="147"/>
                  <a:pt x="1388" y="147"/>
                </a:cubicBezTo>
                <a:cubicBezTo>
                  <a:pt x="1387" y="151"/>
                  <a:pt x="1387" y="154"/>
                  <a:pt x="1387" y="156"/>
                </a:cubicBezTo>
                <a:cubicBezTo>
                  <a:pt x="1387" y="159"/>
                  <a:pt x="1388" y="160"/>
                  <a:pt x="1391" y="160"/>
                </a:cubicBezTo>
                <a:cubicBezTo>
                  <a:pt x="1392" y="160"/>
                  <a:pt x="1394" y="160"/>
                  <a:pt x="1395" y="159"/>
                </a:cubicBezTo>
                <a:cubicBezTo>
                  <a:pt x="1396" y="159"/>
                  <a:pt x="1397" y="158"/>
                  <a:pt x="1397" y="157"/>
                </a:cubicBezTo>
                <a:cubicBezTo>
                  <a:pt x="1398" y="157"/>
                  <a:pt x="1399" y="156"/>
                  <a:pt x="1399" y="156"/>
                </a:cubicBezTo>
                <a:cubicBezTo>
                  <a:pt x="1398" y="154"/>
                  <a:pt x="1398" y="154"/>
                  <a:pt x="1398" y="154"/>
                </a:cubicBezTo>
                <a:cubicBezTo>
                  <a:pt x="1397" y="155"/>
                  <a:pt x="1396" y="156"/>
                  <a:pt x="1395" y="156"/>
                </a:cubicBezTo>
                <a:cubicBezTo>
                  <a:pt x="1394" y="156"/>
                  <a:pt x="1394" y="155"/>
                  <a:pt x="1394" y="154"/>
                </a:cubicBezTo>
                <a:cubicBezTo>
                  <a:pt x="1394" y="152"/>
                  <a:pt x="1394" y="149"/>
                  <a:pt x="1395" y="145"/>
                </a:cubicBezTo>
                <a:cubicBezTo>
                  <a:pt x="1395" y="142"/>
                  <a:pt x="1395" y="142"/>
                  <a:pt x="1395" y="142"/>
                </a:cubicBezTo>
                <a:cubicBezTo>
                  <a:pt x="1396" y="140"/>
                  <a:pt x="1396" y="140"/>
                  <a:pt x="1396" y="140"/>
                </a:cubicBezTo>
                <a:cubicBezTo>
                  <a:pt x="1397" y="135"/>
                  <a:pt x="1397" y="132"/>
                  <a:pt x="1397" y="130"/>
                </a:cubicBezTo>
                <a:cubicBezTo>
                  <a:pt x="1397" y="126"/>
                  <a:pt x="1397" y="123"/>
                  <a:pt x="1395" y="122"/>
                </a:cubicBezTo>
                <a:cubicBezTo>
                  <a:pt x="1394" y="120"/>
                  <a:pt x="1392" y="119"/>
                  <a:pt x="1389" y="119"/>
                </a:cubicBezTo>
                <a:cubicBezTo>
                  <a:pt x="1386" y="119"/>
                  <a:pt x="1384" y="120"/>
                  <a:pt x="1381" y="122"/>
                </a:cubicBezTo>
                <a:cubicBezTo>
                  <a:pt x="1379" y="124"/>
                  <a:pt x="1376" y="126"/>
                  <a:pt x="1374" y="129"/>
                </a:cubicBezTo>
                <a:close/>
                <a:moveTo>
                  <a:pt x="1433" y="162"/>
                </a:moveTo>
                <a:cubicBezTo>
                  <a:pt x="1440" y="119"/>
                  <a:pt x="1440" y="119"/>
                  <a:pt x="1440" y="119"/>
                </a:cubicBezTo>
                <a:cubicBezTo>
                  <a:pt x="1435" y="121"/>
                  <a:pt x="1435" y="121"/>
                  <a:pt x="1435" y="121"/>
                </a:cubicBezTo>
                <a:cubicBezTo>
                  <a:pt x="1434" y="121"/>
                  <a:pt x="1433" y="120"/>
                  <a:pt x="1432" y="120"/>
                </a:cubicBezTo>
                <a:cubicBezTo>
                  <a:pt x="1430" y="120"/>
                  <a:pt x="1429" y="119"/>
                  <a:pt x="1428" y="119"/>
                </a:cubicBezTo>
                <a:cubicBezTo>
                  <a:pt x="1423" y="119"/>
                  <a:pt x="1419" y="121"/>
                  <a:pt x="1416" y="123"/>
                </a:cubicBezTo>
                <a:cubicBezTo>
                  <a:pt x="1412" y="126"/>
                  <a:pt x="1410" y="129"/>
                  <a:pt x="1408" y="133"/>
                </a:cubicBezTo>
                <a:cubicBezTo>
                  <a:pt x="1406" y="137"/>
                  <a:pt x="1405" y="141"/>
                  <a:pt x="1405" y="145"/>
                </a:cubicBezTo>
                <a:cubicBezTo>
                  <a:pt x="1405" y="150"/>
                  <a:pt x="1406" y="153"/>
                  <a:pt x="1408" y="156"/>
                </a:cubicBezTo>
                <a:cubicBezTo>
                  <a:pt x="1410" y="159"/>
                  <a:pt x="1413" y="160"/>
                  <a:pt x="1417" y="160"/>
                </a:cubicBezTo>
                <a:cubicBezTo>
                  <a:pt x="1419" y="160"/>
                  <a:pt x="1421" y="159"/>
                  <a:pt x="1423" y="158"/>
                </a:cubicBezTo>
                <a:cubicBezTo>
                  <a:pt x="1425" y="157"/>
                  <a:pt x="1426" y="156"/>
                  <a:pt x="1428" y="155"/>
                </a:cubicBezTo>
                <a:cubicBezTo>
                  <a:pt x="1426" y="164"/>
                  <a:pt x="1426" y="164"/>
                  <a:pt x="1426" y="164"/>
                </a:cubicBezTo>
                <a:cubicBezTo>
                  <a:pt x="1426" y="167"/>
                  <a:pt x="1425" y="169"/>
                  <a:pt x="1424" y="170"/>
                </a:cubicBezTo>
                <a:cubicBezTo>
                  <a:pt x="1422" y="172"/>
                  <a:pt x="1420" y="172"/>
                  <a:pt x="1417" y="172"/>
                </a:cubicBezTo>
                <a:cubicBezTo>
                  <a:pt x="1415" y="172"/>
                  <a:pt x="1414" y="172"/>
                  <a:pt x="1412" y="171"/>
                </a:cubicBezTo>
                <a:cubicBezTo>
                  <a:pt x="1410" y="171"/>
                  <a:pt x="1409" y="170"/>
                  <a:pt x="1408" y="170"/>
                </a:cubicBezTo>
                <a:cubicBezTo>
                  <a:pt x="1406" y="175"/>
                  <a:pt x="1406" y="175"/>
                  <a:pt x="1406" y="175"/>
                </a:cubicBezTo>
                <a:cubicBezTo>
                  <a:pt x="1407" y="176"/>
                  <a:pt x="1408" y="176"/>
                  <a:pt x="1410" y="176"/>
                </a:cubicBezTo>
                <a:cubicBezTo>
                  <a:pt x="1411" y="177"/>
                  <a:pt x="1413" y="177"/>
                  <a:pt x="1414" y="177"/>
                </a:cubicBezTo>
                <a:cubicBezTo>
                  <a:pt x="1417" y="177"/>
                  <a:pt x="1420" y="176"/>
                  <a:pt x="1423" y="175"/>
                </a:cubicBezTo>
                <a:cubicBezTo>
                  <a:pt x="1425" y="174"/>
                  <a:pt x="1428" y="173"/>
                  <a:pt x="1430" y="170"/>
                </a:cubicBezTo>
                <a:cubicBezTo>
                  <a:pt x="1432" y="168"/>
                  <a:pt x="1433" y="165"/>
                  <a:pt x="1433" y="162"/>
                </a:cubicBezTo>
                <a:close/>
                <a:moveTo>
                  <a:pt x="1432" y="125"/>
                </a:moveTo>
                <a:cubicBezTo>
                  <a:pt x="1428" y="150"/>
                  <a:pt x="1428" y="150"/>
                  <a:pt x="1428" y="150"/>
                </a:cubicBezTo>
                <a:cubicBezTo>
                  <a:pt x="1427" y="151"/>
                  <a:pt x="1426" y="153"/>
                  <a:pt x="1424" y="154"/>
                </a:cubicBezTo>
                <a:cubicBezTo>
                  <a:pt x="1423" y="155"/>
                  <a:pt x="1421" y="155"/>
                  <a:pt x="1419" y="155"/>
                </a:cubicBezTo>
                <a:cubicBezTo>
                  <a:pt x="1417" y="155"/>
                  <a:pt x="1415" y="155"/>
                  <a:pt x="1414" y="153"/>
                </a:cubicBezTo>
                <a:cubicBezTo>
                  <a:pt x="1413" y="151"/>
                  <a:pt x="1412" y="148"/>
                  <a:pt x="1412" y="145"/>
                </a:cubicBezTo>
                <a:cubicBezTo>
                  <a:pt x="1412" y="142"/>
                  <a:pt x="1413" y="138"/>
                  <a:pt x="1414" y="135"/>
                </a:cubicBezTo>
                <a:cubicBezTo>
                  <a:pt x="1415" y="132"/>
                  <a:pt x="1417" y="129"/>
                  <a:pt x="1419" y="127"/>
                </a:cubicBezTo>
                <a:cubicBezTo>
                  <a:pt x="1421" y="124"/>
                  <a:pt x="1424" y="123"/>
                  <a:pt x="1427" y="123"/>
                </a:cubicBezTo>
                <a:cubicBezTo>
                  <a:pt x="1429" y="123"/>
                  <a:pt x="1431" y="124"/>
                  <a:pt x="1432" y="125"/>
                </a:cubicBezTo>
                <a:close/>
                <a:moveTo>
                  <a:pt x="1076" y="242"/>
                </a:moveTo>
                <a:cubicBezTo>
                  <a:pt x="1072" y="249"/>
                  <a:pt x="1072" y="249"/>
                  <a:pt x="1072" y="249"/>
                </a:cubicBezTo>
                <a:cubicBezTo>
                  <a:pt x="1072" y="242"/>
                  <a:pt x="1072" y="242"/>
                  <a:pt x="1072" y="242"/>
                </a:cubicBezTo>
                <a:cubicBezTo>
                  <a:pt x="1066" y="208"/>
                  <a:pt x="1066" y="208"/>
                  <a:pt x="1066" y="208"/>
                </a:cubicBezTo>
                <a:cubicBezTo>
                  <a:pt x="1050" y="208"/>
                  <a:pt x="1050" y="208"/>
                  <a:pt x="1050" y="208"/>
                </a:cubicBezTo>
                <a:cubicBezTo>
                  <a:pt x="1049" y="211"/>
                  <a:pt x="1049" y="211"/>
                  <a:pt x="1049" y="211"/>
                </a:cubicBezTo>
                <a:cubicBezTo>
                  <a:pt x="1056" y="212"/>
                  <a:pt x="1056" y="212"/>
                  <a:pt x="1056" y="212"/>
                </a:cubicBezTo>
                <a:cubicBezTo>
                  <a:pt x="1045" y="256"/>
                  <a:pt x="1045" y="256"/>
                  <a:pt x="1045" y="256"/>
                </a:cubicBezTo>
                <a:cubicBezTo>
                  <a:pt x="1039" y="257"/>
                  <a:pt x="1039" y="257"/>
                  <a:pt x="1039" y="257"/>
                </a:cubicBezTo>
                <a:cubicBezTo>
                  <a:pt x="1039" y="260"/>
                  <a:pt x="1039" y="260"/>
                  <a:pt x="1039" y="260"/>
                </a:cubicBezTo>
                <a:cubicBezTo>
                  <a:pt x="1057" y="260"/>
                  <a:pt x="1057" y="260"/>
                  <a:pt x="1057" y="260"/>
                </a:cubicBezTo>
                <a:cubicBezTo>
                  <a:pt x="1057" y="257"/>
                  <a:pt x="1057" y="257"/>
                  <a:pt x="1057" y="257"/>
                </a:cubicBezTo>
                <a:cubicBezTo>
                  <a:pt x="1050" y="256"/>
                  <a:pt x="1050" y="256"/>
                  <a:pt x="1050" y="256"/>
                </a:cubicBezTo>
                <a:cubicBezTo>
                  <a:pt x="1057" y="225"/>
                  <a:pt x="1057" y="225"/>
                  <a:pt x="1057" y="225"/>
                </a:cubicBezTo>
                <a:cubicBezTo>
                  <a:pt x="1060" y="211"/>
                  <a:pt x="1060" y="211"/>
                  <a:pt x="1060" y="211"/>
                </a:cubicBezTo>
                <a:cubicBezTo>
                  <a:pt x="1062" y="225"/>
                  <a:pt x="1062" y="225"/>
                  <a:pt x="1062" y="225"/>
                </a:cubicBezTo>
                <a:cubicBezTo>
                  <a:pt x="1068" y="261"/>
                  <a:pt x="1068" y="261"/>
                  <a:pt x="1068" y="261"/>
                </a:cubicBezTo>
                <a:cubicBezTo>
                  <a:pt x="1072" y="260"/>
                  <a:pt x="1072" y="260"/>
                  <a:pt x="1072" y="260"/>
                </a:cubicBezTo>
                <a:cubicBezTo>
                  <a:pt x="1088" y="224"/>
                  <a:pt x="1088" y="224"/>
                  <a:pt x="1088" y="224"/>
                </a:cubicBezTo>
                <a:cubicBezTo>
                  <a:pt x="1094" y="211"/>
                  <a:pt x="1094" y="211"/>
                  <a:pt x="1094" y="211"/>
                </a:cubicBezTo>
                <a:cubicBezTo>
                  <a:pt x="1093" y="225"/>
                  <a:pt x="1093" y="225"/>
                  <a:pt x="1093" y="225"/>
                </a:cubicBezTo>
                <a:cubicBezTo>
                  <a:pt x="1091" y="256"/>
                  <a:pt x="1091" y="256"/>
                  <a:pt x="1091" y="256"/>
                </a:cubicBezTo>
                <a:cubicBezTo>
                  <a:pt x="1085" y="257"/>
                  <a:pt x="1085" y="257"/>
                  <a:pt x="1085" y="257"/>
                </a:cubicBezTo>
                <a:cubicBezTo>
                  <a:pt x="1084" y="260"/>
                  <a:pt x="1084" y="260"/>
                  <a:pt x="1084" y="260"/>
                </a:cubicBezTo>
                <a:cubicBezTo>
                  <a:pt x="1104" y="260"/>
                  <a:pt x="1104" y="260"/>
                  <a:pt x="1104" y="260"/>
                </a:cubicBezTo>
                <a:cubicBezTo>
                  <a:pt x="1104" y="257"/>
                  <a:pt x="1104" y="257"/>
                  <a:pt x="1104" y="257"/>
                </a:cubicBezTo>
                <a:cubicBezTo>
                  <a:pt x="1098" y="256"/>
                  <a:pt x="1098" y="256"/>
                  <a:pt x="1098" y="256"/>
                </a:cubicBezTo>
                <a:cubicBezTo>
                  <a:pt x="1099" y="212"/>
                  <a:pt x="1099" y="212"/>
                  <a:pt x="1099" y="212"/>
                </a:cubicBezTo>
                <a:cubicBezTo>
                  <a:pt x="1106" y="211"/>
                  <a:pt x="1106" y="211"/>
                  <a:pt x="1106" y="211"/>
                </a:cubicBezTo>
                <a:cubicBezTo>
                  <a:pt x="1106" y="208"/>
                  <a:pt x="1106" y="208"/>
                  <a:pt x="1106" y="208"/>
                </a:cubicBezTo>
                <a:cubicBezTo>
                  <a:pt x="1091" y="208"/>
                  <a:pt x="1091" y="208"/>
                  <a:pt x="1091" y="208"/>
                </a:cubicBezTo>
                <a:cubicBezTo>
                  <a:pt x="1090" y="211"/>
                  <a:pt x="1087" y="217"/>
                  <a:pt x="1083" y="225"/>
                </a:cubicBezTo>
                <a:cubicBezTo>
                  <a:pt x="1079" y="233"/>
                  <a:pt x="1077" y="239"/>
                  <a:pt x="1076" y="242"/>
                </a:cubicBezTo>
                <a:close/>
                <a:moveTo>
                  <a:pt x="1138" y="253"/>
                </a:moveTo>
                <a:cubicBezTo>
                  <a:pt x="1136" y="251"/>
                  <a:pt x="1136" y="251"/>
                  <a:pt x="1136" y="251"/>
                </a:cubicBezTo>
                <a:cubicBezTo>
                  <a:pt x="1134" y="253"/>
                  <a:pt x="1133" y="254"/>
                  <a:pt x="1131" y="255"/>
                </a:cubicBezTo>
                <a:cubicBezTo>
                  <a:pt x="1129" y="256"/>
                  <a:pt x="1126" y="256"/>
                  <a:pt x="1124" y="256"/>
                </a:cubicBezTo>
                <a:cubicBezTo>
                  <a:pt x="1121" y="256"/>
                  <a:pt x="1119" y="255"/>
                  <a:pt x="1118" y="253"/>
                </a:cubicBezTo>
                <a:cubicBezTo>
                  <a:pt x="1117" y="250"/>
                  <a:pt x="1116" y="247"/>
                  <a:pt x="1116" y="244"/>
                </a:cubicBezTo>
                <a:cubicBezTo>
                  <a:pt x="1119" y="244"/>
                  <a:pt x="1123" y="244"/>
                  <a:pt x="1126" y="242"/>
                </a:cubicBezTo>
                <a:cubicBezTo>
                  <a:pt x="1130" y="241"/>
                  <a:pt x="1133" y="240"/>
                  <a:pt x="1136" y="237"/>
                </a:cubicBezTo>
                <a:cubicBezTo>
                  <a:pt x="1138" y="235"/>
                  <a:pt x="1140" y="232"/>
                  <a:pt x="1140" y="229"/>
                </a:cubicBezTo>
                <a:cubicBezTo>
                  <a:pt x="1140" y="226"/>
                  <a:pt x="1139" y="224"/>
                  <a:pt x="1137" y="223"/>
                </a:cubicBezTo>
                <a:cubicBezTo>
                  <a:pt x="1135" y="221"/>
                  <a:pt x="1133" y="220"/>
                  <a:pt x="1130" y="220"/>
                </a:cubicBezTo>
                <a:cubicBezTo>
                  <a:pt x="1126" y="220"/>
                  <a:pt x="1122" y="221"/>
                  <a:pt x="1119" y="224"/>
                </a:cubicBezTo>
                <a:cubicBezTo>
                  <a:pt x="1116" y="226"/>
                  <a:pt x="1114" y="229"/>
                  <a:pt x="1112" y="233"/>
                </a:cubicBezTo>
                <a:cubicBezTo>
                  <a:pt x="1110" y="237"/>
                  <a:pt x="1109" y="241"/>
                  <a:pt x="1109" y="246"/>
                </a:cubicBezTo>
                <a:cubicBezTo>
                  <a:pt x="1109" y="248"/>
                  <a:pt x="1110" y="251"/>
                  <a:pt x="1111" y="253"/>
                </a:cubicBezTo>
                <a:cubicBezTo>
                  <a:pt x="1111" y="255"/>
                  <a:pt x="1113" y="257"/>
                  <a:pt x="1115" y="259"/>
                </a:cubicBezTo>
                <a:cubicBezTo>
                  <a:pt x="1117" y="260"/>
                  <a:pt x="1120" y="261"/>
                  <a:pt x="1123" y="261"/>
                </a:cubicBezTo>
                <a:cubicBezTo>
                  <a:pt x="1126" y="261"/>
                  <a:pt x="1129" y="260"/>
                  <a:pt x="1132" y="258"/>
                </a:cubicBezTo>
                <a:cubicBezTo>
                  <a:pt x="1135" y="257"/>
                  <a:pt x="1136" y="255"/>
                  <a:pt x="1138" y="253"/>
                </a:cubicBezTo>
                <a:close/>
                <a:moveTo>
                  <a:pt x="1128" y="224"/>
                </a:moveTo>
                <a:cubicBezTo>
                  <a:pt x="1130" y="224"/>
                  <a:pt x="1131" y="224"/>
                  <a:pt x="1132" y="225"/>
                </a:cubicBezTo>
                <a:cubicBezTo>
                  <a:pt x="1132" y="226"/>
                  <a:pt x="1133" y="228"/>
                  <a:pt x="1133" y="229"/>
                </a:cubicBezTo>
                <a:cubicBezTo>
                  <a:pt x="1133" y="232"/>
                  <a:pt x="1132" y="234"/>
                  <a:pt x="1130" y="235"/>
                </a:cubicBezTo>
                <a:cubicBezTo>
                  <a:pt x="1129" y="237"/>
                  <a:pt x="1126" y="238"/>
                  <a:pt x="1124" y="239"/>
                </a:cubicBezTo>
                <a:cubicBezTo>
                  <a:pt x="1121" y="240"/>
                  <a:pt x="1119" y="241"/>
                  <a:pt x="1116" y="241"/>
                </a:cubicBezTo>
                <a:cubicBezTo>
                  <a:pt x="1117" y="238"/>
                  <a:pt x="1117" y="236"/>
                  <a:pt x="1118" y="233"/>
                </a:cubicBezTo>
                <a:cubicBezTo>
                  <a:pt x="1119" y="230"/>
                  <a:pt x="1121" y="228"/>
                  <a:pt x="1122" y="226"/>
                </a:cubicBezTo>
                <a:cubicBezTo>
                  <a:pt x="1124" y="225"/>
                  <a:pt x="1126" y="224"/>
                  <a:pt x="1128" y="224"/>
                </a:cubicBezTo>
                <a:close/>
                <a:moveTo>
                  <a:pt x="1175" y="254"/>
                </a:moveTo>
                <a:cubicBezTo>
                  <a:pt x="1182" y="204"/>
                  <a:pt x="1182" y="204"/>
                  <a:pt x="1182" y="204"/>
                </a:cubicBezTo>
                <a:cubicBezTo>
                  <a:pt x="1181" y="204"/>
                  <a:pt x="1181" y="204"/>
                  <a:pt x="1181" y="204"/>
                </a:cubicBezTo>
                <a:cubicBezTo>
                  <a:pt x="1171" y="205"/>
                  <a:pt x="1171" y="205"/>
                  <a:pt x="1171" y="205"/>
                </a:cubicBezTo>
                <a:cubicBezTo>
                  <a:pt x="1170" y="207"/>
                  <a:pt x="1170" y="207"/>
                  <a:pt x="1170" y="207"/>
                </a:cubicBezTo>
                <a:cubicBezTo>
                  <a:pt x="1175" y="208"/>
                  <a:pt x="1175" y="208"/>
                  <a:pt x="1175" y="208"/>
                </a:cubicBezTo>
                <a:cubicBezTo>
                  <a:pt x="1173" y="221"/>
                  <a:pt x="1173" y="221"/>
                  <a:pt x="1173" y="221"/>
                </a:cubicBezTo>
                <a:cubicBezTo>
                  <a:pt x="1171" y="220"/>
                  <a:pt x="1169" y="220"/>
                  <a:pt x="1168" y="220"/>
                </a:cubicBezTo>
                <a:cubicBezTo>
                  <a:pt x="1163" y="220"/>
                  <a:pt x="1159" y="222"/>
                  <a:pt x="1156" y="224"/>
                </a:cubicBezTo>
                <a:cubicBezTo>
                  <a:pt x="1152" y="227"/>
                  <a:pt x="1150" y="230"/>
                  <a:pt x="1148" y="234"/>
                </a:cubicBezTo>
                <a:cubicBezTo>
                  <a:pt x="1146" y="238"/>
                  <a:pt x="1145" y="242"/>
                  <a:pt x="1145" y="246"/>
                </a:cubicBezTo>
                <a:cubicBezTo>
                  <a:pt x="1145" y="250"/>
                  <a:pt x="1146" y="254"/>
                  <a:pt x="1148" y="257"/>
                </a:cubicBezTo>
                <a:cubicBezTo>
                  <a:pt x="1150" y="259"/>
                  <a:pt x="1153" y="261"/>
                  <a:pt x="1157" y="261"/>
                </a:cubicBezTo>
                <a:cubicBezTo>
                  <a:pt x="1159" y="261"/>
                  <a:pt x="1162" y="260"/>
                  <a:pt x="1163" y="259"/>
                </a:cubicBezTo>
                <a:cubicBezTo>
                  <a:pt x="1165" y="258"/>
                  <a:pt x="1167" y="256"/>
                  <a:pt x="1168" y="255"/>
                </a:cubicBezTo>
                <a:cubicBezTo>
                  <a:pt x="1168" y="256"/>
                  <a:pt x="1168" y="256"/>
                  <a:pt x="1168" y="256"/>
                </a:cubicBezTo>
                <a:cubicBezTo>
                  <a:pt x="1168" y="259"/>
                  <a:pt x="1170" y="261"/>
                  <a:pt x="1173" y="261"/>
                </a:cubicBezTo>
                <a:cubicBezTo>
                  <a:pt x="1174" y="261"/>
                  <a:pt x="1176" y="260"/>
                  <a:pt x="1177" y="259"/>
                </a:cubicBezTo>
                <a:cubicBezTo>
                  <a:pt x="1178" y="258"/>
                  <a:pt x="1179" y="257"/>
                  <a:pt x="1180" y="256"/>
                </a:cubicBezTo>
                <a:cubicBezTo>
                  <a:pt x="1179" y="255"/>
                  <a:pt x="1179" y="255"/>
                  <a:pt x="1179" y="255"/>
                </a:cubicBezTo>
                <a:cubicBezTo>
                  <a:pt x="1178" y="256"/>
                  <a:pt x="1177" y="256"/>
                  <a:pt x="1176" y="256"/>
                </a:cubicBezTo>
                <a:cubicBezTo>
                  <a:pt x="1175" y="256"/>
                  <a:pt x="1175" y="256"/>
                  <a:pt x="1175" y="255"/>
                </a:cubicBezTo>
                <a:cubicBezTo>
                  <a:pt x="1175" y="254"/>
                  <a:pt x="1175" y="254"/>
                  <a:pt x="1175" y="254"/>
                </a:cubicBezTo>
                <a:close/>
                <a:moveTo>
                  <a:pt x="1172" y="225"/>
                </a:moveTo>
                <a:cubicBezTo>
                  <a:pt x="1169" y="250"/>
                  <a:pt x="1169" y="250"/>
                  <a:pt x="1169" y="250"/>
                </a:cubicBezTo>
                <a:cubicBezTo>
                  <a:pt x="1168" y="252"/>
                  <a:pt x="1166" y="253"/>
                  <a:pt x="1164" y="254"/>
                </a:cubicBezTo>
                <a:cubicBezTo>
                  <a:pt x="1163" y="256"/>
                  <a:pt x="1161" y="256"/>
                  <a:pt x="1159" y="256"/>
                </a:cubicBezTo>
                <a:cubicBezTo>
                  <a:pt x="1157" y="256"/>
                  <a:pt x="1155" y="255"/>
                  <a:pt x="1154" y="253"/>
                </a:cubicBezTo>
                <a:cubicBezTo>
                  <a:pt x="1153" y="252"/>
                  <a:pt x="1153" y="249"/>
                  <a:pt x="1153" y="246"/>
                </a:cubicBezTo>
                <a:cubicBezTo>
                  <a:pt x="1153" y="242"/>
                  <a:pt x="1153" y="239"/>
                  <a:pt x="1154" y="236"/>
                </a:cubicBezTo>
                <a:cubicBezTo>
                  <a:pt x="1155" y="232"/>
                  <a:pt x="1157" y="230"/>
                  <a:pt x="1159" y="227"/>
                </a:cubicBezTo>
                <a:cubicBezTo>
                  <a:pt x="1161" y="225"/>
                  <a:pt x="1164" y="224"/>
                  <a:pt x="1167" y="224"/>
                </a:cubicBezTo>
                <a:cubicBezTo>
                  <a:pt x="1169" y="224"/>
                  <a:pt x="1171" y="224"/>
                  <a:pt x="1172" y="225"/>
                </a:cubicBezTo>
                <a:close/>
                <a:moveTo>
                  <a:pt x="1198" y="254"/>
                </a:moveTo>
                <a:cubicBezTo>
                  <a:pt x="1202" y="221"/>
                  <a:pt x="1202" y="221"/>
                  <a:pt x="1202" y="221"/>
                </a:cubicBezTo>
                <a:cubicBezTo>
                  <a:pt x="1201" y="220"/>
                  <a:pt x="1201" y="220"/>
                  <a:pt x="1201" y="220"/>
                </a:cubicBezTo>
                <a:cubicBezTo>
                  <a:pt x="1191" y="222"/>
                  <a:pt x="1191" y="222"/>
                  <a:pt x="1191" y="222"/>
                </a:cubicBezTo>
                <a:cubicBezTo>
                  <a:pt x="1190" y="224"/>
                  <a:pt x="1190" y="224"/>
                  <a:pt x="1190" y="224"/>
                </a:cubicBezTo>
                <a:cubicBezTo>
                  <a:pt x="1195" y="226"/>
                  <a:pt x="1195" y="226"/>
                  <a:pt x="1195" y="226"/>
                </a:cubicBezTo>
                <a:cubicBezTo>
                  <a:pt x="1194" y="233"/>
                  <a:pt x="1193" y="239"/>
                  <a:pt x="1192" y="243"/>
                </a:cubicBezTo>
                <a:cubicBezTo>
                  <a:pt x="1191" y="251"/>
                  <a:pt x="1191" y="255"/>
                  <a:pt x="1191" y="256"/>
                </a:cubicBezTo>
                <a:cubicBezTo>
                  <a:pt x="1190" y="258"/>
                  <a:pt x="1191" y="259"/>
                  <a:pt x="1192" y="260"/>
                </a:cubicBezTo>
                <a:cubicBezTo>
                  <a:pt x="1192" y="260"/>
                  <a:pt x="1194" y="261"/>
                  <a:pt x="1195" y="261"/>
                </a:cubicBezTo>
                <a:cubicBezTo>
                  <a:pt x="1197" y="261"/>
                  <a:pt x="1199" y="260"/>
                  <a:pt x="1200" y="259"/>
                </a:cubicBezTo>
                <a:cubicBezTo>
                  <a:pt x="1202" y="258"/>
                  <a:pt x="1203" y="257"/>
                  <a:pt x="1203" y="256"/>
                </a:cubicBezTo>
                <a:cubicBezTo>
                  <a:pt x="1202" y="254"/>
                  <a:pt x="1202" y="254"/>
                  <a:pt x="1202" y="254"/>
                </a:cubicBezTo>
                <a:cubicBezTo>
                  <a:pt x="1202" y="255"/>
                  <a:pt x="1201" y="256"/>
                  <a:pt x="1200" y="256"/>
                </a:cubicBezTo>
                <a:cubicBezTo>
                  <a:pt x="1200" y="256"/>
                  <a:pt x="1199" y="256"/>
                  <a:pt x="1199" y="256"/>
                </a:cubicBezTo>
                <a:cubicBezTo>
                  <a:pt x="1198" y="256"/>
                  <a:pt x="1198" y="256"/>
                  <a:pt x="1198" y="256"/>
                </a:cubicBezTo>
                <a:cubicBezTo>
                  <a:pt x="1198" y="256"/>
                  <a:pt x="1198" y="255"/>
                  <a:pt x="1198" y="255"/>
                </a:cubicBezTo>
                <a:lnTo>
                  <a:pt x="1198" y="254"/>
                </a:lnTo>
                <a:close/>
                <a:moveTo>
                  <a:pt x="1200" y="213"/>
                </a:moveTo>
                <a:cubicBezTo>
                  <a:pt x="1201" y="213"/>
                  <a:pt x="1202" y="212"/>
                  <a:pt x="1203" y="211"/>
                </a:cubicBezTo>
                <a:cubicBezTo>
                  <a:pt x="1204" y="210"/>
                  <a:pt x="1205" y="209"/>
                  <a:pt x="1205" y="207"/>
                </a:cubicBezTo>
                <a:cubicBezTo>
                  <a:pt x="1205" y="206"/>
                  <a:pt x="1204" y="206"/>
                  <a:pt x="1204" y="205"/>
                </a:cubicBezTo>
                <a:cubicBezTo>
                  <a:pt x="1203" y="204"/>
                  <a:pt x="1202" y="204"/>
                  <a:pt x="1201" y="204"/>
                </a:cubicBezTo>
                <a:cubicBezTo>
                  <a:pt x="1200" y="204"/>
                  <a:pt x="1198" y="204"/>
                  <a:pt x="1198" y="205"/>
                </a:cubicBezTo>
                <a:cubicBezTo>
                  <a:pt x="1197" y="206"/>
                  <a:pt x="1196" y="207"/>
                  <a:pt x="1196" y="209"/>
                </a:cubicBezTo>
                <a:cubicBezTo>
                  <a:pt x="1196" y="210"/>
                  <a:pt x="1197" y="211"/>
                  <a:pt x="1197" y="212"/>
                </a:cubicBezTo>
                <a:cubicBezTo>
                  <a:pt x="1198" y="212"/>
                  <a:pt x="1199" y="213"/>
                  <a:pt x="1200" y="213"/>
                </a:cubicBezTo>
                <a:close/>
                <a:moveTo>
                  <a:pt x="1237" y="228"/>
                </a:moveTo>
                <a:cubicBezTo>
                  <a:pt x="1238" y="229"/>
                  <a:pt x="1238" y="229"/>
                  <a:pt x="1238" y="229"/>
                </a:cubicBezTo>
                <a:cubicBezTo>
                  <a:pt x="1240" y="222"/>
                  <a:pt x="1240" y="222"/>
                  <a:pt x="1240" y="222"/>
                </a:cubicBezTo>
                <a:cubicBezTo>
                  <a:pt x="1239" y="221"/>
                  <a:pt x="1238" y="221"/>
                  <a:pt x="1237" y="221"/>
                </a:cubicBezTo>
                <a:cubicBezTo>
                  <a:pt x="1235" y="220"/>
                  <a:pt x="1234" y="220"/>
                  <a:pt x="1232" y="220"/>
                </a:cubicBezTo>
                <a:cubicBezTo>
                  <a:pt x="1228" y="220"/>
                  <a:pt x="1224" y="221"/>
                  <a:pt x="1221" y="224"/>
                </a:cubicBezTo>
                <a:cubicBezTo>
                  <a:pt x="1218" y="227"/>
                  <a:pt x="1216" y="230"/>
                  <a:pt x="1214" y="234"/>
                </a:cubicBezTo>
                <a:cubicBezTo>
                  <a:pt x="1213" y="237"/>
                  <a:pt x="1212" y="241"/>
                  <a:pt x="1212" y="245"/>
                </a:cubicBezTo>
                <a:cubicBezTo>
                  <a:pt x="1212" y="250"/>
                  <a:pt x="1213" y="254"/>
                  <a:pt x="1215" y="257"/>
                </a:cubicBezTo>
                <a:cubicBezTo>
                  <a:pt x="1217" y="259"/>
                  <a:pt x="1220" y="261"/>
                  <a:pt x="1224" y="261"/>
                </a:cubicBezTo>
                <a:cubicBezTo>
                  <a:pt x="1227" y="261"/>
                  <a:pt x="1230" y="260"/>
                  <a:pt x="1232" y="259"/>
                </a:cubicBezTo>
                <a:cubicBezTo>
                  <a:pt x="1235" y="257"/>
                  <a:pt x="1236" y="256"/>
                  <a:pt x="1238" y="254"/>
                </a:cubicBezTo>
                <a:cubicBezTo>
                  <a:pt x="1236" y="252"/>
                  <a:pt x="1236" y="252"/>
                  <a:pt x="1236" y="252"/>
                </a:cubicBezTo>
                <a:cubicBezTo>
                  <a:pt x="1235" y="253"/>
                  <a:pt x="1233" y="254"/>
                  <a:pt x="1232" y="255"/>
                </a:cubicBezTo>
                <a:cubicBezTo>
                  <a:pt x="1230" y="256"/>
                  <a:pt x="1229" y="256"/>
                  <a:pt x="1227" y="256"/>
                </a:cubicBezTo>
                <a:cubicBezTo>
                  <a:pt x="1224" y="256"/>
                  <a:pt x="1222" y="255"/>
                  <a:pt x="1221" y="253"/>
                </a:cubicBezTo>
                <a:cubicBezTo>
                  <a:pt x="1220" y="251"/>
                  <a:pt x="1219" y="248"/>
                  <a:pt x="1219" y="244"/>
                </a:cubicBezTo>
                <a:cubicBezTo>
                  <a:pt x="1219" y="240"/>
                  <a:pt x="1219" y="237"/>
                  <a:pt x="1221" y="234"/>
                </a:cubicBezTo>
                <a:cubicBezTo>
                  <a:pt x="1222" y="231"/>
                  <a:pt x="1223" y="229"/>
                  <a:pt x="1225" y="227"/>
                </a:cubicBezTo>
                <a:cubicBezTo>
                  <a:pt x="1227" y="225"/>
                  <a:pt x="1229" y="225"/>
                  <a:pt x="1231" y="225"/>
                </a:cubicBezTo>
                <a:cubicBezTo>
                  <a:pt x="1232" y="225"/>
                  <a:pt x="1235" y="226"/>
                  <a:pt x="1237" y="228"/>
                </a:cubicBezTo>
                <a:close/>
                <a:moveTo>
                  <a:pt x="1255" y="254"/>
                </a:moveTo>
                <a:cubicBezTo>
                  <a:pt x="1260" y="221"/>
                  <a:pt x="1260" y="221"/>
                  <a:pt x="1260" y="221"/>
                </a:cubicBezTo>
                <a:cubicBezTo>
                  <a:pt x="1259" y="220"/>
                  <a:pt x="1259" y="220"/>
                  <a:pt x="1259" y="220"/>
                </a:cubicBezTo>
                <a:cubicBezTo>
                  <a:pt x="1249" y="222"/>
                  <a:pt x="1249" y="222"/>
                  <a:pt x="1249" y="222"/>
                </a:cubicBezTo>
                <a:cubicBezTo>
                  <a:pt x="1248" y="224"/>
                  <a:pt x="1248" y="224"/>
                  <a:pt x="1248" y="224"/>
                </a:cubicBezTo>
                <a:cubicBezTo>
                  <a:pt x="1253" y="226"/>
                  <a:pt x="1253" y="226"/>
                  <a:pt x="1253" y="226"/>
                </a:cubicBezTo>
                <a:cubicBezTo>
                  <a:pt x="1252" y="233"/>
                  <a:pt x="1251" y="239"/>
                  <a:pt x="1250" y="243"/>
                </a:cubicBezTo>
                <a:cubicBezTo>
                  <a:pt x="1249" y="251"/>
                  <a:pt x="1248" y="255"/>
                  <a:pt x="1248" y="256"/>
                </a:cubicBezTo>
                <a:cubicBezTo>
                  <a:pt x="1248" y="258"/>
                  <a:pt x="1249" y="259"/>
                  <a:pt x="1249" y="260"/>
                </a:cubicBezTo>
                <a:cubicBezTo>
                  <a:pt x="1250" y="260"/>
                  <a:pt x="1251" y="261"/>
                  <a:pt x="1253" y="261"/>
                </a:cubicBezTo>
                <a:cubicBezTo>
                  <a:pt x="1255" y="261"/>
                  <a:pt x="1256" y="260"/>
                  <a:pt x="1258" y="259"/>
                </a:cubicBezTo>
                <a:cubicBezTo>
                  <a:pt x="1259" y="258"/>
                  <a:pt x="1260" y="257"/>
                  <a:pt x="1261" y="256"/>
                </a:cubicBezTo>
                <a:cubicBezTo>
                  <a:pt x="1260" y="254"/>
                  <a:pt x="1260" y="254"/>
                  <a:pt x="1260" y="254"/>
                </a:cubicBezTo>
                <a:cubicBezTo>
                  <a:pt x="1259" y="255"/>
                  <a:pt x="1259" y="256"/>
                  <a:pt x="1258" y="256"/>
                </a:cubicBezTo>
                <a:cubicBezTo>
                  <a:pt x="1258" y="256"/>
                  <a:pt x="1257" y="256"/>
                  <a:pt x="1256" y="256"/>
                </a:cubicBezTo>
                <a:cubicBezTo>
                  <a:pt x="1256" y="256"/>
                  <a:pt x="1256" y="256"/>
                  <a:pt x="1256" y="256"/>
                </a:cubicBezTo>
                <a:cubicBezTo>
                  <a:pt x="1255" y="256"/>
                  <a:pt x="1255" y="255"/>
                  <a:pt x="1255" y="255"/>
                </a:cubicBezTo>
                <a:lnTo>
                  <a:pt x="1255" y="254"/>
                </a:lnTo>
                <a:close/>
                <a:moveTo>
                  <a:pt x="1258" y="213"/>
                </a:moveTo>
                <a:cubicBezTo>
                  <a:pt x="1259" y="213"/>
                  <a:pt x="1260" y="212"/>
                  <a:pt x="1261" y="211"/>
                </a:cubicBezTo>
                <a:cubicBezTo>
                  <a:pt x="1262" y="210"/>
                  <a:pt x="1262" y="209"/>
                  <a:pt x="1262" y="207"/>
                </a:cubicBezTo>
                <a:cubicBezTo>
                  <a:pt x="1262" y="206"/>
                  <a:pt x="1262" y="206"/>
                  <a:pt x="1261" y="205"/>
                </a:cubicBezTo>
                <a:cubicBezTo>
                  <a:pt x="1261" y="204"/>
                  <a:pt x="1260" y="204"/>
                  <a:pt x="1259" y="204"/>
                </a:cubicBezTo>
                <a:cubicBezTo>
                  <a:pt x="1257" y="204"/>
                  <a:pt x="1256" y="204"/>
                  <a:pt x="1255" y="205"/>
                </a:cubicBezTo>
                <a:cubicBezTo>
                  <a:pt x="1254" y="206"/>
                  <a:pt x="1254" y="207"/>
                  <a:pt x="1254" y="209"/>
                </a:cubicBezTo>
                <a:cubicBezTo>
                  <a:pt x="1254" y="210"/>
                  <a:pt x="1254" y="211"/>
                  <a:pt x="1255" y="212"/>
                </a:cubicBezTo>
                <a:cubicBezTo>
                  <a:pt x="1256" y="212"/>
                  <a:pt x="1257" y="213"/>
                  <a:pt x="1258" y="213"/>
                </a:cubicBezTo>
                <a:close/>
                <a:moveTo>
                  <a:pt x="1282" y="229"/>
                </a:moveTo>
                <a:cubicBezTo>
                  <a:pt x="1283" y="221"/>
                  <a:pt x="1283" y="221"/>
                  <a:pt x="1283" y="221"/>
                </a:cubicBezTo>
                <a:cubicBezTo>
                  <a:pt x="1281" y="220"/>
                  <a:pt x="1281" y="220"/>
                  <a:pt x="1281" y="220"/>
                </a:cubicBezTo>
                <a:cubicBezTo>
                  <a:pt x="1273" y="222"/>
                  <a:pt x="1273" y="222"/>
                  <a:pt x="1273" y="222"/>
                </a:cubicBezTo>
                <a:cubicBezTo>
                  <a:pt x="1272" y="224"/>
                  <a:pt x="1272" y="224"/>
                  <a:pt x="1272" y="224"/>
                </a:cubicBezTo>
                <a:cubicBezTo>
                  <a:pt x="1275" y="226"/>
                  <a:pt x="1275" y="226"/>
                  <a:pt x="1275" y="226"/>
                </a:cubicBezTo>
                <a:cubicBezTo>
                  <a:pt x="1271" y="260"/>
                  <a:pt x="1271" y="260"/>
                  <a:pt x="1271" y="260"/>
                </a:cubicBezTo>
                <a:cubicBezTo>
                  <a:pt x="1278" y="260"/>
                  <a:pt x="1278" y="260"/>
                  <a:pt x="1278" y="260"/>
                </a:cubicBezTo>
                <a:cubicBezTo>
                  <a:pt x="1281" y="235"/>
                  <a:pt x="1281" y="235"/>
                  <a:pt x="1281" y="235"/>
                </a:cubicBezTo>
                <a:cubicBezTo>
                  <a:pt x="1283" y="232"/>
                  <a:pt x="1285" y="230"/>
                  <a:pt x="1287" y="228"/>
                </a:cubicBezTo>
                <a:cubicBezTo>
                  <a:pt x="1289" y="226"/>
                  <a:pt x="1291" y="225"/>
                  <a:pt x="1293" y="225"/>
                </a:cubicBezTo>
                <a:cubicBezTo>
                  <a:pt x="1295" y="225"/>
                  <a:pt x="1296" y="226"/>
                  <a:pt x="1297" y="226"/>
                </a:cubicBezTo>
                <a:cubicBezTo>
                  <a:pt x="1297" y="227"/>
                  <a:pt x="1298" y="229"/>
                  <a:pt x="1298" y="231"/>
                </a:cubicBezTo>
                <a:cubicBezTo>
                  <a:pt x="1298" y="233"/>
                  <a:pt x="1297" y="234"/>
                  <a:pt x="1297" y="236"/>
                </a:cubicBezTo>
                <a:cubicBezTo>
                  <a:pt x="1297" y="238"/>
                  <a:pt x="1297" y="240"/>
                  <a:pt x="1296" y="243"/>
                </a:cubicBezTo>
                <a:cubicBezTo>
                  <a:pt x="1296" y="245"/>
                  <a:pt x="1296" y="245"/>
                  <a:pt x="1296" y="245"/>
                </a:cubicBezTo>
                <a:cubicBezTo>
                  <a:pt x="1295" y="248"/>
                  <a:pt x="1295" y="248"/>
                  <a:pt x="1295" y="248"/>
                </a:cubicBezTo>
                <a:cubicBezTo>
                  <a:pt x="1294" y="252"/>
                  <a:pt x="1294" y="255"/>
                  <a:pt x="1294" y="256"/>
                </a:cubicBezTo>
                <a:cubicBezTo>
                  <a:pt x="1294" y="259"/>
                  <a:pt x="1295" y="261"/>
                  <a:pt x="1298" y="261"/>
                </a:cubicBezTo>
                <a:cubicBezTo>
                  <a:pt x="1300" y="261"/>
                  <a:pt x="1301" y="260"/>
                  <a:pt x="1302" y="260"/>
                </a:cubicBezTo>
                <a:cubicBezTo>
                  <a:pt x="1303" y="259"/>
                  <a:pt x="1304" y="259"/>
                  <a:pt x="1305" y="258"/>
                </a:cubicBezTo>
                <a:cubicBezTo>
                  <a:pt x="1305" y="258"/>
                  <a:pt x="1306" y="257"/>
                  <a:pt x="1306" y="257"/>
                </a:cubicBezTo>
                <a:cubicBezTo>
                  <a:pt x="1305" y="255"/>
                  <a:pt x="1305" y="255"/>
                  <a:pt x="1305" y="255"/>
                </a:cubicBezTo>
                <a:cubicBezTo>
                  <a:pt x="1304" y="256"/>
                  <a:pt x="1303" y="256"/>
                  <a:pt x="1302" y="256"/>
                </a:cubicBezTo>
                <a:cubicBezTo>
                  <a:pt x="1301" y="256"/>
                  <a:pt x="1301" y="256"/>
                  <a:pt x="1301" y="255"/>
                </a:cubicBezTo>
                <a:cubicBezTo>
                  <a:pt x="1301" y="253"/>
                  <a:pt x="1301" y="250"/>
                  <a:pt x="1302" y="246"/>
                </a:cubicBezTo>
                <a:cubicBezTo>
                  <a:pt x="1303" y="243"/>
                  <a:pt x="1303" y="243"/>
                  <a:pt x="1303" y="243"/>
                </a:cubicBezTo>
                <a:cubicBezTo>
                  <a:pt x="1303" y="241"/>
                  <a:pt x="1303" y="241"/>
                  <a:pt x="1303" y="241"/>
                </a:cubicBezTo>
                <a:cubicBezTo>
                  <a:pt x="1304" y="236"/>
                  <a:pt x="1305" y="232"/>
                  <a:pt x="1305" y="230"/>
                </a:cubicBezTo>
                <a:cubicBezTo>
                  <a:pt x="1305" y="227"/>
                  <a:pt x="1304" y="224"/>
                  <a:pt x="1302" y="223"/>
                </a:cubicBezTo>
                <a:cubicBezTo>
                  <a:pt x="1301" y="221"/>
                  <a:pt x="1299" y="220"/>
                  <a:pt x="1296" y="220"/>
                </a:cubicBezTo>
                <a:cubicBezTo>
                  <a:pt x="1294" y="220"/>
                  <a:pt x="1291" y="221"/>
                  <a:pt x="1289" y="223"/>
                </a:cubicBezTo>
                <a:cubicBezTo>
                  <a:pt x="1286" y="224"/>
                  <a:pt x="1284" y="227"/>
                  <a:pt x="1282" y="229"/>
                </a:cubicBezTo>
                <a:close/>
                <a:moveTo>
                  <a:pt x="1342" y="253"/>
                </a:moveTo>
                <a:cubicBezTo>
                  <a:pt x="1340" y="251"/>
                  <a:pt x="1340" y="251"/>
                  <a:pt x="1340" y="251"/>
                </a:cubicBezTo>
                <a:cubicBezTo>
                  <a:pt x="1339" y="253"/>
                  <a:pt x="1337" y="254"/>
                  <a:pt x="1335" y="255"/>
                </a:cubicBezTo>
                <a:cubicBezTo>
                  <a:pt x="1333" y="256"/>
                  <a:pt x="1331" y="256"/>
                  <a:pt x="1329" y="256"/>
                </a:cubicBezTo>
                <a:cubicBezTo>
                  <a:pt x="1326" y="256"/>
                  <a:pt x="1323" y="255"/>
                  <a:pt x="1322" y="253"/>
                </a:cubicBezTo>
                <a:cubicBezTo>
                  <a:pt x="1321" y="250"/>
                  <a:pt x="1320" y="247"/>
                  <a:pt x="1320" y="244"/>
                </a:cubicBezTo>
                <a:cubicBezTo>
                  <a:pt x="1323" y="244"/>
                  <a:pt x="1327" y="244"/>
                  <a:pt x="1330" y="242"/>
                </a:cubicBezTo>
                <a:cubicBezTo>
                  <a:pt x="1334" y="241"/>
                  <a:pt x="1337" y="240"/>
                  <a:pt x="1340" y="237"/>
                </a:cubicBezTo>
                <a:cubicBezTo>
                  <a:pt x="1342" y="235"/>
                  <a:pt x="1344" y="232"/>
                  <a:pt x="1344" y="229"/>
                </a:cubicBezTo>
                <a:cubicBezTo>
                  <a:pt x="1344" y="226"/>
                  <a:pt x="1343" y="224"/>
                  <a:pt x="1341" y="223"/>
                </a:cubicBezTo>
                <a:cubicBezTo>
                  <a:pt x="1340" y="221"/>
                  <a:pt x="1337" y="220"/>
                  <a:pt x="1334" y="220"/>
                </a:cubicBezTo>
                <a:cubicBezTo>
                  <a:pt x="1330" y="220"/>
                  <a:pt x="1326" y="221"/>
                  <a:pt x="1323" y="224"/>
                </a:cubicBezTo>
                <a:cubicBezTo>
                  <a:pt x="1320" y="226"/>
                  <a:pt x="1318" y="229"/>
                  <a:pt x="1316" y="233"/>
                </a:cubicBezTo>
                <a:cubicBezTo>
                  <a:pt x="1314" y="237"/>
                  <a:pt x="1313" y="241"/>
                  <a:pt x="1313" y="246"/>
                </a:cubicBezTo>
                <a:cubicBezTo>
                  <a:pt x="1313" y="248"/>
                  <a:pt x="1314" y="251"/>
                  <a:pt x="1315" y="253"/>
                </a:cubicBezTo>
                <a:cubicBezTo>
                  <a:pt x="1316" y="255"/>
                  <a:pt x="1317" y="257"/>
                  <a:pt x="1319" y="259"/>
                </a:cubicBezTo>
                <a:cubicBezTo>
                  <a:pt x="1321" y="260"/>
                  <a:pt x="1324" y="261"/>
                  <a:pt x="1327" y="261"/>
                </a:cubicBezTo>
                <a:cubicBezTo>
                  <a:pt x="1330" y="261"/>
                  <a:pt x="1333" y="260"/>
                  <a:pt x="1336" y="258"/>
                </a:cubicBezTo>
                <a:cubicBezTo>
                  <a:pt x="1339" y="257"/>
                  <a:pt x="1341" y="255"/>
                  <a:pt x="1342" y="253"/>
                </a:cubicBezTo>
                <a:close/>
                <a:moveTo>
                  <a:pt x="1332" y="224"/>
                </a:moveTo>
                <a:cubicBezTo>
                  <a:pt x="1334" y="224"/>
                  <a:pt x="1335" y="224"/>
                  <a:pt x="1336" y="225"/>
                </a:cubicBezTo>
                <a:cubicBezTo>
                  <a:pt x="1337" y="226"/>
                  <a:pt x="1337" y="228"/>
                  <a:pt x="1337" y="229"/>
                </a:cubicBezTo>
                <a:cubicBezTo>
                  <a:pt x="1337" y="232"/>
                  <a:pt x="1336" y="234"/>
                  <a:pt x="1334" y="235"/>
                </a:cubicBezTo>
                <a:cubicBezTo>
                  <a:pt x="1333" y="237"/>
                  <a:pt x="1331" y="238"/>
                  <a:pt x="1328" y="239"/>
                </a:cubicBezTo>
                <a:cubicBezTo>
                  <a:pt x="1325" y="240"/>
                  <a:pt x="1323" y="241"/>
                  <a:pt x="1321" y="241"/>
                </a:cubicBezTo>
                <a:cubicBezTo>
                  <a:pt x="1321" y="238"/>
                  <a:pt x="1321" y="236"/>
                  <a:pt x="1322" y="233"/>
                </a:cubicBezTo>
                <a:cubicBezTo>
                  <a:pt x="1323" y="230"/>
                  <a:pt x="1325" y="228"/>
                  <a:pt x="1326" y="226"/>
                </a:cubicBezTo>
                <a:cubicBezTo>
                  <a:pt x="1328" y="225"/>
                  <a:pt x="1330" y="224"/>
                  <a:pt x="1332" y="224"/>
                </a:cubicBezTo>
                <a:close/>
              </a:path>
            </a:pathLst>
          </a:custGeom>
          <a:solidFill>
            <a:schemeClr val="bg1"/>
          </a:solidFill>
          <a:ln>
            <a:noFill/>
          </a:ln>
        </p:spPr>
        <p:txBody>
          <a:bodyPr vert="horz" wrap="square" lIns="121920" tIns="60960" rIns="121920" bIns="60960" numCol="1" anchor="t" anchorCtr="0" compatLnSpc="1">
            <a:prstTxWarp prst="textNoShape">
              <a:avLst/>
            </a:prstTxWarp>
          </a:bodyPr>
          <a:lstStyle/>
          <a:p>
            <a:endParaRPr lang="en-US" sz="2400"/>
          </a:p>
        </p:txBody>
      </p:sp>
      <p:sp>
        <p:nvSpPr>
          <p:cNvPr id="17" name="Text Placeholder 16">
            <a:extLst>
              <a:ext uri="{FF2B5EF4-FFF2-40B4-BE49-F238E27FC236}">
                <a16:creationId xmlns:a16="http://schemas.microsoft.com/office/drawing/2014/main" id="{FCA018DF-7EFB-4D08-89D5-E61FB47F425E}"/>
              </a:ext>
            </a:extLst>
          </p:cNvPr>
          <p:cNvSpPr>
            <a:spLocks noGrp="1"/>
          </p:cNvSpPr>
          <p:nvPr>
            <p:ph type="body" sz="quarter" idx="12" hasCustomPrompt="1"/>
          </p:nvPr>
        </p:nvSpPr>
        <p:spPr>
          <a:xfrm>
            <a:off x="7995920" y="6515586"/>
            <a:ext cx="3222413" cy="169277"/>
          </a:xfrm>
        </p:spPr>
        <p:txBody>
          <a:bodyPr wrap="square">
            <a:spAutoFit/>
          </a:bodyPr>
          <a:lstStyle>
            <a:lvl1pPr marL="0" indent="0">
              <a:buNone/>
              <a:defRPr sz="1000" cap="all" spc="147" baseline="0">
                <a:solidFill>
                  <a:schemeClr val="tx2"/>
                </a:solidFill>
              </a:defRPr>
            </a:lvl1pPr>
          </a:lstStyle>
          <a:p>
            <a:pPr lvl="0"/>
            <a:r>
              <a:rPr lang="en-US"/>
              <a:t>CLICK TO EDIT MASTER TEXT</a:t>
            </a:r>
          </a:p>
        </p:txBody>
      </p:sp>
    </p:spTree>
    <p:extLst>
      <p:ext uri="{BB962C8B-B14F-4D97-AF65-F5344CB8AC3E}">
        <p14:creationId xmlns:p14="http://schemas.microsoft.com/office/powerpoint/2010/main" val="2178046879"/>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p:cSld name="Title Slide - Light Gray">
    <p:spTree>
      <p:nvGrpSpPr>
        <p:cNvPr id="1" name=""/>
        <p:cNvGrpSpPr/>
        <p:nvPr/>
      </p:nvGrpSpPr>
      <p:grpSpPr>
        <a:xfrm>
          <a:off x="0" y="0"/>
          <a:ext cx="0" cy="0"/>
          <a:chOff x="0" y="0"/>
          <a:chExt cx="0" cy="0"/>
        </a:xfrm>
      </p:grpSpPr>
      <p:sp>
        <p:nvSpPr>
          <p:cNvPr id="15" name="Picture Placeholder 14">
            <a:extLst>
              <a:ext uri="{FF2B5EF4-FFF2-40B4-BE49-F238E27FC236}">
                <a16:creationId xmlns:a16="http://schemas.microsoft.com/office/drawing/2014/main" id="{42927F7C-53AC-400F-8DAD-235A2AF61FB8}"/>
              </a:ext>
            </a:extLst>
          </p:cNvPr>
          <p:cNvSpPr>
            <a:spLocks noGrp="1"/>
          </p:cNvSpPr>
          <p:nvPr>
            <p:ph type="pic" sz="quarter" idx="11"/>
          </p:nvPr>
        </p:nvSpPr>
        <p:spPr>
          <a:xfrm>
            <a:off x="0" y="1"/>
            <a:ext cx="12192000" cy="6280151"/>
          </a:xfrm>
          <a:solidFill>
            <a:schemeClr val="bg2">
              <a:lumMod val="90000"/>
            </a:schemeClr>
          </a:solidFill>
        </p:spPr>
        <p:txBody>
          <a:bodyPr/>
          <a:lstStyle/>
          <a:p>
            <a:r>
              <a:rPr lang="en-US"/>
              <a:t>Click icon to add picture</a:t>
            </a:r>
          </a:p>
        </p:txBody>
      </p:sp>
      <p:sp>
        <p:nvSpPr>
          <p:cNvPr id="13" name="Text Placeholder 12">
            <a:extLst>
              <a:ext uri="{FF2B5EF4-FFF2-40B4-BE49-F238E27FC236}">
                <a16:creationId xmlns:a16="http://schemas.microsoft.com/office/drawing/2014/main" id="{D2D74F39-96DB-4808-8693-9F55A9D7DB98}"/>
              </a:ext>
            </a:extLst>
          </p:cNvPr>
          <p:cNvSpPr>
            <a:spLocks noGrp="1"/>
          </p:cNvSpPr>
          <p:nvPr>
            <p:ph type="body" sz="quarter" idx="10"/>
          </p:nvPr>
        </p:nvSpPr>
        <p:spPr>
          <a:xfrm>
            <a:off x="2" y="1563078"/>
            <a:ext cx="7737229" cy="5294921"/>
          </a:xfrm>
          <a:solidFill>
            <a:schemeClr val="bg2"/>
          </a:solidFill>
        </p:spPr>
        <p:txBody>
          <a:bodyPr lIns="502920" tIns="274320" rIns="457200" bIns="457200"/>
          <a:lstStyle>
            <a:lvl1pPr marL="0" indent="0">
              <a:lnSpc>
                <a:spcPct val="100000"/>
              </a:lnSpc>
              <a:buNone/>
              <a:defRPr sz="4000">
                <a:solidFill>
                  <a:schemeClr val="tx2"/>
                </a:solidFill>
                <a:latin typeface="+mj-lt"/>
              </a:defRPr>
            </a:lvl1pPr>
            <a:lvl2pPr marL="0" indent="0">
              <a:spcBef>
                <a:spcPts val="1200"/>
              </a:spcBef>
              <a:buNone/>
              <a:defRPr sz="2000">
                <a:solidFill>
                  <a:schemeClr val="tx2"/>
                </a:solidFill>
                <a:latin typeface="+mj-lt"/>
              </a:defRPr>
            </a:lvl2pPr>
            <a:lvl3pPr marL="609585" indent="0">
              <a:buNone/>
              <a:defRPr>
                <a:solidFill>
                  <a:schemeClr val="bg1"/>
                </a:solidFill>
                <a:latin typeface="+mj-lt"/>
              </a:defRPr>
            </a:lvl3pPr>
            <a:lvl4pPr marL="922844" indent="0">
              <a:buNone/>
              <a:defRPr>
                <a:solidFill>
                  <a:schemeClr val="bg1"/>
                </a:solidFill>
                <a:latin typeface="+mj-lt"/>
              </a:defRPr>
            </a:lvl4pPr>
            <a:lvl5pPr marL="1219170" indent="0">
              <a:buNone/>
              <a:defRPr>
                <a:solidFill>
                  <a:schemeClr val="bg1"/>
                </a:solidFill>
                <a:latin typeface="+mj-lt"/>
              </a:defRPr>
            </a:lvl5pPr>
          </a:lstStyle>
          <a:p>
            <a:pPr lvl="0"/>
            <a:r>
              <a:rPr lang="en-US"/>
              <a:t>Edit Master text styles</a:t>
            </a:r>
          </a:p>
          <a:p>
            <a:pPr lvl="1"/>
            <a:r>
              <a:rPr lang="en-US"/>
              <a:t>Second level</a:t>
            </a:r>
          </a:p>
        </p:txBody>
      </p:sp>
      <p:sp>
        <p:nvSpPr>
          <p:cNvPr id="3" name="Subtitle 2"/>
          <p:cNvSpPr>
            <a:spLocks noGrp="1"/>
          </p:cNvSpPr>
          <p:nvPr>
            <p:ph type="subTitle" idx="1"/>
          </p:nvPr>
        </p:nvSpPr>
        <p:spPr>
          <a:xfrm>
            <a:off x="701040" y="4738102"/>
            <a:ext cx="6461760" cy="225639"/>
          </a:xfrm>
        </p:spPr>
        <p:txBody>
          <a:bodyPr anchor="b" anchorCtr="0">
            <a:spAutoFit/>
          </a:bodyPr>
          <a:lstStyle>
            <a:lvl1pPr marL="0" indent="0" algn="l">
              <a:buNone/>
              <a:defRPr sz="1333" i="1">
                <a:solidFill>
                  <a:schemeClr val="tx1"/>
                </a:solidFill>
                <a:latin typeface="+mj-l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
        <p:nvSpPr>
          <p:cNvPr id="9" name="Freeform 5">
            <a:extLst>
              <a:ext uri="{FF2B5EF4-FFF2-40B4-BE49-F238E27FC236}">
                <a16:creationId xmlns:a16="http://schemas.microsoft.com/office/drawing/2014/main" id="{6EF64205-A64B-4137-BA41-5E5CFE0F359E}"/>
              </a:ext>
            </a:extLst>
          </p:cNvPr>
          <p:cNvSpPr>
            <a:spLocks noEditPoints="1"/>
          </p:cNvSpPr>
          <p:nvPr/>
        </p:nvSpPr>
        <p:spPr bwMode="auto">
          <a:xfrm>
            <a:off x="643609" y="578451"/>
            <a:ext cx="2922943" cy="547357"/>
          </a:xfrm>
          <a:custGeom>
            <a:avLst/>
            <a:gdLst>
              <a:gd name="T0" fmla="*/ 225 w 1440"/>
              <a:gd name="T1" fmla="*/ 110 h 267"/>
              <a:gd name="T2" fmla="*/ 317 w 1440"/>
              <a:gd name="T3" fmla="*/ 7 h 267"/>
              <a:gd name="T4" fmla="*/ 475 w 1440"/>
              <a:gd name="T5" fmla="*/ 19 h 267"/>
              <a:gd name="T6" fmla="*/ 830 w 1440"/>
              <a:gd name="T7" fmla="*/ 7 h 267"/>
              <a:gd name="T8" fmla="*/ 130 w 1440"/>
              <a:gd name="T9" fmla="*/ 210 h 267"/>
              <a:gd name="T10" fmla="*/ 437 w 1440"/>
              <a:gd name="T11" fmla="*/ 209 h 267"/>
              <a:gd name="T12" fmla="*/ 493 w 1440"/>
              <a:gd name="T13" fmla="*/ 198 h 267"/>
              <a:gd name="T14" fmla="*/ 866 w 1440"/>
              <a:gd name="T15" fmla="*/ 171 h 267"/>
              <a:gd name="T16" fmla="*/ 737 w 1440"/>
              <a:gd name="T17" fmla="*/ 261 h 267"/>
              <a:gd name="T18" fmla="*/ 958 w 1440"/>
              <a:gd name="T19" fmla="*/ 172 h 267"/>
              <a:gd name="T20" fmla="*/ 906 w 1440"/>
              <a:gd name="T21" fmla="*/ 254 h 267"/>
              <a:gd name="T22" fmla="*/ 309 w 1440"/>
              <a:gd name="T23" fmla="*/ 260 h 267"/>
              <a:gd name="T24" fmla="*/ 1053 w 1440"/>
              <a:gd name="T25" fmla="*/ 31 h 267"/>
              <a:gd name="T26" fmla="*/ 1075 w 1440"/>
              <a:gd name="T27" fmla="*/ 44 h 267"/>
              <a:gd name="T28" fmla="*/ 1091 w 1440"/>
              <a:gd name="T29" fmla="*/ 22 h 267"/>
              <a:gd name="T30" fmla="*/ 1107 w 1440"/>
              <a:gd name="T31" fmla="*/ 27 h 267"/>
              <a:gd name="T32" fmla="*/ 1125 w 1440"/>
              <a:gd name="T33" fmla="*/ 55 h 267"/>
              <a:gd name="T34" fmla="*/ 1159 w 1440"/>
              <a:gd name="T35" fmla="*/ 53 h 267"/>
              <a:gd name="T36" fmla="*/ 1160 w 1440"/>
              <a:gd name="T37" fmla="*/ 57 h 267"/>
              <a:gd name="T38" fmla="*/ 1177 w 1440"/>
              <a:gd name="T39" fmla="*/ 23 h 267"/>
              <a:gd name="T40" fmla="*/ 1207 w 1440"/>
              <a:gd name="T41" fmla="*/ 58 h 267"/>
              <a:gd name="T42" fmla="*/ 1245 w 1440"/>
              <a:gd name="T43" fmla="*/ 27 h 267"/>
              <a:gd name="T44" fmla="*/ 1225 w 1440"/>
              <a:gd name="T45" fmla="*/ 43 h 267"/>
              <a:gd name="T46" fmla="*/ 1271 w 1440"/>
              <a:gd name="T47" fmla="*/ 19 h 267"/>
              <a:gd name="T48" fmla="*/ 1259 w 1440"/>
              <a:gd name="T49" fmla="*/ 32 h 267"/>
              <a:gd name="T50" fmla="*/ 1290 w 1440"/>
              <a:gd name="T51" fmla="*/ 54 h 267"/>
              <a:gd name="T52" fmla="*/ 1310 w 1440"/>
              <a:gd name="T53" fmla="*/ 25 h 267"/>
              <a:gd name="T54" fmla="*/ 1059 w 1440"/>
              <a:gd name="T55" fmla="*/ 110 h 267"/>
              <a:gd name="T56" fmla="*/ 1099 w 1440"/>
              <a:gd name="T57" fmla="*/ 134 h 267"/>
              <a:gd name="T58" fmla="*/ 1120 w 1440"/>
              <a:gd name="T59" fmla="*/ 156 h 267"/>
              <a:gd name="T60" fmla="*/ 1141 w 1440"/>
              <a:gd name="T61" fmla="*/ 123 h 267"/>
              <a:gd name="T62" fmla="*/ 1148 w 1440"/>
              <a:gd name="T63" fmla="*/ 175 h 267"/>
              <a:gd name="T64" fmla="*/ 1184 w 1440"/>
              <a:gd name="T65" fmla="*/ 119 h 267"/>
              <a:gd name="T66" fmla="*/ 1181 w 1440"/>
              <a:gd name="T67" fmla="*/ 153 h 267"/>
              <a:gd name="T68" fmla="*/ 1201 w 1440"/>
              <a:gd name="T69" fmla="*/ 125 h 267"/>
              <a:gd name="T70" fmla="*/ 1230 w 1440"/>
              <a:gd name="T71" fmla="*/ 157 h 267"/>
              <a:gd name="T72" fmla="*/ 1260 w 1440"/>
              <a:gd name="T73" fmla="*/ 154 h 267"/>
              <a:gd name="T74" fmla="*/ 1261 w 1440"/>
              <a:gd name="T75" fmla="*/ 158 h 267"/>
              <a:gd name="T76" fmla="*/ 1284 w 1440"/>
              <a:gd name="T77" fmla="*/ 152 h 267"/>
              <a:gd name="T78" fmla="*/ 1294 w 1440"/>
              <a:gd name="T79" fmla="*/ 123 h 267"/>
              <a:gd name="T80" fmla="*/ 1317 w 1440"/>
              <a:gd name="T81" fmla="*/ 125 h 267"/>
              <a:gd name="T82" fmla="*/ 1342 w 1440"/>
              <a:gd name="T83" fmla="*/ 121 h 267"/>
              <a:gd name="T84" fmla="*/ 1351 w 1440"/>
              <a:gd name="T85" fmla="*/ 112 h 267"/>
              <a:gd name="T86" fmla="*/ 1364 w 1440"/>
              <a:gd name="T87" fmla="*/ 159 h 267"/>
              <a:gd name="T88" fmla="*/ 1399 w 1440"/>
              <a:gd name="T89" fmla="*/ 156 h 267"/>
              <a:gd name="T90" fmla="*/ 1432 w 1440"/>
              <a:gd name="T91" fmla="*/ 120 h 267"/>
              <a:gd name="T92" fmla="*/ 1410 w 1440"/>
              <a:gd name="T93" fmla="*/ 176 h 267"/>
              <a:gd name="T94" fmla="*/ 1076 w 1440"/>
              <a:gd name="T95" fmla="*/ 242 h 267"/>
              <a:gd name="T96" fmla="*/ 1062 w 1440"/>
              <a:gd name="T97" fmla="*/ 225 h 267"/>
              <a:gd name="T98" fmla="*/ 1091 w 1440"/>
              <a:gd name="T99" fmla="*/ 208 h 267"/>
              <a:gd name="T100" fmla="*/ 1112 w 1440"/>
              <a:gd name="T101" fmla="*/ 233 h 267"/>
              <a:gd name="T102" fmla="*/ 1128 w 1440"/>
              <a:gd name="T103" fmla="*/ 224 h 267"/>
              <a:gd name="T104" fmla="*/ 1168 w 1440"/>
              <a:gd name="T105" fmla="*/ 255 h 267"/>
              <a:gd name="T106" fmla="*/ 1154 w 1440"/>
              <a:gd name="T107" fmla="*/ 236 h 267"/>
              <a:gd name="T108" fmla="*/ 1203 w 1440"/>
              <a:gd name="T109" fmla="*/ 256 h 267"/>
              <a:gd name="T110" fmla="*/ 1200 w 1440"/>
              <a:gd name="T111" fmla="*/ 213 h 267"/>
              <a:gd name="T112" fmla="*/ 1227 w 1440"/>
              <a:gd name="T113" fmla="*/ 256 h 267"/>
              <a:gd name="T114" fmla="*/ 1249 w 1440"/>
              <a:gd name="T115" fmla="*/ 260 h 267"/>
              <a:gd name="T116" fmla="*/ 1255 w 1440"/>
              <a:gd name="T117" fmla="*/ 205 h 267"/>
              <a:gd name="T118" fmla="*/ 1297 w 1440"/>
              <a:gd name="T119" fmla="*/ 226 h 267"/>
              <a:gd name="T120" fmla="*/ 1303 w 1440"/>
              <a:gd name="T121" fmla="*/ 243 h 267"/>
              <a:gd name="T122" fmla="*/ 1344 w 1440"/>
              <a:gd name="T123" fmla="*/ 229 h 267"/>
              <a:gd name="T124" fmla="*/ 1328 w 1440"/>
              <a:gd name="T125" fmla="*/ 239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440" h="267">
                <a:moveTo>
                  <a:pt x="17" y="110"/>
                </a:moveTo>
                <a:cubicBezTo>
                  <a:pt x="3" y="110"/>
                  <a:pt x="3" y="110"/>
                  <a:pt x="3" y="110"/>
                </a:cubicBezTo>
                <a:cubicBezTo>
                  <a:pt x="3" y="1"/>
                  <a:pt x="3" y="1"/>
                  <a:pt x="3" y="1"/>
                </a:cubicBezTo>
                <a:cubicBezTo>
                  <a:pt x="81" y="83"/>
                  <a:pt x="81" y="83"/>
                  <a:pt x="81" y="83"/>
                </a:cubicBezTo>
                <a:cubicBezTo>
                  <a:pt x="81" y="7"/>
                  <a:pt x="81" y="7"/>
                  <a:pt x="81" y="7"/>
                </a:cubicBezTo>
                <a:cubicBezTo>
                  <a:pt x="95" y="7"/>
                  <a:pt x="95" y="7"/>
                  <a:pt x="95" y="7"/>
                </a:cubicBezTo>
                <a:cubicBezTo>
                  <a:pt x="95" y="117"/>
                  <a:pt x="95" y="117"/>
                  <a:pt x="95" y="117"/>
                </a:cubicBezTo>
                <a:cubicBezTo>
                  <a:pt x="17" y="35"/>
                  <a:pt x="17" y="35"/>
                  <a:pt x="17" y="35"/>
                </a:cubicBezTo>
                <a:lnTo>
                  <a:pt x="17" y="110"/>
                </a:lnTo>
                <a:close/>
                <a:moveTo>
                  <a:pt x="130" y="110"/>
                </a:moveTo>
                <a:cubicBezTo>
                  <a:pt x="145" y="110"/>
                  <a:pt x="145" y="110"/>
                  <a:pt x="145" y="110"/>
                </a:cubicBezTo>
                <a:cubicBezTo>
                  <a:pt x="178" y="33"/>
                  <a:pt x="178" y="33"/>
                  <a:pt x="178" y="33"/>
                </a:cubicBezTo>
                <a:cubicBezTo>
                  <a:pt x="210" y="109"/>
                  <a:pt x="210" y="109"/>
                  <a:pt x="210" y="109"/>
                </a:cubicBezTo>
                <a:cubicBezTo>
                  <a:pt x="210" y="110"/>
                  <a:pt x="210" y="110"/>
                  <a:pt x="210" y="110"/>
                </a:cubicBezTo>
                <a:cubicBezTo>
                  <a:pt x="225" y="110"/>
                  <a:pt x="225" y="110"/>
                  <a:pt x="225" y="110"/>
                </a:cubicBezTo>
                <a:cubicBezTo>
                  <a:pt x="178" y="0"/>
                  <a:pt x="178" y="0"/>
                  <a:pt x="178" y="0"/>
                </a:cubicBezTo>
                <a:lnTo>
                  <a:pt x="130" y="110"/>
                </a:lnTo>
                <a:close/>
                <a:moveTo>
                  <a:pt x="700" y="110"/>
                </a:moveTo>
                <a:cubicBezTo>
                  <a:pt x="715" y="110"/>
                  <a:pt x="715" y="110"/>
                  <a:pt x="715" y="110"/>
                </a:cubicBezTo>
                <a:cubicBezTo>
                  <a:pt x="748" y="33"/>
                  <a:pt x="748" y="33"/>
                  <a:pt x="748" y="33"/>
                </a:cubicBezTo>
                <a:cubicBezTo>
                  <a:pt x="780" y="109"/>
                  <a:pt x="780" y="109"/>
                  <a:pt x="780" y="109"/>
                </a:cubicBezTo>
                <a:cubicBezTo>
                  <a:pt x="780" y="110"/>
                  <a:pt x="780" y="110"/>
                  <a:pt x="780" y="110"/>
                </a:cubicBezTo>
                <a:cubicBezTo>
                  <a:pt x="795" y="110"/>
                  <a:pt x="795" y="110"/>
                  <a:pt x="795" y="110"/>
                </a:cubicBezTo>
                <a:cubicBezTo>
                  <a:pt x="748" y="0"/>
                  <a:pt x="748" y="0"/>
                  <a:pt x="748" y="0"/>
                </a:cubicBezTo>
                <a:lnTo>
                  <a:pt x="700" y="110"/>
                </a:lnTo>
                <a:close/>
                <a:moveTo>
                  <a:pt x="273" y="110"/>
                </a:moveTo>
                <a:cubicBezTo>
                  <a:pt x="286" y="110"/>
                  <a:pt x="286" y="110"/>
                  <a:pt x="286" y="110"/>
                </a:cubicBezTo>
                <a:cubicBezTo>
                  <a:pt x="286" y="20"/>
                  <a:pt x="286" y="20"/>
                  <a:pt x="286" y="20"/>
                </a:cubicBezTo>
                <a:cubicBezTo>
                  <a:pt x="317" y="20"/>
                  <a:pt x="317" y="20"/>
                  <a:pt x="317" y="20"/>
                </a:cubicBezTo>
                <a:cubicBezTo>
                  <a:pt x="317" y="7"/>
                  <a:pt x="317" y="7"/>
                  <a:pt x="317" y="7"/>
                </a:cubicBezTo>
                <a:cubicBezTo>
                  <a:pt x="242" y="7"/>
                  <a:pt x="242" y="7"/>
                  <a:pt x="242" y="7"/>
                </a:cubicBezTo>
                <a:cubicBezTo>
                  <a:pt x="242" y="20"/>
                  <a:pt x="242" y="20"/>
                  <a:pt x="242" y="20"/>
                </a:cubicBezTo>
                <a:cubicBezTo>
                  <a:pt x="273" y="20"/>
                  <a:pt x="273" y="20"/>
                  <a:pt x="273" y="20"/>
                </a:cubicBezTo>
                <a:lnTo>
                  <a:pt x="273" y="110"/>
                </a:lnTo>
                <a:close/>
                <a:moveTo>
                  <a:pt x="374" y="7"/>
                </a:moveTo>
                <a:cubicBezTo>
                  <a:pt x="360" y="7"/>
                  <a:pt x="360" y="7"/>
                  <a:pt x="360" y="7"/>
                </a:cubicBezTo>
                <a:cubicBezTo>
                  <a:pt x="360" y="110"/>
                  <a:pt x="360" y="110"/>
                  <a:pt x="360" y="110"/>
                </a:cubicBezTo>
                <a:cubicBezTo>
                  <a:pt x="374" y="110"/>
                  <a:pt x="374" y="110"/>
                  <a:pt x="374" y="110"/>
                </a:cubicBezTo>
                <a:lnTo>
                  <a:pt x="374" y="7"/>
                </a:lnTo>
                <a:close/>
                <a:moveTo>
                  <a:pt x="475" y="112"/>
                </a:moveTo>
                <a:cubicBezTo>
                  <a:pt x="445" y="112"/>
                  <a:pt x="421" y="88"/>
                  <a:pt x="421" y="59"/>
                </a:cubicBezTo>
                <a:cubicBezTo>
                  <a:pt x="421" y="29"/>
                  <a:pt x="445" y="5"/>
                  <a:pt x="475" y="5"/>
                </a:cubicBezTo>
                <a:cubicBezTo>
                  <a:pt x="505" y="5"/>
                  <a:pt x="528" y="29"/>
                  <a:pt x="528" y="59"/>
                </a:cubicBezTo>
                <a:cubicBezTo>
                  <a:pt x="528" y="88"/>
                  <a:pt x="505" y="112"/>
                  <a:pt x="475" y="112"/>
                </a:cubicBezTo>
                <a:close/>
                <a:moveTo>
                  <a:pt x="475" y="19"/>
                </a:moveTo>
                <a:cubicBezTo>
                  <a:pt x="453" y="19"/>
                  <a:pt x="435" y="37"/>
                  <a:pt x="435" y="59"/>
                </a:cubicBezTo>
                <a:cubicBezTo>
                  <a:pt x="435" y="81"/>
                  <a:pt x="453" y="99"/>
                  <a:pt x="475" y="99"/>
                </a:cubicBezTo>
                <a:cubicBezTo>
                  <a:pt x="497" y="99"/>
                  <a:pt x="514" y="81"/>
                  <a:pt x="514" y="59"/>
                </a:cubicBezTo>
                <a:cubicBezTo>
                  <a:pt x="514" y="37"/>
                  <a:pt x="497" y="19"/>
                  <a:pt x="475" y="19"/>
                </a:cubicBezTo>
                <a:close/>
                <a:moveTo>
                  <a:pt x="586" y="35"/>
                </a:moveTo>
                <a:cubicBezTo>
                  <a:pt x="664" y="117"/>
                  <a:pt x="664" y="117"/>
                  <a:pt x="664" y="117"/>
                </a:cubicBezTo>
                <a:cubicBezTo>
                  <a:pt x="664" y="7"/>
                  <a:pt x="664" y="7"/>
                  <a:pt x="664" y="7"/>
                </a:cubicBezTo>
                <a:cubicBezTo>
                  <a:pt x="650" y="7"/>
                  <a:pt x="650" y="7"/>
                  <a:pt x="650" y="7"/>
                </a:cubicBezTo>
                <a:cubicBezTo>
                  <a:pt x="650" y="83"/>
                  <a:pt x="650" y="83"/>
                  <a:pt x="650" y="83"/>
                </a:cubicBezTo>
                <a:cubicBezTo>
                  <a:pt x="572" y="1"/>
                  <a:pt x="572" y="1"/>
                  <a:pt x="572" y="1"/>
                </a:cubicBezTo>
                <a:cubicBezTo>
                  <a:pt x="572" y="110"/>
                  <a:pt x="572" y="110"/>
                  <a:pt x="572" y="110"/>
                </a:cubicBezTo>
                <a:cubicBezTo>
                  <a:pt x="586" y="110"/>
                  <a:pt x="586" y="110"/>
                  <a:pt x="586" y="110"/>
                </a:cubicBezTo>
                <a:lnTo>
                  <a:pt x="586" y="35"/>
                </a:lnTo>
                <a:close/>
                <a:moveTo>
                  <a:pt x="843" y="7"/>
                </a:moveTo>
                <a:cubicBezTo>
                  <a:pt x="830" y="7"/>
                  <a:pt x="830" y="7"/>
                  <a:pt x="830" y="7"/>
                </a:cubicBezTo>
                <a:cubicBezTo>
                  <a:pt x="830" y="110"/>
                  <a:pt x="830" y="110"/>
                  <a:pt x="830" y="110"/>
                </a:cubicBezTo>
                <a:cubicBezTo>
                  <a:pt x="885" y="110"/>
                  <a:pt x="885" y="110"/>
                  <a:pt x="885" y="110"/>
                </a:cubicBezTo>
                <a:cubicBezTo>
                  <a:pt x="885" y="97"/>
                  <a:pt x="885" y="97"/>
                  <a:pt x="885" y="97"/>
                </a:cubicBezTo>
                <a:cubicBezTo>
                  <a:pt x="843" y="97"/>
                  <a:pt x="843" y="97"/>
                  <a:pt x="843" y="97"/>
                </a:cubicBezTo>
                <a:lnTo>
                  <a:pt x="843" y="7"/>
                </a:lnTo>
                <a:close/>
                <a:moveTo>
                  <a:pt x="169" y="156"/>
                </a:moveTo>
                <a:cubicBezTo>
                  <a:pt x="139" y="156"/>
                  <a:pt x="116" y="179"/>
                  <a:pt x="116" y="209"/>
                </a:cubicBezTo>
                <a:cubicBezTo>
                  <a:pt x="116" y="240"/>
                  <a:pt x="139" y="262"/>
                  <a:pt x="169" y="262"/>
                </a:cubicBezTo>
                <a:cubicBezTo>
                  <a:pt x="175" y="262"/>
                  <a:pt x="188" y="261"/>
                  <a:pt x="200" y="252"/>
                </a:cubicBezTo>
                <a:cubicBezTo>
                  <a:pt x="200" y="252"/>
                  <a:pt x="200" y="252"/>
                  <a:pt x="200" y="252"/>
                </a:cubicBezTo>
                <a:cubicBezTo>
                  <a:pt x="200" y="234"/>
                  <a:pt x="200" y="234"/>
                  <a:pt x="200" y="234"/>
                </a:cubicBezTo>
                <a:cubicBezTo>
                  <a:pt x="198" y="236"/>
                  <a:pt x="198" y="236"/>
                  <a:pt x="198" y="236"/>
                </a:cubicBezTo>
                <a:cubicBezTo>
                  <a:pt x="196" y="239"/>
                  <a:pt x="192" y="242"/>
                  <a:pt x="187" y="245"/>
                </a:cubicBezTo>
                <a:cubicBezTo>
                  <a:pt x="181" y="247"/>
                  <a:pt x="175" y="249"/>
                  <a:pt x="169" y="249"/>
                </a:cubicBezTo>
                <a:cubicBezTo>
                  <a:pt x="142" y="249"/>
                  <a:pt x="130" y="226"/>
                  <a:pt x="130" y="210"/>
                </a:cubicBezTo>
                <a:cubicBezTo>
                  <a:pt x="130" y="187"/>
                  <a:pt x="147" y="169"/>
                  <a:pt x="169" y="169"/>
                </a:cubicBezTo>
                <a:cubicBezTo>
                  <a:pt x="174" y="169"/>
                  <a:pt x="180" y="170"/>
                  <a:pt x="185" y="173"/>
                </a:cubicBezTo>
                <a:cubicBezTo>
                  <a:pt x="190" y="175"/>
                  <a:pt x="194" y="178"/>
                  <a:pt x="198" y="182"/>
                </a:cubicBezTo>
                <a:cubicBezTo>
                  <a:pt x="200" y="184"/>
                  <a:pt x="200" y="184"/>
                  <a:pt x="200" y="184"/>
                </a:cubicBezTo>
                <a:cubicBezTo>
                  <a:pt x="200" y="166"/>
                  <a:pt x="200" y="166"/>
                  <a:pt x="200" y="166"/>
                </a:cubicBezTo>
                <a:cubicBezTo>
                  <a:pt x="200" y="166"/>
                  <a:pt x="200" y="166"/>
                  <a:pt x="200" y="166"/>
                </a:cubicBezTo>
                <a:cubicBezTo>
                  <a:pt x="191" y="159"/>
                  <a:pt x="181" y="156"/>
                  <a:pt x="169" y="156"/>
                </a:cubicBezTo>
                <a:close/>
                <a:moveTo>
                  <a:pt x="437" y="209"/>
                </a:moveTo>
                <a:cubicBezTo>
                  <a:pt x="437" y="225"/>
                  <a:pt x="431" y="238"/>
                  <a:pt x="419" y="249"/>
                </a:cubicBezTo>
                <a:cubicBezTo>
                  <a:pt x="409" y="257"/>
                  <a:pt x="399" y="261"/>
                  <a:pt x="382" y="261"/>
                </a:cubicBezTo>
                <a:cubicBezTo>
                  <a:pt x="360" y="261"/>
                  <a:pt x="360" y="261"/>
                  <a:pt x="360" y="261"/>
                </a:cubicBezTo>
                <a:cubicBezTo>
                  <a:pt x="360" y="157"/>
                  <a:pt x="360" y="157"/>
                  <a:pt x="360" y="157"/>
                </a:cubicBezTo>
                <a:cubicBezTo>
                  <a:pt x="382" y="157"/>
                  <a:pt x="382" y="157"/>
                  <a:pt x="382" y="157"/>
                </a:cubicBezTo>
                <a:cubicBezTo>
                  <a:pt x="393" y="157"/>
                  <a:pt x="407" y="159"/>
                  <a:pt x="420" y="170"/>
                </a:cubicBezTo>
                <a:cubicBezTo>
                  <a:pt x="426" y="175"/>
                  <a:pt x="437" y="187"/>
                  <a:pt x="437" y="209"/>
                </a:cubicBezTo>
                <a:close/>
                <a:moveTo>
                  <a:pt x="423" y="209"/>
                </a:moveTo>
                <a:cubicBezTo>
                  <a:pt x="423" y="186"/>
                  <a:pt x="407" y="171"/>
                  <a:pt x="382" y="171"/>
                </a:cubicBezTo>
                <a:cubicBezTo>
                  <a:pt x="374" y="171"/>
                  <a:pt x="374" y="171"/>
                  <a:pt x="374" y="171"/>
                </a:cubicBezTo>
                <a:cubicBezTo>
                  <a:pt x="374" y="247"/>
                  <a:pt x="374" y="247"/>
                  <a:pt x="374" y="247"/>
                </a:cubicBezTo>
                <a:cubicBezTo>
                  <a:pt x="382" y="247"/>
                  <a:pt x="382" y="247"/>
                  <a:pt x="382" y="247"/>
                </a:cubicBezTo>
                <a:cubicBezTo>
                  <a:pt x="390" y="247"/>
                  <a:pt x="401" y="246"/>
                  <a:pt x="410" y="239"/>
                </a:cubicBezTo>
                <a:cubicBezTo>
                  <a:pt x="416" y="234"/>
                  <a:pt x="423" y="224"/>
                  <a:pt x="423" y="209"/>
                </a:cubicBezTo>
                <a:close/>
                <a:moveTo>
                  <a:pt x="479" y="261"/>
                </a:moveTo>
                <a:cubicBezTo>
                  <a:pt x="541" y="261"/>
                  <a:pt x="541" y="261"/>
                  <a:pt x="541" y="261"/>
                </a:cubicBezTo>
                <a:cubicBezTo>
                  <a:pt x="541" y="247"/>
                  <a:pt x="541" y="247"/>
                  <a:pt x="541" y="247"/>
                </a:cubicBezTo>
                <a:cubicBezTo>
                  <a:pt x="493" y="247"/>
                  <a:pt x="493" y="247"/>
                  <a:pt x="493" y="247"/>
                </a:cubicBezTo>
                <a:cubicBezTo>
                  <a:pt x="493" y="211"/>
                  <a:pt x="493" y="211"/>
                  <a:pt x="493" y="211"/>
                </a:cubicBezTo>
                <a:cubicBezTo>
                  <a:pt x="535" y="211"/>
                  <a:pt x="535" y="211"/>
                  <a:pt x="535" y="211"/>
                </a:cubicBezTo>
                <a:cubicBezTo>
                  <a:pt x="535" y="198"/>
                  <a:pt x="535" y="198"/>
                  <a:pt x="535" y="198"/>
                </a:cubicBezTo>
                <a:cubicBezTo>
                  <a:pt x="493" y="198"/>
                  <a:pt x="493" y="198"/>
                  <a:pt x="493" y="198"/>
                </a:cubicBezTo>
                <a:cubicBezTo>
                  <a:pt x="493" y="171"/>
                  <a:pt x="493" y="171"/>
                  <a:pt x="493" y="171"/>
                </a:cubicBezTo>
                <a:cubicBezTo>
                  <a:pt x="541" y="171"/>
                  <a:pt x="541" y="171"/>
                  <a:pt x="541" y="171"/>
                </a:cubicBezTo>
                <a:cubicBezTo>
                  <a:pt x="541" y="157"/>
                  <a:pt x="541" y="157"/>
                  <a:pt x="541" y="157"/>
                </a:cubicBezTo>
                <a:cubicBezTo>
                  <a:pt x="479" y="157"/>
                  <a:pt x="479" y="157"/>
                  <a:pt x="479" y="157"/>
                </a:cubicBezTo>
                <a:lnTo>
                  <a:pt x="479" y="261"/>
                </a:lnTo>
                <a:close/>
                <a:moveTo>
                  <a:pt x="805" y="261"/>
                </a:moveTo>
                <a:cubicBezTo>
                  <a:pt x="866" y="261"/>
                  <a:pt x="866" y="261"/>
                  <a:pt x="866" y="261"/>
                </a:cubicBezTo>
                <a:cubicBezTo>
                  <a:pt x="866" y="247"/>
                  <a:pt x="866" y="247"/>
                  <a:pt x="866" y="247"/>
                </a:cubicBezTo>
                <a:cubicBezTo>
                  <a:pt x="819" y="247"/>
                  <a:pt x="819" y="247"/>
                  <a:pt x="819" y="247"/>
                </a:cubicBezTo>
                <a:cubicBezTo>
                  <a:pt x="819" y="211"/>
                  <a:pt x="819" y="211"/>
                  <a:pt x="819" y="211"/>
                </a:cubicBezTo>
                <a:cubicBezTo>
                  <a:pt x="860" y="211"/>
                  <a:pt x="860" y="211"/>
                  <a:pt x="860" y="211"/>
                </a:cubicBezTo>
                <a:cubicBezTo>
                  <a:pt x="860" y="198"/>
                  <a:pt x="860" y="198"/>
                  <a:pt x="860" y="198"/>
                </a:cubicBezTo>
                <a:cubicBezTo>
                  <a:pt x="819" y="198"/>
                  <a:pt x="819" y="198"/>
                  <a:pt x="819" y="198"/>
                </a:cubicBezTo>
                <a:cubicBezTo>
                  <a:pt x="819" y="171"/>
                  <a:pt x="819" y="171"/>
                  <a:pt x="819" y="171"/>
                </a:cubicBezTo>
                <a:cubicBezTo>
                  <a:pt x="866" y="171"/>
                  <a:pt x="866" y="171"/>
                  <a:pt x="866" y="171"/>
                </a:cubicBezTo>
                <a:cubicBezTo>
                  <a:pt x="866" y="157"/>
                  <a:pt x="866" y="157"/>
                  <a:pt x="866" y="157"/>
                </a:cubicBezTo>
                <a:cubicBezTo>
                  <a:pt x="805" y="157"/>
                  <a:pt x="805" y="157"/>
                  <a:pt x="805" y="157"/>
                </a:cubicBezTo>
                <a:lnTo>
                  <a:pt x="805" y="261"/>
                </a:lnTo>
                <a:close/>
                <a:moveTo>
                  <a:pt x="634" y="235"/>
                </a:moveTo>
                <a:cubicBezTo>
                  <a:pt x="595" y="149"/>
                  <a:pt x="595" y="149"/>
                  <a:pt x="595" y="149"/>
                </a:cubicBezTo>
                <a:cubicBezTo>
                  <a:pt x="578" y="261"/>
                  <a:pt x="578" y="261"/>
                  <a:pt x="578" y="261"/>
                </a:cubicBezTo>
                <a:cubicBezTo>
                  <a:pt x="592" y="261"/>
                  <a:pt x="592" y="261"/>
                  <a:pt x="592" y="261"/>
                </a:cubicBezTo>
                <a:cubicBezTo>
                  <a:pt x="601" y="194"/>
                  <a:pt x="601" y="194"/>
                  <a:pt x="601" y="194"/>
                </a:cubicBezTo>
                <a:cubicBezTo>
                  <a:pt x="634" y="267"/>
                  <a:pt x="634" y="267"/>
                  <a:pt x="634" y="267"/>
                </a:cubicBezTo>
                <a:cubicBezTo>
                  <a:pt x="668" y="194"/>
                  <a:pt x="668" y="194"/>
                  <a:pt x="668" y="194"/>
                </a:cubicBezTo>
                <a:cubicBezTo>
                  <a:pt x="677" y="261"/>
                  <a:pt x="677" y="261"/>
                  <a:pt x="677" y="261"/>
                </a:cubicBezTo>
                <a:cubicBezTo>
                  <a:pt x="691" y="261"/>
                  <a:pt x="691" y="261"/>
                  <a:pt x="691" y="261"/>
                </a:cubicBezTo>
                <a:cubicBezTo>
                  <a:pt x="674" y="148"/>
                  <a:pt x="674" y="148"/>
                  <a:pt x="674" y="148"/>
                </a:cubicBezTo>
                <a:lnTo>
                  <a:pt x="634" y="235"/>
                </a:lnTo>
                <a:close/>
                <a:moveTo>
                  <a:pt x="737" y="261"/>
                </a:moveTo>
                <a:cubicBezTo>
                  <a:pt x="751" y="261"/>
                  <a:pt x="751" y="261"/>
                  <a:pt x="751" y="261"/>
                </a:cubicBezTo>
                <a:cubicBezTo>
                  <a:pt x="751" y="157"/>
                  <a:pt x="751" y="157"/>
                  <a:pt x="751" y="157"/>
                </a:cubicBezTo>
                <a:cubicBezTo>
                  <a:pt x="737" y="157"/>
                  <a:pt x="737" y="157"/>
                  <a:pt x="737" y="157"/>
                </a:cubicBezTo>
                <a:lnTo>
                  <a:pt x="737" y="261"/>
                </a:lnTo>
                <a:close/>
                <a:moveTo>
                  <a:pt x="955" y="211"/>
                </a:moveTo>
                <a:cubicBezTo>
                  <a:pt x="950" y="207"/>
                  <a:pt x="945" y="204"/>
                  <a:pt x="939" y="201"/>
                </a:cubicBezTo>
                <a:cubicBezTo>
                  <a:pt x="929" y="197"/>
                  <a:pt x="929" y="197"/>
                  <a:pt x="929" y="197"/>
                </a:cubicBezTo>
                <a:cubicBezTo>
                  <a:pt x="925" y="195"/>
                  <a:pt x="922" y="194"/>
                  <a:pt x="919" y="191"/>
                </a:cubicBezTo>
                <a:cubicBezTo>
                  <a:pt x="916" y="189"/>
                  <a:pt x="916" y="187"/>
                  <a:pt x="916" y="183"/>
                </a:cubicBezTo>
                <a:cubicBezTo>
                  <a:pt x="916" y="175"/>
                  <a:pt x="922" y="169"/>
                  <a:pt x="931" y="169"/>
                </a:cubicBezTo>
                <a:cubicBezTo>
                  <a:pt x="936" y="169"/>
                  <a:pt x="940" y="171"/>
                  <a:pt x="942" y="172"/>
                </a:cubicBezTo>
                <a:cubicBezTo>
                  <a:pt x="944" y="174"/>
                  <a:pt x="946" y="177"/>
                  <a:pt x="947" y="179"/>
                </a:cubicBezTo>
                <a:cubicBezTo>
                  <a:pt x="948" y="181"/>
                  <a:pt x="948" y="181"/>
                  <a:pt x="948" y="181"/>
                </a:cubicBezTo>
                <a:cubicBezTo>
                  <a:pt x="959" y="173"/>
                  <a:pt x="959" y="173"/>
                  <a:pt x="959" y="173"/>
                </a:cubicBezTo>
                <a:cubicBezTo>
                  <a:pt x="958" y="172"/>
                  <a:pt x="958" y="172"/>
                  <a:pt x="958" y="172"/>
                </a:cubicBezTo>
                <a:cubicBezTo>
                  <a:pt x="956" y="167"/>
                  <a:pt x="952" y="163"/>
                  <a:pt x="948" y="161"/>
                </a:cubicBezTo>
                <a:cubicBezTo>
                  <a:pt x="943" y="157"/>
                  <a:pt x="938" y="156"/>
                  <a:pt x="931" y="156"/>
                </a:cubicBezTo>
                <a:cubicBezTo>
                  <a:pt x="914" y="156"/>
                  <a:pt x="902" y="167"/>
                  <a:pt x="902" y="183"/>
                </a:cubicBezTo>
                <a:cubicBezTo>
                  <a:pt x="902" y="190"/>
                  <a:pt x="904" y="195"/>
                  <a:pt x="909" y="200"/>
                </a:cubicBezTo>
                <a:cubicBezTo>
                  <a:pt x="913" y="205"/>
                  <a:pt x="918" y="207"/>
                  <a:pt x="922" y="209"/>
                </a:cubicBezTo>
                <a:cubicBezTo>
                  <a:pt x="932" y="213"/>
                  <a:pt x="932" y="213"/>
                  <a:pt x="932" y="213"/>
                </a:cubicBezTo>
                <a:cubicBezTo>
                  <a:pt x="937" y="215"/>
                  <a:pt x="941" y="217"/>
                  <a:pt x="944" y="220"/>
                </a:cubicBezTo>
                <a:cubicBezTo>
                  <a:pt x="947" y="223"/>
                  <a:pt x="948" y="226"/>
                  <a:pt x="948" y="231"/>
                </a:cubicBezTo>
                <a:cubicBezTo>
                  <a:pt x="948" y="240"/>
                  <a:pt x="942" y="249"/>
                  <a:pt x="929" y="249"/>
                </a:cubicBezTo>
                <a:cubicBezTo>
                  <a:pt x="924" y="249"/>
                  <a:pt x="919" y="247"/>
                  <a:pt x="916" y="244"/>
                </a:cubicBezTo>
                <a:cubicBezTo>
                  <a:pt x="913" y="241"/>
                  <a:pt x="911" y="236"/>
                  <a:pt x="910" y="232"/>
                </a:cubicBezTo>
                <a:cubicBezTo>
                  <a:pt x="910" y="230"/>
                  <a:pt x="910" y="230"/>
                  <a:pt x="910" y="230"/>
                </a:cubicBezTo>
                <a:cubicBezTo>
                  <a:pt x="896" y="234"/>
                  <a:pt x="896" y="234"/>
                  <a:pt x="896" y="234"/>
                </a:cubicBezTo>
                <a:cubicBezTo>
                  <a:pt x="897" y="235"/>
                  <a:pt x="897" y="235"/>
                  <a:pt x="897" y="235"/>
                </a:cubicBezTo>
                <a:cubicBezTo>
                  <a:pt x="898" y="243"/>
                  <a:pt x="902" y="249"/>
                  <a:pt x="906" y="254"/>
                </a:cubicBezTo>
                <a:cubicBezTo>
                  <a:pt x="912" y="260"/>
                  <a:pt x="920" y="262"/>
                  <a:pt x="929" y="262"/>
                </a:cubicBezTo>
                <a:cubicBezTo>
                  <a:pt x="948" y="262"/>
                  <a:pt x="962" y="249"/>
                  <a:pt x="962" y="230"/>
                </a:cubicBezTo>
                <a:cubicBezTo>
                  <a:pt x="962" y="222"/>
                  <a:pt x="960" y="216"/>
                  <a:pt x="955" y="211"/>
                </a:cubicBezTo>
                <a:close/>
                <a:moveTo>
                  <a:pt x="0" y="261"/>
                </a:moveTo>
                <a:cubicBezTo>
                  <a:pt x="15" y="261"/>
                  <a:pt x="15" y="261"/>
                  <a:pt x="15" y="261"/>
                </a:cubicBezTo>
                <a:cubicBezTo>
                  <a:pt x="48" y="184"/>
                  <a:pt x="48" y="184"/>
                  <a:pt x="48" y="184"/>
                </a:cubicBezTo>
                <a:cubicBezTo>
                  <a:pt x="79" y="260"/>
                  <a:pt x="79" y="260"/>
                  <a:pt x="79" y="260"/>
                </a:cubicBezTo>
                <a:cubicBezTo>
                  <a:pt x="80" y="261"/>
                  <a:pt x="80" y="261"/>
                  <a:pt x="80" y="261"/>
                </a:cubicBezTo>
                <a:cubicBezTo>
                  <a:pt x="95" y="261"/>
                  <a:pt x="95" y="261"/>
                  <a:pt x="95" y="261"/>
                </a:cubicBezTo>
                <a:cubicBezTo>
                  <a:pt x="48" y="151"/>
                  <a:pt x="48" y="151"/>
                  <a:pt x="48" y="151"/>
                </a:cubicBezTo>
                <a:lnTo>
                  <a:pt x="0" y="261"/>
                </a:lnTo>
                <a:close/>
                <a:moveTo>
                  <a:pt x="229" y="261"/>
                </a:moveTo>
                <a:cubicBezTo>
                  <a:pt x="244" y="261"/>
                  <a:pt x="244" y="261"/>
                  <a:pt x="244" y="261"/>
                </a:cubicBezTo>
                <a:cubicBezTo>
                  <a:pt x="277" y="184"/>
                  <a:pt x="277" y="184"/>
                  <a:pt x="277" y="184"/>
                </a:cubicBezTo>
                <a:cubicBezTo>
                  <a:pt x="309" y="260"/>
                  <a:pt x="309" y="260"/>
                  <a:pt x="309" y="260"/>
                </a:cubicBezTo>
                <a:cubicBezTo>
                  <a:pt x="309" y="261"/>
                  <a:pt x="309" y="261"/>
                  <a:pt x="309" y="261"/>
                </a:cubicBezTo>
                <a:cubicBezTo>
                  <a:pt x="324" y="261"/>
                  <a:pt x="324" y="261"/>
                  <a:pt x="324" y="261"/>
                </a:cubicBezTo>
                <a:cubicBezTo>
                  <a:pt x="277" y="151"/>
                  <a:pt x="277" y="151"/>
                  <a:pt x="277" y="151"/>
                </a:cubicBezTo>
                <a:lnTo>
                  <a:pt x="229" y="261"/>
                </a:lnTo>
                <a:close/>
                <a:moveTo>
                  <a:pt x="1071" y="11"/>
                </a:moveTo>
                <a:cubicBezTo>
                  <a:pt x="1071" y="18"/>
                  <a:pt x="1071" y="18"/>
                  <a:pt x="1071" y="18"/>
                </a:cubicBezTo>
                <a:cubicBezTo>
                  <a:pt x="1075" y="18"/>
                  <a:pt x="1075" y="18"/>
                  <a:pt x="1075" y="18"/>
                </a:cubicBezTo>
                <a:cubicBezTo>
                  <a:pt x="1077" y="9"/>
                  <a:pt x="1077" y="9"/>
                  <a:pt x="1077" y="9"/>
                </a:cubicBezTo>
                <a:cubicBezTo>
                  <a:pt x="1076" y="8"/>
                  <a:pt x="1074" y="7"/>
                  <a:pt x="1072" y="6"/>
                </a:cubicBezTo>
                <a:cubicBezTo>
                  <a:pt x="1070" y="6"/>
                  <a:pt x="1067" y="6"/>
                  <a:pt x="1064" y="6"/>
                </a:cubicBezTo>
                <a:cubicBezTo>
                  <a:pt x="1061" y="6"/>
                  <a:pt x="1058" y="6"/>
                  <a:pt x="1056" y="7"/>
                </a:cubicBezTo>
                <a:cubicBezTo>
                  <a:pt x="1053" y="9"/>
                  <a:pt x="1051" y="10"/>
                  <a:pt x="1049" y="12"/>
                </a:cubicBezTo>
                <a:cubicBezTo>
                  <a:pt x="1048" y="14"/>
                  <a:pt x="1047" y="17"/>
                  <a:pt x="1047" y="20"/>
                </a:cubicBezTo>
                <a:cubicBezTo>
                  <a:pt x="1047" y="22"/>
                  <a:pt x="1048" y="24"/>
                  <a:pt x="1049" y="26"/>
                </a:cubicBezTo>
                <a:cubicBezTo>
                  <a:pt x="1050" y="28"/>
                  <a:pt x="1051" y="30"/>
                  <a:pt x="1053" y="31"/>
                </a:cubicBezTo>
                <a:cubicBezTo>
                  <a:pt x="1055" y="32"/>
                  <a:pt x="1057" y="34"/>
                  <a:pt x="1059" y="35"/>
                </a:cubicBezTo>
                <a:cubicBezTo>
                  <a:pt x="1062" y="37"/>
                  <a:pt x="1064" y="39"/>
                  <a:pt x="1066" y="40"/>
                </a:cubicBezTo>
                <a:cubicBezTo>
                  <a:pt x="1067" y="42"/>
                  <a:pt x="1068" y="44"/>
                  <a:pt x="1068" y="47"/>
                </a:cubicBezTo>
                <a:cubicBezTo>
                  <a:pt x="1068" y="49"/>
                  <a:pt x="1067" y="52"/>
                  <a:pt x="1065" y="53"/>
                </a:cubicBezTo>
                <a:cubicBezTo>
                  <a:pt x="1062" y="55"/>
                  <a:pt x="1060" y="56"/>
                  <a:pt x="1057" y="56"/>
                </a:cubicBezTo>
                <a:cubicBezTo>
                  <a:pt x="1055" y="56"/>
                  <a:pt x="1053" y="56"/>
                  <a:pt x="1052" y="55"/>
                </a:cubicBezTo>
                <a:cubicBezTo>
                  <a:pt x="1050" y="55"/>
                  <a:pt x="1049" y="54"/>
                  <a:pt x="1048" y="54"/>
                </a:cubicBezTo>
                <a:cubicBezTo>
                  <a:pt x="1048" y="46"/>
                  <a:pt x="1048" y="46"/>
                  <a:pt x="1048" y="46"/>
                </a:cubicBezTo>
                <a:cubicBezTo>
                  <a:pt x="1044" y="46"/>
                  <a:pt x="1044" y="46"/>
                  <a:pt x="1044" y="46"/>
                </a:cubicBezTo>
                <a:cubicBezTo>
                  <a:pt x="1042" y="56"/>
                  <a:pt x="1042" y="56"/>
                  <a:pt x="1042" y="56"/>
                </a:cubicBezTo>
                <a:cubicBezTo>
                  <a:pt x="1043" y="57"/>
                  <a:pt x="1045" y="58"/>
                  <a:pt x="1048" y="58"/>
                </a:cubicBezTo>
                <a:cubicBezTo>
                  <a:pt x="1051" y="59"/>
                  <a:pt x="1054" y="59"/>
                  <a:pt x="1057" y="59"/>
                </a:cubicBezTo>
                <a:cubicBezTo>
                  <a:pt x="1060" y="59"/>
                  <a:pt x="1063" y="59"/>
                  <a:pt x="1066" y="57"/>
                </a:cubicBezTo>
                <a:cubicBezTo>
                  <a:pt x="1069" y="56"/>
                  <a:pt x="1071" y="54"/>
                  <a:pt x="1073" y="52"/>
                </a:cubicBezTo>
                <a:cubicBezTo>
                  <a:pt x="1074" y="50"/>
                  <a:pt x="1075" y="47"/>
                  <a:pt x="1075" y="44"/>
                </a:cubicBezTo>
                <a:cubicBezTo>
                  <a:pt x="1075" y="42"/>
                  <a:pt x="1074" y="40"/>
                  <a:pt x="1073" y="38"/>
                </a:cubicBezTo>
                <a:cubicBezTo>
                  <a:pt x="1072" y="36"/>
                  <a:pt x="1071" y="35"/>
                  <a:pt x="1069" y="34"/>
                </a:cubicBezTo>
                <a:cubicBezTo>
                  <a:pt x="1068" y="32"/>
                  <a:pt x="1066" y="31"/>
                  <a:pt x="1064" y="29"/>
                </a:cubicBezTo>
                <a:cubicBezTo>
                  <a:pt x="1060" y="27"/>
                  <a:pt x="1058" y="25"/>
                  <a:pt x="1056" y="24"/>
                </a:cubicBezTo>
                <a:cubicBezTo>
                  <a:pt x="1055" y="22"/>
                  <a:pt x="1054" y="20"/>
                  <a:pt x="1054" y="17"/>
                </a:cubicBezTo>
                <a:cubicBezTo>
                  <a:pt x="1054" y="15"/>
                  <a:pt x="1055" y="13"/>
                  <a:pt x="1057" y="11"/>
                </a:cubicBezTo>
                <a:cubicBezTo>
                  <a:pt x="1059" y="10"/>
                  <a:pt x="1061" y="9"/>
                  <a:pt x="1064" y="9"/>
                </a:cubicBezTo>
                <a:cubicBezTo>
                  <a:pt x="1065" y="9"/>
                  <a:pt x="1067" y="9"/>
                  <a:pt x="1068" y="10"/>
                </a:cubicBezTo>
                <a:cubicBezTo>
                  <a:pt x="1069" y="10"/>
                  <a:pt x="1070" y="10"/>
                  <a:pt x="1071" y="11"/>
                </a:cubicBezTo>
                <a:close/>
                <a:moveTo>
                  <a:pt x="1107" y="27"/>
                </a:moveTo>
                <a:cubicBezTo>
                  <a:pt x="1108" y="27"/>
                  <a:pt x="1108" y="27"/>
                  <a:pt x="1108" y="27"/>
                </a:cubicBezTo>
                <a:cubicBezTo>
                  <a:pt x="1110" y="20"/>
                  <a:pt x="1110" y="20"/>
                  <a:pt x="1110" y="20"/>
                </a:cubicBezTo>
                <a:cubicBezTo>
                  <a:pt x="1109" y="20"/>
                  <a:pt x="1108" y="19"/>
                  <a:pt x="1107" y="19"/>
                </a:cubicBezTo>
                <a:cubicBezTo>
                  <a:pt x="1105" y="19"/>
                  <a:pt x="1104" y="19"/>
                  <a:pt x="1102" y="19"/>
                </a:cubicBezTo>
                <a:cubicBezTo>
                  <a:pt x="1098" y="19"/>
                  <a:pt x="1094" y="20"/>
                  <a:pt x="1091" y="22"/>
                </a:cubicBezTo>
                <a:cubicBezTo>
                  <a:pt x="1088" y="25"/>
                  <a:pt x="1086" y="28"/>
                  <a:pt x="1084" y="32"/>
                </a:cubicBezTo>
                <a:cubicBezTo>
                  <a:pt x="1083" y="36"/>
                  <a:pt x="1082" y="40"/>
                  <a:pt x="1082" y="43"/>
                </a:cubicBezTo>
                <a:cubicBezTo>
                  <a:pt x="1082" y="48"/>
                  <a:pt x="1083" y="52"/>
                  <a:pt x="1085" y="55"/>
                </a:cubicBezTo>
                <a:cubicBezTo>
                  <a:pt x="1087" y="58"/>
                  <a:pt x="1091" y="59"/>
                  <a:pt x="1094" y="59"/>
                </a:cubicBezTo>
                <a:cubicBezTo>
                  <a:pt x="1098" y="59"/>
                  <a:pt x="1100" y="59"/>
                  <a:pt x="1102" y="57"/>
                </a:cubicBezTo>
                <a:cubicBezTo>
                  <a:pt x="1105" y="56"/>
                  <a:pt x="1106" y="54"/>
                  <a:pt x="1108" y="53"/>
                </a:cubicBezTo>
                <a:cubicBezTo>
                  <a:pt x="1106" y="50"/>
                  <a:pt x="1106" y="50"/>
                  <a:pt x="1106" y="50"/>
                </a:cubicBezTo>
                <a:cubicBezTo>
                  <a:pt x="1105" y="52"/>
                  <a:pt x="1103" y="53"/>
                  <a:pt x="1102" y="54"/>
                </a:cubicBezTo>
                <a:cubicBezTo>
                  <a:pt x="1100" y="54"/>
                  <a:pt x="1099" y="55"/>
                  <a:pt x="1097" y="55"/>
                </a:cubicBezTo>
                <a:cubicBezTo>
                  <a:pt x="1094" y="55"/>
                  <a:pt x="1092" y="54"/>
                  <a:pt x="1091" y="52"/>
                </a:cubicBezTo>
                <a:cubicBezTo>
                  <a:pt x="1090" y="50"/>
                  <a:pt x="1089" y="47"/>
                  <a:pt x="1089" y="43"/>
                </a:cubicBezTo>
                <a:cubicBezTo>
                  <a:pt x="1089" y="39"/>
                  <a:pt x="1090" y="35"/>
                  <a:pt x="1091" y="32"/>
                </a:cubicBezTo>
                <a:cubicBezTo>
                  <a:pt x="1092" y="30"/>
                  <a:pt x="1093" y="27"/>
                  <a:pt x="1095" y="26"/>
                </a:cubicBezTo>
                <a:cubicBezTo>
                  <a:pt x="1097" y="24"/>
                  <a:pt x="1099" y="23"/>
                  <a:pt x="1101" y="23"/>
                </a:cubicBezTo>
                <a:cubicBezTo>
                  <a:pt x="1102" y="23"/>
                  <a:pt x="1105" y="24"/>
                  <a:pt x="1107" y="27"/>
                </a:cubicBezTo>
                <a:close/>
                <a:moveTo>
                  <a:pt x="1124" y="52"/>
                </a:moveTo>
                <a:cubicBezTo>
                  <a:pt x="1129" y="19"/>
                  <a:pt x="1129" y="19"/>
                  <a:pt x="1129" y="19"/>
                </a:cubicBezTo>
                <a:cubicBezTo>
                  <a:pt x="1128" y="19"/>
                  <a:pt x="1128" y="19"/>
                  <a:pt x="1128" y="19"/>
                </a:cubicBezTo>
                <a:cubicBezTo>
                  <a:pt x="1118" y="20"/>
                  <a:pt x="1118" y="20"/>
                  <a:pt x="1118" y="20"/>
                </a:cubicBezTo>
                <a:cubicBezTo>
                  <a:pt x="1117" y="23"/>
                  <a:pt x="1117" y="23"/>
                  <a:pt x="1117" y="23"/>
                </a:cubicBezTo>
                <a:cubicBezTo>
                  <a:pt x="1122" y="24"/>
                  <a:pt x="1122" y="24"/>
                  <a:pt x="1122" y="24"/>
                </a:cubicBezTo>
                <a:cubicBezTo>
                  <a:pt x="1121" y="31"/>
                  <a:pt x="1120" y="37"/>
                  <a:pt x="1119" y="41"/>
                </a:cubicBezTo>
                <a:cubicBezTo>
                  <a:pt x="1118" y="49"/>
                  <a:pt x="1117" y="54"/>
                  <a:pt x="1117" y="55"/>
                </a:cubicBezTo>
                <a:cubicBezTo>
                  <a:pt x="1117" y="56"/>
                  <a:pt x="1118" y="57"/>
                  <a:pt x="1118" y="58"/>
                </a:cubicBezTo>
                <a:cubicBezTo>
                  <a:pt x="1119" y="59"/>
                  <a:pt x="1120" y="59"/>
                  <a:pt x="1122" y="59"/>
                </a:cubicBezTo>
                <a:cubicBezTo>
                  <a:pt x="1124" y="59"/>
                  <a:pt x="1125" y="59"/>
                  <a:pt x="1127" y="58"/>
                </a:cubicBezTo>
                <a:cubicBezTo>
                  <a:pt x="1128" y="57"/>
                  <a:pt x="1129" y="55"/>
                  <a:pt x="1130" y="54"/>
                </a:cubicBezTo>
                <a:cubicBezTo>
                  <a:pt x="1129" y="53"/>
                  <a:pt x="1129" y="53"/>
                  <a:pt x="1129" y="53"/>
                </a:cubicBezTo>
                <a:cubicBezTo>
                  <a:pt x="1128" y="54"/>
                  <a:pt x="1128" y="54"/>
                  <a:pt x="1127" y="54"/>
                </a:cubicBezTo>
                <a:cubicBezTo>
                  <a:pt x="1126" y="55"/>
                  <a:pt x="1126" y="55"/>
                  <a:pt x="1125" y="55"/>
                </a:cubicBezTo>
                <a:cubicBezTo>
                  <a:pt x="1125" y="55"/>
                  <a:pt x="1125" y="55"/>
                  <a:pt x="1125" y="54"/>
                </a:cubicBezTo>
                <a:cubicBezTo>
                  <a:pt x="1124" y="54"/>
                  <a:pt x="1124" y="54"/>
                  <a:pt x="1124" y="53"/>
                </a:cubicBezTo>
                <a:lnTo>
                  <a:pt x="1124" y="52"/>
                </a:lnTo>
                <a:close/>
                <a:moveTo>
                  <a:pt x="1127" y="11"/>
                </a:moveTo>
                <a:cubicBezTo>
                  <a:pt x="1128" y="11"/>
                  <a:pt x="1129" y="11"/>
                  <a:pt x="1130" y="10"/>
                </a:cubicBezTo>
                <a:cubicBezTo>
                  <a:pt x="1131" y="9"/>
                  <a:pt x="1131" y="7"/>
                  <a:pt x="1131" y="6"/>
                </a:cubicBezTo>
                <a:cubicBezTo>
                  <a:pt x="1131" y="5"/>
                  <a:pt x="1131" y="4"/>
                  <a:pt x="1130" y="3"/>
                </a:cubicBezTo>
                <a:cubicBezTo>
                  <a:pt x="1130" y="3"/>
                  <a:pt x="1129" y="2"/>
                  <a:pt x="1128" y="2"/>
                </a:cubicBezTo>
                <a:cubicBezTo>
                  <a:pt x="1126" y="2"/>
                  <a:pt x="1125" y="3"/>
                  <a:pt x="1124" y="4"/>
                </a:cubicBezTo>
                <a:cubicBezTo>
                  <a:pt x="1123" y="5"/>
                  <a:pt x="1123" y="6"/>
                  <a:pt x="1123" y="7"/>
                </a:cubicBezTo>
                <a:cubicBezTo>
                  <a:pt x="1123" y="8"/>
                  <a:pt x="1123" y="9"/>
                  <a:pt x="1124" y="10"/>
                </a:cubicBezTo>
                <a:cubicBezTo>
                  <a:pt x="1125" y="11"/>
                  <a:pt x="1126" y="11"/>
                  <a:pt x="1127" y="11"/>
                </a:cubicBezTo>
                <a:close/>
                <a:moveTo>
                  <a:pt x="1166" y="52"/>
                </a:moveTo>
                <a:cubicBezTo>
                  <a:pt x="1165" y="49"/>
                  <a:pt x="1165" y="49"/>
                  <a:pt x="1165" y="49"/>
                </a:cubicBezTo>
                <a:cubicBezTo>
                  <a:pt x="1163" y="51"/>
                  <a:pt x="1161" y="52"/>
                  <a:pt x="1159" y="53"/>
                </a:cubicBezTo>
                <a:cubicBezTo>
                  <a:pt x="1157" y="54"/>
                  <a:pt x="1155" y="55"/>
                  <a:pt x="1153" y="55"/>
                </a:cubicBezTo>
                <a:cubicBezTo>
                  <a:pt x="1150" y="55"/>
                  <a:pt x="1148" y="54"/>
                  <a:pt x="1147" y="51"/>
                </a:cubicBezTo>
                <a:cubicBezTo>
                  <a:pt x="1145" y="49"/>
                  <a:pt x="1145" y="46"/>
                  <a:pt x="1145" y="43"/>
                </a:cubicBezTo>
                <a:cubicBezTo>
                  <a:pt x="1148" y="43"/>
                  <a:pt x="1151" y="42"/>
                  <a:pt x="1155" y="41"/>
                </a:cubicBezTo>
                <a:cubicBezTo>
                  <a:pt x="1158" y="40"/>
                  <a:pt x="1162" y="38"/>
                  <a:pt x="1164" y="36"/>
                </a:cubicBezTo>
                <a:cubicBezTo>
                  <a:pt x="1167" y="33"/>
                  <a:pt x="1168" y="31"/>
                  <a:pt x="1168" y="27"/>
                </a:cubicBezTo>
                <a:cubicBezTo>
                  <a:pt x="1168" y="25"/>
                  <a:pt x="1167" y="23"/>
                  <a:pt x="1166" y="21"/>
                </a:cubicBezTo>
                <a:cubicBezTo>
                  <a:pt x="1164" y="19"/>
                  <a:pt x="1162" y="19"/>
                  <a:pt x="1158" y="19"/>
                </a:cubicBezTo>
                <a:cubicBezTo>
                  <a:pt x="1154" y="19"/>
                  <a:pt x="1151" y="20"/>
                  <a:pt x="1148" y="22"/>
                </a:cubicBezTo>
                <a:cubicBezTo>
                  <a:pt x="1145" y="24"/>
                  <a:pt x="1142" y="28"/>
                  <a:pt x="1140" y="31"/>
                </a:cubicBezTo>
                <a:cubicBezTo>
                  <a:pt x="1138" y="35"/>
                  <a:pt x="1138" y="40"/>
                  <a:pt x="1138" y="44"/>
                </a:cubicBezTo>
                <a:cubicBezTo>
                  <a:pt x="1138" y="47"/>
                  <a:pt x="1138" y="49"/>
                  <a:pt x="1139" y="52"/>
                </a:cubicBezTo>
                <a:cubicBezTo>
                  <a:pt x="1140" y="54"/>
                  <a:pt x="1142" y="56"/>
                  <a:pt x="1144" y="57"/>
                </a:cubicBezTo>
                <a:cubicBezTo>
                  <a:pt x="1146" y="59"/>
                  <a:pt x="1148" y="59"/>
                  <a:pt x="1151" y="59"/>
                </a:cubicBezTo>
                <a:cubicBezTo>
                  <a:pt x="1155" y="59"/>
                  <a:pt x="1158" y="58"/>
                  <a:pt x="1160" y="57"/>
                </a:cubicBezTo>
                <a:cubicBezTo>
                  <a:pt x="1163" y="55"/>
                  <a:pt x="1165" y="54"/>
                  <a:pt x="1166" y="52"/>
                </a:cubicBezTo>
                <a:close/>
                <a:moveTo>
                  <a:pt x="1157" y="22"/>
                </a:moveTo>
                <a:cubicBezTo>
                  <a:pt x="1158" y="22"/>
                  <a:pt x="1159" y="23"/>
                  <a:pt x="1160" y="24"/>
                </a:cubicBezTo>
                <a:cubicBezTo>
                  <a:pt x="1161" y="25"/>
                  <a:pt x="1161" y="26"/>
                  <a:pt x="1161" y="28"/>
                </a:cubicBezTo>
                <a:cubicBezTo>
                  <a:pt x="1161" y="30"/>
                  <a:pt x="1161" y="32"/>
                  <a:pt x="1159" y="34"/>
                </a:cubicBezTo>
                <a:cubicBezTo>
                  <a:pt x="1157" y="35"/>
                  <a:pt x="1155" y="37"/>
                  <a:pt x="1152" y="38"/>
                </a:cubicBezTo>
                <a:cubicBezTo>
                  <a:pt x="1150" y="39"/>
                  <a:pt x="1147" y="39"/>
                  <a:pt x="1145" y="39"/>
                </a:cubicBezTo>
                <a:cubicBezTo>
                  <a:pt x="1145" y="37"/>
                  <a:pt x="1146" y="34"/>
                  <a:pt x="1147" y="32"/>
                </a:cubicBezTo>
                <a:cubicBezTo>
                  <a:pt x="1148" y="29"/>
                  <a:pt x="1149" y="27"/>
                  <a:pt x="1151" y="25"/>
                </a:cubicBezTo>
                <a:cubicBezTo>
                  <a:pt x="1152" y="23"/>
                  <a:pt x="1154" y="22"/>
                  <a:pt x="1157" y="22"/>
                </a:cubicBezTo>
                <a:close/>
                <a:moveTo>
                  <a:pt x="1187" y="28"/>
                </a:moveTo>
                <a:cubicBezTo>
                  <a:pt x="1188" y="19"/>
                  <a:pt x="1188" y="19"/>
                  <a:pt x="1188" y="19"/>
                </a:cubicBezTo>
                <a:cubicBezTo>
                  <a:pt x="1186" y="19"/>
                  <a:pt x="1186" y="19"/>
                  <a:pt x="1186" y="19"/>
                </a:cubicBezTo>
                <a:cubicBezTo>
                  <a:pt x="1178" y="20"/>
                  <a:pt x="1178" y="20"/>
                  <a:pt x="1178" y="20"/>
                </a:cubicBezTo>
                <a:cubicBezTo>
                  <a:pt x="1177" y="23"/>
                  <a:pt x="1177" y="23"/>
                  <a:pt x="1177" y="23"/>
                </a:cubicBezTo>
                <a:cubicBezTo>
                  <a:pt x="1180" y="25"/>
                  <a:pt x="1180" y="25"/>
                  <a:pt x="1180" y="25"/>
                </a:cubicBezTo>
                <a:cubicBezTo>
                  <a:pt x="1176" y="58"/>
                  <a:pt x="1176" y="58"/>
                  <a:pt x="1176" y="58"/>
                </a:cubicBezTo>
                <a:cubicBezTo>
                  <a:pt x="1183" y="58"/>
                  <a:pt x="1183" y="58"/>
                  <a:pt x="1183" y="58"/>
                </a:cubicBezTo>
                <a:cubicBezTo>
                  <a:pt x="1186" y="33"/>
                  <a:pt x="1186" y="33"/>
                  <a:pt x="1186" y="33"/>
                </a:cubicBezTo>
                <a:cubicBezTo>
                  <a:pt x="1188" y="31"/>
                  <a:pt x="1190" y="28"/>
                  <a:pt x="1192" y="26"/>
                </a:cubicBezTo>
                <a:cubicBezTo>
                  <a:pt x="1194" y="25"/>
                  <a:pt x="1196" y="24"/>
                  <a:pt x="1198" y="24"/>
                </a:cubicBezTo>
                <a:cubicBezTo>
                  <a:pt x="1200" y="24"/>
                  <a:pt x="1201" y="24"/>
                  <a:pt x="1202" y="25"/>
                </a:cubicBezTo>
                <a:cubicBezTo>
                  <a:pt x="1202" y="26"/>
                  <a:pt x="1203" y="27"/>
                  <a:pt x="1203" y="29"/>
                </a:cubicBezTo>
                <a:cubicBezTo>
                  <a:pt x="1203" y="31"/>
                  <a:pt x="1202" y="33"/>
                  <a:pt x="1202" y="35"/>
                </a:cubicBezTo>
                <a:cubicBezTo>
                  <a:pt x="1202" y="37"/>
                  <a:pt x="1201" y="39"/>
                  <a:pt x="1201" y="41"/>
                </a:cubicBezTo>
                <a:cubicBezTo>
                  <a:pt x="1201" y="43"/>
                  <a:pt x="1201" y="43"/>
                  <a:pt x="1201" y="43"/>
                </a:cubicBezTo>
                <a:cubicBezTo>
                  <a:pt x="1200" y="46"/>
                  <a:pt x="1200" y="46"/>
                  <a:pt x="1200" y="46"/>
                </a:cubicBezTo>
                <a:cubicBezTo>
                  <a:pt x="1199" y="51"/>
                  <a:pt x="1199" y="54"/>
                  <a:pt x="1199" y="55"/>
                </a:cubicBezTo>
                <a:cubicBezTo>
                  <a:pt x="1199" y="58"/>
                  <a:pt x="1200" y="59"/>
                  <a:pt x="1203" y="59"/>
                </a:cubicBezTo>
                <a:cubicBezTo>
                  <a:pt x="1205" y="59"/>
                  <a:pt x="1206" y="59"/>
                  <a:pt x="1207" y="58"/>
                </a:cubicBezTo>
                <a:cubicBezTo>
                  <a:pt x="1208" y="58"/>
                  <a:pt x="1209" y="57"/>
                  <a:pt x="1210" y="57"/>
                </a:cubicBezTo>
                <a:cubicBezTo>
                  <a:pt x="1210" y="56"/>
                  <a:pt x="1211" y="55"/>
                  <a:pt x="1211" y="55"/>
                </a:cubicBezTo>
                <a:cubicBezTo>
                  <a:pt x="1210" y="53"/>
                  <a:pt x="1210" y="53"/>
                  <a:pt x="1210" y="53"/>
                </a:cubicBezTo>
                <a:cubicBezTo>
                  <a:pt x="1209" y="54"/>
                  <a:pt x="1208" y="55"/>
                  <a:pt x="1207" y="55"/>
                </a:cubicBezTo>
                <a:cubicBezTo>
                  <a:pt x="1206" y="55"/>
                  <a:pt x="1206" y="54"/>
                  <a:pt x="1206" y="53"/>
                </a:cubicBezTo>
                <a:cubicBezTo>
                  <a:pt x="1206" y="51"/>
                  <a:pt x="1206" y="48"/>
                  <a:pt x="1207" y="45"/>
                </a:cubicBezTo>
                <a:cubicBezTo>
                  <a:pt x="1208" y="41"/>
                  <a:pt x="1208" y="41"/>
                  <a:pt x="1208" y="41"/>
                </a:cubicBezTo>
                <a:cubicBezTo>
                  <a:pt x="1208" y="40"/>
                  <a:pt x="1208" y="40"/>
                  <a:pt x="1208" y="40"/>
                </a:cubicBezTo>
                <a:cubicBezTo>
                  <a:pt x="1209" y="34"/>
                  <a:pt x="1210" y="31"/>
                  <a:pt x="1210" y="29"/>
                </a:cubicBezTo>
                <a:cubicBezTo>
                  <a:pt x="1210" y="25"/>
                  <a:pt x="1209" y="23"/>
                  <a:pt x="1207" y="21"/>
                </a:cubicBezTo>
                <a:cubicBezTo>
                  <a:pt x="1206" y="19"/>
                  <a:pt x="1204" y="19"/>
                  <a:pt x="1201" y="19"/>
                </a:cubicBezTo>
                <a:cubicBezTo>
                  <a:pt x="1199" y="19"/>
                  <a:pt x="1196" y="19"/>
                  <a:pt x="1193" y="21"/>
                </a:cubicBezTo>
                <a:cubicBezTo>
                  <a:pt x="1191" y="23"/>
                  <a:pt x="1189" y="25"/>
                  <a:pt x="1187" y="28"/>
                </a:cubicBezTo>
                <a:close/>
                <a:moveTo>
                  <a:pt x="1243" y="27"/>
                </a:moveTo>
                <a:cubicBezTo>
                  <a:pt x="1245" y="27"/>
                  <a:pt x="1245" y="27"/>
                  <a:pt x="1245" y="27"/>
                </a:cubicBezTo>
                <a:cubicBezTo>
                  <a:pt x="1247" y="20"/>
                  <a:pt x="1247" y="20"/>
                  <a:pt x="1247" y="20"/>
                </a:cubicBezTo>
                <a:cubicBezTo>
                  <a:pt x="1246" y="20"/>
                  <a:pt x="1244" y="19"/>
                  <a:pt x="1243" y="19"/>
                </a:cubicBezTo>
                <a:cubicBezTo>
                  <a:pt x="1241" y="19"/>
                  <a:pt x="1240" y="19"/>
                  <a:pt x="1239" y="19"/>
                </a:cubicBezTo>
                <a:cubicBezTo>
                  <a:pt x="1234" y="19"/>
                  <a:pt x="1231" y="20"/>
                  <a:pt x="1228" y="22"/>
                </a:cubicBezTo>
                <a:cubicBezTo>
                  <a:pt x="1224" y="25"/>
                  <a:pt x="1222" y="28"/>
                  <a:pt x="1220" y="32"/>
                </a:cubicBezTo>
                <a:cubicBezTo>
                  <a:pt x="1219" y="36"/>
                  <a:pt x="1218" y="40"/>
                  <a:pt x="1218" y="43"/>
                </a:cubicBezTo>
                <a:cubicBezTo>
                  <a:pt x="1218" y="48"/>
                  <a:pt x="1219" y="52"/>
                  <a:pt x="1221" y="55"/>
                </a:cubicBezTo>
                <a:cubicBezTo>
                  <a:pt x="1224" y="58"/>
                  <a:pt x="1227" y="59"/>
                  <a:pt x="1231" y="59"/>
                </a:cubicBezTo>
                <a:cubicBezTo>
                  <a:pt x="1234" y="59"/>
                  <a:pt x="1236" y="59"/>
                  <a:pt x="1239" y="57"/>
                </a:cubicBezTo>
                <a:cubicBezTo>
                  <a:pt x="1241" y="56"/>
                  <a:pt x="1243" y="54"/>
                  <a:pt x="1244" y="53"/>
                </a:cubicBezTo>
                <a:cubicBezTo>
                  <a:pt x="1242" y="50"/>
                  <a:pt x="1242" y="50"/>
                  <a:pt x="1242" y="50"/>
                </a:cubicBezTo>
                <a:cubicBezTo>
                  <a:pt x="1241" y="52"/>
                  <a:pt x="1239" y="53"/>
                  <a:pt x="1238" y="54"/>
                </a:cubicBezTo>
                <a:cubicBezTo>
                  <a:pt x="1236" y="54"/>
                  <a:pt x="1235" y="55"/>
                  <a:pt x="1233" y="55"/>
                </a:cubicBezTo>
                <a:cubicBezTo>
                  <a:pt x="1230" y="55"/>
                  <a:pt x="1228" y="54"/>
                  <a:pt x="1227" y="52"/>
                </a:cubicBezTo>
                <a:cubicBezTo>
                  <a:pt x="1226" y="50"/>
                  <a:pt x="1225" y="47"/>
                  <a:pt x="1225" y="43"/>
                </a:cubicBezTo>
                <a:cubicBezTo>
                  <a:pt x="1225" y="39"/>
                  <a:pt x="1226" y="35"/>
                  <a:pt x="1227" y="32"/>
                </a:cubicBezTo>
                <a:cubicBezTo>
                  <a:pt x="1228" y="30"/>
                  <a:pt x="1229" y="27"/>
                  <a:pt x="1231" y="26"/>
                </a:cubicBezTo>
                <a:cubicBezTo>
                  <a:pt x="1233" y="24"/>
                  <a:pt x="1235" y="23"/>
                  <a:pt x="1237" y="23"/>
                </a:cubicBezTo>
                <a:cubicBezTo>
                  <a:pt x="1239" y="23"/>
                  <a:pt x="1241" y="24"/>
                  <a:pt x="1243" y="27"/>
                </a:cubicBezTo>
                <a:close/>
                <a:moveTo>
                  <a:pt x="1279" y="52"/>
                </a:moveTo>
                <a:cubicBezTo>
                  <a:pt x="1277" y="49"/>
                  <a:pt x="1277" y="49"/>
                  <a:pt x="1277" y="49"/>
                </a:cubicBezTo>
                <a:cubicBezTo>
                  <a:pt x="1276" y="51"/>
                  <a:pt x="1274" y="52"/>
                  <a:pt x="1272" y="53"/>
                </a:cubicBezTo>
                <a:cubicBezTo>
                  <a:pt x="1270" y="54"/>
                  <a:pt x="1268" y="55"/>
                  <a:pt x="1266" y="55"/>
                </a:cubicBezTo>
                <a:cubicBezTo>
                  <a:pt x="1263" y="55"/>
                  <a:pt x="1261" y="54"/>
                  <a:pt x="1259" y="51"/>
                </a:cubicBezTo>
                <a:cubicBezTo>
                  <a:pt x="1258" y="49"/>
                  <a:pt x="1257" y="46"/>
                  <a:pt x="1258" y="43"/>
                </a:cubicBezTo>
                <a:cubicBezTo>
                  <a:pt x="1260" y="43"/>
                  <a:pt x="1264" y="42"/>
                  <a:pt x="1267" y="41"/>
                </a:cubicBezTo>
                <a:cubicBezTo>
                  <a:pt x="1271" y="40"/>
                  <a:pt x="1274" y="38"/>
                  <a:pt x="1277" y="36"/>
                </a:cubicBezTo>
                <a:cubicBezTo>
                  <a:pt x="1280" y="33"/>
                  <a:pt x="1281" y="31"/>
                  <a:pt x="1281" y="27"/>
                </a:cubicBezTo>
                <a:cubicBezTo>
                  <a:pt x="1281" y="25"/>
                  <a:pt x="1280" y="23"/>
                  <a:pt x="1278" y="21"/>
                </a:cubicBezTo>
                <a:cubicBezTo>
                  <a:pt x="1277" y="19"/>
                  <a:pt x="1274" y="19"/>
                  <a:pt x="1271" y="19"/>
                </a:cubicBezTo>
                <a:cubicBezTo>
                  <a:pt x="1267" y="19"/>
                  <a:pt x="1264" y="20"/>
                  <a:pt x="1260" y="22"/>
                </a:cubicBezTo>
                <a:cubicBezTo>
                  <a:pt x="1257" y="24"/>
                  <a:pt x="1255" y="28"/>
                  <a:pt x="1253" y="31"/>
                </a:cubicBezTo>
                <a:cubicBezTo>
                  <a:pt x="1251" y="35"/>
                  <a:pt x="1250" y="40"/>
                  <a:pt x="1250" y="44"/>
                </a:cubicBezTo>
                <a:cubicBezTo>
                  <a:pt x="1250" y="47"/>
                  <a:pt x="1251" y="49"/>
                  <a:pt x="1252" y="52"/>
                </a:cubicBezTo>
                <a:cubicBezTo>
                  <a:pt x="1253" y="54"/>
                  <a:pt x="1254" y="56"/>
                  <a:pt x="1256" y="57"/>
                </a:cubicBezTo>
                <a:cubicBezTo>
                  <a:pt x="1258" y="59"/>
                  <a:pt x="1261" y="59"/>
                  <a:pt x="1264" y="59"/>
                </a:cubicBezTo>
                <a:cubicBezTo>
                  <a:pt x="1267" y="59"/>
                  <a:pt x="1270" y="58"/>
                  <a:pt x="1273" y="57"/>
                </a:cubicBezTo>
                <a:cubicBezTo>
                  <a:pt x="1276" y="55"/>
                  <a:pt x="1278" y="54"/>
                  <a:pt x="1279" y="52"/>
                </a:cubicBezTo>
                <a:close/>
                <a:moveTo>
                  <a:pt x="1269" y="22"/>
                </a:moveTo>
                <a:cubicBezTo>
                  <a:pt x="1271" y="22"/>
                  <a:pt x="1272" y="23"/>
                  <a:pt x="1273" y="24"/>
                </a:cubicBezTo>
                <a:cubicBezTo>
                  <a:pt x="1274" y="25"/>
                  <a:pt x="1274" y="26"/>
                  <a:pt x="1274" y="28"/>
                </a:cubicBezTo>
                <a:cubicBezTo>
                  <a:pt x="1274" y="30"/>
                  <a:pt x="1273" y="32"/>
                  <a:pt x="1272" y="34"/>
                </a:cubicBezTo>
                <a:cubicBezTo>
                  <a:pt x="1270" y="35"/>
                  <a:pt x="1268" y="37"/>
                  <a:pt x="1265" y="38"/>
                </a:cubicBezTo>
                <a:cubicBezTo>
                  <a:pt x="1263" y="39"/>
                  <a:pt x="1260" y="39"/>
                  <a:pt x="1258" y="39"/>
                </a:cubicBezTo>
                <a:cubicBezTo>
                  <a:pt x="1258" y="37"/>
                  <a:pt x="1259" y="34"/>
                  <a:pt x="1259" y="32"/>
                </a:cubicBezTo>
                <a:cubicBezTo>
                  <a:pt x="1260" y="29"/>
                  <a:pt x="1262" y="27"/>
                  <a:pt x="1263" y="25"/>
                </a:cubicBezTo>
                <a:cubicBezTo>
                  <a:pt x="1265" y="23"/>
                  <a:pt x="1267" y="22"/>
                  <a:pt x="1269" y="22"/>
                </a:cubicBezTo>
                <a:close/>
                <a:moveTo>
                  <a:pt x="1310" y="25"/>
                </a:moveTo>
                <a:cubicBezTo>
                  <a:pt x="1311" y="20"/>
                  <a:pt x="1311" y="20"/>
                  <a:pt x="1311" y="20"/>
                </a:cubicBezTo>
                <a:cubicBezTo>
                  <a:pt x="1311" y="20"/>
                  <a:pt x="1309" y="19"/>
                  <a:pt x="1308" y="19"/>
                </a:cubicBezTo>
                <a:cubicBezTo>
                  <a:pt x="1306" y="19"/>
                  <a:pt x="1304" y="19"/>
                  <a:pt x="1303" y="19"/>
                </a:cubicBezTo>
                <a:cubicBezTo>
                  <a:pt x="1300" y="19"/>
                  <a:pt x="1298" y="19"/>
                  <a:pt x="1296" y="20"/>
                </a:cubicBezTo>
                <a:cubicBezTo>
                  <a:pt x="1293" y="21"/>
                  <a:pt x="1292" y="22"/>
                  <a:pt x="1291" y="24"/>
                </a:cubicBezTo>
                <a:cubicBezTo>
                  <a:pt x="1289" y="26"/>
                  <a:pt x="1289" y="27"/>
                  <a:pt x="1289" y="30"/>
                </a:cubicBezTo>
                <a:cubicBezTo>
                  <a:pt x="1289" y="34"/>
                  <a:pt x="1291" y="38"/>
                  <a:pt x="1296" y="41"/>
                </a:cubicBezTo>
                <a:cubicBezTo>
                  <a:pt x="1298" y="43"/>
                  <a:pt x="1300" y="44"/>
                  <a:pt x="1301" y="45"/>
                </a:cubicBezTo>
                <a:cubicBezTo>
                  <a:pt x="1302" y="46"/>
                  <a:pt x="1303" y="48"/>
                  <a:pt x="1303" y="50"/>
                </a:cubicBezTo>
                <a:cubicBezTo>
                  <a:pt x="1303" y="51"/>
                  <a:pt x="1302" y="53"/>
                  <a:pt x="1301" y="54"/>
                </a:cubicBezTo>
                <a:cubicBezTo>
                  <a:pt x="1299" y="55"/>
                  <a:pt x="1297" y="55"/>
                  <a:pt x="1295" y="55"/>
                </a:cubicBezTo>
                <a:cubicBezTo>
                  <a:pt x="1293" y="55"/>
                  <a:pt x="1292" y="55"/>
                  <a:pt x="1290" y="54"/>
                </a:cubicBezTo>
                <a:cubicBezTo>
                  <a:pt x="1288" y="53"/>
                  <a:pt x="1287" y="53"/>
                  <a:pt x="1286" y="52"/>
                </a:cubicBezTo>
                <a:cubicBezTo>
                  <a:pt x="1285" y="57"/>
                  <a:pt x="1285" y="57"/>
                  <a:pt x="1285" y="57"/>
                </a:cubicBezTo>
                <a:cubicBezTo>
                  <a:pt x="1285" y="58"/>
                  <a:pt x="1287" y="58"/>
                  <a:pt x="1289" y="58"/>
                </a:cubicBezTo>
                <a:cubicBezTo>
                  <a:pt x="1291" y="59"/>
                  <a:pt x="1293" y="59"/>
                  <a:pt x="1295" y="59"/>
                </a:cubicBezTo>
                <a:cubicBezTo>
                  <a:pt x="1299" y="59"/>
                  <a:pt x="1303" y="58"/>
                  <a:pt x="1305" y="56"/>
                </a:cubicBezTo>
                <a:cubicBezTo>
                  <a:pt x="1308" y="54"/>
                  <a:pt x="1309" y="52"/>
                  <a:pt x="1309" y="48"/>
                </a:cubicBezTo>
                <a:cubicBezTo>
                  <a:pt x="1309" y="46"/>
                  <a:pt x="1309" y="45"/>
                  <a:pt x="1308" y="43"/>
                </a:cubicBezTo>
                <a:cubicBezTo>
                  <a:pt x="1307" y="42"/>
                  <a:pt x="1306" y="41"/>
                  <a:pt x="1305" y="40"/>
                </a:cubicBezTo>
                <a:cubicBezTo>
                  <a:pt x="1304" y="39"/>
                  <a:pt x="1303" y="38"/>
                  <a:pt x="1301" y="36"/>
                </a:cubicBezTo>
                <a:cubicBezTo>
                  <a:pt x="1299" y="35"/>
                  <a:pt x="1298" y="34"/>
                  <a:pt x="1297" y="32"/>
                </a:cubicBezTo>
                <a:cubicBezTo>
                  <a:pt x="1296" y="31"/>
                  <a:pt x="1295" y="30"/>
                  <a:pt x="1295" y="28"/>
                </a:cubicBezTo>
                <a:cubicBezTo>
                  <a:pt x="1295" y="26"/>
                  <a:pt x="1296" y="25"/>
                  <a:pt x="1297" y="24"/>
                </a:cubicBezTo>
                <a:cubicBezTo>
                  <a:pt x="1299" y="23"/>
                  <a:pt x="1300" y="23"/>
                  <a:pt x="1303" y="23"/>
                </a:cubicBezTo>
                <a:cubicBezTo>
                  <a:pt x="1304" y="23"/>
                  <a:pt x="1306" y="23"/>
                  <a:pt x="1307" y="24"/>
                </a:cubicBezTo>
                <a:cubicBezTo>
                  <a:pt x="1309" y="24"/>
                  <a:pt x="1310" y="25"/>
                  <a:pt x="1310" y="25"/>
                </a:cubicBezTo>
                <a:close/>
                <a:moveTo>
                  <a:pt x="1047" y="110"/>
                </a:moveTo>
                <a:cubicBezTo>
                  <a:pt x="1052" y="111"/>
                  <a:pt x="1052" y="111"/>
                  <a:pt x="1052" y="111"/>
                </a:cubicBezTo>
                <a:cubicBezTo>
                  <a:pt x="1046" y="156"/>
                  <a:pt x="1046" y="156"/>
                  <a:pt x="1046" y="156"/>
                </a:cubicBezTo>
                <a:cubicBezTo>
                  <a:pt x="1041" y="157"/>
                  <a:pt x="1041" y="157"/>
                  <a:pt x="1041" y="157"/>
                </a:cubicBezTo>
                <a:cubicBezTo>
                  <a:pt x="1041" y="159"/>
                  <a:pt x="1041" y="159"/>
                  <a:pt x="1041" y="159"/>
                </a:cubicBezTo>
                <a:cubicBezTo>
                  <a:pt x="1078" y="159"/>
                  <a:pt x="1078" y="159"/>
                  <a:pt x="1078" y="159"/>
                </a:cubicBezTo>
                <a:cubicBezTo>
                  <a:pt x="1081" y="147"/>
                  <a:pt x="1081" y="147"/>
                  <a:pt x="1081" y="147"/>
                </a:cubicBezTo>
                <a:cubicBezTo>
                  <a:pt x="1077" y="146"/>
                  <a:pt x="1077" y="146"/>
                  <a:pt x="1077" y="146"/>
                </a:cubicBezTo>
                <a:cubicBezTo>
                  <a:pt x="1073" y="155"/>
                  <a:pt x="1073" y="155"/>
                  <a:pt x="1073" y="155"/>
                </a:cubicBezTo>
                <a:cubicBezTo>
                  <a:pt x="1053" y="156"/>
                  <a:pt x="1053" y="156"/>
                  <a:pt x="1053" y="156"/>
                </a:cubicBezTo>
                <a:cubicBezTo>
                  <a:pt x="1056" y="134"/>
                  <a:pt x="1056" y="134"/>
                  <a:pt x="1056" y="134"/>
                </a:cubicBezTo>
                <a:cubicBezTo>
                  <a:pt x="1072" y="135"/>
                  <a:pt x="1072" y="135"/>
                  <a:pt x="1072" y="135"/>
                </a:cubicBezTo>
                <a:cubicBezTo>
                  <a:pt x="1073" y="130"/>
                  <a:pt x="1073" y="130"/>
                  <a:pt x="1073" y="130"/>
                </a:cubicBezTo>
                <a:cubicBezTo>
                  <a:pt x="1057" y="130"/>
                  <a:pt x="1057" y="130"/>
                  <a:pt x="1057" y="130"/>
                </a:cubicBezTo>
                <a:cubicBezTo>
                  <a:pt x="1059" y="110"/>
                  <a:pt x="1059" y="110"/>
                  <a:pt x="1059" y="110"/>
                </a:cubicBezTo>
                <a:cubicBezTo>
                  <a:pt x="1075" y="111"/>
                  <a:pt x="1075" y="111"/>
                  <a:pt x="1075" y="111"/>
                </a:cubicBezTo>
                <a:cubicBezTo>
                  <a:pt x="1076" y="118"/>
                  <a:pt x="1076" y="118"/>
                  <a:pt x="1076" y="118"/>
                </a:cubicBezTo>
                <a:cubicBezTo>
                  <a:pt x="1080" y="118"/>
                  <a:pt x="1080" y="118"/>
                  <a:pt x="1080" y="118"/>
                </a:cubicBezTo>
                <a:cubicBezTo>
                  <a:pt x="1081" y="107"/>
                  <a:pt x="1081" y="107"/>
                  <a:pt x="1081" y="107"/>
                </a:cubicBezTo>
                <a:cubicBezTo>
                  <a:pt x="1048" y="107"/>
                  <a:pt x="1048" y="107"/>
                  <a:pt x="1048" y="107"/>
                </a:cubicBezTo>
                <a:lnTo>
                  <a:pt x="1047" y="110"/>
                </a:lnTo>
                <a:close/>
                <a:moveTo>
                  <a:pt x="1100" y="129"/>
                </a:moveTo>
                <a:cubicBezTo>
                  <a:pt x="1100" y="120"/>
                  <a:pt x="1100" y="120"/>
                  <a:pt x="1100" y="120"/>
                </a:cubicBezTo>
                <a:cubicBezTo>
                  <a:pt x="1099" y="119"/>
                  <a:pt x="1099" y="119"/>
                  <a:pt x="1099" y="119"/>
                </a:cubicBezTo>
                <a:cubicBezTo>
                  <a:pt x="1090" y="121"/>
                  <a:pt x="1090" y="121"/>
                  <a:pt x="1090" y="121"/>
                </a:cubicBezTo>
                <a:cubicBezTo>
                  <a:pt x="1090" y="124"/>
                  <a:pt x="1090" y="124"/>
                  <a:pt x="1090" y="124"/>
                </a:cubicBezTo>
                <a:cubicBezTo>
                  <a:pt x="1093" y="125"/>
                  <a:pt x="1093" y="125"/>
                  <a:pt x="1093" y="125"/>
                </a:cubicBezTo>
                <a:cubicBezTo>
                  <a:pt x="1089" y="159"/>
                  <a:pt x="1089" y="159"/>
                  <a:pt x="1089" y="159"/>
                </a:cubicBezTo>
                <a:cubicBezTo>
                  <a:pt x="1095" y="159"/>
                  <a:pt x="1095" y="159"/>
                  <a:pt x="1095" y="159"/>
                </a:cubicBezTo>
                <a:cubicBezTo>
                  <a:pt x="1099" y="134"/>
                  <a:pt x="1099" y="134"/>
                  <a:pt x="1099" y="134"/>
                </a:cubicBezTo>
                <a:cubicBezTo>
                  <a:pt x="1101" y="131"/>
                  <a:pt x="1103" y="129"/>
                  <a:pt x="1105" y="127"/>
                </a:cubicBezTo>
                <a:cubicBezTo>
                  <a:pt x="1107" y="125"/>
                  <a:pt x="1109" y="124"/>
                  <a:pt x="1111" y="124"/>
                </a:cubicBezTo>
                <a:cubicBezTo>
                  <a:pt x="1113" y="124"/>
                  <a:pt x="1114" y="125"/>
                  <a:pt x="1114" y="126"/>
                </a:cubicBezTo>
                <a:cubicBezTo>
                  <a:pt x="1115" y="127"/>
                  <a:pt x="1115" y="128"/>
                  <a:pt x="1115" y="130"/>
                </a:cubicBezTo>
                <a:cubicBezTo>
                  <a:pt x="1115" y="132"/>
                  <a:pt x="1115" y="134"/>
                  <a:pt x="1115" y="135"/>
                </a:cubicBezTo>
                <a:cubicBezTo>
                  <a:pt x="1115" y="137"/>
                  <a:pt x="1114" y="140"/>
                  <a:pt x="1114" y="142"/>
                </a:cubicBezTo>
                <a:cubicBezTo>
                  <a:pt x="1114" y="144"/>
                  <a:pt x="1114" y="144"/>
                  <a:pt x="1114" y="144"/>
                </a:cubicBezTo>
                <a:cubicBezTo>
                  <a:pt x="1113" y="147"/>
                  <a:pt x="1113" y="147"/>
                  <a:pt x="1113" y="147"/>
                </a:cubicBezTo>
                <a:cubicBezTo>
                  <a:pt x="1112" y="151"/>
                  <a:pt x="1112" y="154"/>
                  <a:pt x="1112" y="156"/>
                </a:cubicBezTo>
                <a:cubicBezTo>
                  <a:pt x="1112" y="159"/>
                  <a:pt x="1113" y="160"/>
                  <a:pt x="1116" y="160"/>
                </a:cubicBezTo>
                <a:cubicBezTo>
                  <a:pt x="1117" y="160"/>
                  <a:pt x="1119" y="160"/>
                  <a:pt x="1120" y="159"/>
                </a:cubicBezTo>
                <a:cubicBezTo>
                  <a:pt x="1121" y="159"/>
                  <a:pt x="1122" y="158"/>
                  <a:pt x="1123" y="157"/>
                </a:cubicBezTo>
                <a:cubicBezTo>
                  <a:pt x="1123" y="157"/>
                  <a:pt x="1124" y="156"/>
                  <a:pt x="1124" y="156"/>
                </a:cubicBezTo>
                <a:cubicBezTo>
                  <a:pt x="1123" y="154"/>
                  <a:pt x="1123" y="154"/>
                  <a:pt x="1123" y="154"/>
                </a:cubicBezTo>
                <a:cubicBezTo>
                  <a:pt x="1122" y="155"/>
                  <a:pt x="1121" y="156"/>
                  <a:pt x="1120" y="156"/>
                </a:cubicBezTo>
                <a:cubicBezTo>
                  <a:pt x="1119" y="156"/>
                  <a:pt x="1119" y="155"/>
                  <a:pt x="1119" y="154"/>
                </a:cubicBezTo>
                <a:cubicBezTo>
                  <a:pt x="1119" y="152"/>
                  <a:pt x="1119" y="149"/>
                  <a:pt x="1120" y="145"/>
                </a:cubicBezTo>
                <a:cubicBezTo>
                  <a:pt x="1121" y="142"/>
                  <a:pt x="1121" y="142"/>
                  <a:pt x="1121" y="142"/>
                </a:cubicBezTo>
                <a:cubicBezTo>
                  <a:pt x="1121" y="140"/>
                  <a:pt x="1121" y="140"/>
                  <a:pt x="1121" y="140"/>
                </a:cubicBezTo>
                <a:cubicBezTo>
                  <a:pt x="1122" y="135"/>
                  <a:pt x="1122" y="132"/>
                  <a:pt x="1122" y="130"/>
                </a:cubicBezTo>
                <a:cubicBezTo>
                  <a:pt x="1122" y="126"/>
                  <a:pt x="1122" y="123"/>
                  <a:pt x="1120" y="122"/>
                </a:cubicBezTo>
                <a:cubicBezTo>
                  <a:pt x="1119" y="120"/>
                  <a:pt x="1117" y="119"/>
                  <a:pt x="1114" y="119"/>
                </a:cubicBezTo>
                <a:cubicBezTo>
                  <a:pt x="1112" y="119"/>
                  <a:pt x="1109" y="120"/>
                  <a:pt x="1106" y="122"/>
                </a:cubicBezTo>
                <a:cubicBezTo>
                  <a:pt x="1104" y="124"/>
                  <a:pt x="1102" y="126"/>
                  <a:pt x="1100" y="129"/>
                </a:cubicBezTo>
                <a:close/>
                <a:moveTo>
                  <a:pt x="1159" y="162"/>
                </a:moveTo>
                <a:cubicBezTo>
                  <a:pt x="1165" y="119"/>
                  <a:pt x="1165" y="119"/>
                  <a:pt x="1165" y="119"/>
                </a:cubicBezTo>
                <a:cubicBezTo>
                  <a:pt x="1160" y="121"/>
                  <a:pt x="1160" y="121"/>
                  <a:pt x="1160" y="121"/>
                </a:cubicBezTo>
                <a:cubicBezTo>
                  <a:pt x="1159" y="121"/>
                  <a:pt x="1158" y="120"/>
                  <a:pt x="1157" y="120"/>
                </a:cubicBezTo>
                <a:cubicBezTo>
                  <a:pt x="1155" y="120"/>
                  <a:pt x="1154" y="119"/>
                  <a:pt x="1153" y="119"/>
                </a:cubicBezTo>
                <a:cubicBezTo>
                  <a:pt x="1148" y="119"/>
                  <a:pt x="1144" y="121"/>
                  <a:pt x="1141" y="123"/>
                </a:cubicBezTo>
                <a:cubicBezTo>
                  <a:pt x="1137" y="126"/>
                  <a:pt x="1135" y="129"/>
                  <a:pt x="1133" y="133"/>
                </a:cubicBezTo>
                <a:cubicBezTo>
                  <a:pt x="1131" y="137"/>
                  <a:pt x="1130" y="141"/>
                  <a:pt x="1130" y="145"/>
                </a:cubicBezTo>
                <a:cubicBezTo>
                  <a:pt x="1130" y="150"/>
                  <a:pt x="1131" y="153"/>
                  <a:pt x="1133" y="156"/>
                </a:cubicBezTo>
                <a:cubicBezTo>
                  <a:pt x="1135" y="159"/>
                  <a:pt x="1138" y="160"/>
                  <a:pt x="1142" y="160"/>
                </a:cubicBezTo>
                <a:cubicBezTo>
                  <a:pt x="1144" y="160"/>
                  <a:pt x="1146" y="159"/>
                  <a:pt x="1148" y="158"/>
                </a:cubicBezTo>
                <a:cubicBezTo>
                  <a:pt x="1150" y="157"/>
                  <a:pt x="1152" y="156"/>
                  <a:pt x="1153" y="155"/>
                </a:cubicBezTo>
                <a:cubicBezTo>
                  <a:pt x="1151" y="164"/>
                  <a:pt x="1151" y="164"/>
                  <a:pt x="1151" y="164"/>
                </a:cubicBezTo>
                <a:cubicBezTo>
                  <a:pt x="1151" y="167"/>
                  <a:pt x="1150" y="169"/>
                  <a:pt x="1149" y="170"/>
                </a:cubicBezTo>
                <a:cubicBezTo>
                  <a:pt x="1147" y="172"/>
                  <a:pt x="1145" y="172"/>
                  <a:pt x="1142" y="172"/>
                </a:cubicBezTo>
                <a:cubicBezTo>
                  <a:pt x="1140" y="172"/>
                  <a:pt x="1139" y="172"/>
                  <a:pt x="1137" y="171"/>
                </a:cubicBezTo>
                <a:cubicBezTo>
                  <a:pt x="1136" y="171"/>
                  <a:pt x="1134" y="170"/>
                  <a:pt x="1133" y="170"/>
                </a:cubicBezTo>
                <a:cubicBezTo>
                  <a:pt x="1132" y="175"/>
                  <a:pt x="1132" y="175"/>
                  <a:pt x="1132" y="175"/>
                </a:cubicBezTo>
                <a:cubicBezTo>
                  <a:pt x="1132" y="176"/>
                  <a:pt x="1134" y="176"/>
                  <a:pt x="1135" y="176"/>
                </a:cubicBezTo>
                <a:cubicBezTo>
                  <a:pt x="1137" y="177"/>
                  <a:pt x="1138" y="177"/>
                  <a:pt x="1140" y="177"/>
                </a:cubicBezTo>
                <a:cubicBezTo>
                  <a:pt x="1142" y="177"/>
                  <a:pt x="1145" y="176"/>
                  <a:pt x="1148" y="175"/>
                </a:cubicBezTo>
                <a:cubicBezTo>
                  <a:pt x="1150" y="174"/>
                  <a:pt x="1153" y="173"/>
                  <a:pt x="1155" y="170"/>
                </a:cubicBezTo>
                <a:cubicBezTo>
                  <a:pt x="1157" y="168"/>
                  <a:pt x="1158" y="165"/>
                  <a:pt x="1159" y="162"/>
                </a:cubicBezTo>
                <a:close/>
                <a:moveTo>
                  <a:pt x="1157" y="125"/>
                </a:moveTo>
                <a:cubicBezTo>
                  <a:pt x="1154" y="150"/>
                  <a:pt x="1154" y="150"/>
                  <a:pt x="1154" y="150"/>
                </a:cubicBezTo>
                <a:cubicBezTo>
                  <a:pt x="1152" y="151"/>
                  <a:pt x="1151" y="153"/>
                  <a:pt x="1149" y="154"/>
                </a:cubicBezTo>
                <a:cubicBezTo>
                  <a:pt x="1148" y="155"/>
                  <a:pt x="1146" y="155"/>
                  <a:pt x="1144" y="155"/>
                </a:cubicBezTo>
                <a:cubicBezTo>
                  <a:pt x="1142" y="155"/>
                  <a:pt x="1140" y="155"/>
                  <a:pt x="1139" y="153"/>
                </a:cubicBezTo>
                <a:cubicBezTo>
                  <a:pt x="1138" y="151"/>
                  <a:pt x="1138" y="148"/>
                  <a:pt x="1138" y="145"/>
                </a:cubicBezTo>
                <a:cubicBezTo>
                  <a:pt x="1138" y="142"/>
                  <a:pt x="1138" y="138"/>
                  <a:pt x="1139" y="135"/>
                </a:cubicBezTo>
                <a:cubicBezTo>
                  <a:pt x="1140" y="132"/>
                  <a:pt x="1142" y="129"/>
                  <a:pt x="1144" y="127"/>
                </a:cubicBezTo>
                <a:cubicBezTo>
                  <a:pt x="1146" y="124"/>
                  <a:pt x="1149" y="123"/>
                  <a:pt x="1152" y="123"/>
                </a:cubicBezTo>
                <a:cubicBezTo>
                  <a:pt x="1154" y="123"/>
                  <a:pt x="1156" y="124"/>
                  <a:pt x="1157" y="125"/>
                </a:cubicBezTo>
                <a:close/>
                <a:moveTo>
                  <a:pt x="1181" y="153"/>
                </a:moveTo>
                <a:cubicBezTo>
                  <a:pt x="1185" y="120"/>
                  <a:pt x="1185" y="120"/>
                  <a:pt x="1185" y="120"/>
                </a:cubicBezTo>
                <a:cubicBezTo>
                  <a:pt x="1184" y="119"/>
                  <a:pt x="1184" y="119"/>
                  <a:pt x="1184" y="119"/>
                </a:cubicBezTo>
                <a:cubicBezTo>
                  <a:pt x="1174" y="121"/>
                  <a:pt x="1174" y="121"/>
                  <a:pt x="1174" y="121"/>
                </a:cubicBezTo>
                <a:cubicBezTo>
                  <a:pt x="1173" y="123"/>
                  <a:pt x="1173" y="123"/>
                  <a:pt x="1173" y="123"/>
                </a:cubicBezTo>
                <a:cubicBezTo>
                  <a:pt x="1178" y="125"/>
                  <a:pt x="1178" y="125"/>
                  <a:pt x="1178" y="125"/>
                </a:cubicBezTo>
                <a:cubicBezTo>
                  <a:pt x="1177" y="132"/>
                  <a:pt x="1176" y="138"/>
                  <a:pt x="1175" y="142"/>
                </a:cubicBezTo>
                <a:cubicBezTo>
                  <a:pt x="1174" y="150"/>
                  <a:pt x="1174" y="154"/>
                  <a:pt x="1173" y="156"/>
                </a:cubicBezTo>
                <a:cubicBezTo>
                  <a:pt x="1173" y="157"/>
                  <a:pt x="1174" y="158"/>
                  <a:pt x="1174" y="159"/>
                </a:cubicBezTo>
                <a:cubicBezTo>
                  <a:pt x="1175" y="160"/>
                  <a:pt x="1176" y="160"/>
                  <a:pt x="1178" y="160"/>
                </a:cubicBezTo>
                <a:cubicBezTo>
                  <a:pt x="1180" y="160"/>
                  <a:pt x="1182" y="159"/>
                  <a:pt x="1183" y="158"/>
                </a:cubicBezTo>
                <a:cubicBezTo>
                  <a:pt x="1184" y="157"/>
                  <a:pt x="1185" y="156"/>
                  <a:pt x="1186" y="155"/>
                </a:cubicBezTo>
                <a:cubicBezTo>
                  <a:pt x="1185" y="154"/>
                  <a:pt x="1185" y="154"/>
                  <a:pt x="1185" y="154"/>
                </a:cubicBezTo>
                <a:cubicBezTo>
                  <a:pt x="1184" y="154"/>
                  <a:pt x="1184" y="155"/>
                  <a:pt x="1183" y="155"/>
                </a:cubicBezTo>
                <a:cubicBezTo>
                  <a:pt x="1183" y="156"/>
                  <a:pt x="1182" y="156"/>
                  <a:pt x="1182" y="156"/>
                </a:cubicBezTo>
                <a:cubicBezTo>
                  <a:pt x="1181" y="156"/>
                  <a:pt x="1181" y="156"/>
                  <a:pt x="1181" y="155"/>
                </a:cubicBezTo>
                <a:cubicBezTo>
                  <a:pt x="1181" y="155"/>
                  <a:pt x="1180" y="155"/>
                  <a:pt x="1180" y="154"/>
                </a:cubicBezTo>
                <a:lnTo>
                  <a:pt x="1181" y="153"/>
                </a:lnTo>
                <a:close/>
                <a:moveTo>
                  <a:pt x="1183" y="112"/>
                </a:moveTo>
                <a:cubicBezTo>
                  <a:pt x="1184" y="112"/>
                  <a:pt x="1185" y="111"/>
                  <a:pt x="1186" y="110"/>
                </a:cubicBezTo>
                <a:cubicBezTo>
                  <a:pt x="1187" y="109"/>
                  <a:pt x="1188" y="108"/>
                  <a:pt x="1188" y="107"/>
                </a:cubicBezTo>
                <a:cubicBezTo>
                  <a:pt x="1188" y="106"/>
                  <a:pt x="1187" y="105"/>
                  <a:pt x="1187" y="104"/>
                </a:cubicBezTo>
                <a:cubicBezTo>
                  <a:pt x="1186" y="103"/>
                  <a:pt x="1185" y="103"/>
                  <a:pt x="1184" y="103"/>
                </a:cubicBezTo>
                <a:cubicBezTo>
                  <a:pt x="1182" y="103"/>
                  <a:pt x="1181" y="103"/>
                  <a:pt x="1180" y="104"/>
                </a:cubicBezTo>
                <a:cubicBezTo>
                  <a:pt x="1180" y="105"/>
                  <a:pt x="1179" y="107"/>
                  <a:pt x="1179" y="108"/>
                </a:cubicBezTo>
                <a:cubicBezTo>
                  <a:pt x="1179" y="109"/>
                  <a:pt x="1179" y="110"/>
                  <a:pt x="1180" y="111"/>
                </a:cubicBezTo>
                <a:cubicBezTo>
                  <a:pt x="1181" y="111"/>
                  <a:pt x="1182" y="112"/>
                  <a:pt x="1183" y="112"/>
                </a:cubicBezTo>
                <a:close/>
                <a:moveTo>
                  <a:pt x="1207" y="129"/>
                </a:moveTo>
                <a:cubicBezTo>
                  <a:pt x="1208" y="120"/>
                  <a:pt x="1208" y="120"/>
                  <a:pt x="1208" y="120"/>
                </a:cubicBezTo>
                <a:cubicBezTo>
                  <a:pt x="1207" y="119"/>
                  <a:pt x="1207" y="119"/>
                  <a:pt x="1207" y="119"/>
                </a:cubicBezTo>
                <a:cubicBezTo>
                  <a:pt x="1198" y="121"/>
                  <a:pt x="1198" y="121"/>
                  <a:pt x="1198" y="121"/>
                </a:cubicBezTo>
                <a:cubicBezTo>
                  <a:pt x="1198" y="124"/>
                  <a:pt x="1198" y="124"/>
                  <a:pt x="1198" y="124"/>
                </a:cubicBezTo>
                <a:cubicBezTo>
                  <a:pt x="1201" y="125"/>
                  <a:pt x="1201" y="125"/>
                  <a:pt x="1201" y="125"/>
                </a:cubicBezTo>
                <a:cubicBezTo>
                  <a:pt x="1196" y="159"/>
                  <a:pt x="1196" y="159"/>
                  <a:pt x="1196" y="159"/>
                </a:cubicBezTo>
                <a:cubicBezTo>
                  <a:pt x="1203" y="159"/>
                  <a:pt x="1203" y="159"/>
                  <a:pt x="1203" y="159"/>
                </a:cubicBezTo>
                <a:cubicBezTo>
                  <a:pt x="1207" y="134"/>
                  <a:pt x="1207" y="134"/>
                  <a:pt x="1207" y="134"/>
                </a:cubicBezTo>
                <a:cubicBezTo>
                  <a:pt x="1208" y="131"/>
                  <a:pt x="1210" y="129"/>
                  <a:pt x="1213" y="127"/>
                </a:cubicBezTo>
                <a:cubicBezTo>
                  <a:pt x="1215" y="125"/>
                  <a:pt x="1217" y="124"/>
                  <a:pt x="1219" y="124"/>
                </a:cubicBezTo>
                <a:cubicBezTo>
                  <a:pt x="1220" y="124"/>
                  <a:pt x="1221" y="125"/>
                  <a:pt x="1222" y="126"/>
                </a:cubicBezTo>
                <a:cubicBezTo>
                  <a:pt x="1223" y="127"/>
                  <a:pt x="1223" y="128"/>
                  <a:pt x="1223" y="130"/>
                </a:cubicBezTo>
                <a:cubicBezTo>
                  <a:pt x="1223" y="132"/>
                  <a:pt x="1223" y="134"/>
                  <a:pt x="1223" y="135"/>
                </a:cubicBezTo>
                <a:cubicBezTo>
                  <a:pt x="1222" y="137"/>
                  <a:pt x="1222" y="140"/>
                  <a:pt x="1222" y="142"/>
                </a:cubicBezTo>
                <a:cubicBezTo>
                  <a:pt x="1221" y="144"/>
                  <a:pt x="1221" y="144"/>
                  <a:pt x="1221" y="144"/>
                </a:cubicBezTo>
                <a:cubicBezTo>
                  <a:pt x="1221" y="147"/>
                  <a:pt x="1221" y="147"/>
                  <a:pt x="1221" y="147"/>
                </a:cubicBezTo>
                <a:cubicBezTo>
                  <a:pt x="1220" y="151"/>
                  <a:pt x="1219" y="154"/>
                  <a:pt x="1219" y="156"/>
                </a:cubicBezTo>
                <a:cubicBezTo>
                  <a:pt x="1219" y="159"/>
                  <a:pt x="1221" y="160"/>
                  <a:pt x="1224" y="160"/>
                </a:cubicBezTo>
                <a:cubicBezTo>
                  <a:pt x="1225" y="160"/>
                  <a:pt x="1226" y="160"/>
                  <a:pt x="1227" y="159"/>
                </a:cubicBezTo>
                <a:cubicBezTo>
                  <a:pt x="1228" y="159"/>
                  <a:pt x="1229" y="158"/>
                  <a:pt x="1230" y="157"/>
                </a:cubicBezTo>
                <a:cubicBezTo>
                  <a:pt x="1231" y="157"/>
                  <a:pt x="1231" y="156"/>
                  <a:pt x="1232" y="156"/>
                </a:cubicBezTo>
                <a:cubicBezTo>
                  <a:pt x="1231" y="154"/>
                  <a:pt x="1231" y="154"/>
                  <a:pt x="1231" y="154"/>
                </a:cubicBezTo>
                <a:cubicBezTo>
                  <a:pt x="1229" y="155"/>
                  <a:pt x="1228" y="156"/>
                  <a:pt x="1227" y="156"/>
                </a:cubicBezTo>
                <a:cubicBezTo>
                  <a:pt x="1227" y="156"/>
                  <a:pt x="1227" y="155"/>
                  <a:pt x="1227" y="154"/>
                </a:cubicBezTo>
                <a:cubicBezTo>
                  <a:pt x="1227" y="152"/>
                  <a:pt x="1227" y="149"/>
                  <a:pt x="1228" y="145"/>
                </a:cubicBezTo>
                <a:cubicBezTo>
                  <a:pt x="1228" y="142"/>
                  <a:pt x="1228" y="142"/>
                  <a:pt x="1228" y="142"/>
                </a:cubicBezTo>
                <a:cubicBezTo>
                  <a:pt x="1229" y="140"/>
                  <a:pt x="1229" y="140"/>
                  <a:pt x="1229" y="140"/>
                </a:cubicBezTo>
                <a:cubicBezTo>
                  <a:pt x="1230" y="135"/>
                  <a:pt x="1230" y="132"/>
                  <a:pt x="1230" y="130"/>
                </a:cubicBezTo>
                <a:cubicBezTo>
                  <a:pt x="1230" y="126"/>
                  <a:pt x="1229" y="123"/>
                  <a:pt x="1228" y="122"/>
                </a:cubicBezTo>
                <a:cubicBezTo>
                  <a:pt x="1227" y="120"/>
                  <a:pt x="1225" y="119"/>
                  <a:pt x="1222" y="119"/>
                </a:cubicBezTo>
                <a:cubicBezTo>
                  <a:pt x="1219" y="119"/>
                  <a:pt x="1217" y="120"/>
                  <a:pt x="1214" y="122"/>
                </a:cubicBezTo>
                <a:cubicBezTo>
                  <a:pt x="1211" y="124"/>
                  <a:pt x="1209" y="126"/>
                  <a:pt x="1207" y="129"/>
                </a:cubicBezTo>
                <a:close/>
                <a:moveTo>
                  <a:pt x="1267" y="153"/>
                </a:moveTo>
                <a:cubicBezTo>
                  <a:pt x="1266" y="150"/>
                  <a:pt x="1266" y="150"/>
                  <a:pt x="1266" y="150"/>
                </a:cubicBezTo>
                <a:cubicBezTo>
                  <a:pt x="1264" y="152"/>
                  <a:pt x="1262" y="153"/>
                  <a:pt x="1260" y="154"/>
                </a:cubicBezTo>
                <a:cubicBezTo>
                  <a:pt x="1258" y="155"/>
                  <a:pt x="1256" y="156"/>
                  <a:pt x="1254" y="156"/>
                </a:cubicBezTo>
                <a:cubicBezTo>
                  <a:pt x="1251" y="156"/>
                  <a:pt x="1249" y="154"/>
                  <a:pt x="1248" y="152"/>
                </a:cubicBezTo>
                <a:cubicBezTo>
                  <a:pt x="1246" y="150"/>
                  <a:pt x="1246" y="147"/>
                  <a:pt x="1246" y="143"/>
                </a:cubicBezTo>
                <a:cubicBezTo>
                  <a:pt x="1249" y="143"/>
                  <a:pt x="1252" y="143"/>
                  <a:pt x="1256" y="142"/>
                </a:cubicBezTo>
                <a:cubicBezTo>
                  <a:pt x="1259" y="140"/>
                  <a:pt x="1263" y="139"/>
                  <a:pt x="1265" y="136"/>
                </a:cubicBezTo>
                <a:cubicBezTo>
                  <a:pt x="1268" y="134"/>
                  <a:pt x="1269" y="131"/>
                  <a:pt x="1269" y="128"/>
                </a:cubicBezTo>
                <a:cubicBezTo>
                  <a:pt x="1269" y="125"/>
                  <a:pt x="1268" y="123"/>
                  <a:pt x="1267" y="122"/>
                </a:cubicBezTo>
                <a:cubicBezTo>
                  <a:pt x="1265" y="120"/>
                  <a:pt x="1263" y="119"/>
                  <a:pt x="1259" y="119"/>
                </a:cubicBezTo>
                <a:cubicBezTo>
                  <a:pt x="1255" y="119"/>
                  <a:pt x="1252" y="121"/>
                  <a:pt x="1249" y="123"/>
                </a:cubicBezTo>
                <a:cubicBezTo>
                  <a:pt x="1246" y="125"/>
                  <a:pt x="1243" y="128"/>
                  <a:pt x="1241" y="132"/>
                </a:cubicBezTo>
                <a:cubicBezTo>
                  <a:pt x="1240" y="136"/>
                  <a:pt x="1239" y="140"/>
                  <a:pt x="1239" y="145"/>
                </a:cubicBezTo>
                <a:cubicBezTo>
                  <a:pt x="1239" y="147"/>
                  <a:pt x="1239" y="150"/>
                  <a:pt x="1240" y="152"/>
                </a:cubicBezTo>
                <a:cubicBezTo>
                  <a:pt x="1241" y="155"/>
                  <a:pt x="1243" y="156"/>
                  <a:pt x="1245" y="158"/>
                </a:cubicBezTo>
                <a:cubicBezTo>
                  <a:pt x="1247" y="159"/>
                  <a:pt x="1249" y="160"/>
                  <a:pt x="1253" y="160"/>
                </a:cubicBezTo>
                <a:cubicBezTo>
                  <a:pt x="1256" y="160"/>
                  <a:pt x="1259" y="159"/>
                  <a:pt x="1261" y="158"/>
                </a:cubicBezTo>
                <a:cubicBezTo>
                  <a:pt x="1264" y="156"/>
                  <a:pt x="1266" y="154"/>
                  <a:pt x="1267" y="153"/>
                </a:cubicBezTo>
                <a:close/>
                <a:moveTo>
                  <a:pt x="1258" y="123"/>
                </a:moveTo>
                <a:cubicBezTo>
                  <a:pt x="1259" y="123"/>
                  <a:pt x="1260" y="124"/>
                  <a:pt x="1261" y="125"/>
                </a:cubicBezTo>
                <a:cubicBezTo>
                  <a:pt x="1262" y="125"/>
                  <a:pt x="1263" y="127"/>
                  <a:pt x="1263" y="129"/>
                </a:cubicBezTo>
                <a:cubicBezTo>
                  <a:pt x="1263" y="131"/>
                  <a:pt x="1262" y="133"/>
                  <a:pt x="1260" y="135"/>
                </a:cubicBezTo>
                <a:cubicBezTo>
                  <a:pt x="1258" y="136"/>
                  <a:pt x="1256" y="138"/>
                  <a:pt x="1253" y="139"/>
                </a:cubicBezTo>
                <a:cubicBezTo>
                  <a:pt x="1251" y="139"/>
                  <a:pt x="1248" y="140"/>
                  <a:pt x="1246" y="140"/>
                </a:cubicBezTo>
                <a:cubicBezTo>
                  <a:pt x="1246" y="138"/>
                  <a:pt x="1247" y="135"/>
                  <a:pt x="1248" y="132"/>
                </a:cubicBezTo>
                <a:cubicBezTo>
                  <a:pt x="1249" y="130"/>
                  <a:pt x="1250" y="127"/>
                  <a:pt x="1252" y="126"/>
                </a:cubicBezTo>
                <a:cubicBezTo>
                  <a:pt x="1254" y="124"/>
                  <a:pt x="1255" y="123"/>
                  <a:pt x="1258" y="123"/>
                </a:cubicBezTo>
                <a:close/>
                <a:moveTo>
                  <a:pt x="1303" y="153"/>
                </a:moveTo>
                <a:cubicBezTo>
                  <a:pt x="1302" y="150"/>
                  <a:pt x="1302" y="150"/>
                  <a:pt x="1302" y="150"/>
                </a:cubicBezTo>
                <a:cubicBezTo>
                  <a:pt x="1300" y="152"/>
                  <a:pt x="1298" y="153"/>
                  <a:pt x="1296" y="154"/>
                </a:cubicBezTo>
                <a:cubicBezTo>
                  <a:pt x="1294" y="155"/>
                  <a:pt x="1292" y="156"/>
                  <a:pt x="1290" y="156"/>
                </a:cubicBezTo>
                <a:cubicBezTo>
                  <a:pt x="1287" y="156"/>
                  <a:pt x="1285" y="154"/>
                  <a:pt x="1284" y="152"/>
                </a:cubicBezTo>
                <a:cubicBezTo>
                  <a:pt x="1282" y="150"/>
                  <a:pt x="1282" y="147"/>
                  <a:pt x="1282" y="143"/>
                </a:cubicBezTo>
                <a:cubicBezTo>
                  <a:pt x="1285" y="143"/>
                  <a:pt x="1288" y="143"/>
                  <a:pt x="1292" y="142"/>
                </a:cubicBezTo>
                <a:cubicBezTo>
                  <a:pt x="1295" y="140"/>
                  <a:pt x="1299" y="139"/>
                  <a:pt x="1301" y="136"/>
                </a:cubicBezTo>
                <a:cubicBezTo>
                  <a:pt x="1304" y="134"/>
                  <a:pt x="1305" y="131"/>
                  <a:pt x="1305" y="128"/>
                </a:cubicBezTo>
                <a:cubicBezTo>
                  <a:pt x="1305" y="125"/>
                  <a:pt x="1304" y="123"/>
                  <a:pt x="1303" y="122"/>
                </a:cubicBezTo>
                <a:cubicBezTo>
                  <a:pt x="1301" y="120"/>
                  <a:pt x="1299" y="119"/>
                  <a:pt x="1295" y="119"/>
                </a:cubicBezTo>
                <a:cubicBezTo>
                  <a:pt x="1291" y="119"/>
                  <a:pt x="1288" y="121"/>
                  <a:pt x="1285" y="123"/>
                </a:cubicBezTo>
                <a:cubicBezTo>
                  <a:pt x="1282" y="125"/>
                  <a:pt x="1279" y="128"/>
                  <a:pt x="1277" y="132"/>
                </a:cubicBezTo>
                <a:cubicBezTo>
                  <a:pt x="1275" y="136"/>
                  <a:pt x="1275" y="140"/>
                  <a:pt x="1275" y="145"/>
                </a:cubicBezTo>
                <a:cubicBezTo>
                  <a:pt x="1275" y="147"/>
                  <a:pt x="1275" y="150"/>
                  <a:pt x="1276" y="152"/>
                </a:cubicBezTo>
                <a:cubicBezTo>
                  <a:pt x="1277" y="155"/>
                  <a:pt x="1279" y="156"/>
                  <a:pt x="1281" y="158"/>
                </a:cubicBezTo>
                <a:cubicBezTo>
                  <a:pt x="1283" y="159"/>
                  <a:pt x="1285" y="160"/>
                  <a:pt x="1288" y="160"/>
                </a:cubicBezTo>
                <a:cubicBezTo>
                  <a:pt x="1292" y="160"/>
                  <a:pt x="1295" y="159"/>
                  <a:pt x="1297" y="158"/>
                </a:cubicBezTo>
                <a:cubicBezTo>
                  <a:pt x="1300" y="156"/>
                  <a:pt x="1302" y="154"/>
                  <a:pt x="1303" y="153"/>
                </a:cubicBezTo>
                <a:close/>
                <a:moveTo>
                  <a:pt x="1294" y="123"/>
                </a:moveTo>
                <a:cubicBezTo>
                  <a:pt x="1295" y="123"/>
                  <a:pt x="1296" y="124"/>
                  <a:pt x="1297" y="125"/>
                </a:cubicBezTo>
                <a:cubicBezTo>
                  <a:pt x="1298" y="125"/>
                  <a:pt x="1298" y="127"/>
                  <a:pt x="1298" y="129"/>
                </a:cubicBezTo>
                <a:cubicBezTo>
                  <a:pt x="1298" y="131"/>
                  <a:pt x="1298" y="133"/>
                  <a:pt x="1296" y="135"/>
                </a:cubicBezTo>
                <a:cubicBezTo>
                  <a:pt x="1294" y="136"/>
                  <a:pt x="1292" y="138"/>
                  <a:pt x="1289" y="139"/>
                </a:cubicBezTo>
                <a:cubicBezTo>
                  <a:pt x="1287" y="139"/>
                  <a:pt x="1284" y="140"/>
                  <a:pt x="1282" y="140"/>
                </a:cubicBezTo>
                <a:cubicBezTo>
                  <a:pt x="1282" y="138"/>
                  <a:pt x="1283" y="135"/>
                  <a:pt x="1284" y="132"/>
                </a:cubicBezTo>
                <a:cubicBezTo>
                  <a:pt x="1285" y="130"/>
                  <a:pt x="1286" y="127"/>
                  <a:pt x="1288" y="126"/>
                </a:cubicBezTo>
                <a:cubicBezTo>
                  <a:pt x="1289" y="124"/>
                  <a:pt x="1291" y="123"/>
                  <a:pt x="1294" y="123"/>
                </a:cubicBezTo>
                <a:close/>
                <a:moveTo>
                  <a:pt x="1322" y="129"/>
                </a:moveTo>
                <a:cubicBezTo>
                  <a:pt x="1323" y="127"/>
                  <a:pt x="1323" y="127"/>
                  <a:pt x="1323" y="127"/>
                </a:cubicBezTo>
                <a:cubicBezTo>
                  <a:pt x="1323" y="120"/>
                  <a:pt x="1323" y="120"/>
                  <a:pt x="1323" y="120"/>
                </a:cubicBezTo>
                <a:cubicBezTo>
                  <a:pt x="1322" y="119"/>
                  <a:pt x="1322" y="119"/>
                  <a:pt x="1322" y="119"/>
                </a:cubicBezTo>
                <a:cubicBezTo>
                  <a:pt x="1314" y="121"/>
                  <a:pt x="1314" y="121"/>
                  <a:pt x="1314" y="121"/>
                </a:cubicBezTo>
                <a:cubicBezTo>
                  <a:pt x="1313" y="124"/>
                  <a:pt x="1313" y="124"/>
                  <a:pt x="1313" y="124"/>
                </a:cubicBezTo>
                <a:cubicBezTo>
                  <a:pt x="1317" y="125"/>
                  <a:pt x="1317" y="125"/>
                  <a:pt x="1317" y="125"/>
                </a:cubicBezTo>
                <a:cubicBezTo>
                  <a:pt x="1312" y="159"/>
                  <a:pt x="1312" y="159"/>
                  <a:pt x="1312" y="159"/>
                </a:cubicBezTo>
                <a:cubicBezTo>
                  <a:pt x="1319" y="159"/>
                  <a:pt x="1319" y="159"/>
                  <a:pt x="1319" y="159"/>
                </a:cubicBezTo>
                <a:cubicBezTo>
                  <a:pt x="1322" y="134"/>
                  <a:pt x="1322" y="134"/>
                  <a:pt x="1322" y="134"/>
                </a:cubicBezTo>
                <a:cubicBezTo>
                  <a:pt x="1323" y="132"/>
                  <a:pt x="1325" y="130"/>
                  <a:pt x="1327" y="129"/>
                </a:cubicBezTo>
                <a:cubicBezTo>
                  <a:pt x="1329" y="127"/>
                  <a:pt x="1331" y="127"/>
                  <a:pt x="1333" y="127"/>
                </a:cubicBezTo>
                <a:cubicBezTo>
                  <a:pt x="1334" y="127"/>
                  <a:pt x="1335" y="127"/>
                  <a:pt x="1336" y="127"/>
                </a:cubicBezTo>
                <a:cubicBezTo>
                  <a:pt x="1338" y="120"/>
                  <a:pt x="1338" y="120"/>
                  <a:pt x="1338" y="120"/>
                </a:cubicBezTo>
                <a:cubicBezTo>
                  <a:pt x="1337" y="120"/>
                  <a:pt x="1336" y="119"/>
                  <a:pt x="1335" y="119"/>
                </a:cubicBezTo>
                <a:cubicBezTo>
                  <a:pt x="1333" y="119"/>
                  <a:pt x="1331" y="120"/>
                  <a:pt x="1330" y="121"/>
                </a:cubicBezTo>
                <a:cubicBezTo>
                  <a:pt x="1328" y="122"/>
                  <a:pt x="1326" y="123"/>
                  <a:pt x="1325" y="125"/>
                </a:cubicBezTo>
                <a:cubicBezTo>
                  <a:pt x="1324" y="126"/>
                  <a:pt x="1323" y="128"/>
                  <a:pt x="1322" y="129"/>
                </a:cubicBezTo>
                <a:close/>
                <a:moveTo>
                  <a:pt x="1349" y="153"/>
                </a:moveTo>
                <a:cubicBezTo>
                  <a:pt x="1354" y="120"/>
                  <a:pt x="1354" y="120"/>
                  <a:pt x="1354" y="120"/>
                </a:cubicBezTo>
                <a:cubicBezTo>
                  <a:pt x="1352" y="119"/>
                  <a:pt x="1352" y="119"/>
                  <a:pt x="1352" y="119"/>
                </a:cubicBezTo>
                <a:cubicBezTo>
                  <a:pt x="1342" y="121"/>
                  <a:pt x="1342" y="121"/>
                  <a:pt x="1342" y="121"/>
                </a:cubicBezTo>
                <a:cubicBezTo>
                  <a:pt x="1342" y="123"/>
                  <a:pt x="1342" y="123"/>
                  <a:pt x="1342" y="123"/>
                </a:cubicBezTo>
                <a:cubicBezTo>
                  <a:pt x="1346" y="125"/>
                  <a:pt x="1346" y="125"/>
                  <a:pt x="1346" y="125"/>
                </a:cubicBezTo>
                <a:cubicBezTo>
                  <a:pt x="1345" y="132"/>
                  <a:pt x="1345" y="138"/>
                  <a:pt x="1344" y="142"/>
                </a:cubicBezTo>
                <a:cubicBezTo>
                  <a:pt x="1343" y="150"/>
                  <a:pt x="1342" y="154"/>
                  <a:pt x="1342" y="156"/>
                </a:cubicBezTo>
                <a:cubicBezTo>
                  <a:pt x="1342" y="157"/>
                  <a:pt x="1342" y="158"/>
                  <a:pt x="1343" y="159"/>
                </a:cubicBezTo>
                <a:cubicBezTo>
                  <a:pt x="1344" y="160"/>
                  <a:pt x="1345" y="160"/>
                  <a:pt x="1347" y="160"/>
                </a:cubicBezTo>
                <a:cubicBezTo>
                  <a:pt x="1349" y="160"/>
                  <a:pt x="1350" y="159"/>
                  <a:pt x="1352" y="158"/>
                </a:cubicBezTo>
                <a:cubicBezTo>
                  <a:pt x="1353" y="157"/>
                  <a:pt x="1354" y="156"/>
                  <a:pt x="1355" y="155"/>
                </a:cubicBezTo>
                <a:cubicBezTo>
                  <a:pt x="1354" y="154"/>
                  <a:pt x="1354" y="154"/>
                  <a:pt x="1354" y="154"/>
                </a:cubicBezTo>
                <a:cubicBezTo>
                  <a:pt x="1353" y="154"/>
                  <a:pt x="1352" y="155"/>
                  <a:pt x="1352" y="155"/>
                </a:cubicBezTo>
                <a:cubicBezTo>
                  <a:pt x="1351" y="156"/>
                  <a:pt x="1351" y="156"/>
                  <a:pt x="1350" y="156"/>
                </a:cubicBezTo>
                <a:cubicBezTo>
                  <a:pt x="1350" y="156"/>
                  <a:pt x="1350" y="156"/>
                  <a:pt x="1349" y="155"/>
                </a:cubicBezTo>
                <a:cubicBezTo>
                  <a:pt x="1349" y="155"/>
                  <a:pt x="1349" y="155"/>
                  <a:pt x="1349" y="154"/>
                </a:cubicBezTo>
                <a:lnTo>
                  <a:pt x="1349" y="153"/>
                </a:lnTo>
                <a:close/>
                <a:moveTo>
                  <a:pt x="1351" y="112"/>
                </a:moveTo>
                <a:cubicBezTo>
                  <a:pt x="1353" y="112"/>
                  <a:pt x="1354" y="111"/>
                  <a:pt x="1355" y="110"/>
                </a:cubicBezTo>
                <a:cubicBezTo>
                  <a:pt x="1356" y="109"/>
                  <a:pt x="1356" y="108"/>
                  <a:pt x="1356" y="107"/>
                </a:cubicBezTo>
                <a:cubicBezTo>
                  <a:pt x="1356" y="106"/>
                  <a:pt x="1356" y="105"/>
                  <a:pt x="1355" y="104"/>
                </a:cubicBezTo>
                <a:cubicBezTo>
                  <a:pt x="1354" y="103"/>
                  <a:pt x="1353" y="103"/>
                  <a:pt x="1352" y="103"/>
                </a:cubicBezTo>
                <a:cubicBezTo>
                  <a:pt x="1351" y="103"/>
                  <a:pt x="1350" y="103"/>
                  <a:pt x="1349" y="104"/>
                </a:cubicBezTo>
                <a:cubicBezTo>
                  <a:pt x="1348" y="105"/>
                  <a:pt x="1348" y="107"/>
                  <a:pt x="1348" y="108"/>
                </a:cubicBezTo>
                <a:cubicBezTo>
                  <a:pt x="1348" y="109"/>
                  <a:pt x="1348" y="110"/>
                  <a:pt x="1349" y="111"/>
                </a:cubicBezTo>
                <a:cubicBezTo>
                  <a:pt x="1350" y="111"/>
                  <a:pt x="1350" y="112"/>
                  <a:pt x="1351" y="112"/>
                </a:cubicBezTo>
                <a:close/>
                <a:moveTo>
                  <a:pt x="1374" y="129"/>
                </a:moveTo>
                <a:cubicBezTo>
                  <a:pt x="1375" y="120"/>
                  <a:pt x="1375" y="120"/>
                  <a:pt x="1375" y="120"/>
                </a:cubicBezTo>
                <a:cubicBezTo>
                  <a:pt x="1374" y="119"/>
                  <a:pt x="1374" y="119"/>
                  <a:pt x="1374" y="119"/>
                </a:cubicBezTo>
                <a:cubicBezTo>
                  <a:pt x="1365" y="121"/>
                  <a:pt x="1365" y="121"/>
                  <a:pt x="1365" y="121"/>
                </a:cubicBezTo>
                <a:cubicBezTo>
                  <a:pt x="1365" y="124"/>
                  <a:pt x="1365" y="124"/>
                  <a:pt x="1365" y="124"/>
                </a:cubicBezTo>
                <a:cubicBezTo>
                  <a:pt x="1368" y="125"/>
                  <a:pt x="1368" y="125"/>
                  <a:pt x="1368" y="125"/>
                </a:cubicBezTo>
                <a:cubicBezTo>
                  <a:pt x="1364" y="159"/>
                  <a:pt x="1364" y="159"/>
                  <a:pt x="1364" y="159"/>
                </a:cubicBezTo>
                <a:cubicBezTo>
                  <a:pt x="1370" y="159"/>
                  <a:pt x="1370" y="159"/>
                  <a:pt x="1370" y="159"/>
                </a:cubicBezTo>
                <a:cubicBezTo>
                  <a:pt x="1374" y="134"/>
                  <a:pt x="1374" y="134"/>
                  <a:pt x="1374" y="134"/>
                </a:cubicBezTo>
                <a:cubicBezTo>
                  <a:pt x="1375" y="131"/>
                  <a:pt x="1377" y="129"/>
                  <a:pt x="1380" y="127"/>
                </a:cubicBezTo>
                <a:cubicBezTo>
                  <a:pt x="1382" y="125"/>
                  <a:pt x="1384" y="124"/>
                  <a:pt x="1386" y="124"/>
                </a:cubicBezTo>
                <a:cubicBezTo>
                  <a:pt x="1388" y="124"/>
                  <a:pt x="1389" y="125"/>
                  <a:pt x="1389" y="126"/>
                </a:cubicBezTo>
                <a:cubicBezTo>
                  <a:pt x="1390" y="127"/>
                  <a:pt x="1390" y="128"/>
                  <a:pt x="1390" y="130"/>
                </a:cubicBezTo>
                <a:cubicBezTo>
                  <a:pt x="1390" y="132"/>
                  <a:pt x="1390" y="134"/>
                  <a:pt x="1390" y="135"/>
                </a:cubicBezTo>
                <a:cubicBezTo>
                  <a:pt x="1390" y="137"/>
                  <a:pt x="1389" y="140"/>
                  <a:pt x="1389" y="142"/>
                </a:cubicBezTo>
                <a:cubicBezTo>
                  <a:pt x="1388" y="144"/>
                  <a:pt x="1388" y="144"/>
                  <a:pt x="1388" y="144"/>
                </a:cubicBezTo>
                <a:cubicBezTo>
                  <a:pt x="1388" y="147"/>
                  <a:pt x="1388" y="147"/>
                  <a:pt x="1388" y="147"/>
                </a:cubicBezTo>
                <a:cubicBezTo>
                  <a:pt x="1387" y="151"/>
                  <a:pt x="1387" y="154"/>
                  <a:pt x="1387" y="156"/>
                </a:cubicBezTo>
                <a:cubicBezTo>
                  <a:pt x="1387" y="159"/>
                  <a:pt x="1388" y="160"/>
                  <a:pt x="1391" y="160"/>
                </a:cubicBezTo>
                <a:cubicBezTo>
                  <a:pt x="1392" y="160"/>
                  <a:pt x="1394" y="160"/>
                  <a:pt x="1395" y="159"/>
                </a:cubicBezTo>
                <a:cubicBezTo>
                  <a:pt x="1396" y="159"/>
                  <a:pt x="1397" y="158"/>
                  <a:pt x="1397" y="157"/>
                </a:cubicBezTo>
                <a:cubicBezTo>
                  <a:pt x="1398" y="157"/>
                  <a:pt x="1399" y="156"/>
                  <a:pt x="1399" y="156"/>
                </a:cubicBezTo>
                <a:cubicBezTo>
                  <a:pt x="1398" y="154"/>
                  <a:pt x="1398" y="154"/>
                  <a:pt x="1398" y="154"/>
                </a:cubicBezTo>
                <a:cubicBezTo>
                  <a:pt x="1397" y="155"/>
                  <a:pt x="1396" y="156"/>
                  <a:pt x="1395" y="156"/>
                </a:cubicBezTo>
                <a:cubicBezTo>
                  <a:pt x="1394" y="156"/>
                  <a:pt x="1394" y="155"/>
                  <a:pt x="1394" y="154"/>
                </a:cubicBezTo>
                <a:cubicBezTo>
                  <a:pt x="1394" y="152"/>
                  <a:pt x="1394" y="149"/>
                  <a:pt x="1395" y="145"/>
                </a:cubicBezTo>
                <a:cubicBezTo>
                  <a:pt x="1395" y="142"/>
                  <a:pt x="1395" y="142"/>
                  <a:pt x="1395" y="142"/>
                </a:cubicBezTo>
                <a:cubicBezTo>
                  <a:pt x="1396" y="140"/>
                  <a:pt x="1396" y="140"/>
                  <a:pt x="1396" y="140"/>
                </a:cubicBezTo>
                <a:cubicBezTo>
                  <a:pt x="1397" y="135"/>
                  <a:pt x="1397" y="132"/>
                  <a:pt x="1397" y="130"/>
                </a:cubicBezTo>
                <a:cubicBezTo>
                  <a:pt x="1397" y="126"/>
                  <a:pt x="1397" y="123"/>
                  <a:pt x="1395" y="122"/>
                </a:cubicBezTo>
                <a:cubicBezTo>
                  <a:pt x="1394" y="120"/>
                  <a:pt x="1392" y="119"/>
                  <a:pt x="1389" y="119"/>
                </a:cubicBezTo>
                <a:cubicBezTo>
                  <a:pt x="1386" y="119"/>
                  <a:pt x="1384" y="120"/>
                  <a:pt x="1381" y="122"/>
                </a:cubicBezTo>
                <a:cubicBezTo>
                  <a:pt x="1379" y="124"/>
                  <a:pt x="1376" y="126"/>
                  <a:pt x="1374" y="129"/>
                </a:cubicBezTo>
                <a:close/>
                <a:moveTo>
                  <a:pt x="1433" y="162"/>
                </a:moveTo>
                <a:cubicBezTo>
                  <a:pt x="1440" y="119"/>
                  <a:pt x="1440" y="119"/>
                  <a:pt x="1440" y="119"/>
                </a:cubicBezTo>
                <a:cubicBezTo>
                  <a:pt x="1435" y="121"/>
                  <a:pt x="1435" y="121"/>
                  <a:pt x="1435" y="121"/>
                </a:cubicBezTo>
                <a:cubicBezTo>
                  <a:pt x="1434" y="121"/>
                  <a:pt x="1433" y="120"/>
                  <a:pt x="1432" y="120"/>
                </a:cubicBezTo>
                <a:cubicBezTo>
                  <a:pt x="1430" y="120"/>
                  <a:pt x="1429" y="119"/>
                  <a:pt x="1428" y="119"/>
                </a:cubicBezTo>
                <a:cubicBezTo>
                  <a:pt x="1423" y="119"/>
                  <a:pt x="1419" y="121"/>
                  <a:pt x="1416" y="123"/>
                </a:cubicBezTo>
                <a:cubicBezTo>
                  <a:pt x="1412" y="126"/>
                  <a:pt x="1410" y="129"/>
                  <a:pt x="1408" y="133"/>
                </a:cubicBezTo>
                <a:cubicBezTo>
                  <a:pt x="1406" y="137"/>
                  <a:pt x="1405" y="141"/>
                  <a:pt x="1405" y="145"/>
                </a:cubicBezTo>
                <a:cubicBezTo>
                  <a:pt x="1405" y="150"/>
                  <a:pt x="1406" y="153"/>
                  <a:pt x="1408" y="156"/>
                </a:cubicBezTo>
                <a:cubicBezTo>
                  <a:pt x="1410" y="159"/>
                  <a:pt x="1413" y="160"/>
                  <a:pt x="1417" y="160"/>
                </a:cubicBezTo>
                <a:cubicBezTo>
                  <a:pt x="1419" y="160"/>
                  <a:pt x="1421" y="159"/>
                  <a:pt x="1423" y="158"/>
                </a:cubicBezTo>
                <a:cubicBezTo>
                  <a:pt x="1425" y="157"/>
                  <a:pt x="1426" y="156"/>
                  <a:pt x="1428" y="155"/>
                </a:cubicBezTo>
                <a:cubicBezTo>
                  <a:pt x="1426" y="164"/>
                  <a:pt x="1426" y="164"/>
                  <a:pt x="1426" y="164"/>
                </a:cubicBezTo>
                <a:cubicBezTo>
                  <a:pt x="1426" y="167"/>
                  <a:pt x="1425" y="169"/>
                  <a:pt x="1424" y="170"/>
                </a:cubicBezTo>
                <a:cubicBezTo>
                  <a:pt x="1422" y="172"/>
                  <a:pt x="1420" y="172"/>
                  <a:pt x="1417" y="172"/>
                </a:cubicBezTo>
                <a:cubicBezTo>
                  <a:pt x="1415" y="172"/>
                  <a:pt x="1414" y="172"/>
                  <a:pt x="1412" y="171"/>
                </a:cubicBezTo>
                <a:cubicBezTo>
                  <a:pt x="1410" y="171"/>
                  <a:pt x="1409" y="170"/>
                  <a:pt x="1408" y="170"/>
                </a:cubicBezTo>
                <a:cubicBezTo>
                  <a:pt x="1406" y="175"/>
                  <a:pt x="1406" y="175"/>
                  <a:pt x="1406" y="175"/>
                </a:cubicBezTo>
                <a:cubicBezTo>
                  <a:pt x="1407" y="176"/>
                  <a:pt x="1408" y="176"/>
                  <a:pt x="1410" y="176"/>
                </a:cubicBezTo>
                <a:cubicBezTo>
                  <a:pt x="1411" y="177"/>
                  <a:pt x="1413" y="177"/>
                  <a:pt x="1414" y="177"/>
                </a:cubicBezTo>
                <a:cubicBezTo>
                  <a:pt x="1417" y="177"/>
                  <a:pt x="1420" y="176"/>
                  <a:pt x="1423" y="175"/>
                </a:cubicBezTo>
                <a:cubicBezTo>
                  <a:pt x="1425" y="174"/>
                  <a:pt x="1428" y="173"/>
                  <a:pt x="1430" y="170"/>
                </a:cubicBezTo>
                <a:cubicBezTo>
                  <a:pt x="1432" y="168"/>
                  <a:pt x="1433" y="165"/>
                  <a:pt x="1433" y="162"/>
                </a:cubicBezTo>
                <a:close/>
                <a:moveTo>
                  <a:pt x="1432" y="125"/>
                </a:moveTo>
                <a:cubicBezTo>
                  <a:pt x="1428" y="150"/>
                  <a:pt x="1428" y="150"/>
                  <a:pt x="1428" y="150"/>
                </a:cubicBezTo>
                <a:cubicBezTo>
                  <a:pt x="1427" y="151"/>
                  <a:pt x="1426" y="153"/>
                  <a:pt x="1424" y="154"/>
                </a:cubicBezTo>
                <a:cubicBezTo>
                  <a:pt x="1423" y="155"/>
                  <a:pt x="1421" y="155"/>
                  <a:pt x="1419" y="155"/>
                </a:cubicBezTo>
                <a:cubicBezTo>
                  <a:pt x="1417" y="155"/>
                  <a:pt x="1415" y="155"/>
                  <a:pt x="1414" y="153"/>
                </a:cubicBezTo>
                <a:cubicBezTo>
                  <a:pt x="1413" y="151"/>
                  <a:pt x="1412" y="148"/>
                  <a:pt x="1412" y="145"/>
                </a:cubicBezTo>
                <a:cubicBezTo>
                  <a:pt x="1412" y="142"/>
                  <a:pt x="1413" y="138"/>
                  <a:pt x="1414" y="135"/>
                </a:cubicBezTo>
                <a:cubicBezTo>
                  <a:pt x="1415" y="132"/>
                  <a:pt x="1417" y="129"/>
                  <a:pt x="1419" y="127"/>
                </a:cubicBezTo>
                <a:cubicBezTo>
                  <a:pt x="1421" y="124"/>
                  <a:pt x="1424" y="123"/>
                  <a:pt x="1427" y="123"/>
                </a:cubicBezTo>
                <a:cubicBezTo>
                  <a:pt x="1429" y="123"/>
                  <a:pt x="1431" y="124"/>
                  <a:pt x="1432" y="125"/>
                </a:cubicBezTo>
                <a:close/>
                <a:moveTo>
                  <a:pt x="1076" y="242"/>
                </a:moveTo>
                <a:cubicBezTo>
                  <a:pt x="1072" y="249"/>
                  <a:pt x="1072" y="249"/>
                  <a:pt x="1072" y="249"/>
                </a:cubicBezTo>
                <a:cubicBezTo>
                  <a:pt x="1072" y="242"/>
                  <a:pt x="1072" y="242"/>
                  <a:pt x="1072" y="242"/>
                </a:cubicBezTo>
                <a:cubicBezTo>
                  <a:pt x="1066" y="208"/>
                  <a:pt x="1066" y="208"/>
                  <a:pt x="1066" y="208"/>
                </a:cubicBezTo>
                <a:cubicBezTo>
                  <a:pt x="1050" y="208"/>
                  <a:pt x="1050" y="208"/>
                  <a:pt x="1050" y="208"/>
                </a:cubicBezTo>
                <a:cubicBezTo>
                  <a:pt x="1049" y="211"/>
                  <a:pt x="1049" y="211"/>
                  <a:pt x="1049" y="211"/>
                </a:cubicBezTo>
                <a:cubicBezTo>
                  <a:pt x="1056" y="212"/>
                  <a:pt x="1056" y="212"/>
                  <a:pt x="1056" y="212"/>
                </a:cubicBezTo>
                <a:cubicBezTo>
                  <a:pt x="1045" y="256"/>
                  <a:pt x="1045" y="256"/>
                  <a:pt x="1045" y="256"/>
                </a:cubicBezTo>
                <a:cubicBezTo>
                  <a:pt x="1039" y="257"/>
                  <a:pt x="1039" y="257"/>
                  <a:pt x="1039" y="257"/>
                </a:cubicBezTo>
                <a:cubicBezTo>
                  <a:pt x="1039" y="260"/>
                  <a:pt x="1039" y="260"/>
                  <a:pt x="1039" y="260"/>
                </a:cubicBezTo>
                <a:cubicBezTo>
                  <a:pt x="1057" y="260"/>
                  <a:pt x="1057" y="260"/>
                  <a:pt x="1057" y="260"/>
                </a:cubicBezTo>
                <a:cubicBezTo>
                  <a:pt x="1057" y="257"/>
                  <a:pt x="1057" y="257"/>
                  <a:pt x="1057" y="257"/>
                </a:cubicBezTo>
                <a:cubicBezTo>
                  <a:pt x="1050" y="256"/>
                  <a:pt x="1050" y="256"/>
                  <a:pt x="1050" y="256"/>
                </a:cubicBezTo>
                <a:cubicBezTo>
                  <a:pt x="1057" y="225"/>
                  <a:pt x="1057" y="225"/>
                  <a:pt x="1057" y="225"/>
                </a:cubicBezTo>
                <a:cubicBezTo>
                  <a:pt x="1060" y="211"/>
                  <a:pt x="1060" y="211"/>
                  <a:pt x="1060" y="211"/>
                </a:cubicBezTo>
                <a:cubicBezTo>
                  <a:pt x="1062" y="225"/>
                  <a:pt x="1062" y="225"/>
                  <a:pt x="1062" y="225"/>
                </a:cubicBezTo>
                <a:cubicBezTo>
                  <a:pt x="1068" y="261"/>
                  <a:pt x="1068" y="261"/>
                  <a:pt x="1068" y="261"/>
                </a:cubicBezTo>
                <a:cubicBezTo>
                  <a:pt x="1072" y="260"/>
                  <a:pt x="1072" y="260"/>
                  <a:pt x="1072" y="260"/>
                </a:cubicBezTo>
                <a:cubicBezTo>
                  <a:pt x="1088" y="224"/>
                  <a:pt x="1088" y="224"/>
                  <a:pt x="1088" y="224"/>
                </a:cubicBezTo>
                <a:cubicBezTo>
                  <a:pt x="1094" y="211"/>
                  <a:pt x="1094" y="211"/>
                  <a:pt x="1094" y="211"/>
                </a:cubicBezTo>
                <a:cubicBezTo>
                  <a:pt x="1093" y="225"/>
                  <a:pt x="1093" y="225"/>
                  <a:pt x="1093" y="225"/>
                </a:cubicBezTo>
                <a:cubicBezTo>
                  <a:pt x="1091" y="256"/>
                  <a:pt x="1091" y="256"/>
                  <a:pt x="1091" y="256"/>
                </a:cubicBezTo>
                <a:cubicBezTo>
                  <a:pt x="1085" y="257"/>
                  <a:pt x="1085" y="257"/>
                  <a:pt x="1085" y="257"/>
                </a:cubicBezTo>
                <a:cubicBezTo>
                  <a:pt x="1084" y="260"/>
                  <a:pt x="1084" y="260"/>
                  <a:pt x="1084" y="260"/>
                </a:cubicBezTo>
                <a:cubicBezTo>
                  <a:pt x="1104" y="260"/>
                  <a:pt x="1104" y="260"/>
                  <a:pt x="1104" y="260"/>
                </a:cubicBezTo>
                <a:cubicBezTo>
                  <a:pt x="1104" y="257"/>
                  <a:pt x="1104" y="257"/>
                  <a:pt x="1104" y="257"/>
                </a:cubicBezTo>
                <a:cubicBezTo>
                  <a:pt x="1098" y="256"/>
                  <a:pt x="1098" y="256"/>
                  <a:pt x="1098" y="256"/>
                </a:cubicBezTo>
                <a:cubicBezTo>
                  <a:pt x="1099" y="212"/>
                  <a:pt x="1099" y="212"/>
                  <a:pt x="1099" y="212"/>
                </a:cubicBezTo>
                <a:cubicBezTo>
                  <a:pt x="1106" y="211"/>
                  <a:pt x="1106" y="211"/>
                  <a:pt x="1106" y="211"/>
                </a:cubicBezTo>
                <a:cubicBezTo>
                  <a:pt x="1106" y="208"/>
                  <a:pt x="1106" y="208"/>
                  <a:pt x="1106" y="208"/>
                </a:cubicBezTo>
                <a:cubicBezTo>
                  <a:pt x="1091" y="208"/>
                  <a:pt x="1091" y="208"/>
                  <a:pt x="1091" y="208"/>
                </a:cubicBezTo>
                <a:cubicBezTo>
                  <a:pt x="1090" y="211"/>
                  <a:pt x="1087" y="217"/>
                  <a:pt x="1083" y="225"/>
                </a:cubicBezTo>
                <a:cubicBezTo>
                  <a:pt x="1079" y="233"/>
                  <a:pt x="1077" y="239"/>
                  <a:pt x="1076" y="242"/>
                </a:cubicBezTo>
                <a:close/>
                <a:moveTo>
                  <a:pt x="1138" y="253"/>
                </a:moveTo>
                <a:cubicBezTo>
                  <a:pt x="1136" y="251"/>
                  <a:pt x="1136" y="251"/>
                  <a:pt x="1136" y="251"/>
                </a:cubicBezTo>
                <a:cubicBezTo>
                  <a:pt x="1134" y="253"/>
                  <a:pt x="1133" y="254"/>
                  <a:pt x="1131" y="255"/>
                </a:cubicBezTo>
                <a:cubicBezTo>
                  <a:pt x="1129" y="256"/>
                  <a:pt x="1126" y="256"/>
                  <a:pt x="1124" y="256"/>
                </a:cubicBezTo>
                <a:cubicBezTo>
                  <a:pt x="1121" y="256"/>
                  <a:pt x="1119" y="255"/>
                  <a:pt x="1118" y="253"/>
                </a:cubicBezTo>
                <a:cubicBezTo>
                  <a:pt x="1117" y="250"/>
                  <a:pt x="1116" y="247"/>
                  <a:pt x="1116" y="244"/>
                </a:cubicBezTo>
                <a:cubicBezTo>
                  <a:pt x="1119" y="244"/>
                  <a:pt x="1123" y="244"/>
                  <a:pt x="1126" y="242"/>
                </a:cubicBezTo>
                <a:cubicBezTo>
                  <a:pt x="1130" y="241"/>
                  <a:pt x="1133" y="240"/>
                  <a:pt x="1136" y="237"/>
                </a:cubicBezTo>
                <a:cubicBezTo>
                  <a:pt x="1138" y="235"/>
                  <a:pt x="1140" y="232"/>
                  <a:pt x="1140" y="229"/>
                </a:cubicBezTo>
                <a:cubicBezTo>
                  <a:pt x="1140" y="226"/>
                  <a:pt x="1139" y="224"/>
                  <a:pt x="1137" y="223"/>
                </a:cubicBezTo>
                <a:cubicBezTo>
                  <a:pt x="1135" y="221"/>
                  <a:pt x="1133" y="220"/>
                  <a:pt x="1130" y="220"/>
                </a:cubicBezTo>
                <a:cubicBezTo>
                  <a:pt x="1126" y="220"/>
                  <a:pt x="1122" y="221"/>
                  <a:pt x="1119" y="224"/>
                </a:cubicBezTo>
                <a:cubicBezTo>
                  <a:pt x="1116" y="226"/>
                  <a:pt x="1114" y="229"/>
                  <a:pt x="1112" y="233"/>
                </a:cubicBezTo>
                <a:cubicBezTo>
                  <a:pt x="1110" y="237"/>
                  <a:pt x="1109" y="241"/>
                  <a:pt x="1109" y="246"/>
                </a:cubicBezTo>
                <a:cubicBezTo>
                  <a:pt x="1109" y="248"/>
                  <a:pt x="1110" y="251"/>
                  <a:pt x="1111" y="253"/>
                </a:cubicBezTo>
                <a:cubicBezTo>
                  <a:pt x="1111" y="255"/>
                  <a:pt x="1113" y="257"/>
                  <a:pt x="1115" y="259"/>
                </a:cubicBezTo>
                <a:cubicBezTo>
                  <a:pt x="1117" y="260"/>
                  <a:pt x="1120" y="261"/>
                  <a:pt x="1123" y="261"/>
                </a:cubicBezTo>
                <a:cubicBezTo>
                  <a:pt x="1126" y="261"/>
                  <a:pt x="1129" y="260"/>
                  <a:pt x="1132" y="258"/>
                </a:cubicBezTo>
                <a:cubicBezTo>
                  <a:pt x="1135" y="257"/>
                  <a:pt x="1136" y="255"/>
                  <a:pt x="1138" y="253"/>
                </a:cubicBezTo>
                <a:close/>
                <a:moveTo>
                  <a:pt x="1128" y="224"/>
                </a:moveTo>
                <a:cubicBezTo>
                  <a:pt x="1130" y="224"/>
                  <a:pt x="1131" y="224"/>
                  <a:pt x="1132" y="225"/>
                </a:cubicBezTo>
                <a:cubicBezTo>
                  <a:pt x="1132" y="226"/>
                  <a:pt x="1133" y="228"/>
                  <a:pt x="1133" y="229"/>
                </a:cubicBezTo>
                <a:cubicBezTo>
                  <a:pt x="1133" y="232"/>
                  <a:pt x="1132" y="234"/>
                  <a:pt x="1130" y="235"/>
                </a:cubicBezTo>
                <a:cubicBezTo>
                  <a:pt x="1129" y="237"/>
                  <a:pt x="1126" y="238"/>
                  <a:pt x="1124" y="239"/>
                </a:cubicBezTo>
                <a:cubicBezTo>
                  <a:pt x="1121" y="240"/>
                  <a:pt x="1119" y="241"/>
                  <a:pt x="1116" y="241"/>
                </a:cubicBezTo>
                <a:cubicBezTo>
                  <a:pt x="1117" y="238"/>
                  <a:pt x="1117" y="236"/>
                  <a:pt x="1118" y="233"/>
                </a:cubicBezTo>
                <a:cubicBezTo>
                  <a:pt x="1119" y="230"/>
                  <a:pt x="1121" y="228"/>
                  <a:pt x="1122" y="226"/>
                </a:cubicBezTo>
                <a:cubicBezTo>
                  <a:pt x="1124" y="225"/>
                  <a:pt x="1126" y="224"/>
                  <a:pt x="1128" y="224"/>
                </a:cubicBezTo>
                <a:close/>
                <a:moveTo>
                  <a:pt x="1175" y="254"/>
                </a:moveTo>
                <a:cubicBezTo>
                  <a:pt x="1182" y="204"/>
                  <a:pt x="1182" y="204"/>
                  <a:pt x="1182" y="204"/>
                </a:cubicBezTo>
                <a:cubicBezTo>
                  <a:pt x="1181" y="204"/>
                  <a:pt x="1181" y="204"/>
                  <a:pt x="1181" y="204"/>
                </a:cubicBezTo>
                <a:cubicBezTo>
                  <a:pt x="1171" y="205"/>
                  <a:pt x="1171" y="205"/>
                  <a:pt x="1171" y="205"/>
                </a:cubicBezTo>
                <a:cubicBezTo>
                  <a:pt x="1170" y="207"/>
                  <a:pt x="1170" y="207"/>
                  <a:pt x="1170" y="207"/>
                </a:cubicBezTo>
                <a:cubicBezTo>
                  <a:pt x="1175" y="208"/>
                  <a:pt x="1175" y="208"/>
                  <a:pt x="1175" y="208"/>
                </a:cubicBezTo>
                <a:cubicBezTo>
                  <a:pt x="1173" y="221"/>
                  <a:pt x="1173" y="221"/>
                  <a:pt x="1173" y="221"/>
                </a:cubicBezTo>
                <a:cubicBezTo>
                  <a:pt x="1171" y="220"/>
                  <a:pt x="1169" y="220"/>
                  <a:pt x="1168" y="220"/>
                </a:cubicBezTo>
                <a:cubicBezTo>
                  <a:pt x="1163" y="220"/>
                  <a:pt x="1159" y="222"/>
                  <a:pt x="1156" y="224"/>
                </a:cubicBezTo>
                <a:cubicBezTo>
                  <a:pt x="1152" y="227"/>
                  <a:pt x="1150" y="230"/>
                  <a:pt x="1148" y="234"/>
                </a:cubicBezTo>
                <a:cubicBezTo>
                  <a:pt x="1146" y="238"/>
                  <a:pt x="1145" y="242"/>
                  <a:pt x="1145" y="246"/>
                </a:cubicBezTo>
                <a:cubicBezTo>
                  <a:pt x="1145" y="250"/>
                  <a:pt x="1146" y="254"/>
                  <a:pt x="1148" y="257"/>
                </a:cubicBezTo>
                <a:cubicBezTo>
                  <a:pt x="1150" y="259"/>
                  <a:pt x="1153" y="261"/>
                  <a:pt x="1157" y="261"/>
                </a:cubicBezTo>
                <a:cubicBezTo>
                  <a:pt x="1159" y="261"/>
                  <a:pt x="1162" y="260"/>
                  <a:pt x="1163" y="259"/>
                </a:cubicBezTo>
                <a:cubicBezTo>
                  <a:pt x="1165" y="258"/>
                  <a:pt x="1167" y="256"/>
                  <a:pt x="1168" y="255"/>
                </a:cubicBezTo>
                <a:cubicBezTo>
                  <a:pt x="1168" y="256"/>
                  <a:pt x="1168" y="256"/>
                  <a:pt x="1168" y="256"/>
                </a:cubicBezTo>
                <a:cubicBezTo>
                  <a:pt x="1168" y="259"/>
                  <a:pt x="1170" y="261"/>
                  <a:pt x="1173" y="261"/>
                </a:cubicBezTo>
                <a:cubicBezTo>
                  <a:pt x="1174" y="261"/>
                  <a:pt x="1176" y="260"/>
                  <a:pt x="1177" y="259"/>
                </a:cubicBezTo>
                <a:cubicBezTo>
                  <a:pt x="1178" y="258"/>
                  <a:pt x="1179" y="257"/>
                  <a:pt x="1180" y="256"/>
                </a:cubicBezTo>
                <a:cubicBezTo>
                  <a:pt x="1179" y="255"/>
                  <a:pt x="1179" y="255"/>
                  <a:pt x="1179" y="255"/>
                </a:cubicBezTo>
                <a:cubicBezTo>
                  <a:pt x="1178" y="256"/>
                  <a:pt x="1177" y="256"/>
                  <a:pt x="1176" y="256"/>
                </a:cubicBezTo>
                <a:cubicBezTo>
                  <a:pt x="1175" y="256"/>
                  <a:pt x="1175" y="256"/>
                  <a:pt x="1175" y="255"/>
                </a:cubicBezTo>
                <a:cubicBezTo>
                  <a:pt x="1175" y="254"/>
                  <a:pt x="1175" y="254"/>
                  <a:pt x="1175" y="254"/>
                </a:cubicBezTo>
                <a:close/>
                <a:moveTo>
                  <a:pt x="1172" y="225"/>
                </a:moveTo>
                <a:cubicBezTo>
                  <a:pt x="1169" y="250"/>
                  <a:pt x="1169" y="250"/>
                  <a:pt x="1169" y="250"/>
                </a:cubicBezTo>
                <a:cubicBezTo>
                  <a:pt x="1168" y="252"/>
                  <a:pt x="1166" y="253"/>
                  <a:pt x="1164" y="254"/>
                </a:cubicBezTo>
                <a:cubicBezTo>
                  <a:pt x="1163" y="256"/>
                  <a:pt x="1161" y="256"/>
                  <a:pt x="1159" y="256"/>
                </a:cubicBezTo>
                <a:cubicBezTo>
                  <a:pt x="1157" y="256"/>
                  <a:pt x="1155" y="255"/>
                  <a:pt x="1154" y="253"/>
                </a:cubicBezTo>
                <a:cubicBezTo>
                  <a:pt x="1153" y="252"/>
                  <a:pt x="1153" y="249"/>
                  <a:pt x="1153" y="246"/>
                </a:cubicBezTo>
                <a:cubicBezTo>
                  <a:pt x="1153" y="242"/>
                  <a:pt x="1153" y="239"/>
                  <a:pt x="1154" y="236"/>
                </a:cubicBezTo>
                <a:cubicBezTo>
                  <a:pt x="1155" y="232"/>
                  <a:pt x="1157" y="230"/>
                  <a:pt x="1159" y="227"/>
                </a:cubicBezTo>
                <a:cubicBezTo>
                  <a:pt x="1161" y="225"/>
                  <a:pt x="1164" y="224"/>
                  <a:pt x="1167" y="224"/>
                </a:cubicBezTo>
                <a:cubicBezTo>
                  <a:pt x="1169" y="224"/>
                  <a:pt x="1171" y="224"/>
                  <a:pt x="1172" y="225"/>
                </a:cubicBezTo>
                <a:close/>
                <a:moveTo>
                  <a:pt x="1198" y="254"/>
                </a:moveTo>
                <a:cubicBezTo>
                  <a:pt x="1202" y="221"/>
                  <a:pt x="1202" y="221"/>
                  <a:pt x="1202" y="221"/>
                </a:cubicBezTo>
                <a:cubicBezTo>
                  <a:pt x="1201" y="220"/>
                  <a:pt x="1201" y="220"/>
                  <a:pt x="1201" y="220"/>
                </a:cubicBezTo>
                <a:cubicBezTo>
                  <a:pt x="1191" y="222"/>
                  <a:pt x="1191" y="222"/>
                  <a:pt x="1191" y="222"/>
                </a:cubicBezTo>
                <a:cubicBezTo>
                  <a:pt x="1190" y="224"/>
                  <a:pt x="1190" y="224"/>
                  <a:pt x="1190" y="224"/>
                </a:cubicBezTo>
                <a:cubicBezTo>
                  <a:pt x="1195" y="226"/>
                  <a:pt x="1195" y="226"/>
                  <a:pt x="1195" y="226"/>
                </a:cubicBezTo>
                <a:cubicBezTo>
                  <a:pt x="1194" y="233"/>
                  <a:pt x="1193" y="239"/>
                  <a:pt x="1192" y="243"/>
                </a:cubicBezTo>
                <a:cubicBezTo>
                  <a:pt x="1191" y="251"/>
                  <a:pt x="1191" y="255"/>
                  <a:pt x="1191" y="256"/>
                </a:cubicBezTo>
                <a:cubicBezTo>
                  <a:pt x="1190" y="258"/>
                  <a:pt x="1191" y="259"/>
                  <a:pt x="1192" y="260"/>
                </a:cubicBezTo>
                <a:cubicBezTo>
                  <a:pt x="1192" y="260"/>
                  <a:pt x="1194" y="261"/>
                  <a:pt x="1195" y="261"/>
                </a:cubicBezTo>
                <a:cubicBezTo>
                  <a:pt x="1197" y="261"/>
                  <a:pt x="1199" y="260"/>
                  <a:pt x="1200" y="259"/>
                </a:cubicBezTo>
                <a:cubicBezTo>
                  <a:pt x="1202" y="258"/>
                  <a:pt x="1203" y="257"/>
                  <a:pt x="1203" y="256"/>
                </a:cubicBezTo>
                <a:cubicBezTo>
                  <a:pt x="1202" y="254"/>
                  <a:pt x="1202" y="254"/>
                  <a:pt x="1202" y="254"/>
                </a:cubicBezTo>
                <a:cubicBezTo>
                  <a:pt x="1202" y="255"/>
                  <a:pt x="1201" y="256"/>
                  <a:pt x="1200" y="256"/>
                </a:cubicBezTo>
                <a:cubicBezTo>
                  <a:pt x="1200" y="256"/>
                  <a:pt x="1199" y="256"/>
                  <a:pt x="1199" y="256"/>
                </a:cubicBezTo>
                <a:cubicBezTo>
                  <a:pt x="1198" y="256"/>
                  <a:pt x="1198" y="256"/>
                  <a:pt x="1198" y="256"/>
                </a:cubicBezTo>
                <a:cubicBezTo>
                  <a:pt x="1198" y="256"/>
                  <a:pt x="1198" y="255"/>
                  <a:pt x="1198" y="255"/>
                </a:cubicBezTo>
                <a:lnTo>
                  <a:pt x="1198" y="254"/>
                </a:lnTo>
                <a:close/>
                <a:moveTo>
                  <a:pt x="1200" y="213"/>
                </a:moveTo>
                <a:cubicBezTo>
                  <a:pt x="1201" y="213"/>
                  <a:pt x="1202" y="212"/>
                  <a:pt x="1203" y="211"/>
                </a:cubicBezTo>
                <a:cubicBezTo>
                  <a:pt x="1204" y="210"/>
                  <a:pt x="1205" y="209"/>
                  <a:pt x="1205" y="207"/>
                </a:cubicBezTo>
                <a:cubicBezTo>
                  <a:pt x="1205" y="206"/>
                  <a:pt x="1204" y="206"/>
                  <a:pt x="1204" y="205"/>
                </a:cubicBezTo>
                <a:cubicBezTo>
                  <a:pt x="1203" y="204"/>
                  <a:pt x="1202" y="204"/>
                  <a:pt x="1201" y="204"/>
                </a:cubicBezTo>
                <a:cubicBezTo>
                  <a:pt x="1200" y="204"/>
                  <a:pt x="1198" y="204"/>
                  <a:pt x="1198" y="205"/>
                </a:cubicBezTo>
                <a:cubicBezTo>
                  <a:pt x="1197" y="206"/>
                  <a:pt x="1196" y="207"/>
                  <a:pt x="1196" y="209"/>
                </a:cubicBezTo>
                <a:cubicBezTo>
                  <a:pt x="1196" y="210"/>
                  <a:pt x="1197" y="211"/>
                  <a:pt x="1197" y="212"/>
                </a:cubicBezTo>
                <a:cubicBezTo>
                  <a:pt x="1198" y="212"/>
                  <a:pt x="1199" y="213"/>
                  <a:pt x="1200" y="213"/>
                </a:cubicBezTo>
                <a:close/>
                <a:moveTo>
                  <a:pt x="1237" y="228"/>
                </a:moveTo>
                <a:cubicBezTo>
                  <a:pt x="1238" y="229"/>
                  <a:pt x="1238" y="229"/>
                  <a:pt x="1238" y="229"/>
                </a:cubicBezTo>
                <a:cubicBezTo>
                  <a:pt x="1240" y="222"/>
                  <a:pt x="1240" y="222"/>
                  <a:pt x="1240" y="222"/>
                </a:cubicBezTo>
                <a:cubicBezTo>
                  <a:pt x="1239" y="221"/>
                  <a:pt x="1238" y="221"/>
                  <a:pt x="1237" y="221"/>
                </a:cubicBezTo>
                <a:cubicBezTo>
                  <a:pt x="1235" y="220"/>
                  <a:pt x="1234" y="220"/>
                  <a:pt x="1232" y="220"/>
                </a:cubicBezTo>
                <a:cubicBezTo>
                  <a:pt x="1228" y="220"/>
                  <a:pt x="1224" y="221"/>
                  <a:pt x="1221" y="224"/>
                </a:cubicBezTo>
                <a:cubicBezTo>
                  <a:pt x="1218" y="227"/>
                  <a:pt x="1216" y="230"/>
                  <a:pt x="1214" y="234"/>
                </a:cubicBezTo>
                <a:cubicBezTo>
                  <a:pt x="1213" y="237"/>
                  <a:pt x="1212" y="241"/>
                  <a:pt x="1212" y="245"/>
                </a:cubicBezTo>
                <a:cubicBezTo>
                  <a:pt x="1212" y="250"/>
                  <a:pt x="1213" y="254"/>
                  <a:pt x="1215" y="257"/>
                </a:cubicBezTo>
                <a:cubicBezTo>
                  <a:pt x="1217" y="259"/>
                  <a:pt x="1220" y="261"/>
                  <a:pt x="1224" y="261"/>
                </a:cubicBezTo>
                <a:cubicBezTo>
                  <a:pt x="1227" y="261"/>
                  <a:pt x="1230" y="260"/>
                  <a:pt x="1232" y="259"/>
                </a:cubicBezTo>
                <a:cubicBezTo>
                  <a:pt x="1235" y="257"/>
                  <a:pt x="1236" y="256"/>
                  <a:pt x="1238" y="254"/>
                </a:cubicBezTo>
                <a:cubicBezTo>
                  <a:pt x="1236" y="252"/>
                  <a:pt x="1236" y="252"/>
                  <a:pt x="1236" y="252"/>
                </a:cubicBezTo>
                <a:cubicBezTo>
                  <a:pt x="1235" y="253"/>
                  <a:pt x="1233" y="254"/>
                  <a:pt x="1232" y="255"/>
                </a:cubicBezTo>
                <a:cubicBezTo>
                  <a:pt x="1230" y="256"/>
                  <a:pt x="1229" y="256"/>
                  <a:pt x="1227" y="256"/>
                </a:cubicBezTo>
                <a:cubicBezTo>
                  <a:pt x="1224" y="256"/>
                  <a:pt x="1222" y="255"/>
                  <a:pt x="1221" y="253"/>
                </a:cubicBezTo>
                <a:cubicBezTo>
                  <a:pt x="1220" y="251"/>
                  <a:pt x="1219" y="248"/>
                  <a:pt x="1219" y="244"/>
                </a:cubicBezTo>
                <a:cubicBezTo>
                  <a:pt x="1219" y="240"/>
                  <a:pt x="1219" y="237"/>
                  <a:pt x="1221" y="234"/>
                </a:cubicBezTo>
                <a:cubicBezTo>
                  <a:pt x="1222" y="231"/>
                  <a:pt x="1223" y="229"/>
                  <a:pt x="1225" y="227"/>
                </a:cubicBezTo>
                <a:cubicBezTo>
                  <a:pt x="1227" y="225"/>
                  <a:pt x="1229" y="225"/>
                  <a:pt x="1231" y="225"/>
                </a:cubicBezTo>
                <a:cubicBezTo>
                  <a:pt x="1232" y="225"/>
                  <a:pt x="1235" y="226"/>
                  <a:pt x="1237" y="228"/>
                </a:cubicBezTo>
                <a:close/>
                <a:moveTo>
                  <a:pt x="1255" y="254"/>
                </a:moveTo>
                <a:cubicBezTo>
                  <a:pt x="1260" y="221"/>
                  <a:pt x="1260" y="221"/>
                  <a:pt x="1260" y="221"/>
                </a:cubicBezTo>
                <a:cubicBezTo>
                  <a:pt x="1259" y="220"/>
                  <a:pt x="1259" y="220"/>
                  <a:pt x="1259" y="220"/>
                </a:cubicBezTo>
                <a:cubicBezTo>
                  <a:pt x="1249" y="222"/>
                  <a:pt x="1249" y="222"/>
                  <a:pt x="1249" y="222"/>
                </a:cubicBezTo>
                <a:cubicBezTo>
                  <a:pt x="1248" y="224"/>
                  <a:pt x="1248" y="224"/>
                  <a:pt x="1248" y="224"/>
                </a:cubicBezTo>
                <a:cubicBezTo>
                  <a:pt x="1253" y="226"/>
                  <a:pt x="1253" y="226"/>
                  <a:pt x="1253" y="226"/>
                </a:cubicBezTo>
                <a:cubicBezTo>
                  <a:pt x="1252" y="233"/>
                  <a:pt x="1251" y="239"/>
                  <a:pt x="1250" y="243"/>
                </a:cubicBezTo>
                <a:cubicBezTo>
                  <a:pt x="1249" y="251"/>
                  <a:pt x="1248" y="255"/>
                  <a:pt x="1248" y="256"/>
                </a:cubicBezTo>
                <a:cubicBezTo>
                  <a:pt x="1248" y="258"/>
                  <a:pt x="1249" y="259"/>
                  <a:pt x="1249" y="260"/>
                </a:cubicBezTo>
                <a:cubicBezTo>
                  <a:pt x="1250" y="260"/>
                  <a:pt x="1251" y="261"/>
                  <a:pt x="1253" y="261"/>
                </a:cubicBezTo>
                <a:cubicBezTo>
                  <a:pt x="1255" y="261"/>
                  <a:pt x="1256" y="260"/>
                  <a:pt x="1258" y="259"/>
                </a:cubicBezTo>
                <a:cubicBezTo>
                  <a:pt x="1259" y="258"/>
                  <a:pt x="1260" y="257"/>
                  <a:pt x="1261" y="256"/>
                </a:cubicBezTo>
                <a:cubicBezTo>
                  <a:pt x="1260" y="254"/>
                  <a:pt x="1260" y="254"/>
                  <a:pt x="1260" y="254"/>
                </a:cubicBezTo>
                <a:cubicBezTo>
                  <a:pt x="1259" y="255"/>
                  <a:pt x="1259" y="256"/>
                  <a:pt x="1258" y="256"/>
                </a:cubicBezTo>
                <a:cubicBezTo>
                  <a:pt x="1258" y="256"/>
                  <a:pt x="1257" y="256"/>
                  <a:pt x="1256" y="256"/>
                </a:cubicBezTo>
                <a:cubicBezTo>
                  <a:pt x="1256" y="256"/>
                  <a:pt x="1256" y="256"/>
                  <a:pt x="1256" y="256"/>
                </a:cubicBezTo>
                <a:cubicBezTo>
                  <a:pt x="1255" y="256"/>
                  <a:pt x="1255" y="255"/>
                  <a:pt x="1255" y="255"/>
                </a:cubicBezTo>
                <a:lnTo>
                  <a:pt x="1255" y="254"/>
                </a:lnTo>
                <a:close/>
                <a:moveTo>
                  <a:pt x="1258" y="213"/>
                </a:moveTo>
                <a:cubicBezTo>
                  <a:pt x="1259" y="213"/>
                  <a:pt x="1260" y="212"/>
                  <a:pt x="1261" y="211"/>
                </a:cubicBezTo>
                <a:cubicBezTo>
                  <a:pt x="1262" y="210"/>
                  <a:pt x="1262" y="209"/>
                  <a:pt x="1262" y="207"/>
                </a:cubicBezTo>
                <a:cubicBezTo>
                  <a:pt x="1262" y="206"/>
                  <a:pt x="1262" y="206"/>
                  <a:pt x="1261" y="205"/>
                </a:cubicBezTo>
                <a:cubicBezTo>
                  <a:pt x="1261" y="204"/>
                  <a:pt x="1260" y="204"/>
                  <a:pt x="1259" y="204"/>
                </a:cubicBezTo>
                <a:cubicBezTo>
                  <a:pt x="1257" y="204"/>
                  <a:pt x="1256" y="204"/>
                  <a:pt x="1255" y="205"/>
                </a:cubicBezTo>
                <a:cubicBezTo>
                  <a:pt x="1254" y="206"/>
                  <a:pt x="1254" y="207"/>
                  <a:pt x="1254" y="209"/>
                </a:cubicBezTo>
                <a:cubicBezTo>
                  <a:pt x="1254" y="210"/>
                  <a:pt x="1254" y="211"/>
                  <a:pt x="1255" y="212"/>
                </a:cubicBezTo>
                <a:cubicBezTo>
                  <a:pt x="1256" y="212"/>
                  <a:pt x="1257" y="213"/>
                  <a:pt x="1258" y="213"/>
                </a:cubicBezTo>
                <a:close/>
                <a:moveTo>
                  <a:pt x="1282" y="229"/>
                </a:moveTo>
                <a:cubicBezTo>
                  <a:pt x="1283" y="221"/>
                  <a:pt x="1283" y="221"/>
                  <a:pt x="1283" y="221"/>
                </a:cubicBezTo>
                <a:cubicBezTo>
                  <a:pt x="1281" y="220"/>
                  <a:pt x="1281" y="220"/>
                  <a:pt x="1281" y="220"/>
                </a:cubicBezTo>
                <a:cubicBezTo>
                  <a:pt x="1273" y="222"/>
                  <a:pt x="1273" y="222"/>
                  <a:pt x="1273" y="222"/>
                </a:cubicBezTo>
                <a:cubicBezTo>
                  <a:pt x="1272" y="224"/>
                  <a:pt x="1272" y="224"/>
                  <a:pt x="1272" y="224"/>
                </a:cubicBezTo>
                <a:cubicBezTo>
                  <a:pt x="1275" y="226"/>
                  <a:pt x="1275" y="226"/>
                  <a:pt x="1275" y="226"/>
                </a:cubicBezTo>
                <a:cubicBezTo>
                  <a:pt x="1271" y="260"/>
                  <a:pt x="1271" y="260"/>
                  <a:pt x="1271" y="260"/>
                </a:cubicBezTo>
                <a:cubicBezTo>
                  <a:pt x="1278" y="260"/>
                  <a:pt x="1278" y="260"/>
                  <a:pt x="1278" y="260"/>
                </a:cubicBezTo>
                <a:cubicBezTo>
                  <a:pt x="1281" y="235"/>
                  <a:pt x="1281" y="235"/>
                  <a:pt x="1281" y="235"/>
                </a:cubicBezTo>
                <a:cubicBezTo>
                  <a:pt x="1283" y="232"/>
                  <a:pt x="1285" y="230"/>
                  <a:pt x="1287" y="228"/>
                </a:cubicBezTo>
                <a:cubicBezTo>
                  <a:pt x="1289" y="226"/>
                  <a:pt x="1291" y="225"/>
                  <a:pt x="1293" y="225"/>
                </a:cubicBezTo>
                <a:cubicBezTo>
                  <a:pt x="1295" y="225"/>
                  <a:pt x="1296" y="226"/>
                  <a:pt x="1297" y="226"/>
                </a:cubicBezTo>
                <a:cubicBezTo>
                  <a:pt x="1297" y="227"/>
                  <a:pt x="1298" y="229"/>
                  <a:pt x="1298" y="231"/>
                </a:cubicBezTo>
                <a:cubicBezTo>
                  <a:pt x="1298" y="233"/>
                  <a:pt x="1297" y="234"/>
                  <a:pt x="1297" y="236"/>
                </a:cubicBezTo>
                <a:cubicBezTo>
                  <a:pt x="1297" y="238"/>
                  <a:pt x="1297" y="240"/>
                  <a:pt x="1296" y="243"/>
                </a:cubicBezTo>
                <a:cubicBezTo>
                  <a:pt x="1296" y="245"/>
                  <a:pt x="1296" y="245"/>
                  <a:pt x="1296" y="245"/>
                </a:cubicBezTo>
                <a:cubicBezTo>
                  <a:pt x="1295" y="248"/>
                  <a:pt x="1295" y="248"/>
                  <a:pt x="1295" y="248"/>
                </a:cubicBezTo>
                <a:cubicBezTo>
                  <a:pt x="1294" y="252"/>
                  <a:pt x="1294" y="255"/>
                  <a:pt x="1294" y="256"/>
                </a:cubicBezTo>
                <a:cubicBezTo>
                  <a:pt x="1294" y="259"/>
                  <a:pt x="1295" y="261"/>
                  <a:pt x="1298" y="261"/>
                </a:cubicBezTo>
                <a:cubicBezTo>
                  <a:pt x="1300" y="261"/>
                  <a:pt x="1301" y="260"/>
                  <a:pt x="1302" y="260"/>
                </a:cubicBezTo>
                <a:cubicBezTo>
                  <a:pt x="1303" y="259"/>
                  <a:pt x="1304" y="259"/>
                  <a:pt x="1305" y="258"/>
                </a:cubicBezTo>
                <a:cubicBezTo>
                  <a:pt x="1305" y="258"/>
                  <a:pt x="1306" y="257"/>
                  <a:pt x="1306" y="257"/>
                </a:cubicBezTo>
                <a:cubicBezTo>
                  <a:pt x="1305" y="255"/>
                  <a:pt x="1305" y="255"/>
                  <a:pt x="1305" y="255"/>
                </a:cubicBezTo>
                <a:cubicBezTo>
                  <a:pt x="1304" y="256"/>
                  <a:pt x="1303" y="256"/>
                  <a:pt x="1302" y="256"/>
                </a:cubicBezTo>
                <a:cubicBezTo>
                  <a:pt x="1301" y="256"/>
                  <a:pt x="1301" y="256"/>
                  <a:pt x="1301" y="255"/>
                </a:cubicBezTo>
                <a:cubicBezTo>
                  <a:pt x="1301" y="253"/>
                  <a:pt x="1301" y="250"/>
                  <a:pt x="1302" y="246"/>
                </a:cubicBezTo>
                <a:cubicBezTo>
                  <a:pt x="1303" y="243"/>
                  <a:pt x="1303" y="243"/>
                  <a:pt x="1303" y="243"/>
                </a:cubicBezTo>
                <a:cubicBezTo>
                  <a:pt x="1303" y="241"/>
                  <a:pt x="1303" y="241"/>
                  <a:pt x="1303" y="241"/>
                </a:cubicBezTo>
                <a:cubicBezTo>
                  <a:pt x="1304" y="236"/>
                  <a:pt x="1305" y="232"/>
                  <a:pt x="1305" y="230"/>
                </a:cubicBezTo>
                <a:cubicBezTo>
                  <a:pt x="1305" y="227"/>
                  <a:pt x="1304" y="224"/>
                  <a:pt x="1302" y="223"/>
                </a:cubicBezTo>
                <a:cubicBezTo>
                  <a:pt x="1301" y="221"/>
                  <a:pt x="1299" y="220"/>
                  <a:pt x="1296" y="220"/>
                </a:cubicBezTo>
                <a:cubicBezTo>
                  <a:pt x="1294" y="220"/>
                  <a:pt x="1291" y="221"/>
                  <a:pt x="1289" y="223"/>
                </a:cubicBezTo>
                <a:cubicBezTo>
                  <a:pt x="1286" y="224"/>
                  <a:pt x="1284" y="227"/>
                  <a:pt x="1282" y="229"/>
                </a:cubicBezTo>
                <a:close/>
                <a:moveTo>
                  <a:pt x="1342" y="253"/>
                </a:moveTo>
                <a:cubicBezTo>
                  <a:pt x="1340" y="251"/>
                  <a:pt x="1340" y="251"/>
                  <a:pt x="1340" y="251"/>
                </a:cubicBezTo>
                <a:cubicBezTo>
                  <a:pt x="1339" y="253"/>
                  <a:pt x="1337" y="254"/>
                  <a:pt x="1335" y="255"/>
                </a:cubicBezTo>
                <a:cubicBezTo>
                  <a:pt x="1333" y="256"/>
                  <a:pt x="1331" y="256"/>
                  <a:pt x="1329" y="256"/>
                </a:cubicBezTo>
                <a:cubicBezTo>
                  <a:pt x="1326" y="256"/>
                  <a:pt x="1323" y="255"/>
                  <a:pt x="1322" y="253"/>
                </a:cubicBezTo>
                <a:cubicBezTo>
                  <a:pt x="1321" y="250"/>
                  <a:pt x="1320" y="247"/>
                  <a:pt x="1320" y="244"/>
                </a:cubicBezTo>
                <a:cubicBezTo>
                  <a:pt x="1323" y="244"/>
                  <a:pt x="1327" y="244"/>
                  <a:pt x="1330" y="242"/>
                </a:cubicBezTo>
                <a:cubicBezTo>
                  <a:pt x="1334" y="241"/>
                  <a:pt x="1337" y="240"/>
                  <a:pt x="1340" y="237"/>
                </a:cubicBezTo>
                <a:cubicBezTo>
                  <a:pt x="1342" y="235"/>
                  <a:pt x="1344" y="232"/>
                  <a:pt x="1344" y="229"/>
                </a:cubicBezTo>
                <a:cubicBezTo>
                  <a:pt x="1344" y="226"/>
                  <a:pt x="1343" y="224"/>
                  <a:pt x="1341" y="223"/>
                </a:cubicBezTo>
                <a:cubicBezTo>
                  <a:pt x="1340" y="221"/>
                  <a:pt x="1337" y="220"/>
                  <a:pt x="1334" y="220"/>
                </a:cubicBezTo>
                <a:cubicBezTo>
                  <a:pt x="1330" y="220"/>
                  <a:pt x="1326" y="221"/>
                  <a:pt x="1323" y="224"/>
                </a:cubicBezTo>
                <a:cubicBezTo>
                  <a:pt x="1320" y="226"/>
                  <a:pt x="1318" y="229"/>
                  <a:pt x="1316" y="233"/>
                </a:cubicBezTo>
                <a:cubicBezTo>
                  <a:pt x="1314" y="237"/>
                  <a:pt x="1313" y="241"/>
                  <a:pt x="1313" y="246"/>
                </a:cubicBezTo>
                <a:cubicBezTo>
                  <a:pt x="1313" y="248"/>
                  <a:pt x="1314" y="251"/>
                  <a:pt x="1315" y="253"/>
                </a:cubicBezTo>
                <a:cubicBezTo>
                  <a:pt x="1316" y="255"/>
                  <a:pt x="1317" y="257"/>
                  <a:pt x="1319" y="259"/>
                </a:cubicBezTo>
                <a:cubicBezTo>
                  <a:pt x="1321" y="260"/>
                  <a:pt x="1324" y="261"/>
                  <a:pt x="1327" y="261"/>
                </a:cubicBezTo>
                <a:cubicBezTo>
                  <a:pt x="1330" y="261"/>
                  <a:pt x="1333" y="260"/>
                  <a:pt x="1336" y="258"/>
                </a:cubicBezTo>
                <a:cubicBezTo>
                  <a:pt x="1339" y="257"/>
                  <a:pt x="1341" y="255"/>
                  <a:pt x="1342" y="253"/>
                </a:cubicBezTo>
                <a:close/>
                <a:moveTo>
                  <a:pt x="1332" y="224"/>
                </a:moveTo>
                <a:cubicBezTo>
                  <a:pt x="1334" y="224"/>
                  <a:pt x="1335" y="224"/>
                  <a:pt x="1336" y="225"/>
                </a:cubicBezTo>
                <a:cubicBezTo>
                  <a:pt x="1337" y="226"/>
                  <a:pt x="1337" y="228"/>
                  <a:pt x="1337" y="229"/>
                </a:cubicBezTo>
                <a:cubicBezTo>
                  <a:pt x="1337" y="232"/>
                  <a:pt x="1336" y="234"/>
                  <a:pt x="1334" y="235"/>
                </a:cubicBezTo>
                <a:cubicBezTo>
                  <a:pt x="1333" y="237"/>
                  <a:pt x="1331" y="238"/>
                  <a:pt x="1328" y="239"/>
                </a:cubicBezTo>
                <a:cubicBezTo>
                  <a:pt x="1325" y="240"/>
                  <a:pt x="1323" y="241"/>
                  <a:pt x="1321" y="241"/>
                </a:cubicBezTo>
                <a:cubicBezTo>
                  <a:pt x="1321" y="238"/>
                  <a:pt x="1321" y="236"/>
                  <a:pt x="1322" y="233"/>
                </a:cubicBezTo>
                <a:cubicBezTo>
                  <a:pt x="1323" y="230"/>
                  <a:pt x="1325" y="228"/>
                  <a:pt x="1326" y="226"/>
                </a:cubicBezTo>
                <a:cubicBezTo>
                  <a:pt x="1328" y="225"/>
                  <a:pt x="1330" y="224"/>
                  <a:pt x="1332" y="224"/>
                </a:cubicBezTo>
                <a:close/>
              </a:path>
            </a:pathLst>
          </a:custGeom>
          <a:solidFill>
            <a:schemeClr val="bg1"/>
          </a:solidFill>
          <a:ln>
            <a:noFill/>
          </a:ln>
        </p:spPr>
        <p:txBody>
          <a:bodyPr vert="horz" wrap="square" lIns="121920" tIns="60960" rIns="121920" bIns="60960" numCol="1" anchor="t" anchorCtr="0" compatLnSpc="1">
            <a:prstTxWarp prst="textNoShape">
              <a:avLst/>
            </a:prstTxWarp>
          </a:bodyPr>
          <a:lstStyle/>
          <a:p>
            <a:endParaRPr lang="en-US" sz="2400"/>
          </a:p>
        </p:txBody>
      </p:sp>
      <p:sp>
        <p:nvSpPr>
          <p:cNvPr id="17" name="Text Placeholder 16">
            <a:extLst>
              <a:ext uri="{FF2B5EF4-FFF2-40B4-BE49-F238E27FC236}">
                <a16:creationId xmlns:a16="http://schemas.microsoft.com/office/drawing/2014/main" id="{FCA018DF-7EFB-4D08-89D5-E61FB47F425E}"/>
              </a:ext>
            </a:extLst>
          </p:cNvPr>
          <p:cNvSpPr>
            <a:spLocks noGrp="1"/>
          </p:cNvSpPr>
          <p:nvPr>
            <p:ph type="body" sz="quarter" idx="12" hasCustomPrompt="1"/>
          </p:nvPr>
        </p:nvSpPr>
        <p:spPr>
          <a:xfrm>
            <a:off x="7995920" y="6515586"/>
            <a:ext cx="3222413" cy="169277"/>
          </a:xfrm>
        </p:spPr>
        <p:txBody>
          <a:bodyPr wrap="square">
            <a:spAutoFit/>
          </a:bodyPr>
          <a:lstStyle>
            <a:lvl1pPr marL="0" indent="0">
              <a:buNone/>
              <a:defRPr sz="1000" cap="all" spc="147" baseline="0">
                <a:solidFill>
                  <a:schemeClr val="tx2"/>
                </a:solidFill>
              </a:defRPr>
            </a:lvl1pPr>
          </a:lstStyle>
          <a:p>
            <a:pPr lvl="0"/>
            <a:r>
              <a:rPr lang="en-US"/>
              <a:t>CLICK TO EDIT MASTER TEXT</a:t>
            </a:r>
          </a:p>
        </p:txBody>
      </p:sp>
    </p:spTree>
    <p:extLst>
      <p:ext uri="{BB962C8B-B14F-4D97-AF65-F5344CB8AC3E}">
        <p14:creationId xmlns:p14="http://schemas.microsoft.com/office/powerpoint/2010/main" val="3758725367"/>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p:cSld name="Title Slide - Light Ruby">
    <p:spTree>
      <p:nvGrpSpPr>
        <p:cNvPr id="1" name=""/>
        <p:cNvGrpSpPr/>
        <p:nvPr/>
      </p:nvGrpSpPr>
      <p:grpSpPr>
        <a:xfrm>
          <a:off x="0" y="0"/>
          <a:ext cx="0" cy="0"/>
          <a:chOff x="0" y="0"/>
          <a:chExt cx="0" cy="0"/>
        </a:xfrm>
      </p:grpSpPr>
      <p:sp>
        <p:nvSpPr>
          <p:cNvPr id="15" name="Picture Placeholder 14">
            <a:extLst>
              <a:ext uri="{FF2B5EF4-FFF2-40B4-BE49-F238E27FC236}">
                <a16:creationId xmlns:a16="http://schemas.microsoft.com/office/drawing/2014/main" id="{42927F7C-53AC-400F-8DAD-235A2AF61FB8}"/>
              </a:ext>
            </a:extLst>
          </p:cNvPr>
          <p:cNvSpPr>
            <a:spLocks noGrp="1"/>
          </p:cNvSpPr>
          <p:nvPr>
            <p:ph type="pic" sz="quarter" idx="11"/>
          </p:nvPr>
        </p:nvSpPr>
        <p:spPr>
          <a:xfrm>
            <a:off x="0" y="1"/>
            <a:ext cx="12192000" cy="6280151"/>
          </a:xfrm>
          <a:solidFill>
            <a:schemeClr val="bg2">
              <a:lumMod val="90000"/>
            </a:schemeClr>
          </a:solidFill>
        </p:spPr>
        <p:txBody>
          <a:bodyPr/>
          <a:lstStyle/>
          <a:p>
            <a:r>
              <a:rPr lang="en-US"/>
              <a:t>Click icon to add picture</a:t>
            </a:r>
          </a:p>
        </p:txBody>
      </p:sp>
      <p:sp>
        <p:nvSpPr>
          <p:cNvPr id="13" name="Text Placeholder 12">
            <a:extLst>
              <a:ext uri="{FF2B5EF4-FFF2-40B4-BE49-F238E27FC236}">
                <a16:creationId xmlns:a16="http://schemas.microsoft.com/office/drawing/2014/main" id="{D2D74F39-96DB-4808-8693-9F55A9D7DB98}"/>
              </a:ext>
            </a:extLst>
          </p:cNvPr>
          <p:cNvSpPr>
            <a:spLocks noGrp="1"/>
          </p:cNvSpPr>
          <p:nvPr>
            <p:ph type="body" sz="quarter" idx="10"/>
          </p:nvPr>
        </p:nvSpPr>
        <p:spPr>
          <a:xfrm>
            <a:off x="2" y="1563078"/>
            <a:ext cx="7737229" cy="5294921"/>
          </a:xfrm>
          <a:solidFill>
            <a:srgbClr val="ECE0E0"/>
          </a:solidFill>
        </p:spPr>
        <p:txBody>
          <a:bodyPr lIns="502920" tIns="274320" rIns="457200" bIns="457200"/>
          <a:lstStyle>
            <a:lvl1pPr marL="0" indent="0">
              <a:lnSpc>
                <a:spcPct val="100000"/>
              </a:lnSpc>
              <a:buNone/>
              <a:defRPr sz="4000">
                <a:solidFill>
                  <a:schemeClr val="tx2"/>
                </a:solidFill>
                <a:latin typeface="+mj-lt"/>
              </a:defRPr>
            </a:lvl1pPr>
            <a:lvl2pPr marL="0" indent="0">
              <a:spcBef>
                <a:spcPts val="1200"/>
              </a:spcBef>
              <a:buNone/>
              <a:defRPr sz="2000">
                <a:solidFill>
                  <a:schemeClr val="tx2"/>
                </a:solidFill>
                <a:latin typeface="+mj-lt"/>
              </a:defRPr>
            </a:lvl2pPr>
            <a:lvl3pPr marL="609585" indent="0">
              <a:buNone/>
              <a:defRPr>
                <a:solidFill>
                  <a:schemeClr val="bg1"/>
                </a:solidFill>
                <a:latin typeface="+mj-lt"/>
              </a:defRPr>
            </a:lvl3pPr>
            <a:lvl4pPr marL="922844" indent="0">
              <a:buNone/>
              <a:defRPr>
                <a:solidFill>
                  <a:schemeClr val="bg1"/>
                </a:solidFill>
                <a:latin typeface="+mj-lt"/>
              </a:defRPr>
            </a:lvl4pPr>
            <a:lvl5pPr marL="1219170" indent="0">
              <a:buNone/>
              <a:defRPr>
                <a:solidFill>
                  <a:schemeClr val="bg1"/>
                </a:solidFill>
                <a:latin typeface="+mj-lt"/>
              </a:defRPr>
            </a:lvl5pPr>
          </a:lstStyle>
          <a:p>
            <a:pPr lvl="0"/>
            <a:r>
              <a:rPr lang="en-US"/>
              <a:t>Edit Master text styles</a:t>
            </a:r>
          </a:p>
          <a:p>
            <a:pPr lvl="1"/>
            <a:r>
              <a:rPr lang="en-US"/>
              <a:t>Second level</a:t>
            </a:r>
          </a:p>
        </p:txBody>
      </p:sp>
      <p:sp>
        <p:nvSpPr>
          <p:cNvPr id="3" name="Subtitle 2"/>
          <p:cNvSpPr>
            <a:spLocks noGrp="1"/>
          </p:cNvSpPr>
          <p:nvPr>
            <p:ph type="subTitle" idx="1"/>
          </p:nvPr>
        </p:nvSpPr>
        <p:spPr>
          <a:xfrm>
            <a:off x="701040" y="4738102"/>
            <a:ext cx="6461760" cy="225639"/>
          </a:xfrm>
        </p:spPr>
        <p:txBody>
          <a:bodyPr anchor="b" anchorCtr="0">
            <a:spAutoFit/>
          </a:bodyPr>
          <a:lstStyle>
            <a:lvl1pPr marL="0" indent="0" algn="l">
              <a:buNone/>
              <a:defRPr sz="1333" i="1">
                <a:solidFill>
                  <a:schemeClr val="tx1"/>
                </a:solidFill>
                <a:latin typeface="+mj-l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
        <p:nvSpPr>
          <p:cNvPr id="9" name="Freeform 5">
            <a:extLst>
              <a:ext uri="{FF2B5EF4-FFF2-40B4-BE49-F238E27FC236}">
                <a16:creationId xmlns:a16="http://schemas.microsoft.com/office/drawing/2014/main" id="{6EF64205-A64B-4137-BA41-5E5CFE0F359E}"/>
              </a:ext>
            </a:extLst>
          </p:cNvPr>
          <p:cNvSpPr>
            <a:spLocks noEditPoints="1"/>
          </p:cNvSpPr>
          <p:nvPr/>
        </p:nvSpPr>
        <p:spPr bwMode="auto">
          <a:xfrm>
            <a:off x="643609" y="578451"/>
            <a:ext cx="2922943" cy="547357"/>
          </a:xfrm>
          <a:custGeom>
            <a:avLst/>
            <a:gdLst>
              <a:gd name="T0" fmla="*/ 225 w 1440"/>
              <a:gd name="T1" fmla="*/ 110 h 267"/>
              <a:gd name="T2" fmla="*/ 317 w 1440"/>
              <a:gd name="T3" fmla="*/ 7 h 267"/>
              <a:gd name="T4" fmla="*/ 475 w 1440"/>
              <a:gd name="T5" fmla="*/ 19 h 267"/>
              <a:gd name="T6" fmla="*/ 830 w 1440"/>
              <a:gd name="T7" fmla="*/ 7 h 267"/>
              <a:gd name="T8" fmla="*/ 130 w 1440"/>
              <a:gd name="T9" fmla="*/ 210 h 267"/>
              <a:gd name="T10" fmla="*/ 437 w 1440"/>
              <a:gd name="T11" fmla="*/ 209 h 267"/>
              <a:gd name="T12" fmla="*/ 493 w 1440"/>
              <a:gd name="T13" fmla="*/ 198 h 267"/>
              <a:gd name="T14" fmla="*/ 866 w 1440"/>
              <a:gd name="T15" fmla="*/ 171 h 267"/>
              <a:gd name="T16" fmla="*/ 737 w 1440"/>
              <a:gd name="T17" fmla="*/ 261 h 267"/>
              <a:gd name="T18" fmla="*/ 958 w 1440"/>
              <a:gd name="T19" fmla="*/ 172 h 267"/>
              <a:gd name="T20" fmla="*/ 906 w 1440"/>
              <a:gd name="T21" fmla="*/ 254 h 267"/>
              <a:gd name="T22" fmla="*/ 309 w 1440"/>
              <a:gd name="T23" fmla="*/ 260 h 267"/>
              <a:gd name="T24" fmla="*/ 1053 w 1440"/>
              <a:gd name="T25" fmla="*/ 31 h 267"/>
              <a:gd name="T26" fmla="*/ 1075 w 1440"/>
              <a:gd name="T27" fmla="*/ 44 h 267"/>
              <a:gd name="T28" fmla="*/ 1091 w 1440"/>
              <a:gd name="T29" fmla="*/ 22 h 267"/>
              <a:gd name="T30" fmla="*/ 1107 w 1440"/>
              <a:gd name="T31" fmla="*/ 27 h 267"/>
              <a:gd name="T32" fmla="*/ 1125 w 1440"/>
              <a:gd name="T33" fmla="*/ 55 h 267"/>
              <a:gd name="T34" fmla="*/ 1159 w 1440"/>
              <a:gd name="T35" fmla="*/ 53 h 267"/>
              <a:gd name="T36" fmla="*/ 1160 w 1440"/>
              <a:gd name="T37" fmla="*/ 57 h 267"/>
              <a:gd name="T38" fmla="*/ 1177 w 1440"/>
              <a:gd name="T39" fmla="*/ 23 h 267"/>
              <a:gd name="T40" fmla="*/ 1207 w 1440"/>
              <a:gd name="T41" fmla="*/ 58 h 267"/>
              <a:gd name="T42" fmla="*/ 1245 w 1440"/>
              <a:gd name="T43" fmla="*/ 27 h 267"/>
              <a:gd name="T44" fmla="*/ 1225 w 1440"/>
              <a:gd name="T45" fmla="*/ 43 h 267"/>
              <a:gd name="T46" fmla="*/ 1271 w 1440"/>
              <a:gd name="T47" fmla="*/ 19 h 267"/>
              <a:gd name="T48" fmla="*/ 1259 w 1440"/>
              <a:gd name="T49" fmla="*/ 32 h 267"/>
              <a:gd name="T50" fmla="*/ 1290 w 1440"/>
              <a:gd name="T51" fmla="*/ 54 h 267"/>
              <a:gd name="T52" fmla="*/ 1310 w 1440"/>
              <a:gd name="T53" fmla="*/ 25 h 267"/>
              <a:gd name="T54" fmla="*/ 1059 w 1440"/>
              <a:gd name="T55" fmla="*/ 110 h 267"/>
              <a:gd name="T56" fmla="*/ 1099 w 1440"/>
              <a:gd name="T57" fmla="*/ 134 h 267"/>
              <a:gd name="T58" fmla="*/ 1120 w 1440"/>
              <a:gd name="T59" fmla="*/ 156 h 267"/>
              <a:gd name="T60" fmla="*/ 1141 w 1440"/>
              <a:gd name="T61" fmla="*/ 123 h 267"/>
              <a:gd name="T62" fmla="*/ 1148 w 1440"/>
              <a:gd name="T63" fmla="*/ 175 h 267"/>
              <a:gd name="T64" fmla="*/ 1184 w 1440"/>
              <a:gd name="T65" fmla="*/ 119 h 267"/>
              <a:gd name="T66" fmla="*/ 1181 w 1440"/>
              <a:gd name="T67" fmla="*/ 153 h 267"/>
              <a:gd name="T68" fmla="*/ 1201 w 1440"/>
              <a:gd name="T69" fmla="*/ 125 h 267"/>
              <a:gd name="T70" fmla="*/ 1230 w 1440"/>
              <a:gd name="T71" fmla="*/ 157 h 267"/>
              <a:gd name="T72" fmla="*/ 1260 w 1440"/>
              <a:gd name="T73" fmla="*/ 154 h 267"/>
              <a:gd name="T74" fmla="*/ 1261 w 1440"/>
              <a:gd name="T75" fmla="*/ 158 h 267"/>
              <a:gd name="T76" fmla="*/ 1284 w 1440"/>
              <a:gd name="T77" fmla="*/ 152 h 267"/>
              <a:gd name="T78" fmla="*/ 1294 w 1440"/>
              <a:gd name="T79" fmla="*/ 123 h 267"/>
              <a:gd name="T80" fmla="*/ 1317 w 1440"/>
              <a:gd name="T81" fmla="*/ 125 h 267"/>
              <a:gd name="T82" fmla="*/ 1342 w 1440"/>
              <a:gd name="T83" fmla="*/ 121 h 267"/>
              <a:gd name="T84" fmla="*/ 1351 w 1440"/>
              <a:gd name="T85" fmla="*/ 112 h 267"/>
              <a:gd name="T86" fmla="*/ 1364 w 1440"/>
              <a:gd name="T87" fmla="*/ 159 h 267"/>
              <a:gd name="T88" fmla="*/ 1399 w 1440"/>
              <a:gd name="T89" fmla="*/ 156 h 267"/>
              <a:gd name="T90" fmla="*/ 1432 w 1440"/>
              <a:gd name="T91" fmla="*/ 120 h 267"/>
              <a:gd name="T92" fmla="*/ 1410 w 1440"/>
              <a:gd name="T93" fmla="*/ 176 h 267"/>
              <a:gd name="T94" fmla="*/ 1076 w 1440"/>
              <a:gd name="T95" fmla="*/ 242 h 267"/>
              <a:gd name="T96" fmla="*/ 1062 w 1440"/>
              <a:gd name="T97" fmla="*/ 225 h 267"/>
              <a:gd name="T98" fmla="*/ 1091 w 1440"/>
              <a:gd name="T99" fmla="*/ 208 h 267"/>
              <a:gd name="T100" fmla="*/ 1112 w 1440"/>
              <a:gd name="T101" fmla="*/ 233 h 267"/>
              <a:gd name="T102" fmla="*/ 1128 w 1440"/>
              <a:gd name="T103" fmla="*/ 224 h 267"/>
              <a:gd name="T104" fmla="*/ 1168 w 1440"/>
              <a:gd name="T105" fmla="*/ 255 h 267"/>
              <a:gd name="T106" fmla="*/ 1154 w 1440"/>
              <a:gd name="T107" fmla="*/ 236 h 267"/>
              <a:gd name="T108" fmla="*/ 1203 w 1440"/>
              <a:gd name="T109" fmla="*/ 256 h 267"/>
              <a:gd name="T110" fmla="*/ 1200 w 1440"/>
              <a:gd name="T111" fmla="*/ 213 h 267"/>
              <a:gd name="T112" fmla="*/ 1227 w 1440"/>
              <a:gd name="T113" fmla="*/ 256 h 267"/>
              <a:gd name="T114" fmla="*/ 1249 w 1440"/>
              <a:gd name="T115" fmla="*/ 260 h 267"/>
              <a:gd name="T116" fmla="*/ 1255 w 1440"/>
              <a:gd name="T117" fmla="*/ 205 h 267"/>
              <a:gd name="T118" fmla="*/ 1297 w 1440"/>
              <a:gd name="T119" fmla="*/ 226 h 267"/>
              <a:gd name="T120" fmla="*/ 1303 w 1440"/>
              <a:gd name="T121" fmla="*/ 243 h 267"/>
              <a:gd name="T122" fmla="*/ 1344 w 1440"/>
              <a:gd name="T123" fmla="*/ 229 h 267"/>
              <a:gd name="T124" fmla="*/ 1328 w 1440"/>
              <a:gd name="T125" fmla="*/ 239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440" h="267">
                <a:moveTo>
                  <a:pt x="17" y="110"/>
                </a:moveTo>
                <a:cubicBezTo>
                  <a:pt x="3" y="110"/>
                  <a:pt x="3" y="110"/>
                  <a:pt x="3" y="110"/>
                </a:cubicBezTo>
                <a:cubicBezTo>
                  <a:pt x="3" y="1"/>
                  <a:pt x="3" y="1"/>
                  <a:pt x="3" y="1"/>
                </a:cubicBezTo>
                <a:cubicBezTo>
                  <a:pt x="81" y="83"/>
                  <a:pt x="81" y="83"/>
                  <a:pt x="81" y="83"/>
                </a:cubicBezTo>
                <a:cubicBezTo>
                  <a:pt x="81" y="7"/>
                  <a:pt x="81" y="7"/>
                  <a:pt x="81" y="7"/>
                </a:cubicBezTo>
                <a:cubicBezTo>
                  <a:pt x="95" y="7"/>
                  <a:pt x="95" y="7"/>
                  <a:pt x="95" y="7"/>
                </a:cubicBezTo>
                <a:cubicBezTo>
                  <a:pt x="95" y="117"/>
                  <a:pt x="95" y="117"/>
                  <a:pt x="95" y="117"/>
                </a:cubicBezTo>
                <a:cubicBezTo>
                  <a:pt x="17" y="35"/>
                  <a:pt x="17" y="35"/>
                  <a:pt x="17" y="35"/>
                </a:cubicBezTo>
                <a:lnTo>
                  <a:pt x="17" y="110"/>
                </a:lnTo>
                <a:close/>
                <a:moveTo>
                  <a:pt x="130" y="110"/>
                </a:moveTo>
                <a:cubicBezTo>
                  <a:pt x="145" y="110"/>
                  <a:pt x="145" y="110"/>
                  <a:pt x="145" y="110"/>
                </a:cubicBezTo>
                <a:cubicBezTo>
                  <a:pt x="178" y="33"/>
                  <a:pt x="178" y="33"/>
                  <a:pt x="178" y="33"/>
                </a:cubicBezTo>
                <a:cubicBezTo>
                  <a:pt x="210" y="109"/>
                  <a:pt x="210" y="109"/>
                  <a:pt x="210" y="109"/>
                </a:cubicBezTo>
                <a:cubicBezTo>
                  <a:pt x="210" y="110"/>
                  <a:pt x="210" y="110"/>
                  <a:pt x="210" y="110"/>
                </a:cubicBezTo>
                <a:cubicBezTo>
                  <a:pt x="225" y="110"/>
                  <a:pt x="225" y="110"/>
                  <a:pt x="225" y="110"/>
                </a:cubicBezTo>
                <a:cubicBezTo>
                  <a:pt x="178" y="0"/>
                  <a:pt x="178" y="0"/>
                  <a:pt x="178" y="0"/>
                </a:cubicBezTo>
                <a:lnTo>
                  <a:pt x="130" y="110"/>
                </a:lnTo>
                <a:close/>
                <a:moveTo>
                  <a:pt x="700" y="110"/>
                </a:moveTo>
                <a:cubicBezTo>
                  <a:pt x="715" y="110"/>
                  <a:pt x="715" y="110"/>
                  <a:pt x="715" y="110"/>
                </a:cubicBezTo>
                <a:cubicBezTo>
                  <a:pt x="748" y="33"/>
                  <a:pt x="748" y="33"/>
                  <a:pt x="748" y="33"/>
                </a:cubicBezTo>
                <a:cubicBezTo>
                  <a:pt x="780" y="109"/>
                  <a:pt x="780" y="109"/>
                  <a:pt x="780" y="109"/>
                </a:cubicBezTo>
                <a:cubicBezTo>
                  <a:pt x="780" y="110"/>
                  <a:pt x="780" y="110"/>
                  <a:pt x="780" y="110"/>
                </a:cubicBezTo>
                <a:cubicBezTo>
                  <a:pt x="795" y="110"/>
                  <a:pt x="795" y="110"/>
                  <a:pt x="795" y="110"/>
                </a:cubicBezTo>
                <a:cubicBezTo>
                  <a:pt x="748" y="0"/>
                  <a:pt x="748" y="0"/>
                  <a:pt x="748" y="0"/>
                </a:cubicBezTo>
                <a:lnTo>
                  <a:pt x="700" y="110"/>
                </a:lnTo>
                <a:close/>
                <a:moveTo>
                  <a:pt x="273" y="110"/>
                </a:moveTo>
                <a:cubicBezTo>
                  <a:pt x="286" y="110"/>
                  <a:pt x="286" y="110"/>
                  <a:pt x="286" y="110"/>
                </a:cubicBezTo>
                <a:cubicBezTo>
                  <a:pt x="286" y="20"/>
                  <a:pt x="286" y="20"/>
                  <a:pt x="286" y="20"/>
                </a:cubicBezTo>
                <a:cubicBezTo>
                  <a:pt x="317" y="20"/>
                  <a:pt x="317" y="20"/>
                  <a:pt x="317" y="20"/>
                </a:cubicBezTo>
                <a:cubicBezTo>
                  <a:pt x="317" y="7"/>
                  <a:pt x="317" y="7"/>
                  <a:pt x="317" y="7"/>
                </a:cubicBezTo>
                <a:cubicBezTo>
                  <a:pt x="242" y="7"/>
                  <a:pt x="242" y="7"/>
                  <a:pt x="242" y="7"/>
                </a:cubicBezTo>
                <a:cubicBezTo>
                  <a:pt x="242" y="20"/>
                  <a:pt x="242" y="20"/>
                  <a:pt x="242" y="20"/>
                </a:cubicBezTo>
                <a:cubicBezTo>
                  <a:pt x="273" y="20"/>
                  <a:pt x="273" y="20"/>
                  <a:pt x="273" y="20"/>
                </a:cubicBezTo>
                <a:lnTo>
                  <a:pt x="273" y="110"/>
                </a:lnTo>
                <a:close/>
                <a:moveTo>
                  <a:pt x="374" y="7"/>
                </a:moveTo>
                <a:cubicBezTo>
                  <a:pt x="360" y="7"/>
                  <a:pt x="360" y="7"/>
                  <a:pt x="360" y="7"/>
                </a:cubicBezTo>
                <a:cubicBezTo>
                  <a:pt x="360" y="110"/>
                  <a:pt x="360" y="110"/>
                  <a:pt x="360" y="110"/>
                </a:cubicBezTo>
                <a:cubicBezTo>
                  <a:pt x="374" y="110"/>
                  <a:pt x="374" y="110"/>
                  <a:pt x="374" y="110"/>
                </a:cubicBezTo>
                <a:lnTo>
                  <a:pt x="374" y="7"/>
                </a:lnTo>
                <a:close/>
                <a:moveTo>
                  <a:pt x="475" y="112"/>
                </a:moveTo>
                <a:cubicBezTo>
                  <a:pt x="445" y="112"/>
                  <a:pt x="421" y="88"/>
                  <a:pt x="421" y="59"/>
                </a:cubicBezTo>
                <a:cubicBezTo>
                  <a:pt x="421" y="29"/>
                  <a:pt x="445" y="5"/>
                  <a:pt x="475" y="5"/>
                </a:cubicBezTo>
                <a:cubicBezTo>
                  <a:pt x="505" y="5"/>
                  <a:pt x="528" y="29"/>
                  <a:pt x="528" y="59"/>
                </a:cubicBezTo>
                <a:cubicBezTo>
                  <a:pt x="528" y="88"/>
                  <a:pt x="505" y="112"/>
                  <a:pt x="475" y="112"/>
                </a:cubicBezTo>
                <a:close/>
                <a:moveTo>
                  <a:pt x="475" y="19"/>
                </a:moveTo>
                <a:cubicBezTo>
                  <a:pt x="453" y="19"/>
                  <a:pt x="435" y="37"/>
                  <a:pt x="435" y="59"/>
                </a:cubicBezTo>
                <a:cubicBezTo>
                  <a:pt x="435" y="81"/>
                  <a:pt x="453" y="99"/>
                  <a:pt x="475" y="99"/>
                </a:cubicBezTo>
                <a:cubicBezTo>
                  <a:pt x="497" y="99"/>
                  <a:pt x="514" y="81"/>
                  <a:pt x="514" y="59"/>
                </a:cubicBezTo>
                <a:cubicBezTo>
                  <a:pt x="514" y="37"/>
                  <a:pt x="497" y="19"/>
                  <a:pt x="475" y="19"/>
                </a:cubicBezTo>
                <a:close/>
                <a:moveTo>
                  <a:pt x="586" y="35"/>
                </a:moveTo>
                <a:cubicBezTo>
                  <a:pt x="664" y="117"/>
                  <a:pt x="664" y="117"/>
                  <a:pt x="664" y="117"/>
                </a:cubicBezTo>
                <a:cubicBezTo>
                  <a:pt x="664" y="7"/>
                  <a:pt x="664" y="7"/>
                  <a:pt x="664" y="7"/>
                </a:cubicBezTo>
                <a:cubicBezTo>
                  <a:pt x="650" y="7"/>
                  <a:pt x="650" y="7"/>
                  <a:pt x="650" y="7"/>
                </a:cubicBezTo>
                <a:cubicBezTo>
                  <a:pt x="650" y="83"/>
                  <a:pt x="650" y="83"/>
                  <a:pt x="650" y="83"/>
                </a:cubicBezTo>
                <a:cubicBezTo>
                  <a:pt x="572" y="1"/>
                  <a:pt x="572" y="1"/>
                  <a:pt x="572" y="1"/>
                </a:cubicBezTo>
                <a:cubicBezTo>
                  <a:pt x="572" y="110"/>
                  <a:pt x="572" y="110"/>
                  <a:pt x="572" y="110"/>
                </a:cubicBezTo>
                <a:cubicBezTo>
                  <a:pt x="586" y="110"/>
                  <a:pt x="586" y="110"/>
                  <a:pt x="586" y="110"/>
                </a:cubicBezTo>
                <a:lnTo>
                  <a:pt x="586" y="35"/>
                </a:lnTo>
                <a:close/>
                <a:moveTo>
                  <a:pt x="843" y="7"/>
                </a:moveTo>
                <a:cubicBezTo>
                  <a:pt x="830" y="7"/>
                  <a:pt x="830" y="7"/>
                  <a:pt x="830" y="7"/>
                </a:cubicBezTo>
                <a:cubicBezTo>
                  <a:pt x="830" y="110"/>
                  <a:pt x="830" y="110"/>
                  <a:pt x="830" y="110"/>
                </a:cubicBezTo>
                <a:cubicBezTo>
                  <a:pt x="885" y="110"/>
                  <a:pt x="885" y="110"/>
                  <a:pt x="885" y="110"/>
                </a:cubicBezTo>
                <a:cubicBezTo>
                  <a:pt x="885" y="97"/>
                  <a:pt x="885" y="97"/>
                  <a:pt x="885" y="97"/>
                </a:cubicBezTo>
                <a:cubicBezTo>
                  <a:pt x="843" y="97"/>
                  <a:pt x="843" y="97"/>
                  <a:pt x="843" y="97"/>
                </a:cubicBezTo>
                <a:lnTo>
                  <a:pt x="843" y="7"/>
                </a:lnTo>
                <a:close/>
                <a:moveTo>
                  <a:pt x="169" y="156"/>
                </a:moveTo>
                <a:cubicBezTo>
                  <a:pt x="139" y="156"/>
                  <a:pt x="116" y="179"/>
                  <a:pt x="116" y="209"/>
                </a:cubicBezTo>
                <a:cubicBezTo>
                  <a:pt x="116" y="240"/>
                  <a:pt x="139" y="262"/>
                  <a:pt x="169" y="262"/>
                </a:cubicBezTo>
                <a:cubicBezTo>
                  <a:pt x="175" y="262"/>
                  <a:pt x="188" y="261"/>
                  <a:pt x="200" y="252"/>
                </a:cubicBezTo>
                <a:cubicBezTo>
                  <a:pt x="200" y="252"/>
                  <a:pt x="200" y="252"/>
                  <a:pt x="200" y="252"/>
                </a:cubicBezTo>
                <a:cubicBezTo>
                  <a:pt x="200" y="234"/>
                  <a:pt x="200" y="234"/>
                  <a:pt x="200" y="234"/>
                </a:cubicBezTo>
                <a:cubicBezTo>
                  <a:pt x="198" y="236"/>
                  <a:pt x="198" y="236"/>
                  <a:pt x="198" y="236"/>
                </a:cubicBezTo>
                <a:cubicBezTo>
                  <a:pt x="196" y="239"/>
                  <a:pt x="192" y="242"/>
                  <a:pt x="187" y="245"/>
                </a:cubicBezTo>
                <a:cubicBezTo>
                  <a:pt x="181" y="247"/>
                  <a:pt x="175" y="249"/>
                  <a:pt x="169" y="249"/>
                </a:cubicBezTo>
                <a:cubicBezTo>
                  <a:pt x="142" y="249"/>
                  <a:pt x="130" y="226"/>
                  <a:pt x="130" y="210"/>
                </a:cubicBezTo>
                <a:cubicBezTo>
                  <a:pt x="130" y="187"/>
                  <a:pt x="147" y="169"/>
                  <a:pt x="169" y="169"/>
                </a:cubicBezTo>
                <a:cubicBezTo>
                  <a:pt x="174" y="169"/>
                  <a:pt x="180" y="170"/>
                  <a:pt x="185" y="173"/>
                </a:cubicBezTo>
                <a:cubicBezTo>
                  <a:pt x="190" y="175"/>
                  <a:pt x="194" y="178"/>
                  <a:pt x="198" y="182"/>
                </a:cubicBezTo>
                <a:cubicBezTo>
                  <a:pt x="200" y="184"/>
                  <a:pt x="200" y="184"/>
                  <a:pt x="200" y="184"/>
                </a:cubicBezTo>
                <a:cubicBezTo>
                  <a:pt x="200" y="166"/>
                  <a:pt x="200" y="166"/>
                  <a:pt x="200" y="166"/>
                </a:cubicBezTo>
                <a:cubicBezTo>
                  <a:pt x="200" y="166"/>
                  <a:pt x="200" y="166"/>
                  <a:pt x="200" y="166"/>
                </a:cubicBezTo>
                <a:cubicBezTo>
                  <a:pt x="191" y="159"/>
                  <a:pt x="181" y="156"/>
                  <a:pt x="169" y="156"/>
                </a:cubicBezTo>
                <a:close/>
                <a:moveTo>
                  <a:pt x="437" y="209"/>
                </a:moveTo>
                <a:cubicBezTo>
                  <a:pt x="437" y="225"/>
                  <a:pt x="431" y="238"/>
                  <a:pt x="419" y="249"/>
                </a:cubicBezTo>
                <a:cubicBezTo>
                  <a:pt x="409" y="257"/>
                  <a:pt x="399" y="261"/>
                  <a:pt x="382" y="261"/>
                </a:cubicBezTo>
                <a:cubicBezTo>
                  <a:pt x="360" y="261"/>
                  <a:pt x="360" y="261"/>
                  <a:pt x="360" y="261"/>
                </a:cubicBezTo>
                <a:cubicBezTo>
                  <a:pt x="360" y="157"/>
                  <a:pt x="360" y="157"/>
                  <a:pt x="360" y="157"/>
                </a:cubicBezTo>
                <a:cubicBezTo>
                  <a:pt x="382" y="157"/>
                  <a:pt x="382" y="157"/>
                  <a:pt x="382" y="157"/>
                </a:cubicBezTo>
                <a:cubicBezTo>
                  <a:pt x="393" y="157"/>
                  <a:pt x="407" y="159"/>
                  <a:pt x="420" y="170"/>
                </a:cubicBezTo>
                <a:cubicBezTo>
                  <a:pt x="426" y="175"/>
                  <a:pt x="437" y="187"/>
                  <a:pt x="437" y="209"/>
                </a:cubicBezTo>
                <a:close/>
                <a:moveTo>
                  <a:pt x="423" y="209"/>
                </a:moveTo>
                <a:cubicBezTo>
                  <a:pt x="423" y="186"/>
                  <a:pt x="407" y="171"/>
                  <a:pt x="382" y="171"/>
                </a:cubicBezTo>
                <a:cubicBezTo>
                  <a:pt x="374" y="171"/>
                  <a:pt x="374" y="171"/>
                  <a:pt x="374" y="171"/>
                </a:cubicBezTo>
                <a:cubicBezTo>
                  <a:pt x="374" y="247"/>
                  <a:pt x="374" y="247"/>
                  <a:pt x="374" y="247"/>
                </a:cubicBezTo>
                <a:cubicBezTo>
                  <a:pt x="382" y="247"/>
                  <a:pt x="382" y="247"/>
                  <a:pt x="382" y="247"/>
                </a:cubicBezTo>
                <a:cubicBezTo>
                  <a:pt x="390" y="247"/>
                  <a:pt x="401" y="246"/>
                  <a:pt x="410" y="239"/>
                </a:cubicBezTo>
                <a:cubicBezTo>
                  <a:pt x="416" y="234"/>
                  <a:pt x="423" y="224"/>
                  <a:pt x="423" y="209"/>
                </a:cubicBezTo>
                <a:close/>
                <a:moveTo>
                  <a:pt x="479" y="261"/>
                </a:moveTo>
                <a:cubicBezTo>
                  <a:pt x="541" y="261"/>
                  <a:pt x="541" y="261"/>
                  <a:pt x="541" y="261"/>
                </a:cubicBezTo>
                <a:cubicBezTo>
                  <a:pt x="541" y="247"/>
                  <a:pt x="541" y="247"/>
                  <a:pt x="541" y="247"/>
                </a:cubicBezTo>
                <a:cubicBezTo>
                  <a:pt x="493" y="247"/>
                  <a:pt x="493" y="247"/>
                  <a:pt x="493" y="247"/>
                </a:cubicBezTo>
                <a:cubicBezTo>
                  <a:pt x="493" y="211"/>
                  <a:pt x="493" y="211"/>
                  <a:pt x="493" y="211"/>
                </a:cubicBezTo>
                <a:cubicBezTo>
                  <a:pt x="535" y="211"/>
                  <a:pt x="535" y="211"/>
                  <a:pt x="535" y="211"/>
                </a:cubicBezTo>
                <a:cubicBezTo>
                  <a:pt x="535" y="198"/>
                  <a:pt x="535" y="198"/>
                  <a:pt x="535" y="198"/>
                </a:cubicBezTo>
                <a:cubicBezTo>
                  <a:pt x="493" y="198"/>
                  <a:pt x="493" y="198"/>
                  <a:pt x="493" y="198"/>
                </a:cubicBezTo>
                <a:cubicBezTo>
                  <a:pt x="493" y="171"/>
                  <a:pt x="493" y="171"/>
                  <a:pt x="493" y="171"/>
                </a:cubicBezTo>
                <a:cubicBezTo>
                  <a:pt x="541" y="171"/>
                  <a:pt x="541" y="171"/>
                  <a:pt x="541" y="171"/>
                </a:cubicBezTo>
                <a:cubicBezTo>
                  <a:pt x="541" y="157"/>
                  <a:pt x="541" y="157"/>
                  <a:pt x="541" y="157"/>
                </a:cubicBezTo>
                <a:cubicBezTo>
                  <a:pt x="479" y="157"/>
                  <a:pt x="479" y="157"/>
                  <a:pt x="479" y="157"/>
                </a:cubicBezTo>
                <a:lnTo>
                  <a:pt x="479" y="261"/>
                </a:lnTo>
                <a:close/>
                <a:moveTo>
                  <a:pt x="805" y="261"/>
                </a:moveTo>
                <a:cubicBezTo>
                  <a:pt x="866" y="261"/>
                  <a:pt x="866" y="261"/>
                  <a:pt x="866" y="261"/>
                </a:cubicBezTo>
                <a:cubicBezTo>
                  <a:pt x="866" y="247"/>
                  <a:pt x="866" y="247"/>
                  <a:pt x="866" y="247"/>
                </a:cubicBezTo>
                <a:cubicBezTo>
                  <a:pt x="819" y="247"/>
                  <a:pt x="819" y="247"/>
                  <a:pt x="819" y="247"/>
                </a:cubicBezTo>
                <a:cubicBezTo>
                  <a:pt x="819" y="211"/>
                  <a:pt x="819" y="211"/>
                  <a:pt x="819" y="211"/>
                </a:cubicBezTo>
                <a:cubicBezTo>
                  <a:pt x="860" y="211"/>
                  <a:pt x="860" y="211"/>
                  <a:pt x="860" y="211"/>
                </a:cubicBezTo>
                <a:cubicBezTo>
                  <a:pt x="860" y="198"/>
                  <a:pt x="860" y="198"/>
                  <a:pt x="860" y="198"/>
                </a:cubicBezTo>
                <a:cubicBezTo>
                  <a:pt x="819" y="198"/>
                  <a:pt x="819" y="198"/>
                  <a:pt x="819" y="198"/>
                </a:cubicBezTo>
                <a:cubicBezTo>
                  <a:pt x="819" y="171"/>
                  <a:pt x="819" y="171"/>
                  <a:pt x="819" y="171"/>
                </a:cubicBezTo>
                <a:cubicBezTo>
                  <a:pt x="866" y="171"/>
                  <a:pt x="866" y="171"/>
                  <a:pt x="866" y="171"/>
                </a:cubicBezTo>
                <a:cubicBezTo>
                  <a:pt x="866" y="157"/>
                  <a:pt x="866" y="157"/>
                  <a:pt x="866" y="157"/>
                </a:cubicBezTo>
                <a:cubicBezTo>
                  <a:pt x="805" y="157"/>
                  <a:pt x="805" y="157"/>
                  <a:pt x="805" y="157"/>
                </a:cubicBezTo>
                <a:lnTo>
                  <a:pt x="805" y="261"/>
                </a:lnTo>
                <a:close/>
                <a:moveTo>
                  <a:pt x="634" y="235"/>
                </a:moveTo>
                <a:cubicBezTo>
                  <a:pt x="595" y="149"/>
                  <a:pt x="595" y="149"/>
                  <a:pt x="595" y="149"/>
                </a:cubicBezTo>
                <a:cubicBezTo>
                  <a:pt x="578" y="261"/>
                  <a:pt x="578" y="261"/>
                  <a:pt x="578" y="261"/>
                </a:cubicBezTo>
                <a:cubicBezTo>
                  <a:pt x="592" y="261"/>
                  <a:pt x="592" y="261"/>
                  <a:pt x="592" y="261"/>
                </a:cubicBezTo>
                <a:cubicBezTo>
                  <a:pt x="601" y="194"/>
                  <a:pt x="601" y="194"/>
                  <a:pt x="601" y="194"/>
                </a:cubicBezTo>
                <a:cubicBezTo>
                  <a:pt x="634" y="267"/>
                  <a:pt x="634" y="267"/>
                  <a:pt x="634" y="267"/>
                </a:cubicBezTo>
                <a:cubicBezTo>
                  <a:pt x="668" y="194"/>
                  <a:pt x="668" y="194"/>
                  <a:pt x="668" y="194"/>
                </a:cubicBezTo>
                <a:cubicBezTo>
                  <a:pt x="677" y="261"/>
                  <a:pt x="677" y="261"/>
                  <a:pt x="677" y="261"/>
                </a:cubicBezTo>
                <a:cubicBezTo>
                  <a:pt x="691" y="261"/>
                  <a:pt x="691" y="261"/>
                  <a:pt x="691" y="261"/>
                </a:cubicBezTo>
                <a:cubicBezTo>
                  <a:pt x="674" y="148"/>
                  <a:pt x="674" y="148"/>
                  <a:pt x="674" y="148"/>
                </a:cubicBezTo>
                <a:lnTo>
                  <a:pt x="634" y="235"/>
                </a:lnTo>
                <a:close/>
                <a:moveTo>
                  <a:pt x="737" y="261"/>
                </a:moveTo>
                <a:cubicBezTo>
                  <a:pt x="751" y="261"/>
                  <a:pt x="751" y="261"/>
                  <a:pt x="751" y="261"/>
                </a:cubicBezTo>
                <a:cubicBezTo>
                  <a:pt x="751" y="157"/>
                  <a:pt x="751" y="157"/>
                  <a:pt x="751" y="157"/>
                </a:cubicBezTo>
                <a:cubicBezTo>
                  <a:pt x="737" y="157"/>
                  <a:pt x="737" y="157"/>
                  <a:pt x="737" y="157"/>
                </a:cubicBezTo>
                <a:lnTo>
                  <a:pt x="737" y="261"/>
                </a:lnTo>
                <a:close/>
                <a:moveTo>
                  <a:pt x="955" y="211"/>
                </a:moveTo>
                <a:cubicBezTo>
                  <a:pt x="950" y="207"/>
                  <a:pt x="945" y="204"/>
                  <a:pt x="939" y="201"/>
                </a:cubicBezTo>
                <a:cubicBezTo>
                  <a:pt x="929" y="197"/>
                  <a:pt x="929" y="197"/>
                  <a:pt x="929" y="197"/>
                </a:cubicBezTo>
                <a:cubicBezTo>
                  <a:pt x="925" y="195"/>
                  <a:pt x="922" y="194"/>
                  <a:pt x="919" y="191"/>
                </a:cubicBezTo>
                <a:cubicBezTo>
                  <a:pt x="916" y="189"/>
                  <a:pt x="916" y="187"/>
                  <a:pt x="916" y="183"/>
                </a:cubicBezTo>
                <a:cubicBezTo>
                  <a:pt x="916" y="175"/>
                  <a:pt x="922" y="169"/>
                  <a:pt x="931" y="169"/>
                </a:cubicBezTo>
                <a:cubicBezTo>
                  <a:pt x="936" y="169"/>
                  <a:pt x="940" y="171"/>
                  <a:pt x="942" y="172"/>
                </a:cubicBezTo>
                <a:cubicBezTo>
                  <a:pt x="944" y="174"/>
                  <a:pt x="946" y="177"/>
                  <a:pt x="947" y="179"/>
                </a:cubicBezTo>
                <a:cubicBezTo>
                  <a:pt x="948" y="181"/>
                  <a:pt x="948" y="181"/>
                  <a:pt x="948" y="181"/>
                </a:cubicBezTo>
                <a:cubicBezTo>
                  <a:pt x="959" y="173"/>
                  <a:pt x="959" y="173"/>
                  <a:pt x="959" y="173"/>
                </a:cubicBezTo>
                <a:cubicBezTo>
                  <a:pt x="958" y="172"/>
                  <a:pt x="958" y="172"/>
                  <a:pt x="958" y="172"/>
                </a:cubicBezTo>
                <a:cubicBezTo>
                  <a:pt x="956" y="167"/>
                  <a:pt x="952" y="163"/>
                  <a:pt x="948" y="161"/>
                </a:cubicBezTo>
                <a:cubicBezTo>
                  <a:pt x="943" y="157"/>
                  <a:pt x="938" y="156"/>
                  <a:pt x="931" y="156"/>
                </a:cubicBezTo>
                <a:cubicBezTo>
                  <a:pt x="914" y="156"/>
                  <a:pt x="902" y="167"/>
                  <a:pt x="902" y="183"/>
                </a:cubicBezTo>
                <a:cubicBezTo>
                  <a:pt x="902" y="190"/>
                  <a:pt x="904" y="195"/>
                  <a:pt x="909" y="200"/>
                </a:cubicBezTo>
                <a:cubicBezTo>
                  <a:pt x="913" y="205"/>
                  <a:pt x="918" y="207"/>
                  <a:pt x="922" y="209"/>
                </a:cubicBezTo>
                <a:cubicBezTo>
                  <a:pt x="932" y="213"/>
                  <a:pt x="932" y="213"/>
                  <a:pt x="932" y="213"/>
                </a:cubicBezTo>
                <a:cubicBezTo>
                  <a:pt x="937" y="215"/>
                  <a:pt x="941" y="217"/>
                  <a:pt x="944" y="220"/>
                </a:cubicBezTo>
                <a:cubicBezTo>
                  <a:pt x="947" y="223"/>
                  <a:pt x="948" y="226"/>
                  <a:pt x="948" y="231"/>
                </a:cubicBezTo>
                <a:cubicBezTo>
                  <a:pt x="948" y="240"/>
                  <a:pt x="942" y="249"/>
                  <a:pt x="929" y="249"/>
                </a:cubicBezTo>
                <a:cubicBezTo>
                  <a:pt x="924" y="249"/>
                  <a:pt x="919" y="247"/>
                  <a:pt x="916" y="244"/>
                </a:cubicBezTo>
                <a:cubicBezTo>
                  <a:pt x="913" y="241"/>
                  <a:pt x="911" y="236"/>
                  <a:pt x="910" y="232"/>
                </a:cubicBezTo>
                <a:cubicBezTo>
                  <a:pt x="910" y="230"/>
                  <a:pt x="910" y="230"/>
                  <a:pt x="910" y="230"/>
                </a:cubicBezTo>
                <a:cubicBezTo>
                  <a:pt x="896" y="234"/>
                  <a:pt x="896" y="234"/>
                  <a:pt x="896" y="234"/>
                </a:cubicBezTo>
                <a:cubicBezTo>
                  <a:pt x="897" y="235"/>
                  <a:pt x="897" y="235"/>
                  <a:pt x="897" y="235"/>
                </a:cubicBezTo>
                <a:cubicBezTo>
                  <a:pt x="898" y="243"/>
                  <a:pt x="902" y="249"/>
                  <a:pt x="906" y="254"/>
                </a:cubicBezTo>
                <a:cubicBezTo>
                  <a:pt x="912" y="260"/>
                  <a:pt x="920" y="262"/>
                  <a:pt x="929" y="262"/>
                </a:cubicBezTo>
                <a:cubicBezTo>
                  <a:pt x="948" y="262"/>
                  <a:pt x="962" y="249"/>
                  <a:pt x="962" y="230"/>
                </a:cubicBezTo>
                <a:cubicBezTo>
                  <a:pt x="962" y="222"/>
                  <a:pt x="960" y="216"/>
                  <a:pt x="955" y="211"/>
                </a:cubicBezTo>
                <a:close/>
                <a:moveTo>
                  <a:pt x="0" y="261"/>
                </a:moveTo>
                <a:cubicBezTo>
                  <a:pt x="15" y="261"/>
                  <a:pt x="15" y="261"/>
                  <a:pt x="15" y="261"/>
                </a:cubicBezTo>
                <a:cubicBezTo>
                  <a:pt x="48" y="184"/>
                  <a:pt x="48" y="184"/>
                  <a:pt x="48" y="184"/>
                </a:cubicBezTo>
                <a:cubicBezTo>
                  <a:pt x="79" y="260"/>
                  <a:pt x="79" y="260"/>
                  <a:pt x="79" y="260"/>
                </a:cubicBezTo>
                <a:cubicBezTo>
                  <a:pt x="80" y="261"/>
                  <a:pt x="80" y="261"/>
                  <a:pt x="80" y="261"/>
                </a:cubicBezTo>
                <a:cubicBezTo>
                  <a:pt x="95" y="261"/>
                  <a:pt x="95" y="261"/>
                  <a:pt x="95" y="261"/>
                </a:cubicBezTo>
                <a:cubicBezTo>
                  <a:pt x="48" y="151"/>
                  <a:pt x="48" y="151"/>
                  <a:pt x="48" y="151"/>
                </a:cubicBezTo>
                <a:lnTo>
                  <a:pt x="0" y="261"/>
                </a:lnTo>
                <a:close/>
                <a:moveTo>
                  <a:pt x="229" y="261"/>
                </a:moveTo>
                <a:cubicBezTo>
                  <a:pt x="244" y="261"/>
                  <a:pt x="244" y="261"/>
                  <a:pt x="244" y="261"/>
                </a:cubicBezTo>
                <a:cubicBezTo>
                  <a:pt x="277" y="184"/>
                  <a:pt x="277" y="184"/>
                  <a:pt x="277" y="184"/>
                </a:cubicBezTo>
                <a:cubicBezTo>
                  <a:pt x="309" y="260"/>
                  <a:pt x="309" y="260"/>
                  <a:pt x="309" y="260"/>
                </a:cubicBezTo>
                <a:cubicBezTo>
                  <a:pt x="309" y="261"/>
                  <a:pt x="309" y="261"/>
                  <a:pt x="309" y="261"/>
                </a:cubicBezTo>
                <a:cubicBezTo>
                  <a:pt x="324" y="261"/>
                  <a:pt x="324" y="261"/>
                  <a:pt x="324" y="261"/>
                </a:cubicBezTo>
                <a:cubicBezTo>
                  <a:pt x="277" y="151"/>
                  <a:pt x="277" y="151"/>
                  <a:pt x="277" y="151"/>
                </a:cubicBezTo>
                <a:lnTo>
                  <a:pt x="229" y="261"/>
                </a:lnTo>
                <a:close/>
                <a:moveTo>
                  <a:pt x="1071" y="11"/>
                </a:moveTo>
                <a:cubicBezTo>
                  <a:pt x="1071" y="18"/>
                  <a:pt x="1071" y="18"/>
                  <a:pt x="1071" y="18"/>
                </a:cubicBezTo>
                <a:cubicBezTo>
                  <a:pt x="1075" y="18"/>
                  <a:pt x="1075" y="18"/>
                  <a:pt x="1075" y="18"/>
                </a:cubicBezTo>
                <a:cubicBezTo>
                  <a:pt x="1077" y="9"/>
                  <a:pt x="1077" y="9"/>
                  <a:pt x="1077" y="9"/>
                </a:cubicBezTo>
                <a:cubicBezTo>
                  <a:pt x="1076" y="8"/>
                  <a:pt x="1074" y="7"/>
                  <a:pt x="1072" y="6"/>
                </a:cubicBezTo>
                <a:cubicBezTo>
                  <a:pt x="1070" y="6"/>
                  <a:pt x="1067" y="6"/>
                  <a:pt x="1064" y="6"/>
                </a:cubicBezTo>
                <a:cubicBezTo>
                  <a:pt x="1061" y="6"/>
                  <a:pt x="1058" y="6"/>
                  <a:pt x="1056" y="7"/>
                </a:cubicBezTo>
                <a:cubicBezTo>
                  <a:pt x="1053" y="9"/>
                  <a:pt x="1051" y="10"/>
                  <a:pt x="1049" y="12"/>
                </a:cubicBezTo>
                <a:cubicBezTo>
                  <a:pt x="1048" y="14"/>
                  <a:pt x="1047" y="17"/>
                  <a:pt x="1047" y="20"/>
                </a:cubicBezTo>
                <a:cubicBezTo>
                  <a:pt x="1047" y="22"/>
                  <a:pt x="1048" y="24"/>
                  <a:pt x="1049" y="26"/>
                </a:cubicBezTo>
                <a:cubicBezTo>
                  <a:pt x="1050" y="28"/>
                  <a:pt x="1051" y="30"/>
                  <a:pt x="1053" y="31"/>
                </a:cubicBezTo>
                <a:cubicBezTo>
                  <a:pt x="1055" y="32"/>
                  <a:pt x="1057" y="34"/>
                  <a:pt x="1059" y="35"/>
                </a:cubicBezTo>
                <a:cubicBezTo>
                  <a:pt x="1062" y="37"/>
                  <a:pt x="1064" y="39"/>
                  <a:pt x="1066" y="40"/>
                </a:cubicBezTo>
                <a:cubicBezTo>
                  <a:pt x="1067" y="42"/>
                  <a:pt x="1068" y="44"/>
                  <a:pt x="1068" y="47"/>
                </a:cubicBezTo>
                <a:cubicBezTo>
                  <a:pt x="1068" y="49"/>
                  <a:pt x="1067" y="52"/>
                  <a:pt x="1065" y="53"/>
                </a:cubicBezTo>
                <a:cubicBezTo>
                  <a:pt x="1062" y="55"/>
                  <a:pt x="1060" y="56"/>
                  <a:pt x="1057" y="56"/>
                </a:cubicBezTo>
                <a:cubicBezTo>
                  <a:pt x="1055" y="56"/>
                  <a:pt x="1053" y="56"/>
                  <a:pt x="1052" y="55"/>
                </a:cubicBezTo>
                <a:cubicBezTo>
                  <a:pt x="1050" y="55"/>
                  <a:pt x="1049" y="54"/>
                  <a:pt x="1048" y="54"/>
                </a:cubicBezTo>
                <a:cubicBezTo>
                  <a:pt x="1048" y="46"/>
                  <a:pt x="1048" y="46"/>
                  <a:pt x="1048" y="46"/>
                </a:cubicBezTo>
                <a:cubicBezTo>
                  <a:pt x="1044" y="46"/>
                  <a:pt x="1044" y="46"/>
                  <a:pt x="1044" y="46"/>
                </a:cubicBezTo>
                <a:cubicBezTo>
                  <a:pt x="1042" y="56"/>
                  <a:pt x="1042" y="56"/>
                  <a:pt x="1042" y="56"/>
                </a:cubicBezTo>
                <a:cubicBezTo>
                  <a:pt x="1043" y="57"/>
                  <a:pt x="1045" y="58"/>
                  <a:pt x="1048" y="58"/>
                </a:cubicBezTo>
                <a:cubicBezTo>
                  <a:pt x="1051" y="59"/>
                  <a:pt x="1054" y="59"/>
                  <a:pt x="1057" y="59"/>
                </a:cubicBezTo>
                <a:cubicBezTo>
                  <a:pt x="1060" y="59"/>
                  <a:pt x="1063" y="59"/>
                  <a:pt x="1066" y="57"/>
                </a:cubicBezTo>
                <a:cubicBezTo>
                  <a:pt x="1069" y="56"/>
                  <a:pt x="1071" y="54"/>
                  <a:pt x="1073" y="52"/>
                </a:cubicBezTo>
                <a:cubicBezTo>
                  <a:pt x="1074" y="50"/>
                  <a:pt x="1075" y="47"/>
                  <a:pt x="1075" y="44"/>
                </a:cubicBezTo>
                <a:cubicBezTo>
                  <a:pt x="1075" y="42"/>
                  <a:pt x="1074" y="40"/>
                  <a:pt x="1073" y="38"/>
                </a:cubicBezTo>
                <a:cubicBezTo>
                  <a:pt x="1072" y="36"/>
                  <a:pt x="1071" y="35"/>
                  <a:pt x="1069" y="34"/>
                </a:cubicBezTo>
                <a:cubicBezTo>
                  <a:pt x="1068" y="32"/>
                  <a:pt x="1066" y="31"/>
                  <a:pt x="1064" y="29"/>
                </a:cubicBezTo>
                <a:cubicBezTo>
                  <a:pt x="1060" y="27"/>
                  <a:pt x="1058" y="25"/>
                  <a:pt x="1056" y="24"/>
                </a:cubicBezTo>
                <a:cubicBezTo>
                  <a:pt x="1055" y="22"/>
                  <a:pt x="1054" y="20"/>
                  <a:pt x="1054" y="17"/>
                </a:cubicBezTo>
                <a:cubicBezTo>
                  <a:pt x="1054" y="15"/>
                  <a:pt x="1055" y="13"/>
                  <a:pt x="1057" y="11"/>
                </a:cubicBezTo>
                <a:cubicBezTo>
                  <a:pt x="1059" y="10"/>
                  <a:pt x="1061" y="9"/>
                  <a:pt x="1064" y="9"/>
                </a:cubicBezTo>
                <a:cubicBezTo>
                  <a:pt x="1065" y="9"/>
                  <a:pt x="1067" y="9"/>
                  <a:pt x="1068" y="10"/>
                </a:cubicBezTo>
                <a:cubicBezTo>
                  <a:pt x="1069" y="10"/>
                  <a:pt x="1070" y="10"/>
                  <a:pt x="1071" y="11"/>
                </a:cubicBezTo>
                <a:close/>
                <a:moveTo>
                  <a:pt x="1107" y="27"/>
                </a:moveTo>
                <a:cubicBezTo>
                  <a:pt x="1108" y="27"/>
                  <a:pt x="1108" y="27"/>
                  <a:pt x="1108" y="27"/>
                </a:cubicBezTo>
                <a:cubicBezTo>
                  <a:pt x="1110" y="20"/>
                  <a:pt x="1110" y="20"/>
                  <a:pt x="1110" y="20"/>
                </a:cubicBezTo>
                <a:cubicBezTo>
                  <a:pt x="1109" y="20"/>
                  <a:pt x="1108" y="19"/>
                  <a:pt x="1107" y="19"/>
                </a:cubicBezTo>
                <a:cubicBezTo>
                  <a:pt x="1105" y="19"/>
                  <a:pt x="1104" y="19"/>
                  <a:pt x="1102" y="19"/>
                </a:cubicBezTo>
                <a:cubicBezTo>
                  <a:pt x="1098" y="19"/>
                  <a:pt x="1094" y="20"/>
                  <a:pt x="1091" y="22"/>
                </a:cubicBezTo>
                <a:cubicBezTo>
                  <a:pt x="1088" y="25"/>
                  <a:pt x="1086" y="28"/>
                  <a:pt x="1084" y="32"/>
                </a:cubicBezTo>
                <a:cubicBezTo>
                  <a:pt x="1083" y="36"/>
                  <a:pt x="1082" y="40"/>
                  <a:pt x="1082" y="43"/>
                </a:cubicBezTo>
                <a:cubicBezTo>
                  <a:pt x="1082" y="48"/>
                  <a:pt x="1083" y="52"/>
                  <a:pt x="1085" y="55"/>
                </a:cubicBezTo>
                <a:cubicBezTo>
                  <a:pt x="1087" y="58"/>
                  <a:pt x="1091" y="59"/>
                  <a:pt x="1094" y="59"/>
                </a:cubicBezTo>
                <a:cubicBezTo>
                  <a:pt x="1098" y="59"/>
                  <a:pt x="1100" y="59"/>
                  <a:pt x="1102" y="57"/>
                </a:cubicBezTo>
                <a:cubicBezTo>
                  <a:pt x="1105" y="56"/>
                  <a:pt x="1106" y="54"/>
                  <a:pt x="1108" y="53"/>
                </a:cubicBezTo>
                <a:cubicBezTo>
                  <a:pt x="1106" y="50"/>
                  <a:pt x="1106" y="50"/>
                  <a:pt x="1106" y="50"/>
                </a:cubicBezTo>
                <a:cubicBezTo>
                  <a:pt x="1105" y="52"/>
                  <a:pt x="1103" y="53"/>
                  <a:pt x="1102" y="54"/>
                </a:cubicBezTo>
                <a:cubicBezTo>
                  <a:pt x="1100" y="54"/>
                  <a:pt x="1099" y="55"/>
                  <a:pt x="1097" y="55"/>
                </a:cubicBezTo>
                <a:cubicBezTo>
                  <a:pt x="1094" y="55"/>
                  <a:pt x="1092" y="54"/>
                  <a:pt x="1091" y="52"/>
                </a:cubicBezTo>
                <a:cubicBezTo>
                  <a:pt x="1090" y="50"/>
                  <a:pt x="1089" y="47"/>
                  <a:pt x="1089" y="43"/>
                </a:cubicBezTo>
                <a:cubicBezTo>
                  <a:pt x="1089" y="39"/>
                  <a:pt x="1090" y="35"/>
                  <a:pt x="1091" y="32"/>
                </a:cubicBezTo>
                <a:cubicBezTo>
                  <a:pt x="1092" y="30"/>
                  <a:pt x="1093" y="27"/>
                  <a:pt x="1095" y="26"/>
                </a:cubicBezTo>
                <a:cubicBezTo>
                  <a:pt x="1097" y="24"/>
                  <a:pt x="1099" y="23"/>
                  <a:pt x="1101" y="23"/>
                </a:cubicBezTo>
                <a:cubicBezTo>
                  <a:pt x="1102" y="23"/>
                  <a:pt x="1105" y="24"/>
                  <a:pt x="1107" y="27"/>
                </a:cubicBezTo>
                <a:close/>
                <a:moveTo>
                  <a:pt x="1124" y="52"/>
                </a:moveTo>
                <a:cubicBezTo>
                  <a:pt x="1129" y="19"/>
                  <a:pt x="1129" y="19"/>
                  <a:pt x="1129" y="19"/>
                </a:cubicBezTo>
                <a:cubicBezTo>
                  <a:pt x="1128" y="19"/>
                  <a:pt x="1128" y="19"/>
                  <a:pt x="1128" y="19"/>
                </a:cubicBezTo>
                <a:cubicBezTo>
                  <a:pt x="1118" y="20"/>
                  <a:pt x="1118" y="20"/>
                  <a:pt x="1118" y="20"/>
                </a:cubicBezTo>
                <a:cubicBezTo>
                  <a:pt x="1117" y="23"/>
                  <a:pt x="1117" y="23"/>
                  <a:pt x="1117" y="23"/>
                </a:cubicBezTo>
                <a:cubicBezTo>
                  <a:pt x="1122" y="24"/>
                  <a:pt x="1122" y="24"/>
                  <a:pt x="1122" y="24"/>
                </a:cubicBezTo>
                <a:cubicBezTo>
                  <a:pt x="1121" y="31"/>
                  <a:pt x="1120" y="37"/>
                  <a:pt x="1119" y="41"/>
                </a:cubicBezTo>
                <a:cubicBezTo>
                  <a:pt x="1118" y="49"/>
                  <a:pt x="1117" y="54"/>
                  <a:pt x="1117" y="55"/>
                </a:cubicBezTo>
                <a:cubicBezTo>
                  <a:pt x="1117" y="56"/>
                  <a:pt x="1118" y="57"/>
                  <a:pt x="1118" y="58"/>
                </a:cubicBezTo>
                <a:cubicBezTo>
                  <a:pt x="1119" y="59"/>
                  <a:pt x="1120" y="59"/>
                  <a:pt x="1122" y="59"/>
                </a:cubicBezTo>
                <a:cubicBezTo>
                  <a:pt x="1124" y="59"/>
                  <a:pt x="1125" y="59"/>
                  <a:pt x="1127" y="58"/>
                </a:cubicBezTo>
                <a:cubicBezTo>
                  <a:pt x="1128" y="57"/>
                  <a:pt x="1129" y="55"/>
                  <a:pt x="1130" y="54"/>
                </a:cubicBezTo>
                <a:cubicBezTo>
                  <a:pt x="1129" y="53"/>
                  <a:pt x="1129" y="53"/>
                  <a:pt x="1129" y="53"/>
                </a:cubicBezTo>
                <a:cubicBezTo>
                  <a:pt x="1128" y="54"/>
                  <a:pt x="1128" y="54"/>
                  <a:pt x="1127" y="54"/>
                </a:cubicBezTo>
                <a:cubicBezTo>
                  <a:pt x="1126" y="55"/>
                  <a:pt x="1126" y="55"/>
                  <a:pt x="1125" y="55"/>
                </a:cubicBezTo>
                <a:cubicBezTo>
                  <a:pt x="1125" y="55"/>
                  <a:pt x="1125" y="55"/>
                  <a:pt x="1125" y="54"/>
                </a:cubicBezTo>
                <a:cubicBezTo>
                  <a:pt x="1124" y="54"/>
                  <a:pt x="1124" y="54"/>
                  <a:pt x="1124" y="53"/>
                </a:cubicBezTo>
                <a:lnTo>
                  <a:pt x="1124" y="52"/>
                </a:lnTo>
                <a:close/>
                <a:moveTo>
                  <a:pt x="1127" y="11"/>
                </a:moveTo>
                <a:cubicBezTo>
                  <a:pt x="1128" y="11"/>
                  <a:pt x="1129" y="11"/>
                  <a:pt x="1130" y="10"/>
                </a:cubicBezTo>
                <a:cubicBezTo>
                  <a:pt x="1131" y="9"/>
                  <a:pt x="1131" y="7"/>
                  <a:pt x="1131" y="6"/>
                </a:cubicBezTo>
                <a:cubicBezTo>
                  <a:pt x="1131" y="5"/>
                  <a:pt x="1131" y="4"/>
                  <a:pt x="1130" y="3"/>
                </a:cubicBezTo>
                <a:cubicBezTo>
                  <a:pt x="1130" y="3"/>
                  <a:pt x="1129" y="2"/>
                  <a:pt x="1128" y="2"/>
                </a:cubicBezTo>
                <a:cubicBezTo>
                  <a:pt x="1126" y="2"/>
                  <a:pt x="1125" y="3"/>
                  <a:pt x="1124" y="4"/>
                </a:cubicBezTo>
                <a:cubicBezTo>
                  <a:pt x="1123" y="5"/>
                  <a:pt x="1123" y="6"/>
                  <a:pt x="1123" y="7"/>
                </a:cubicBezTo>
                <a:cubicBezTo>
                  <a:pt x="1123" y="8"/>
                  <a:pt x="1123" y="9"/>
                  <a:pt x="1124" y="10"/>
                </a:cubicBezTo>
                <a:cubicBezTo>
                  <a:pt x="1125" y="11"/>
                  <a:pt x="1126" y="11"/>
                  <a:pt x="1127" y="11"/>
                </a:cubicBezTo>
                <a:close/>
                <a:moveTo>
                  <a:pt x="1166" y="52"/>
                </a:moveTo>
                <a:cubicBezTo>
                  <a:pt x="1165" y="49"/>
                  <a:pt x="1165" y="49"/>
                  <a:pt x="1165" y="49"/>
                </a:cubicBezTo>
                <a:cubicBezTo>
                  <a:pt x="1163" y="51"/>
                  <a:pt x="1161" y="52"/>
                  <a:pt x="1159" y="53"/>
                </a:cubicBezTo>
                <a:cubicBezTo>
                  <a:pt x="1157" y="54"/>
                  <a:pt x="1155" y="55"/>
                  <a:pt x="1153" y="55"/>
                </a:cubicBezTo>
                <a:cubicBezTo>
                  <a:pt x="1150" y="55"/>
                  <a:pt x="1148" y="54"/>
                  <a:pt x="1147" y="51"/>
                </a:cubicBezTo>
                <a:cubicBezTo>
                  <a:pt x="1145" y="49"/>
                  <a:pt x="1145" y="46"/>
                  <a:pt x="1145" y="43"/>
                </a:cubicBezTo>
                <a:cubicBezTo>
                  <a:pt x="1148" y="43"/>
                  <a:pt x="1151" y="42"/>
                  <a:pt x="1155" y="41"/>
                </a:cubicBezTo>
                <a:cubicBezTo>
                  <a:pt x="1158" y="40"/>
                  <a:pt x="1162" y="38"/>
                  <a:pt x="1164" y="36"/>
                </a:cubicBezTo>
                <a:cubicBezTo>
                  <a:pt x="1167" y="33"/>
                  <a:pt x="1168" y="31"/>
                  <a:pt x="1168" y="27"/>
                </a:cubicBezTo>
                <a:cubicBezTo>
                  <a:pt x="1168" y="25"/>
                  <a:pt x="1167" y="23"/>
                  <a:pt x="1166" y="21"/>
                </a:cubicBezTo>
                <a:cubicBezTo>
                  <a:pt x="1164" y="19"/>
                  <a:pt x="1162" y="19"/>
                  <a:pt x="1158" y="19"/>
                </a:cubicBezTo>
                <a:cubicBezTo>
                  <a:pt x="1154" y="19"/>
                  <a:pt x="1151" y="20"/>
                  <a:pt x="1148" y="22"/>
                </a:cubicBezTo>
                <a:cubicBezTo>
                  <a:pt x="1145" y="24"/>
                  <a:pt x="1142" y="28"/>
                  <a:pt x="1140" y="31"/>
                </a:cubicBezTo>
                <a:cubicBezTo>
                  <a:pt x="1138" y="35"/>
                  <a:pt x="1138" y="40"/>
                  <a:pt x="1138" y="44"/>
                </a:cubicBezTo>
                <a:cubicBezTo>
                  <a:pt x="1138" y="47"/>
                  <a:pt x="1138" y="49"/>
                  <a:pt x="1139" y="52"/>
                </a:cubicBezTo>
                <a:cubicBezTo>
                  <a:pt x="1140" y="54"/>
                  <a:pt x="1142" y="56"/>
                  <a:pt x="1144" y="57"/>
                </a:cubicBezTo>
                <a:cubicBezTo>
                  <a:pt x="1146" y="59"/>
                  <a:pt x="1148" y="59"/>
                  <a:pt x="1151" y="59"/>
                </a:cubicBezTo>
                <a:cubicBezTo>
                  <a:pt x="1155" y="59"/>
                  <a:pt x="1158" y="58"/>
                  <a:pt x="1160" y="57"/>
                </a:cubicBezTo>
                <a:cubicBezTo>
                  <a:pt x="1163" y="55"/>
                  <a:pt x="1165" y="54"/>
                  <a:pt x="1166" y="52"/>
                </a:cubicBezTo>
                <a:close/>
                <a:moveTo>
                  <a:pt x="1157" y="22"/>
                </a:moveTo>
                <a:cubicBezTo>
                  <a:pt x="1158" y="22"/>
                  <a:pt x="1159" y="23"/>
                  <a:pt x="1160" y="24"/>
                </a:cubicBezTo>
                <a:cubicBezTo>
                  <a:pt x="1161" y="25"/>
                  <a:pt x="1161" y="26"/>
                  <a:pt x="1161" y="28"/>
                </a:cubicBezTo>
                <a:cubicBezTo>
                  <a:pt x="1161" y="30"/>
                  <a:pt x="1161" y="32"/>
                  <a:pt x="1159" y="34"/>
                </a:cubicBezTo>
                <a:cubicBezTo>
                  <a:pt x="1157" y="35"/>
                  <a:pt x="1155" y="37"/>
                  <a:pt x="1152" y="38"/>
                </a:cubicBezTo>
                <a:cubicBezTo>
                  <a:pt x="1150" y="39"/>
                  <a:pt x="1147" y="39"/>
                  <a:pt x="1145" y="39"/>
                </a:cubicBezTo>
                <a:cubicBezTo>
                  <a:pt x="1145" y="37"/>
                  <a:pt x="1146" y="34"/>
                  <a:pt x="1147" y="32"/>
                </a:cubicBezTo>
                <a:cubicBezTo>
                  <a:pt x="1148" y="29"/>
                  <a:pt x="1149" y="27"/>
                  <a:pt x="1151" y="25"/>
                </a:cubicBezTo>
                <a:cubicBezTo>
                  <a:pt x="1152" y="23"/>
                  <a:pt x="1154" y="22"/>
                  <a:pt x="1157" y="22"/>
                </a:cubicBezTo>
                <a:close/>
                <a:moveTo>
                  <a:pt x="1187" y="28"/>
                </a:moveTo>
                <a:cubicBezTo>
                  <a:pt x="1188" y="19"/>
                  <a:pt x="1188" y="19"/>
                  <a:pt x="1188" y="19"/>
                </a:cubicBezTo>
                <a:cubicBezTo>
                  <a:pt x="1186" y="19"/>
                  <a:pt x="1186" y="19"/>
                  <a:pt x="1186" y="19"/>
                </a:cubicBezTo>
                <a:cubicBezTo>
                  <a:pt x="1178" y="20"/>
                  <a:pt x="1178" y="20"/>
                  <a:pt x="1178" y="20"/>
                </a:cubicBezTo>
                <a:cubicBezTo>
                  <a:pt x="1177" y="23"/>
                  <a:pt x="1177" y="23"/>
                  <a:pt x="1177" y="23"/>
                </a:cubicBezTo>
                <a:cubicBezTo>
                  <a:pt x="1180" y="25"/>
                  <a:pt x="1180" y="25"/>
                  <a:pt x="1180" y="25"/>
                </a:cubicBezTo>
                <a:cubicBezTo>
                  <a:pt x="1176" y="58"/>
                  <a:pt x="1176" y="58"/>
                  <a:pt x="1176" y="58"/>
                </a:cubicBezTo>
                <a:cubicBezTo>
                  <a:pt x="1183" y="58"/>
                  <a:pt x="1183" y="58"/>
                  <a:pt x="1183" y="58"/>
                </a:cubicBezTo>
                <a:cubicBezTo>
                  <a:pt x="1186" y="33"/>
                  <a:pt x="1186" y="33"/>
                  <a:pt x="1186" y="33"/>
                </a:cubicBezTo>
                <a:cubicBezTo>
                  <a:pt x="1188" y="31"/>
                  <a:pt x="1190" y="28"/>
                  <a:pt x="1192" y="26"/>
                </a:cubicBezTo>
                <a:cubicBezTo>
                  <a:pt x="1194" y="25"/>
                  <a:pt x="1196" y="24"/>
                  <a:pt x="1198" y="24"/>
                </a:cubicBezTo>
                <a:cubicBezTo>
                  <a:pt x="1200" y="24"/>
                  <a:pt x="1201" y="24"/>
                  <a:pt x="1202" y="25"/>
                </a:cubicBezTo>
                <a:cubicBezTo>
                  <a:pt x="1202" y="26"/>
                  <a:pt x="1203" y="27"/>
                  <a:pt x="1203" y="29"/>
                </a:cubicBezTo>
                <a:cubicBezTo>
                  <a:pt x="1203" y="31"/>
                  <a:pt x="1202" y="33"/>
                  <a:pt x="1202" y="35"/>
                </a:cubicBezTo>
                <a:cubicBezTo>
                  <a:pt x="1202" y="37"/>
                  <a:pt x="1201" y="39"/>
                  <a:pt x="1201" y="41"/>
                </a:cubicBezTo>
                <a:cubicBezTo>
                  <a:pt x="1201" y="43"/>
                  <a:pt x="1201" y="43"/>
                  <a:pt x="1201" y="43"/>
                </a:cubicBezTo>
                <a:cubicBezTo>
                  <a:pt x="1200" y="46"/>
                  <a:pt x="1200" y="46"/>
                  <a:pt x="1200" y="46"/>
                </a:cubicBezTo>
                <a:cubicBezTo>
                  <a:pt x="1199" y="51"/>
                  <a:pt x="1199" y="54"/>
                  <a:pt x="1199" y="55"/>
                </a:cubicBezTo>
                <a:cubicBezTo>
                  <a:pt x="1199" y="58"/>
                  <a:pt x="1200" y="59"/>
                  <a:pt x="1203" y="59"/>
                </a:cubicBezTo>
                <a:cubicBezTo>
                  <a:pt x="1205" y="59"/>
                  <a:pt x="1206" y="59"/>
                  <a:pt x="1207" y="58"/>
                </a:cubicBezTo>
                <a:cubicBezTo>
                  <a:pt x="1208" y="58"/>
                  <a:pt x="1209" y="57"/>
                  <a:pt x="1210" y="57"/>
                </a:cubicBezTo>
                <a:cubicBezTo>
                  <a:pt x="1210" y="56"/>
                  <a:pt x="1211" y="55"/>
                  <a:pt x="1211" y="55"/>
                </a:cubicBezTo>
                <a:cubicBezTo>
                  <a:pt x="1210" y="53"/>
                  <a:pt x="1210" y="53"/>
                  <a:pt x="1210" y="53"/>
                </a:cubicBezTo>
                <a:cubicBezTo>
                  <a:pt x="1209" y="54"/>
                  <a:pt x="1208" y="55"/>
                  <a:pt x="1207" y="55"/>
                </a:cubicBezTo>
                <a:cubicBezTo>
                  <a:pt x="1206" y="55"/>
                  <a:pt x="1206" y="54"/>
                  <a:pt x="1206" y="53"/>
                </a:cubicBezTo>
                <a:cubicBezTo>
                  <a:pt x="1206" y="51"/>
                  <a:pt x="1206" y="48"/>
                  <a:pt x="1207" y="45"/>
                </a:cubicBezTo>
                <a:cubicBezTo>
                  <a:pt x="1208" y="41"/>
                  <a:pt x="1208" y="41"/>
                  <a:pt x="1208" y="41"/>
                </a:cubicBezTo>
                <a:cubicBezTo>
                  <a:pt x="1208" y="40"/>
                  <a:pt x="1208" y="40"/>
                  <a:pt x="1208" y="40"/>
                </a:cubicBezTo>
                <a:cubicBezTo>
                  <a:pt x="1209" y="34"/>
                  <a:pt x="1210" y="31"/>
                  <a:pt x="1210" y="29"/>
                </a:cubicBezTo>
                <a:cubicBezTo>
                  <a:pt x="1210" y="25"/>
                  <a:pt x="1209" y="23"/>
                  <a:pt x="1207" y="21"/>
                </a:cubicBezTo>
                <a:cubicBezTo>
                  <a:pt x="1206" y="19"/>
                  <a:pt x="1204" y="19"/>
                  <a:pt x="1201" y="19"/>
                </a:cubicBezTo>
                <a:cubicBezTo>
                  <a:pt x="1199" y="19"/>
                  <a:pt x="1196" y="19"/>
                  <a:pt x="1193" y="21"/>
                </a:cubicBezTo>
                <a:cubicBezTo>
                  <a:pt x="1191" y="23"/>
                  <a:pt x="1189" y="25"/>
                  <a:pt x="1187" y="28"/>
                </a:cubicBezTo>
                <a:close/>
                <a:moveTo>
                  <a:pt x="1243" y="27"/>
                </a:moveTo>
                <a:cubicBezTo>
                  <a:pt x="1245" y="27"/>
                  <a:pt x="1245" y="27"/>
                  <a:pt x="1245" y="27"/>
                </a:cubicBezTo>
                <a:cubicBezTo>
                  <a:pt x="1247" y="20"/>
                  <a:pt x="1247" y="20"/>
                  <a:pt x="1247" y="20"/>
                </a:cubicBezTo>
                <a:cubicBezTo>
                  <a:pt x="1246" y="20"/>
                  <a:pt x="1244" y="19"/>
                  <a:pt x="1243" y="19"/>
                </a:cubicBezTo>
                <a:cubicBezTo>
                  <a:pt x="1241" y="19"/>
                  <a:pt x="1240" y="19"/>
                  <a:pt x="1239" y="19"/>
                </a:cubicBezTo>
                <a:cubicBezTo>
                  <a:pt x="1234" y="19"/>
                  <a:pt x="1231" y="20"/>
                  <a:pt x="1228" y="22"/>
                </a:cubicBezTo>
                <a:cubicBezTo>
                  <a:pt x="1224" y="25"/>
                  <a:pt x="1222" y="28"/>
                  <a:pt x="1220" y="32"/>
                </a:cubicBezTo>
                <a:cubicBezTo>
                  <a:pt x="1219" y="36"/>
                  <a:pt x="1218" y="40"/>
                  <a:pt x="1218" y="43"/>
                </a:cubicBezTo>
                <a:cubicBezTo>
                  <a:pt x="1218" y="48"/>
                  <a:pt x="1219" y="52"/>
                  <a:pt x="1221" y="55"/>
                </a:cubicBezTo>
                <a:cubicBezTo>
                  <a:pt x="1224" y="58"/>
                  <a:pt x="1227" y="59"/>
                  <a:pt x="1231" y="59"/>
                </a:cubicBezTo>
                <a:cubicBezTo>
                  <a:pt x="1234" y="59"/>
                  <a:pt x="1236" y="59"/>
                  <a:pt x="1239" y="57"/>
                </a:cubicBezTo>
                <a:cubicBezTo>
                  <a:pt x="1241" y="56"/>
                  <a:pt x="1243" y="54"/>
                  <a:pt x="1244" y="53"/>
                </a:cubicBezTo>
                <a:cubicBezTo>
                  <a:pt x="1242" y="50"/>
                  <a:pt x="1242" y="50"/>
                  <a:pt x="1242" y="50"/>
                </a:cubicBezTo>
                <a:cubicBezTo>
                  <a:pt x="1241" y="52"/>
                  <a:pt x="1239" y="53"/>
                  <a:pt x="1238" y="54"/>
                </a:cubicBezTo>
                <a:cubicBezTo>
                  <a:pt x="1236" y="54"/>
                  <a:pt x="1235" y="55"/>
                  <a:pt x="1233" y="55"/>
                </a:cubicBezTo>
                <a:cubicBezTo>
                  <a:pt x="1230" y="55"/>
                  <a:pt x="1228" y="54"/>
                  <a:pt x="1227" y="52"/>
                </a:cubicBezTo>
                <a:cubicBezTo>
                  <a:pt x="1226" y="50"/>
                  <a:pt x="1225" y="47"/>
                  <a:pt x="1225" y="43"/>
                </a:cubicBezTo>
                <a:cubicBezTo>
                  <a:pt x="1225" y="39"/>
                  <a:pt x="1226" y="35"/>
                  <a:pt x="1227" y="32"/>
                </a:cubicBezTo>
                <a:cubicBezTo>
                  <a:pt x="1228" y="30"/>
                  <a:pt x="1229" y="27"/>
                  <a:pt x="1231" y="26"/>
                </a:cubicBezTo>
                <a:cubicBezTo>
                  <a:pt x="1233" y="24"/>
                  <a:pt x="1235" y="23"/>
                  <a:pt x="1237" y="23"/>
                </a:cubicBezTo>
                <a:cubicBezTo>
                  <a:pt x="1239" y="23"/>
                  <a:pt x="1241" y="24"/>
                  <a:pt x="1243" y="27"/>
                </a:cubicBezTo>
                <a:close/>
                <a:moveTo>
                  <a:pt x="1279" y="52"/>
                </a:moveTo>
                <a:cubicBezTo>
                  <a:pt x="1277" y="49"/>
                  <a:pt x="1277" y="49"/>
                  <a:pt x="1277" y="49"/>
                </a:cubicBezTo>
                <a:cubicBezTo>
                  <a:pt x="1276" y="51"/>
                  <a:pt x="1274" y="52"/>
                  <a:pt x="1272" y="53"/>
                </a:cubicBezTo>
                <a:cubicBezTo>
                  <a:pt x="1270" y="54"/>
                  <a:pt x="1268" y="55"/>
                  <a:pt x="1266" y="55"/>
                </a:cubicBezTo>
                <a:cubicBezTo>
                  <a:pt x="1263" y="55"/>
                  <a:pt x="1261" y="54"/>
                  <a:pt x="1259" y="51"/>
                </a:cubicBezTo>
                <a:cubicBezTo>
                  <a:pt x="1258" y="49"/>
                  <a:pt x="1257" y="46"/>
                  <a:pt x="1258" y="43"/>
                </a:cubicBezTo>
                <a:cubicBezTo>
                  <a:pt x="1260" y="43"/>
                  <a:pt x="1264" y="42"/>
                  <a:pt x="1267" y="41"/>
                </a:cubicBezTo>
                <a:cubicBezTo>
                  <a:pt x="1271" y="40"/>
                  <a:pt x="1274" y="38"/>
                  <a:pt x="1277" y="36"/>
                </a:cubicBezTo>
                <a:cubicBezTo>
                  <a:pt x="1280" y="33"/>
                  <a:pt x="1281" y="31"/>
                  <a:pt x="1281" y="27"/>
                </a:cubicBezTo>
                <a:cubicBezTo>
                  <a:pt x="1281" y="25"/>
                  <a:pt x="1280" y="23"/>
                  <a:pt x="1278" y="21"/>
                </a:cubicBezTo>
                <a:cubicBezTo>
                  <a:pt x="1277" y="19"/>
                  <a:pt x="1274" y="19"/>
                  <a:pt x="1271" y="19"/>
                </a:cubicBezTo>
                <a:cubicBezTo>
                  <a:pt x="1267" y="19"/>
                  <a:pt x="1264" y="20"/>
                  <a:pt x="1260" y="22"/>
                </a:cubicBezTo>
                <a:cubicBezTo>
                  <a:pt x="1257" y="24"/>
                  <a:pt x="1255" y="28"/>
                  <a:pt x="1253" y="31"/>
                </a:cubicBezTo>
                <a:cubicBezTo>
                  <a:pt x="1251" y="35"/>
                  <a:pt x="1250" y="40"/>
                  <a:pt x="1250" y="44"/>
                </a:cubicBezTo>
                <a:cubicBezTo>
                  <a:pt x="1250" y="47"/>
                  <a:pt x="1251" y="49"/>
                  <a:pt x="1252" y="52"/>
                </a:cubicBezTo>
                <a:cubicBezTo>
                  <a:pt x="1253" y="54"/>
                  <a:pt x="1254" y="56"/>
                  <a:pt x="1256" y="57"/>
                </a:cubicBezTo>
                <a:cubicBezTo>
                  <a:pt x="1258" y="59"/>
                  <a:pt x="1261" y="59"/>
                  <a:pt x="1264" y="59"/>
                </a:cubicBezTo>
                <a:cubicBezTo>
                  <a:pt x="1267" y="59"/>
                  <a:pt x="1270" y="58"/>
                  <a:pt x="1273" y="57"/>
                </a:cubicBezTo>
                <a:cubicBezTo>
                  <a:pt x="1276" y="55"/>
                  <a:pt x="1278" y="54"/>
                  <a:pt x="1279" y="52"/>
                </a:cubicBezTo>
                <a:close/>
                <a:moveTo>
                  <a:pt x="1269" y="22"/>
                </a:moveTo>
                <a:cubicBezTo>
                  <a:pt x="1271" y="22"/>
                  <a:pt x="1272" y="23"/>
                  <a:pt x="1273" y="24"/>
                </a:cubicBezTo>
                <a:cubicBezTo>
                  <a:pt x="1274" y="25"/>
                  <a:pt x="1274" y="26"/>
                  <a:pt x="1274" y="28"/>
                </a:cubicBezTo>
                <a:cubicBezTo>
                  <a:pt x="1274" y="30"/>
                  <a:pt x="1273" y="32"/>
                  <a:pt x="1272" y="34"/>
                </a:cubicBezTo>
                <a:cubicBezTo>
                  <a:pt x="1270" y="35"/>
                  <a:pt x="1268" y="37"/>
                  <a:pt x="1265" y="38"/>
                </a:cubicBezTo>
                <a:cubicBezTo>
                  <a:pt x="1263" y="39"/>
                  <a:pt x="1260" y="39"/>
                  <a:pt x="1258" y="39"/>
                </a:cubicBezTo>
                <a:cubicBezTo>
                  <a:pt x="1258" y="37"/>
                  <a:pt x="1259" y="34"/>
                  <a:pt x="1259" y="32"/>
                </a:cubicBezTo>
                <a:cubicBezTo>
                  <a:pt x="1260" y="29"/>
                  <a:pt x="1262" y="27"/>
                  <a:pt x="1263" y="25"/>
                </a:cubicBezTo>
                <a:cubicBezTo>
                  <a:pt x="1265" y="23"/>
                  <a:pt x="1267" y="22"/>
                  <a:pt x="1269" y="22"/>
                </a:cubicBezTo>
                <a:close/>
                <a:moveTo>
                  <a:pt x="1310" y="25"/>
                </a:moveTo>
                <a:cubicBezTo>
                  <a:pt x="1311" y="20"/>
                  <a:pt x="1311" y="20"/>
                  <a:pt x="1311" y="20"/>
                </a:cubicBezTo>
                <a:cubicBezTo>
                  <a:pt x="1311" y="20"/>
                  <a:pt x="1309" y="19"/>
                  <a:pt x="1308" y="19"/>
                </a:cubicBezTo>
                <a:cubicBezTo>
                  <a:pt x="1306" y="19"/>
                  <a:pt x="1304" y="19"/>
                  <a:pt x="1303" y="19"/>
                </a:cubicBezTo>
                <a:cubicBezTo>
                  <a:pt x="1300" y="19"/>
                  <a:pt x="1298" y="19"/>
                  <a:pt x="1296" y="20"/>
                </a:cubicBezTo>
                <a:cubicBezTo>
                  <a:pt x="1293" y="21"/>
                  <a:pt x="1292" y="22"/>
                  <a:pt x="1291" y="24"/>
                </a:cubicBezTo>
                <a:cubicBezTo>
                  <a:pt x="1289" y="26"/>
                  <a:pt x="1289" y="27"/>
                  <a:pt x="1289" y="30"/>
                </a:cubicBezTo>
                <a:cubicBezTo>
                  <a:pt x="1289" y="34"/>
                  <a:pt x="1291" y="38"/>
                  <a:pt x="1296" y="41"/>
                </a:cubicBezTo>
                <a:cubicBezTo>
                  <a:pt x="1298" y="43"/>
                  <a:pt x="1300" y="44"/>
                  <a:pt x="1301" y="45"/>
                </a:cubicBezTo>
                <a:cubicBezTo>
                  <a:pt x="1302" y="46"/>
                  <a:pt x="1303" y="48"/>
                  <a:pt x="1303" y="50"/>
                </a:cubicBezTo>
                <a:cubicBezTo>
                  <a:pt x="1303" y="51"/>
                  <a:pt x="1302" y="53"/>
                  <a:pt x="1301" y="54"/>
                </a:cubicBezTo>
                <a:cubicBezTo>
                  <a:pt x="1299" y="55"/>
                  <a:pt x="1297" y="55"/>
                  <a:pt x="1295" y="55"/>
                </a:cubicBezTo>
                <a:cubicBezTo>
                  <a:pt x="1293" y="55"/>
                  <a:pt x="1292" y="55"/>
                  <a:pt x="1290" y="54"/>
                </a:cubicBezTo>
                <a:cubicBezTo>
                  <a:pt x="1288" y="53"/>
                  <a:pt x="1287" y="53"/>
                  <a:pt x="1286" y="52"/>
                </a:cubicBezTo>
                <a:cubicBezTo>
                  <a:pt x="1285" y="57"/>
                  <a:pt x="1285" y="57"/>
                  <a:pt x="1285" y="57"/>
                </a:cubicBezTo>
                <a:cubicBezTo>
                  <a:pt x="1285" y="58"/>
                  <a:pt x="1287" y="58"/>
                  <a:pt x="1289" y="58"/>
                </a:cubicBezTo>
                <a:cubicBezTo>
                  <a:pt x="1291" y="59"/>
                  <a:pt x="1293" y="59"/>
                  <a:pt x="1295" y="59"/>
                </a:cubicBezTo>
                <a:cubicBezTo>
                  <a:pt x="1299" y="59"/>
                  <a:pt x="1303" y="58"/>
                  <a:pt x="1305" y="56"/>
                </a:cubicBezTo>
                <a:cubicBezTo>
                  <a:pt x="1308" y="54"/>
                  <a:pt x="1309" y="52"/>
                  <a:pt x="1309" y="48"/>
                </a:cubicBezTo>
                <a:cubicBezTo>
                  <a:pt x="1309" y="46"/>
                  <a:pt x="1309" y="45"/>
                  <a:pt x="1308" y="43"/>
                </a:cubicBezTo>
                <a:cubicBezTo>
                  <a:pt x="1307" y="42"/>
                  <a:pt x="1306" y="41"/>
                  <a:pt x="1305" y="40"/>
                </a:cubicBezTo>
                <a:cubicBezTo>
                  <a:pt x="1304" y="39"/>
                  <a:pt x="1303" y="38"/>
                  <a:pt x="1301" y="36"/>
                </a:cubicBezTo>
                <a:cubicBezTo>
                  <a:pt x="1299" y="35"/>
                  <a:pt x="1298" y="34"/>
                  <a:pt x="1297" y="32"/>
                </a:cubicBezTo>
                <a:cubicBezTo>
                  <a:pt x="1296" y="31"/>
                  <a:pt x="1295" y="30"/>
                  <a:pt x="1295" y="28"/>
                </a:cubicBezTo>
                <a:cubicBezTo>
                  <a:pt x="1295" y="26"/>
                  <a:pt x="1296" y="25"/>
                  <a:pt x="1297" y="24"/>
                </a:cubicBezTo>
                <a:cubicBezTo>
                  <a:pt x="1299" y="23"/>
                  <a:pt x="1300" y="23"/>
                  <a:pt x="1303" y="23"/>
                </a:cubicBezTo>
                <a:cubicBezTo>
                  <a:pt x="1304" y="23"/>
                  <a:pt x="1306" y="23"/>
                  <a:pt x="1307" y="24"/>
                </a:cubicBezTo>
                <a:cubicBezTo>
                  <a:pt x="1309" y="24"/>
                  <a:pt x="1310" y="25"/>
                  <a:pt x="1310" y="25"/>
                </a:cubicBezTo>
                <a:close/>
                <a:moveTo>
                  <a:pt x="1047" y="110"/>
                </a:moveTo>
                <a:cubicBezTo>
                  <a:pt x="1052" y="111"/>
                  <a:pt x="1052" y="111"/>
                  <a:pt x="1052" y="111"/>
                </a:cubicBezTo>
                <a:cubicBezTo>
                  <a:pt x="1046" y="156"/>
                  <a:pt x="1046" y="156"/>
                  <a:pt x="1046" y="156"/>
                </a:cubicBezTo>
                <a:cubicBezTo>
                  <a:pt x="1041" y="157"/>
                  <a:pt x="1041" y="157"/>
                  <a:pt x="1041" y="157"/>
                </a:cubicBezTo>
                <a:cubicBezTo>
                  <a:pt x="1041" y="159"/>
                  <a:pt x="1041" y="159"/>
                  <a:pt x="1041" y="159"/>
                </a:cubicBezTo>
                <a:cubicBezTo>
                  <a:pt x="1078" y="159"/>
                  <a:pt x="1078" y="159"/>
                  <a:pt x="1078" y="159"/>
                </a:cubicBezTo>
                <a:cubicBezTo>
                  <a:pt x="1081" y="147"/>
                  <a:pt x="1081" y="147"/>
                  <a:pt x="1081" y="147"/>
                </a:cubicBezTo>
                <a:cubicBezTo>
                  <a:pt x="1077" y="146"/>
                  <a:pt x="1077" y="146"/>
                  <a:pt x="1077" y="146"/>
                </a:cubicBezTo>
                <a:cubicBezTo>
                  <a:pt x="1073" y="155"/>
                  <a:pt x="1073" y="155"/>
                  <a:pt x="1073" y="155"/>
                </a:cubicBezTo>
                <a:cubicBezTo>
                  <a:pt x="1053" y="156"/>
                  <a:pt x="1053" y="156"/>
                  <a:pt x="1053" y="156"/>
                </a:cubicBezTo>
                <a:cubicBezTo>
                  <a:pt x="1056" y="134"/>
                  <a:pt x="1056" y="134"/>
                  <a:pt x="1056" y="134"/>
                </a:cubicBezTo>
                <a:cubicBezTo>
                  <a:pt x="1072" y="135"/>
                  <a:pt x="1072" y="135"/>
                  <a:pt x="1072" y="135"/>
                </a:cubicBezTo>
                <a:cubicBezTo>
                  <a:pt x="1073" y="130"/>
                  <a:pt x="1073" y="130"/>
                  <a:pt x="1073" y="130"/>
                </a:cubicBezTo>
                <a:cubicBezTo>
                  <a:pt x="1057" y="130"/>
                  <a:pt x="1057" y="130"/>
                  <a:pt x="1057" y="130"/>
                </a:cubicBezTo>
                <a:cubicBezTo>
                  <a:pt x="1059" y="110"/>
                  <a:pt x="1059" y="110"/>
                  <a:pt x="1059" y="110"/>
                </a:cubicBezTo>
                <a:cubicBezTo>
                  <a:pt x="1075" y="111"/>
                  <a:pt x="1075" y="111"/>
                  <a:pt x="1075" y="111"/>
                </a:cubicBezTo>
                <a:cubicBezTo>
                  <a:pt x="1076" y="118"/>
                  <a:pt x="1076" y="118"/>
                  <a:pt x="1076" y="118"/>
                </a:cubicBezTo>
                <a:cubicBezTo>
                  <a:pt x="1080" y="118"/>
                  <a:pt x="1080" y="118"/>
                  <a:pt x="1080" y="118"/>
                </a:cubicBezTo>
                <a:cubicBezTo>
                  <a:pt x="1081" y="107"/>
                  <a:pt x="1081" y="107"/>
                  <a:pt x="1081" y="107"/>
                </a:cubicBezTo>
                <a:cubicBezTo>
                  <a:pt x="1048" y="107"/>
                  <a:pt x="1048" y="107"/>
                  <a:pt x="1048" y="107"/>
                </a:cubicBezTo>
                <a:lnTo>
                  <a:pt x="1047" y="110"/>
                </a:lnTo>
                <a:close/>
                <a:moveTo>
                  <a:pt x="1100" y="129"/>
                </a:moveTo>
                <a:cubicBezTo>
                  <a:pt x="1100" y="120"/>
                  <a:pt x="1100" y="120"/>
                  <a:pt x="1100" y="120"/>
                </a:cubicBezTo>
                <a:cubicBezTo>
                  <a:pt x="1099" y="119"/>
                  <a:pt x="1099" y="119"/>
                  <a:pt x="1099" y="119"/>
                </a:cubicBezTo>
                <a:cubicBezTo>
                  <a:pt x="1090" y="121"/>
                  <a:pt x="1090" y="121"/>
                  <a:pt x="1090" y="121"/>
                </a:cubicBezTo>
                <a:cubicBezTo>
                  <a:pt x="1090" y="124"/>
                  <a:pt x="1090" y="124"/>
                  <a:pt x="1090" y="124"/>
                </a:cubicBezTo>
                <a:cubicBezTo>
                  <a:pt x="1093" y="125"/>
                  <a:pt x="1093" y="125"/>
                  <a:pt x="1093" y="125"/>
                </a:cubicBezTo>
                <a:cubicBezTo>
                  <a:pt x="1089" y="159"/>
                  <a:pt x="1089" y="159"/>
                  <a:pt x="1089" y="159"/>
                </a:cubicBezTo>
                <a:cubicBezTo>
                  <a:pt x="1095" y="159"/>
                  <a:pt x="1095" y="159"/>
                  <a:pt x="1095" y="159"/>
                </a:cubicBezTo>
                <a:cubicBezTo>
                  <a:pt x="1099" y="134"/>
                  <a:pt x="1099" y="134"/>
                  <a:pt x="1099" y="134"/>
                </a:cubicBezTo>
                <a:cubicBezTo>
                  <a:pt x="1101" y="131"/>
                  <a:pt x="1103" y="129"/>
                  <a:pt x="1105" y="127"/>
                </a:cubicBezTo>
                <a:cubicBezTo>
                  <a:pt x="1107" y="125"/>
                  <a:pt x="1109" y="124"/>
                  <a:pt x="1111" y="124"/>
                </a:cubicBezTo>
                <a:cubicBezTo>
                  <a:pt x="1113" y="124"/>
                  <a:pt x="1114" y="125"/>
                  <a:pt x="1114" y="126"/>
                </a:cubicBezTo>
                <a:cubicBezTo>
                  <a:pt x="1115" y="127"/>
                  <a:pt x="1115" y="128"/>
                  <a:pt x="1115" y="130"/>
                </a:cubicBezTo>
                <a:cubicBezTo>
                  <a:pt x="1115" y="132"/>
                  <a:pt x="1115" y="134"/>
                  <a:pt x="1115" y="135"/>
                </a:cubicBezTo>
                <a:cubicBezTo>
                  <a:pt x="1115" y="137"/>
                  <a:pt x="1114" y="140"/>
                  <a:pt x="1114" y="142"/>
                </a:cubicBezTo>
                <a:cubicBezTo>
                  <a:pt x="1114" y="144"/>
                  <a:pt x="1114" y="144"/>
                  <a:pt x="1114" y="144"/>
                </a:cubicBezTo>
                <a:cubicBezTo>
                  <a:pt x="1113" y="147"/>
                  <a:pt x="1113" y="147"/>
                  <a:pt x="1113" y="147"/>
                </a:cubicBezTo>
                <a:cubicBezTo>
                  <a:pt x="1112" y="151"/>
                  <a:pt x="1112" y="154"/>
                  <a:pt x="1112" y="156"/>
                </a:cubicBezTo>
                <a:cubicBezTo>
                  <a:pt x="1112" y="159"/>
                  <a:pt x="1113" y="160"/>
                  <a:pt x="1116" y="160"/>
                </a:cubicBezTo>
                <a:cubicBezTo>
                  <a:pt x="1117" y="160"/>
                  <a:pt x="1119" y="160"/>
                  <a:pt x="1120" y="159"/>
                </a:cubicBezTo>
                <a:cubicBezTo>
                  <a:pt x="1121" y="159"/>
                  <a:pt x="1122" y="158"/>
                  <a:pt x="1123" y="157"/>
                </a:cubicBezTo>
                <a:cubicBezTo>
                  <a:pt x="1123" y="157"/>
                  <a:pt x="1124" y="156"/>
                  <a:pt x="1124" y="156"/>
                </a:cubicBezTo>
                <a:cubicBezTo>
                  <a:pt x="1123" y="154"/>
                  <a:pt x="1123" y="154"/>
                  <a:pt x="1123" y="154"/>
                </a:cubicBezTo>
                <a:cubicBezTo>
                  <a:pt x="1122" y="155"/>
                  <a:pt x="1121" y="156"/>
                  <a:pt x="1120" y="156"/>
                </a:cubicBezTo>
                <a:cubicBezTo>
                  <a:pt x="1119" y="156"/>
                  <a:pt x="1119" y="155"/>
                  <a:pt x="1119" y="154"/>
                </a:cubicBezTo>
                <a:cubicBezTo>
                  <a:pt x="1119" y="152"/>
                  <a:pt x="1119" y="149"/>
                  <a:pt x="1120" y="145"/>
                </a:cubicBezTo>
                <a:cubicBezTo>
                  <a:pt x="1121" y="142"/>
                  <a:pt x="1121" y="142"/>
                  <a:pt x="1121" y="142"/>
                </a:cubicBezTo>
                <a:cubicBezTo>
                  <a:pt x="1121" y="140"/>
                  <a:pt x="1121" y="140"/>
                  <a:pt x="1121" y="140"/>
                </a:cubicBezTo>
                <a:cubicBezTo>
                  <a:pt x="1122" y="135"/>
                  <a:pt x="1122" y="132"/>
                  <a:pt x="1122" y="130"/>
                </a:cubicBezTo>
                <a:cubicBezTo>
                  <a:pt x="1122" y="126"/>
                  <a:pt x="1122" y="123"/>
                  <a:pt x="1120" y="122"/>
                </a:cubicBezTo>
                <a:cubicBezTo>
                  <a:pt x="1119" y="120"/>
                  <a:pt x="1117" y="119"/>
                  <a:pt x="1114" y="119"/>
                </a:cubicBezTo>
                <a:cubicBezTo>
                  <a:pt x="1112" y="119"/>
                  <a:pt x="1109" y="120"/>
                  <a:pt x="1106" y="122"/>
                </a:cubicBezTo>
                <a:cubicBezTo>
                  <a:pt x="1104" y="124"/>
                  <a:pt x="1102" y="126"/>
                  <a:pt x="1100" y="129"/>
                </a:cubicBezTo>
                <a:close/>
                <a:moveTo>
                  <a:pt x="1159" y="162"/>
                </a:moveTo>
                <a:cubicBezTo>
                  <a:pt x="1165" y="119"/>
                  <a:pt x="1165" y="119"/>
                  <a:pt x="1165" y="119"/>
                </a:cubicBezTo>
                <a:cubicBezTo>
                  <a:pt x="1160" y="121"/>
                  <a:pt x="1160" y="121"/>
                  <a:pt x="1160" y="121"/>
                </a:cubicBezTo>
                <a:cubicBezTo>
                  <a:pt x="1159" y="121"/>
                  <a:pt x="1158" y="120"/>
                  <a:pt x="1157" y="120"/>
                </a:cubicBezTo>
                <a:cubicBezTo>
                  <a:pt x="1155" y="120"/>
                  <a:pt x="1154" y="119"/>
                  <a:pt x="1153" y="119"/>
                </a:cubicBezTo>
                <a:cubicBezTo>
                  <a:pt x="1148" y="119"/>
                  <a:pt x="1144" y="121"/>
                  <a:pt x="1141" y="123"/>
                </a:cubicBezTo>
                <a:cubicBezTo>
                  <a:pt x="1137" y="126"/>
                  <a:pt x="1135" y="129"/>
                  <a:pt x="1133" y="133"/>
                </a:cubicBezTo>
                <a:cubicBezTo>
                  <a:pt x="1131" y="137"/>
                  <a:pt x="1130" y="141"/>
                  <a:pt x="1130" y="145"/>
                </a:cubicBezTo>
                <a:cubicBezTo>
                  <a:pt x="1130" y="150"/>
                  <a:pt x="1131" y="153"/>
                  <a:pt x="1133" y="156"/>
                </a:cubicBezTo>
                <a:cubicBezTo>
                  <a:pt x="1135" y="159"/>
                  <a:pt x="1138" y="160"/>
                  <a:pt x="1142" y="160"/>
                </a:cubicBezTo>
                <a:cubicBezTo>
                  <a:pt x="1144" y="160"/>
                  <a:pt x="1146" y="159"/>
                  <a:pt x="1148" y="158"/>
                </a:cubicBezTo>
                <a:cubicBezTo>
                  <a:pt x="1150" y="157"/>
                  <a:pt x="1152" y="156"/>
                  <a:pt x="1153" y="155"/>
                </a:cubicBezTo>
                <a:cubicBezTo>
                  <a:pt x="1151" y="164"/>
                  <a:pt x="1151" y="164"/>
                  <a:pt x="1151" y="164"/>
                </a:cubicBezTo>
                <a:cubicBezTo>
                  <a:pt x="1151" y="167"/>
                  <a:pt x="1150" y="169"/>
                  <a:pt x="1149" y="170"/>
                </a:cubicBezTo>
                <a:cubicBezTo>
                  <a:pt x="1147" y="172"/>
                  <a:pt x="1145" y="172"/>
                  <a:pt x="1142" y="172"/>
                </a:cubicBezTo>
                <a:cubicBezTo>
                  <a:pt x="1140" y="172"/>
                  <a:pt x="1139" y="172"/>
                  <a:pt x="1137" y="171"/>
                </a:cubicBezTo>
                <a:cubicBezTo>
                  <a:pt x="1136" y="171"/>
                  <a:pt x="1134" y="170"/>
                  <a:pt x="1133" y="170"/>
                </a:cubicBezTo>
                <a:cubicBezTo>
                  <a:pt x="1132" y="175"/>
                  <a:pt x="1132" y="175"/>
                  <a:pt x="1132" y="175"/>
                </a:cubicBezTo>
                <a:cubicBezTo>
                  <a:pt x="1132" y="176"/>
                  <a:pt x="1134" y="176"/>
                  <a:pt x="1135" y="176"/>
                </a:cubicBezTo>
                <a:cubicBezTo>
                  <a:pt x="1137" y="177"/>
                  <a:pt x="1138" y="177"/>
                  <a:pt x="1140" y="177"/>
                </a:cubicBezTo>
                <a:cubicBezTo>
                  <a:pt x="1142" y="177"/>
                  <a:pt x="1145" y="176"/>
                  <a:pt x="1148" y="175"/>
                </a:cubicBezTo>
                <a:cubicBezTo>
                  <a:pt x="1150" y="174"/>
                  <a:pt x="1153" y="173"/>
                  <a:pt x="1155" y="170"/>
                </a:cubicBezTo>
                <a:cubicBezTo>
                  <a:pt x="1157" y="168"/>
                  <a:pt x="1158" y="165"/>
                  <a:pt x="1159" y="162"/>
                </a:cubicBezTo>
                <a:close/>
                <a:moveTo>
                  <a:pt x="1157" y="125"/>
                </a:moveTo>
                <a:cubicBezTo>
                  <a:pt x="1154" y="150"/>
                  <a:pt x="1154" y="150"/>
                  <a:pt x="1154" y="150"/>
                </a:cubicBezTo>
                <a:cubicBezTo>
                  <a:pt x="1152" y="151"/>
                  <a:pt x="1151" y="153"/>
                  <a:pt x="1149" y="154"/>
                </a:cubicBezTo>
                <a:cubicBezTo>
                  <a:pt x="1148" y="155"/>
                  <a:pt x="1146" y="155"/>
                  <a:pt x="1144" y="155"/>
                </a:cubicBezTo>
                <a:cubicBezTo>
                  <a:pt x="1142" y="155"/>
                  <a:pt x="1140" y="155"/>
                  <a:pt x="1139" y="153"/>
                </a:cubicBezTo>
                <a:cubicBezTo>
                  <a:pt x="1138" y="151"/>
                  <a:pt x="1138" y="148"/>
                  <a:pt x="1138" y="145"/>
                </a:cubicBezTo>
                <a:cubicBezTo>
                  <a:pt x="1138" y="142"/>
                  <a:pt x="1138" y="138"/>
                  <a:pt x="1139" y="135"/>
                </a:cubicBezTo>
                <a:cubicBezTo>
                  <a:pt x="1140" y="132"/>
                  <a:pt x="1142" y="129"/>
                  <a:pt x="1144" y="127"/>
                </a:cubicBezTo>
                <a:cubicBezTo>
                  <a:pt x="1146" y="124"/>
                  <a:pt x="1149" y="123"/>
                  <a:pt x="1152" y="123"/>
                </a:cubicBezTo>
                <a:cubicBezTo>
                  <a:pt x="1154" y="123"/>
                  <a:pt x="1156" y="124"/>
                  <a:pt x="1157" y="125"/>
                </a:cubicBezTo>
                <a:close/>
                <a:moveTo>
                  <a:pt x="1181" y="153"/>
                </a:moveTo>
                <a:cubicBezTo>
                  <a:pt x="1185" y="120"/>
                  <a:pt x="1185" y="120"/>
                  <a:pt x="1185" y="120"/>
                </a:cubicBezTo>
                <a:cubicBezTo>
                  <a:pt x="1184" y="119"/>
                  <a:pt x="1184" y="119"/>
                  <a:pt x="1184" y="119"/>
                </a:cubicBezTo>
                <a:cubicBezTo>
                  <a:pt x="1174" y="121"/>
                  <a:pt x="1174" y="121"/>
                  <a:pt x="1174" y="121"/>
                </a:cubicBezTo>
                <a:cubicBezTo>
                  <a:pt x="1173" y="123"/>
                  <a:pt x="1173" y="123"/>
                  <a:pt x="1173" y="123"/>
                </a:cubicBezTo>
                <a:cubicBezTo>
                  <a:pt x="1178" y="125"/>
                  <a:pt x="1178" y="125"/>
                  <a:pt x="1178" y="125"/>
                </a:cubicBezTo>
                <a:cubicBezTo>
                  <a:pt x="1177" y="132"/>
                  <a:pt x="1176" y="138"/>
                  <a:pt x="1175" y="142"/>
                </a:cubicBezTo>
                <a:cubicBezTo>
                  <a:pt x="1174" y="150"/>
                  <a:pt x="1174" y="154"/>
                  <a:pt x="1173" y="156"/>
                </a:cubicBezTo>
                <a:cubicBezTo>
                  <a:pt x="1173" y="157"/>
                  <a:pt x="1174" y="158"/>
                  <a:pt x="1174" y="159"/>
                </a:cubicBezTo>
                <a:cubicBezTo>
                  <a:pt x="1175" y="160"/>
                  <a:pt x="1176" y="160"/>
                  <a:pt x="1178" y="160"/>
                </a:cubicBezTo>
                <a:cubicBezTo>
                  <a:pt x="1180" y="160"/>
                  <a:pt x="1182" y="159"/>
                  <a:pt x="1183" y="158"/>
                </a:cubicBezTo>
                <a:cubicBezTo>
                  <a:pt x="1184" y="157"/>
                  <a:pt x="1185" y="156"/>
                  <a:pt x="1186" y="155"/>
                </a:cubicBezTo>
                <a:cubicBezTo>
                  <a:pt x="1185" y="154"/>
                  <a:pt x="1185" y="154"/>
                  <a:pt x="1185" y="154"/>
                </a:cubicBezTo>
                <a:cubicBezTo>
                  <a:pt x="1184" y="154"/>
                  <a:pt x="1184" y="155"/>
                  <a:pt x="1183" y="155"/>
                </a:cubicBezTo>
                <a:cubicBezTo>
                  <a:pt x="1183" y="156"/>
                  <a:pt x="1182" y="156"/>
                  <a:pt x="1182" y="156"/>
                </a:cubicBezTo>
                <a:cubicBezTo>
                  <a:pt x="1181" y="156"/>
                  <a:pt x="1181" y="156"/>
                  <a:pt x="1181" y="155"/>
                </a:cubicBezTo>
                <a:cubicBezTo>
                  <a:pt x="1181" y="155"/>
                  <a:pt x="1180" y="155"/>
                  <a:pt x="1180" y="154"/>
                </a:cubicBezTo>
                <a:lnTo>
                  <a:pt x="1181" y="153"/>
                </a:lnTo>
                <a:close/>
                <a:moveTo>
                  <a:pt x="1183" y="112"/>
                </a:moveTo>
                <a:cubicBezTo>
                  <a:pt x="1184" y="112"/>
                  <a:pt x="1185" y="111"/>
                  <a:pt x="1186" y="110"/>
                </a:cubicBezTo>
                <a:cubicBezTo>
                  <a:pt x="1187" y="109"/>
                  <a:pt x="1188" y="108"/>
                  <a:pt x="1188" y="107"/>
                </a:cubicBezTo>
                <a:cubicBezTo>
                  <a:pt x="1188" y="106"/>
                  <a:pt x="1187" y="105"/>
                  <a:pt x="1187" y="104"/>
                </a:cubicBezTo>
                <a:cubicBezTo>
                  <a:pt x="1186" y="103"/>
                  <a:pt x="1185" y="103"/>
                  <a:pt x="1184" y="103"/>
                </a:cubicBezTo>
                <a:cubicBezTo>
                  <a:pt x="1182" y="103"/>
                  <a:pt x="1181" y="103"/>
                  <a:pt x="1180" y="104"/>
                </a:cubicBezTo>
                <a:cubicBezTo>
                  <a:pt x="1180" y="105"/>
                  <a:pt x="1179" y="107"/>
                  <a:pt x="1179" y="108"/>
                </a:cubicBezTo>
                <a:cubicBezTo>
                  <a:pt x="1179" y="109"/>
                  <a:pt x="1179" y="110"/>
                  <a:pt x="1180" y="111"/>
                </a:cubicBezTo>
                <a:cubicBezTo>
                  <a:pt x="1181" y="111"/>
                  <a:pt x="1182" y="112"/>
                  <a:pt x="1183" y="112"/>
                </a:cubicBezTo>
                <a:close/>
                <a:moveTo>
                  <a:pt x="1207" y="129"/>
                </a:moveTo>
                <a:cubicBezTo>
                  <a:pt x="1208" y="120"/>
                  <a:pt x="1208" y="120"/>
                  <a:pt x="1208" y="120"/>
                </a:cubicBezTo>
                <a:cubicBezTo>
                  <a:pt x="1207" y="119"/>
                  <a:pt x="1207" y="119"/>
                  <a:pt x="1207" y="119"/>
                </a:cubicBezTo>
                <a:cubicBezTo>
                  <a:pt x="1198" y="121"/>
                  <a:pt x="1198" y="121"/>
                  <a:pt x="1198" y="121"/>
                </a:cubicBezTo>
                <a:cubicBezTo>
                  <a:pt x="1198" y="124"/>
                  <a:pt x="1198" y="124"/>
                  <a:pt x="1198" y="124"/>
                </a:cubicBezTo>
                <a:cubicBezTo>
                  <a:pt x="1201" y="125"/>
                  <a:pt x="1201" y="125"/>
                  <a:pt x="1201" y="125"/>
                </a:cubicBezTo>
                <a:cubicBezTo>
                  <a:pt x="1196" y="159"/>
                  <a:pt x="1196" y="159"/>
                  <a:pt x="1196" y="159"/>
                </a:cubicBezTo>
                <a:cubicBezTo>
                  <a:pt x="1203" y="159"/>
                  <a:pt x="1203" y="159"/>
                  <a:pt x="1203" y="159"/>
                </a:cubicBezTo>
                <a:cubicBezTo>
                  <a:pt x="1207" y="134"/>
                  <a:pt x="1207" y="134"/>
                  <a:pt x="1207" y="134"/>
                </a:cubicBezTo>
                <a:cubicBezTo>
                  <a:pt x="1208" y="131"/>
                  <a:pt x="1210" y="129"/>
                  <a:pt x="1213" y="127"/>
                </a:cubicBezTo>
                <a:cubicBezTo>
                  <a:pt x="1215" y="125"/>
                  <a:pt x="1217" y="124"/>
                  <a:pt x="1219" y="124"/>
                </a:cubicBezTo>
                <a:cubicBezTo>
                  <a:pt x="1220" y="124"/>
                  <a:pt x="1221" y="125"/>
                  <a:pt x="1222" y="126"/>
                </a:cubicBezTo>
                <a:cubicBezTo>
                  <a:pt x="1223" y="127"/>
                  <a:pt x="1223" y="128"/>
                  <a:pt x="1223" y="130"/>
                </a:cubicBezTo>
                <a:cubicBezTo>
                  <a:pt x="1223" y="132"/>
                  <a:pt x="1223" y="134"/>
                  <a:pt x="1223" y="135"/>
                </a:cubicBezTo>
                <a:cubicBezTo>
                  <a:pt x="1222" y="137"/>
                  <a:pt x="1222" y="140"/>
                  <a:pt x="1222" y="142"/>
                </a:cubicBezTo>
                <a:cubicBezTo>
                  <a:pt x="1221" y="144"/>
                  <a:pt x="1221" y="144"/>
                  <a:pt x="1221" y="144"/>
                </a:cubicBezTo>
                <a:cubicBezTo>
                  <a:pt x="1221" y="147"/>
                  <a:pt x="1221" y="147"/>
                  <a:pt x="1221" y="147"/>
                </a:cubicBezTo>
                <a:cubicBezTo>
                  <a:pt x="1220" y="151"/>
                  <a:pt x="1219" y="154"/>
                  <a:pt x="1219" y="156"/>
                </a:cubicBezTo>
                <a:cubicBezTo>
                  <a:pt x="1219" y="159"/>
                  <a:pt x="1221" y="160"/>
                  <a:pt x="1224" y="160"/>
                </a:cubicBezTo>
                <a:cubicBezTo>
                  <a:pt x="1225" y="160"/>
                  <a:pt x="1226" y="160"/>
                  <a:pt x="1227" y="159"/>
                </a:cubicBezTo>
                <a:cubicBezTo>
                  <a:pt x="1228" y="159"/>
                  <a:pt x="1229" y="158"/>
                  <a:pt x="1230" y="157"/>
                </a:cubicBezTo>
                <a:cubicBezTo>
                  <a:pt x="1231" y="157"/>
                  <a:pt x="1231" y="156"/>
                  <a:pt x="1232" y="156"/>
                </a:cubicBezTo>
                <a:cubicBezTo>
                  <a:pt x="1231" y="154"/>
                  <a:pt x="1231" y="154"/>
                  <a:pt x="1231" y="154"/>
                </a:cubicBezTo>
                <a:cubicBezTo>
                  <a:pt x="1229" y="155"/>
                  <a:pt x="1228" y="156"/>
                  <a:pt x="1227" y="156"/>
                </a:cubicBezTo>
                <a:cubicBezTo>
                  <a:pt x="1227" y="156"/>
                  <a:pt x="1227" y="155"/>
                  <a:pt x="1227" y="154"/>
                </a:cubicBezTo>
                <a:cubicBezTo>
                  <a:pt x="1227" y="152"/>
                  <a:pt x="1227" y="149"/>
                  <a:pt x="1228" y="145"/>
                </a:cubicBezTo>
                <a:cubicBezTo>
                  <a:pt x="1228" y="142"/>
                  <a:pt x="1228" y="142"/>
                  <a:pt x="1228" y="142"/>
                </a:cubicBezTo>
                <a:cubicBezTo>
                  <a:pt x="1229" y="140"/>
                  <a:pt x="1229" y="140"/>
                  <a:pt x="1229" y="140"/>
                </a:cubicBezTo>
                <a:cubicBezTo>
                  <a:pt x="1230" y="135"/>
                  <a:pt x="1230" y="132"/>
                  <a:pt x="1230" y="130"/>
                </a:cubicBezTo>
                <a:cubicBezTo>
                  <a:pt x="1230" y="126"/>
                  <a:pt x="1229" y="123"/>
                  <a:pt x="1228" y="122"/>
                </a:cubicBezTo>
                <a:cubicBezTo>
                  <a:pt x="1227" y="120"/>
                  <a:pt x="1225" y="119"/>
                  <a:pt x="1222" y="119"/>
                </a:cubicBezTo>
                <a:cubicBezTo>
                  <a:pt x="1219" y="119"/>
                  <a:pt x="1217" y="120"/>
                  <a:pt x="1214" y="122"/>
                </a:cubicBezTo>
                <a:cubicBezTo>
                  <a:pt x="1211" y="124"/>
                  <a:pt x="1209" y="126"/>
                  <a:pt x="1207" y="129"/>
                </a:cubicBezTo>
                <a:close/>
                <a:moveTo>
                  <a:pt x="1267" y="153"/>
                </a:moveTo>
                <a:cubicBezTo>
                  <a:pt x="1266" y="150"/>
                  <a:pt x="1266" y="150"/>
                  <a:pt x="1266" y="150"/>
                </a:cubicBezTo>
                <a:cubicBezTo>
                  <a:pt x="1264" y="152"/>
                  <a:pt x="1262" y="153"/>
                  <a:pt x="1260" y="154"/>
                </a:cubicBezTo>
                <a:cubicBezTo>
                  <a:pt x="1258" y="155"/>
                  <a:pt x="1256" y="156"/>
                  <a:pt x="1254" y="156"/>
                </a:cubicBezTo>
                <a:cubicBezTo>
                  <a:pt x="1251" y="156"/>
                  <a:pt x="1249" y="154"/>
                  <a:pt x="1248" y="152"/>
                </a:cubicBezTo>
                <a:cubicBezTo>
                  <a:pt x="1246" y="150"/>
                  <a:pt x="1246" y="147"/>
                  <a:pt x="1246" y="143"/>
                </a:cubicBezTo>
                <a:cubicBezTo>
                  <a:pt x="1249" y="143"/>
                  <a:pt x="1252" y="143"/>
                  <a:pt x="1256" y="142"/>
                </a:cubicBezTo>
                <a:cubicBezTo>
                  <a:pt x="1259" y="140"/>
                  <a:pt x="1263" y="139"/>
                  <a:pt x="1265" y="136"/>
                </a:cubicBezTo>
                <a:cubicBezTo>
                  <a:pt x="1268" y="134"/>
                  <a:pt x="1269" y="131"/>
                  <a:pt x="1269" y="128"/>
                </a:cubicBezTo>
                <a:cubicBezTo>
                  <a:pt x="1269" y="125"/>
                  <a:pt x="1268" y="123"/>
                  <a:pt x="1267" y="122"/>
                </a:cubicBezTo>
                <a:cubicBezTo>
                  <a:pt x="1265" y="120"/>
                  <a:pt x="1263" y="119"/>
                  <a:pt x="1259" y="119"/>
                </a:cubicBezTo>
                <a:cubicBezTo>
                  <a:pt x="1255" y="119"/>
                  <a:pt x="1252" y="121"/>
                  <a:pt x="1249" y="123"/>
                </a:cubicBezTo>
                <a:cubicBezTo>
                  <a:pt x="1246" y="125"/>
                  <a:pt x="1243" y="128"/>
                  <a:pt x="1241" y="132"/>
                </a:cubicBezTo>
                <a:cubicBezTo>
                  <a:pt x="1240" y="136"/>
                  <a:pt x="1239" y="140"/>
                  <a:pt x="1239" y="145"/>
                </a:cubicBezTo>
                <a:cubicBezTo>
                  <a:pt x="1239" y="147"/>
                  <a:pt x="1239" y="150"/>
                  <a:pt x="1240" y="152"/>
                </a:cubicBezTo>
                <a:cubicBezTo>
                  <a:pt x="1241" y="155"/>
                  <a:pt x="1243" y="156"/>
                  <a:pt x="1245" y="158"/>
                </a:cubicBezTo>
                <a:cubicBezTo>
                  <a:pt x="1247" y="159"/>
                  <a:pt x="1249" y="160"/>
                  <a:pt x="1253" y="160"/>
                </a:cubicBezTo>
                <a:cubicBezTo>
                  <a:pt x="1256" y="160"/>
                  <a:pt x="1259" y="159"/>
                  <a:pt x="1261" y="158"/>
                </a:cubicBezTo>
                <a:cubicBezTo>
                  <a:pt x="1264" y="156"/>
                  <a:pt x="1266" y="154"/>
                  <a:pt x="1267" y="153"/>
                </a:cubicBezTo>
                <a:close/>
                <a:moveTo>
                  <a:pt x="1258" y="123"/>
                </a:moveTo>
                <a:cubicBezTo>
                  <a:pt x="1259" y="123"/>
                  <a:pt x="1260" y="124"/>
                  <a:pt x="1261" y="125"/>
                </a:cubicBezTo>
                <a:cubicBezTo>
                  <a:pt x="1262" y="125"/>
                  <a:pt x="1263" y="127"/>
                  <a:pt x="1263" y="129"/>
                </a:cubicBezTo>
                <a:cubicBezTo>
                  <a:pt x="1263" y="131"/>
                  <a:pt x="1262" y="133"/>
                  <a:pt x="1260" y="135"/>
                </a:cubicBezTo>
                <a:cubicBezTo>
                  <a:pt x="1258" y="136"/>
                  <a:pt x="1256" y="138"/>
                  <a:pt x="1253" y="139"/>
                </a:cubicBezTo>
                <a:cubicBezTo>
                  <a:pt x="1251" y="139"/>
                  <a:pt x="1248" y="140"/>
                  <a:pt x="1246" y="140"/>
                </a:cubicBezTo>
                <a:cubicBezTo>
                  <a:pt x="1246" y="138"/>
                  <a:pt x="1247" y="135"/>
                  <a:pt x="1248" y="132"/>
                </a:cubicBezTo>
                <a:cubicBezTo>
                  <a:pt x="1249" y="130"/>
                  <a:pt x="1250" y="127"/>
                  <a:pt x="1252" y="126"/>
                </a:cubicBezTo>
                <a:cubicBezTo>
                  <a:pt x="1254" y="124"/>
                  <a:pt x="1255" y="123"/>
                  <a:pt x="1258" y="123"/>
                </a:cubicBezTo>
                <a:close/>
                <a:moveTo>
                  <a:pt x="1303" y="153"/>
                </a:moveTo>
                <a:cubicBezTo>
                  <a:pt x="1302" y="150"/>
                  <a:pt x="1302" y="150"/>
                  <a:pt x="1302" y="150"/>
                </a:cubicBezTo>
                <a:cubicBezTo>
                  <a:pt x="1300" y="152"/>
                  <a:pt x="1298" y="153"/>
                  <a:pt x="1296" y="154"/>
                </a:cubicBezTo>
                <a:cubicBezTo>
                  <a:pt x="1294" y="155"/>
                  <a:pt x="1292" y="156"/>
                  <a:pt x="1290" y="156"/>
                </a:cubicBezTo>
                <a:cubicBezTo>
                  <a:pt x="1287" y="156"/>
                  <a:pt x="1285" y="154"/>
                  <a:pt x="1284" y="152"/>
                </a:cubicBezTo>
                <a:cubicBezTo>
                  <a:pt x="1282" y="150"/>
                  <a:pt x="1282" y="147"/>
                  <a:pt x="1282" y="143"/>
                </a:cubicBezTo>
                <a:cubicBezTo>
                  <a:pt x="1285" y="143"/>
                  <a:pt x="1288" y="143"/>
                  <a:pt x="1292" y="142"/>
                </a:cubicBezTo>
                <a:cubicBezTo>
                  <a:pt x="1295" y="140"/>
                  <a:pt x="1299" y="139"/>
                  <a:pt x="1301" y="136"/>
                </a:cubicBezTo>
                <a:cubicBezTo>
                  <a:pt x="1304" y="134"/>
                  <a:pt x="1305" y="131"/>
                  <a:pt x="1305" y="128"/>
                </a:cubicBezTo>
                <a:cubicBezTo>
                  <a:pt x="1305" y="125"/>
                  <a:pt x="1304" y="123"/>
                  <a:pt x="1303" y="122"/>
                </a:cubicBezTo>
                <a:cubicBezTo>
                  <a:pt x="1301" y="120"/>
                  <a:pt x="1299" y="119"/>
                  <a:pt x="1295" y="119"/>
                </a:cubicBezTo>
                <a:cubicBezTo>
                  <a:pt x="1291" y="119"/>
                  <a:pt x="1288" y="121"/>
                  <a:pt x="1285" y="123"/>
                </a:cubicBezTo>
                <a:cubicBezTo>
                  <a:pt x="1282" y="125"/>
                  <a:pt x="1279" y="128"/>
                  <a:pt x="1277" y="132"/>
                </a:cubicBezTo>
                <a:cubicBezTo>
                  <a:pt x="1275" y="136"/>
                  <a:pt x="1275" y="140"/>
                  <a:pt x="1275" y="145"/>
                </a:cubicBezTo>
                <a:cubicBezTo>
                  <a:pt x="1275" y="147"/>
                  <a:pt x="1275" y="150"/>
                  <a:pt x="1276" y="152"/>
                </a:cubicBezTo>
                <a:cubicBezTo>
                  <a:pt x="1277" y="155"/>
                  <a:pt x="1279" y="156"/>
                  <a:pt x="1281" y="158"/>
                </a:cubicBezTo>
                <a:cubicBezTo>
                  <a:pt x="1283" y="159"/>
                  <a:pt x="1285" y="160"/>
                  <a:pt x="1288" y="160"/>
                </a:cubicBezTo>
                <a:cubicBezTo>
                  <a:pt x="1292" y="160"/>
                  <a:pt x="1295" y="159"/>
                  <a:pt x="1297" y="158"/>
                </a:cubicBezTo>
                <a:cubicBezTo>
                  <a:pt x="1300" y="156"/>
                  <a:pt x="1302" y="154"/>
                  <a:pt x="1303" y="153"/>
                </a:cubicBezTo>
                <a:close/>
                <a:moveTo>
                  <a:pt x="1294" y="123"/>
                </a:moveTo>
                <a:cubicBezTo>
                  <a:pt x="1295" y="123"/>
                  <a:pt x="1296" y="124"/>
                  <a:pt x="1297" y="125"/>
                </a:cubicBezTo>
                <a:cubicBezTo>
                  <a:pt x="1298" y="125"/>
                  <a:pt x="1298" y="127"/>
                  <a:pt x="1298" y="129"/>
                </a:cubicBezTo>
                <a:cubicBezTo>
                  <a:pt x="1298" y="131"/>
                  <a:pt x="1298" y="133"/>
                  <a:pt x="1296" y="135"/>
                </a:cubicBezTo>
                <a:cubicBezTo>
                  <a:pt x="1294" y="136"/>
                  <a:pt x="1292" y="138"/>
                  <a:pt x="1289" y="139"/>
                </a:cubicBezTo>
                <a:cubicBezTo>
                  <a:pt x="1287" y="139"/>
                  <a:pt x="1284" y="140"/>
                  <a:pt x="1282" y="140"/>
                </a:cubicBezTo>
                <a:cubicBezTo>
                  <a:pt x="1282" y="138"/>
                  <a:pt x="1283" y="135"/>
                  <a:pt x="1284" y="132"/>
                </a:cubicBezTo>
                <a:cubicBezTo>
                  <a:pt x="1285" y="130"/>
                  <a:pt x="1286" y="127"/>
                  <a:pt x="1288" y="126"/>
                </a:cubicBezTo>
                <a:cubicBezTo>
                  <a:pt x="1289" y="124"/>
                  <a:pt x="1291" y="123"/>
                  <a:pt x="1294" y="123"/>
                </a:cubicBezTo>
                <a:close/>
                <a:moveTo>
                  <a:pt x="1322" y="129"/>
                </a:moveTo>
                <a:cubicBezTo>
                  <a:pt x="1323" y="127"/>
                  <a:pt x="1323" y="127"/>
                  <a:pt x="1323" y="127"/>
                </a:cubicBezTo>
                <a:cubicBezTo>
                  <a:pt x="1323" y="120"/>
                  <a:pt x="1323" y="120"/>
                  <a:pt x="1323" y="120"/>
                </a:cubicBezTo>
                <a:cubicBezTo>
                  <a:pt x="1322" y="119"/>
                  <a:pt x="1322" y="119"/>
                  <a:pt x="1322" y="119"/>
                </a:cubicBezTo>
                <a:cubicBezTo>
                  <a:pt x="1314" y="121"/>
                  <a:pt x="1314" y="121"/>
                  <a:pt x="1314" y="121"/>
                </a:cubicBezTo>
                <a:cubicBezTo>
                  <a:pt x="1313" y="124"/>
                  <a:pt x="1313" y="124"/>
                  <a:pt x="1313" y="124"/>
                </a:cubicBezTo>
                <a:cubicBezTo>
                  <a:pt x="1317" y="125"/>
                  <a:pt x="1317" y="125"/>
                  <a:pt x="1317" y="125"/>
                </a:cubicBezTo>
                <a:cubicBezTo>
                  <a:pt x="1312" y="159"/>
                  <a:pt x="1312" y="159"/>
                  <a:pt x="1312" y="159"/>
                </a:cubicBezTo>
                <a:cubicBezTo>
                  <a:pt x="1319" y="159"/>
                  <a:pt x="1319" y="159"/>
                  <a:pt x="1319" y="159"/>
                </a:cubicBezTo>
                <a:cubicBezTo>
                  <a:pt x="1322" y="134"/>
                  <a:pt x="1322" y="134"/>
                  <a:pt x="1322" y="134"/>
                </a:cubicBezTo>
                <a:cubicBezTo>
                  <a:pt x="1323" y="132"/>
                  <a:pt x="1325" y="130"/>
                  <a:pt x="1327" y="129"/>
                </a:cubicBezTo>
                <a:cubicBezTo>
                  <a:pt x="1329" y="127"/>
                  <a:pt x="1331" y="127"/>
                  <a:pt x="1333" y="127"/>
                </a:cubicBezTo>
                <a:cubicBezTo>
                  <a:pt x="1334" y="127"/>
                  <a:pt x="1335" y="127"/>
                  <a:pt x="1336" y="127"/>
                </a:cubicBezTo>
                <a:cubicBezTo>
                  <a:pt x="1338" y="120"/>
                  <a:pt x="1338" y="120"/>
                  <a:pt x="1338" y="120"/>
                </a:cubicBezTo>
                <a:cubicBezTo>
                  <a:pt x="1337" y="120"/>
                  <a:pt x="1336" y="119"/>
                  <a:pt x="1335" y="119"/>
                </a:cubicBezTo>
                <a:cubicBezTo>
                  <a:pt x="1333" y="119"/>
                  <a:pt x="1331" y="120"/>
                  <a:pt x="1330" y="121"/>
                </a:cubicBezTo>
                <a:cubicBezTo>
                  <a:pt x="1328" y="122"/>
                  <a:pt x="1326" y="123"/>
                  <a:pt x="1325" y="125"/>
                </a:cubicBezTo>
                <a:cubicBezTo>
                  <a:pt x="1324" y="126"/>
                  <a:pt x="1323" y="128"/>
                  <a:pt x="1322" y="129"/>
                </a:cubicBezTo>
                <a:close/>
                <a:moveTo>
                  <a:pt x="1349" y="153"/>
                </a:moveTo>
                <a:cubicBezTo>
                  <a:pt x="1354" y="120"/>
                  <a:pt x="1354" y="120"/>
                  <a:pt x="1354" y="120"/>
                </a:cubicBezTo>
                <a:cubicBezTo>
                  <a:pt x="1352" y="119"/>
                  <a:pt x="1352" y="119"/>
                  <a:pt x="1352" y="119"/>
                </a:cubicBezTo>
                <a:cubicBezTo>
                  <a:pt x="1342" y="121"/>
                  <a:pt x="1342" y="121"/>
                  <a:pt x="1342" y="121"/>
                </a:cubicBezTo>
                <a:cubicBezTo>
                  <a:pt x="1342" y="123"/>
                  <a:pt x="1342" y="123"/>
                  <a:pt x="1342" y="123"/>
                </a:cubicBezTo>
                <a:cubicBezTo>
                  <a:pt x="1346" y="125"/>
                  <a:pt x="1346" y="125"/>
                  <a:pt x="1346" y="125"/>
                </a:cubicBezTo>
                <a:cubicBezTo>
                  <a:pt x="1345" y="132"/>
                  <a:pt x="1345" y="138"/>
                  <a:pt x="1344" y="142"/>
                </a:cubicBezTo>
                <a:cubicBezTo>
                  <a:pt x="1343" y="150"/>
                  <a:pt x="1342" y="154"/>
                  <a:pt x="1342" y="156"/>
                </a:cubicBezTo>
                <a:cubicBezTo>
                  <a:pt x="1342" y="157"/>
                  <a:pt x="1342" y="158"/>
                  <a:pt x="1343" y="159"/>
                </a:cubicBezTo>
                <a:cubicBezTo>
                  <a:pt x="1344" y="160"/>
                  <a:pt x="1345" y="160"/>
                  <a:pt x="1347" y="160"/>
                </a:cubicBezTo>
                <a:cubicBezTo>
                  <a:pt x="1349" y="160"/>
                  <a:pt x="1350" y="159"/>
                  <a:pt x="1352" y="158"/>
                </a:cubicBezTo>
                <a:cubicBezTo>
                  <a:pt x="1353" y="157"/>
                  <a:pt x="1354" y="156"/>
                  <a:pt x="1355" y="155"/>
                </a:cubicBezTo>
                <a:cubicBezTo>
                  <a:pt x="1354" y="154"/>
                  <a:pt x="1354" y="154"/>
                  <a:pt x="1354" y="154"/>
                </a:cubicBezTo>
                <a:cubicBezTo>
                  <a:pt x="1353" y="154"/>
                  <a:pt x="1352" y="155"/>
                  <a:pt x="1352" y="155"/>
                </a:cubicBezTo>
                <a:cubicBezTo>
                  <a:pt x="1351" y="156"/>
                  <a:pt x="1351" y="156"/>
                  <a:pt x="1350" y="156"/>
                </a:cubicBezTo>
                <a:cubicBezTo>
                  <a:pt x="1350" y="156"/>
                  <a:pt x="1350" y="156"/>
                  <a:pt x="1349" y="155"/>
                </a:cubicBezTo>
                <a:cubicBezTo>
                  <a:pt x="1349" y="155"/>
                  <a:pt x="1349" y="155"/>
                  <a:pt x="1349" y="154"/>
                </a:cubicBezTo>
                <a:lnTo>
                  <a:pt x="1349" y="153"/>
                </a:lnTo>
                <a:close/>
                <a:moveTo>
                  <a:pt x="1351" y="112"/>
                </a:moveTo>
                <a:cubicBezTo>
                  <a:pt x="1353" y="112"/>
                  <a:pt x="1354" y="111"/>
                  <a:pt x="1355" y="110"/>
                </a:cubicBezTo>
                <a:cubicBezTo>
                  <a:pt x="1356" y="109"/>
                  <a:pt x="1356" y="108"/>
                  <a:pt x="1356" y="107"/>
                </a:cubicBezTo>
                <a:cubicBezTo>
                  <a:pt x="1356" y="106"/>
                  <a:pt x="1356" y="105"/>
                  <a:pt x="1355" y="104"/>
                </a:cubicBezTo>
                <a:cubicBezTo>
                  <a:pt x="1354" y="103"/>
                  <a:pt x="1353" y="103"/>
                  <a:pt x="1352" y="103"/>
                </a:cubicBezTo>
                <a:cubicBezTo>
                  <a:pt x="1351" y="103"/>
                  <a:pt x="1350" y="103"/>
                  <a:pt x="1349" y="104"/>
                </a:cubicBezTo>
                <a:cubicBezTo>
                  <a:pt x="1348" y="105"/>
                  <a:pt x="1348" y="107"/>
                  <a:pt x="1348" y="108"/>
                </a:cubicBezTo>
                <a:cubicBezTo>
                  <a:pt x="1348" y="109"/>
                  <a:pt x="1348" y="110"/>
                  <a:pt x="1349" y="111"/>
                </a:cubicBezTo>
                <a:cubicBezTo>
                  <a:pt x="1350" y="111"/>
                  <a:pt x="1350" y="112"/>
                  <a:pt x="1351" y="112"/>
                </a:cubicBezTo>
                <a:close/>
                <a:moveTo>
                  <a:pt x="1374" y="129"/>
                </a:moveTo>
                <a:cubicBezTo>
                  <a:pt x="1375" y="120"/>
                  <a:pt x="1375" y="120"/>
                  <a:pt x="1375" y="120"/>
                </a:cubicBezTo>
                <a:cubicBezTo>
                  <a:pt x="1374" y="119"/>
                  <a:pt x="1374" y="119"/>
                  <a:pt x="1374" y="119"/>
                </a:cubicBezTo>
                <a:cubicBezTo>
                  <a:pt x="1365" y="121"/>
                  <a:pt x="1365" y="121"/>
                  <a:pt x="1365" y="121"/>
                </a:cubicBezTo>
                <a:cubicBezTo>
                  <a:pt x="1365" y="124"/>
                  <a:pt x="1365" y="124"/>
                  <a:pt x="1365" y="124"/>
                </a:cubicBezTo>
                <a:cubicBezTo>
                  <a:pt x="1368" y="125"/>
                  <a:pt x="1368" y="125"/>
                  <a:pt x="1368" y="125"/>
                </a:cubicBezTo>
                <a:cubicBezTo>
                  <a:pt x="1364" y="159"/>
                  <a:pt x="1364" y="159"/>
                  <a:pt x="1364" y="159"/>
                </a:cubicBezTo>
                <a:cubicBezTo>
                  <a:pt x="1370" y="159"/>
                  <a:pt x="1370" y="159"/>
                  <a:pt x="1370" y="159"/>
                </a:cubicBezTo>
                <a:cubicBezTo>
                  <a:pt x="1374" y="134"/>
                  <a:pt x="1374" y="134"/>
                  <a:pt x="1374" y="134"/>
                </a:cubicBezTo>
                <a:cubicBezTo>
                  <a:pt x="1375" y="131"/>
                  <a:pt x="1377" y="129"/>
                  <a:pt x="1380" y="127"/>
                </a:cubicBezTo>
                <a:cubicBezTo>
                  <a:pt x="1382" y="125"/>
                  <a:pt x="1384" y="124"/>
                  <a:pt x="1386" y="124"/>
                </a:cubicBezTo>
                <a:cubicBezTo>
                  <a:pt x="1388" y="124"/>
                  <a:pt x="1389" y="125"/>
                  <a:pt x="1389" y="126"/>
                </a:cubicBezTo>
                <a:cubicBezTo>
                  <a:pt x="1390" y="127"/>
                  <a:pt x="1390" y="128"/>
                  <a:pt x="1390" y="130"/>
                </a:cubicBezTo>
                <a:cubicBezTo>
                  <a:pt x="1390" y="132"/>
                  <a:pt x="1390" y="134"/>
                  <a:pt x="1390" y="135"/>
                </a:cubicBezTo>
                <a:cubicBezTo>
                  <a:pt x="1390" y="137"/>
                  <a:pt x="1389" y="140"/>
                  <a:pt x="1389" y="142"/>
                </a:cubicBezTo>
                <a:cubicBezTo>
                  <a:pt x="1388" y="144"/>
                  <a:pt x="1388" y="144"/>
                  <a:pt x="1388" y="144"/>
                </a:cubicBezTo>
                <a:cubicBezTo>
                  <a:pt x="1388" y="147"/>
                  <a:pt x="1388" y="147"/>
                  <a:pt x="1388" y="147"/>
                </a:cubicBezTo>
                <a:cubicBezTo>
                  <a:pt x="1387" y="151"/>
                  <a:pt x="1387" y="154"/>
                  <a:pt x="1387" y="156"/>
                </a:cubicBezTo>
                <a:cubicBezTo>
                  <a:pt x="1387" y="159"/>
                  <a:pt x="1388" y="160"/>
                  <a:pt x="1391" y="160"/>
                </a:cubicBezTo>
                <a:cubicBezTo>
                  <a:pt x="1392" y="160"/>
                  <a:pt x="1394" y="160"/>
                  <a:pt x="1395" y="159"/>
                </a:cubicBezTo>
                <a:cubicBezTo>
                  <a:pt x="1396" y="159"/>
                  <a:pt x="1397" y="158"/>
                  <a:pt x="1397" y="157"/>
                </a:cubicBezTo>
                <a:cubicBezTo>
                  <a:pt x="1398" y="157"/>
                  <a:pt x="1399" y="156"/>
                  <a:pt x="1399" y="156"/>
                </a:cubicBezTo>
                <a:cubicBezTo>
                  <a:pt x="1398" y="154"/>
                  <a:pt x="1398" y="154"/>
                  <a:pt x="1398" y="154"/>
                </a:cubicBezTo>
                <a:cubicBezTo>
                  <a:pt x="1397" y="155"/>
                  <a:pt x="1396" y="156"/>
                  <a:pt x="1395" y="156"/>
                </a:cubicBezTo>
                <a:cubicBezTo>
                  <a:pt x="1394" y="156"/>
                  <a:pt x="1394" y="155"/>
                  <a:pt x="1394" y="154"/>
                </a:cubicBezTo>
                <a:cubicBezTo>
                  <a:pt x="1394" y="152"/>
                  <a:pt x="1394" y="149"/>
                  <a:pt x="1395" y="145"/>
                </a:cubicBezTo>
                <a:cubicBezTo>
                  <a:pt x="1395" y="142"/>
                  <a:pt x="1395" y="142"/>
                  <a:pt x="1395" y="142"/>
                </a:cubicBezTo>
                <a:cubicBezTo>
                  <a:pt x="1396" y="140"/>
                  <a:pt x="1396" y="140"/>
                  <a:pt x="1396" y="140"/>
                </a:cubicBezTo>
                <a:cubicBezTo>
                  <a:pt x="1397" y="135"/>
                  <a:pt x="1397" y="132"/>
                  <a:pt x="1397" y="130"/>
                </a:cubicBezTo>
                <a:cubicBezTo>
                  <a:pt x="1397" y="126"/>
                  <a:pt x="1397" y="123"/>
                  <a:pt x="1395" y="122"/>
                </a:cubicBezTo>
                <a:cubicBezTo>
                  <a:pt x="1394" y="120"/>
                  <a:pt x="1392" y="119"/>
                  <a:pt x="1389" y="119"/>
                </a:cubicBezTo>
                <a:cubicBezTo>
                  <a:pt x="1386" y="119"/>
                  <a:pt x="1384" y="120"/>
                  <a:pt x="1381" y="122"/>
                </a:cubicBezTo>
                <a:cubicBezTo>
                  <a:pt x="1379" y="124"/>
                  <a:pt x="1376" y="126"/>
                  <a:pt x="1374" y="129"/>
                </a:cubicBezTo>
                <a:close/>
                <a:moveTo>
                  <a:pt x="1433" y="162"/>
                </a:moveTo>
                <a:cubicBezTo>
                  <a:pt x="1440" y="119"/>
                  <a:pt x="1440" y="119"/>
                  <a:pt x="1440" y="119"/>
                </a:cubicBezTo>
                <a:cubicBezTo>
                  <a:pt x="1435" y="121"/>
                  <a:pt x="1435" y="121"/>
                  <a:pt x="1435" y="121"/>
                </a:cubicBezTo>
                <a:cubicBezTo>
                  <a:pt x="1434" y="121"/>
                  <a:pt x="1433" y="120"/>
                  <a:pt x="1432" y="120"/>
                </a:cubicBezTo>
                <a:cubicBezTo>
                  <a:pt x="1430" y="120"/>
                  <a:pt x="1429" y="119"/>
                  <a:pt x="1428" y="119"/>
                </a:cubicBezTo>
                <a:cubicBezTo>
                  <a:pt x="1423" y="119"/>
                  <a:pt x="1419" y="121"/>
                  <a:pt x="1416" y="123"/>
                </a:cubicBezTo>
                <a:cubicBezTo>
                  <a:pt x="1412" y="126"/>
                  <a:pt x="1410" y="129"/>
                  <a:pt x="1408" y="133"/>
                </a:cubicBezTo>
                <a:cubicBezTo>
                  <a:pt x="1406" y="137"/>
                  <a:pt x="1405" y="141"/>
                  <a:pt x="1405" y="145"/>
                </a:cubicBezTo>
                <a:cubicBezTo>
                  <a:pt x="1405" y="150"/>
                  <a:pt x="1406" y="153"/>
                  <a:pt x="1408" y="156"/>
                </a:cubicBezTo>
                <a:cubicBezTo>
                  <a:pt x="1410" y="159"/>
                  <a:pt x="1413" y="160"/>
                  <a:pt x="1417" y="160"/>
                </a:cubicBezTo>
                <a:cubicBezTo>
                  <a:pt x="1419" y="160"/>
                  <a:pt x="1421" y="159"/>
                  <a:pt x="1423" y="158"/>
                </a:cubicBezTo>
                <a:cubicBezTo>
                  <a:pt x="1425" y="157"/>
                  <a:pt x="1426" y="156"/>
                  <a:pt x="1428" y="155"/>
                </a:cubicBezTo>
                <a:cubicBezTo>
                  <a:pt x="1426" y="164"/>
                  <a:pt x="1426" y="164"/>
                  <a:pt x="1426" y="164"/>
                </a:cubicBezTo>
                <a:cubicBezTo>
                  <a:pt x="1426" y="167"/>
                  <a:pt x="1425" y="169"/>
                  <a:pt x="1424" y="170"/>
                </a:cubicBezTo>
                <a:cubicBezTo>
                  <a:pt x="1422" y="172"/>
                  <a:pt x="1420" y="172"/>
                  <a:pt x="1417" y="172"/>
                </a:cubicBezTo>
                <a:cubicBezTo>
                  <a:pt x="1415" y="172"/>
                  <a:pt x="1414" y="172"/>
                  <a:pt x="1412" y="171"/>
                </a:cubicBezTo>
                <a:cubicBezTo>
                  <a:pt x="1410" y="171"/>
                  <a:pt x="1409" y="170"/>
                  <a:pt x="1408" y="170"/>
                </a:cubicBezTo>
                <a:cubicBezTo>
                  <a:pt x="1406" y="175"/>
                  <a:pt x="1406" y="175"/>
                  <a:pt x="1406" y="175"/>
                </a:cubicBezTo>
                <a:cubicBezTo>
                  <a:pt x="1407" y="176"/>
                  <a:pt x="1408" y="176"/>
                  <a:pt x="1410" y="176"/>
                </a:cubicBezTo>
                <a:cubicBezTo>
                  <a:pt x="1411" y="177"/>
                  <a:pt x="1413" y="177"/>
                  <a:pt x="1414" y="177"/>
                </a:cubicBezTo>
                <a:cubicBezTo>
                  <a:pt x="1417" y="177"/>
                  <a:pt x="1420" y="176"/>
                  <a:pt x="1423" y="175"/>
                </a:cubicBezTo>
                <a:cubicBezTo>
                  <a:pt x="1425" y="174"/>
                  <a:pt x="1428" y="173"/>
                  <a:pt x="1430" y="170"/>
                </a:cubicBezTo>
                <a:cubicBezTo>
                  <a:pt x="1432" y="168"/>
                  <a:pt x="1433" y="165"/>
                  <a:pt x="1433" y="162"/>
                </a:cubicBezTo>
                <a:close/>
                <a:moveTo>
                  <a:pt x="1432" y="125"/>
                </a:moveTo>
                <a:cubicBezTo>
                  <a:pt x="1428" y="150"/>
                  <a:pt x="1428" y="150"/>
                  <a:pt x="1428" y="150"/>
                </a:cubicBezTo>
                <a:cubicBezTo>
                  <a:pt x="1427" y="151"/>
                  <a:pt x="1426" y="153"/>
                  <a:pt x="1424" y="154"/>
                </a:cubicBezTo>
                <a:cubicBezTo>
                  <a:pt x="1423" y="155"/>
                  <a:pt x="1421" y="155"/>
                  <a:pt x="1419" y="155"/>
                </a:cubicBezTo>
                <a:cubicBezTo>
                  <a:pt x="1417" y="155"/>
                  <a:pt x="1415" y="155"/>
                  <a:pt x="1414" y="153"/>
                </a:cubicBezTo>
                <a:cubicBezTo>
                  <a:pt x="1413" y="151"/>
                  <a:pt x="1412" y="148"/>
                  <a:pt x="1412" y="145"/>
                </a:cubicBezTo>
                <a:cubicBezTo>
                  <a:pt x="1412" y="142"/>
                  <a:pt x="1413" y="138"/>
                  <a:pt x="1414" y="135"/>
                </a:cubicBezTo>
                <a:cubicBezTo>
                  <a:pt x="1415" y="132"/>
                  <a:pt x="1417" y="129"/>
                  <a:pt x="1419" y="127"/>
                </a:cubicBezTo>
                <a:cubicBezTo>
                  <a:pt x="1421" y="124"/>
                  <a:pt x="1424" y="123"/>
                  <a:pt x="1427" y="123"/>
                </a:cubicBezTo>
                <a:cubicBezTo>
                  <a:pt x="1429" y="123"/>
                  <a:pt x="1431" y="124"/>
                  <a:pt x="1432" y="125"/>
                </a:cubicBezTo>
                <a:close/>
                <a:moveTo>
                  <a:pt x="1076" y="242"/>
                </a:moveTo>
                <a:cubicBezTo>
                  <a:pt x="1072" y="249"/>
                  <a:pt x="1072" y="249"/>
                  <a:pt x="1072" y="249"/>
                </a:cubicBezTo>
                <a:cubicBezTo>
                  <a:pt x="1072" y="242"/>
                  <a:pt x="1072" y="242"/>
                  <a:pt x="1072" y="242"/>
                </a:cubicBezTo>
                <a:cubicBezTo>
                  <a:pt x="1066" y="208"/>
                  <a:pt x="1066" y="208"/>
                  <a:pt x="1066" y="208"/>
                </a:cubicBezTo>
                <a:cubicBezTo>
                  <a:pt x="1050" y="208"/>
                  <a:pt x="1050" y="208"/>
                  <a:pt x="1050" y="208"/>
                </a:cubicBezTo>
                <a:cubicBezTo>
                  <a:pt x="1049" y="211"/>
                  <a:pt x="1049" y="211"/>
                  <a:pt x="1049" y="211"/>
                </a:cubicBezTo>
                <a:cubicBezTo>
                  <a:pt x="1056" y="212"/>
                  <a:pt x="1056" y="212"/>
                  <a:pt x="1056" y="212"/>
                </a:cubicBezTo>
                <a:cubicBezTo>
                  <a:pt x="1045" y="256"/>
                  <a:pt x="1045" y="256"/>
                  <a:pt x="1045" y="256"/>
                </a:cubicBezTo>
                <a:cubicBezTo>
                  <a:pt x="1039" y="257"/>
                  <a:pt x="1039" y="257"/>
                  <a:pt x="1039" y="257"/>
                </a:cubicBezTo>
                <a:cubicBezTo>
                  <a:pt x="1039" y="260"/>
                  <a:pt x="1039" y="260"/>
                  <a:pt x="1039" y="260"/>
                </a:cubicBezTo>
                <a:cubicBezTo>
                  <a:pt x="1057" y="260"/>
                  <a:pt x="1057" y="260"/>
                  <a:pt x="1057" y="260"/>
                </a:cubicBezTo>
                <a:cubicBezTo>
                  <a:pt x="1057" y="257"/>
                  <a:pt x="1057" y="257"/>
                  <a:pt x="1057" y="257"/>
                </a:cubicBezTo>
                <a:cubicBezTo>
                  <a:pt x="1050" y="256"/>
                  <a:pt x="1050" y="256"/>
                  <a:pt x="1050" y="256"/>
                </a:cubicBezTo>
                <a:cubicBezTo>
                  <a:pt x="1057" y="225"/>
                  <a:pt x="1057" y="225"/>
                  <a:pt x="1057" y="225"/>
                </a:cubicBezTo>
                <a:cubicBezTo>
                  <a:pt x="1060" y="211"/>
                  <a:pt x="1060" y="211"/>
                  <a:pt x="1060" y="211"/>
                </a:cubicBezTo>
                <a:cubicBezTo>
                  <a:pt x="1062" y="225"/>
                  <a:pt x="1062" y="225"/>
                  <a:pt x="1062" y="225"/>
                </a:cubicBezTo>
                <a:cubicBezTo>
                  <a:pt x="1068" y="261"/>
                  <a:pt x="1068" y="261"/>
                  <a:pt x="1068" y="261"/>
                </a:cubicBezTo>
                <a:cubicBezTo>
                  <a:pt x="1072" y="260"/>
                  <a:pt x="1072" y="260"/>
                  <a:pt x="1072" y="260"/>
                </a:cubicBezTo>
                <a:cubicBezTo>
                  <a:pt x="1088" y="224"/>
                  <a:pt x="1088" y="224"/>
                  <a:pt x="1088" y="224"/>
                </a:cubicBezTo>
                <a:cubicBezTo>
                  <a:pt x="1094" y="211"/>
                  <a:pt x="1094" y="211"/>
                  <a:pt x="1094" y="211"/>
                </a:cubicBezTo>
                <a:cubicBezTo>
                  <a:pt x="1093" y="225"/>
                  <a:pt x="1093" y="225"/>
                  <a:pt x="1093" y="225"/>
                </a:cubicBezTo>
                <a:cubicBezTo>
                  <a:pt x="1091" y="256"/>
                  <a:pt x="1091" y="256"/>
                  <a:pt x="1091" y="256"/>
                </a:cubicBezTo>
                <a:cubicBezTo>
                  <a:pt x="1085" y="257"/>
                  <a:pt x="1085" y="257"/>
                  <a:pt x="1085" y="257"/>
                </a:cubicBezTo>
                <a:cubicBezTo>
                  <a:pt x="1084" y="260"/>
                  <a:pt x="1084" y="260"/>
                  <a:pt x="1084" y="260"/>
                </a:cubicBezTo>
                <a:cubicBezTo>
                  <a:pt x="1104" y="260"/>
                  <a:pt x="1104" y="260"/>
                  <a:pt x="1104" y="260"/>
                </a:cubicBezTo>
                <a:cubicBezTo>
                  <a:pt x="1104" y="257"/>
                  <a:pt x="1104" y="257"/>
                  <a:pt x="1104" y="257"/>
                </a:cubicBezTo>
                <a:cubicBezTo>
                  <a:pt x="1098" y="256"/>
                  <a:pt x="1098" y="256"/>
                  <a:pt x="1098" y="256"/>
                </a:cubicBezTo>
                <a:cubicBezTo>
                  <a:pt x="1099" y="212"/>
                  <a:pt x="1099" y="212"/>
                  <a:pt x="1099" y="212"/>
                </a:cubicBezTo>
                <a:cubicBezTo>
                  <a:pt x="1106" y="211"/>
                  <a:pt x="1106" y="211"/>
                  <a:pt x="1106" y="211"/>
                </a:cubicBezTo>
                <a:cubicBezTo>
                  <a:pt x="1106" y="208"/>
                  <a:pt x="1106" y="208"/>
                  <a:pt x="1106" y="208"/>
                </a:cubicBezTo>
                <a:cubicBezTo>
                  <a:pt x="1091" y="208"/>
                  <a:pt x="1091" y="208"/>
                  <a:pt x="1091" y="208"/>
                </a:cubicBezTo>
                <a:cubicBezTo>
                  <a:pt x="1090" y="211"/>
                  <a:pt x="1087" y="217"/>
                  <a:pt x="1083" y="225"/>
                </a:cubicBezTo>
                <a:cubicBezTo>
                  <a:pt x="1079" y="233"/>
                  <a:pt x="1077" y="239"/>
                  <a:pt x="1076" y="242"/>
                </a:cubicBezTo>
                <a:close/>
                <a:moveTo>
                  <a:pt x="1138" y="253"/>
                </a:moveTo>
                <a:cubicBezTo>
                  <a:pt x="1136" y="251"/>
                  <a:pt x="1136" y="251"/>
                  <a:pt x="1136" y="251"/>
                </a:cubicBezTo>
                <a:cubicBezTo>
                  <a:pt x="1134" y="253"/>
                  <a:pt x="1133" y="254"/>
                  <a:pt x="1131" y="255"/>
                </a:cubicBezTo>
                <a:cubicBezTo>
                  <a:pt x="1129" y="256"/>
                  <a:pt x="1126" y="256"/>
                  <a:pt x="1124" y="256"/>
                </a:cubicBezTo>
                <a:cubicBezTo>
                  <a:pt x="1121" y="256"/>
                  <a:pt x="1119" y="255"/>
                  <a:pt x="1118" y="253"/>
                </a:cubicBezTo>
                <a:cubicBezTo>
                  <a:pt x="1117" y="250"/>
                  <a:pt x="1116" y="247"/>
                  <a:pt x="1116" y="244"/>
                </a:cubicBezTo>
                <a:cubicBezTo>
                  <a:pt x="1119" y="244"/>
                  <a:pt x="1123" y="244"/>
                  <a:pt x="1126" y="242"/>
                </a:cubicBezTo>
                <a:cubicBezTo>
                  <a:pt x="1130" y="241"/>
                  <a:pt x="1133" y="240"/>
                  <a:pt x="1136" y="237"/>
                </a:cubicBezTo>
                <a:cubicBezTo>
                  <a:pt x="1138" y="235"/>
                  <a:pt x="1140" y="232"/>
                  <a:pt x="1140" y="229"/>
                </a:cubicBezTo>
                <a:cubicBezTo>
                  <a:pt x="1140" y="226"/>
                  <a:pt x="1139" y="224"/>
                  <a:pt x="1137" y="223"/>
                </a:cubicBezTo>
                <a:cubicBezTo>
                  <a:pt x="1135" y="221"/>
                  <a:pt x="1133" y="220"/>
                  <a:pt x="1130" y="220"/>
                </a:cubicBezTo>
                <a:cubicBezTo>
                  <a:pt x="1126" y="220"/>
                  <a:pt x="1122" y="221"/>
                  <a:pt x="1119" y="224"/>
                </a:cubicBezTo>
                <a:cubicBezTo>
                  <a:pt x="1116" y="226"/>
                  <a:pt x="1114" y="229"/>
                  <a:pt x="1112" y="233"/>
                </a:cubicBezTo>
                <a:cubicBezTo>
                  <a:pt x="1110" y="237"/>
                  <a:pt x="1109" y="241"/>
                  <a:pt x="1109" y="246"/>
                </a:cubicBezTo>
                <a:cubicBezTo>
                  <a:pt x="1109" y="248"/>
                  <a:pt x="1110" y="251"/>
                  <a:pt x="1111" y="253"/>
                </a:cubicBezTo>
                <a:cubicBezTo>
                  <a:pt x="1111" y="255"/>
                  <a:pt x="1113" y="257"/>
                  <a:pt x="1115" y="259"/>
                </a:cubicBezTo>
                <a:cubicBezTo>
                  <a:pt x="1117" y="260"/>
                  <a:pt x="1120" y="261"/>
                  <a:pt x="1123" y="261"/>
                </a:cubicBezTo>
                <a:cubicBezTo>
                  <a:pt x="1126" y="261"/>
                  <a:pt x="1129" y="260"/>
                  <a:pt x="1132" y="258"/>
                </a:cubicBezTo>
                <a:cubicBezTo>
                  <a:pt x="1135" y="257"/>
                  <a:pt x="1136" y="255"/>
                  <a:pt x="1138" y="253"/>
                </a:cubicBezTo>
                <a:close/>
                <a:moveTo>
                  <a:pt x="1128" y="224"/>
                </a:moveTo>
                <a:cubicBezTo>
                  <a:pt x="1130" y="224"/>
                  <a:pt x="1131" y="224"/>
                  <a:pt x="1132" y="225"/>
                </a:cubicBezTo>
                <a:cubicBezTo>
                  <a:pt x="1132" y="226"/>
                  <a:pt x="1133" y="228"/>
                  <a:pt x="1133" y="229"/>
                </a:cubicBezTo>
                <a:cubicBezTo>
                  <a:pt x="1133" y="232"/>
                  <a:pt x="1132" y="234"/>
                  <a:pt x="1130" y="235"/>
                </a:cubicBezTo>
                <a:cubicBezTo>
                  <a:pt x="1129" y="237"/>
                  <a:pt x="1126" y="238"/>
                  <a:pt x="1124" y="239"/>
                </a:cubicBezTo>
                <a:cubicBezTo>
                  <a:pt x="1121" y="240"/>
                  <a:pt x="1119" y="241"/>
                  <a:pt x="1116" y="241"/>
                </a:cubicBezTo>
                <a:cubicBezTo>
                  <a:pt x="1117" y="238"/>
                  <a:pt x="1117" y="236"/>
                  <a:pt x="1118" y="233"/>
                </a:cubicBezTo>
                <a:cubicBezTo>
                  <a:pt x="1119" y="230"/>
                  <a:pt x="1121" y="228"/>
                  <a:pt x="1122" y="226"/>
                </a:cubicBezTo>
                <a:cubicBezTo>
                  <a:pt x="1124" y="225"/>
                  <a:pt x="1126" y="224"/>
                  <a:pt x="1128" y="224"/>
                </a:cubicBezTo>
                <a:close/>
                <a:moveTo>
                  <a:pt x="1175" y="254"/>
                </a:moveTo>
                <a:cubicBezTo>
                  <a:pt x="1182" y="204"/>
                  <a:pt x="1182" y="204"/>
                  <a:pt x="1182" y="204"/>
                </a:cubicBezTo>
                <a:cubicBezTo>
                  <a:pt x="1181" y="204"/>
                  <a:pt x="1181" y="204"/>
                  <a:pt x="1181" y="204"/>
                </a:cubicBezTo>
                <a:cubicBezTo>
                  <a:pt x="1171" y="205"/>
                  <a:pt x="1171" y="205"/>
                  <a:pt x="1171" y="205"/>
                </a:cubicBezTo>
                <a:cubicBezTo>
                  <a:pt x="1170" y="207"/>
                  <a:pt x="1170" y="207"/>
                  <a:pt x="1170" y="207"/>
                </a:cubicBezTo>
                <a:cubicBezTo>
                  <a:pt x="1175" y="208"/>
                  <a:pt x="1175" y="208"/>
                  <a:pt x="1175" y="208"/>
                </a:cubicBezTo>
                <a:cubicBezTo>
                  <a:pt x="1173" y="221"/>
                  <a:pt x="1173" y="221"/>
                  <a:pt x="1173" y="221"/>
                </a:cubicBezTo>
                <a:cubicBezTo>
                  <a:pt x="1171" y="220"/>
                  <a:pt x="1169" y="220"/>
                  <a:pt x="1168" y="220"/>
                </a:cubicBezTo>
                <a:cubicBezTo>
                  <a:pt x="1163" y="220"/>
                  <a:pt x="1159" y="222"/>
                  <a:pt x="1156" y="224"/>
                </a:cubicBezTo>
                <a:cubicBezTo>
                  <a:pt x="1152" y="227"/>
                  <a:pt x="1150" y="230"/>
                  <a:pt x="1148" y="234"/>
                </a:cubicBezTo>
                <a:cubicBezTo>
                  <a:pt x="1146" y="238"/>
                  <a:pt x="1145" y="242"/>
                  <a:pt x="1145" y="246"/>
                </a:cubicBezTo>
                <a:cubicBezTo>
                  <a:pt x="1145" y="250"/>
                  <a:pt x="1146" y="254"/>
                  <a:pt x="1148" y="257"/>
                </a:cubicBezTo>
                <a:cubicBezTo>
                  <a:pt x="1150" y="259"/>
                  <a:pt x="1153" y="261"/>
                  <a:pt x="1157" y="261"/>
                </a:cubicBezTo>
                <a:cubicBezTo>
                  <a:pt x="1159" y="261"/>
                  <a:pt x="1162" y="260"/>
                  <a:pt x="1163" y="259"/>
                </a:cubicBezTo>
                <a:cubicBezTo>
                  <a:pt x="1165" y="258"/>
                  <a:pt x="1167" y="256"/>
                  <a:pt x="1168" y="255"/>
                </a:cubicBezTo>
                <a:cubicBezTo>
                  <a:pt x="1168" y="256"/>
                  <a:pt x="1168" y="256"/>
                  <a:pt x="1168" y="256"/>
                </a:cubicBezTo>
                <a:cubicBezTo>
                  <a:pt x="1168" y="259"/>
                  <a:pt x="1170" y="261"/>
                  <a:pt x="1173" y="261"/>
                </a:cubicBezTo>
                <a:cubicBezTo>
                  <a:pt x="1174" y="261"/>
                  <a:pt x="1176" y="260"/>
                  <a:pt x="1177" y="259"/>
                </a:cubicBezTo>
                <a:cubicBezTo>
                  <a:pt x="1178" y="258"/>
                  <a:pt x="1179" y="257"/>
                  <a:pt x="1180" y="256"/>
                </a:cubicBezTo>
                <a:cubicBezTo>
                  <a:pt x="1179" y="255"/>
                  <a:pt x="1179" y="255"/>
                  <a:pt x="1179" y="255"/>
                </a:cubicBezTo>
                <a:cubicBezTo>
                  <a:pt x="1178" y="256"/>
                  <a:pt x="1177" y="256"/>
                  <a:pt x="1176" y="256"/>
                </a:cubicBezTo>
                <a:cubicBezTo>
                  <a:pt x="1175" y="256"/>
                  <a:pt x="1175" y="256"/>
                  <a:pt x="1175" y="255"/>
                </a:cubicBezTo>
                <a:cubicBezTo>
                  <a:pt x="1175" y="254"/>
                  <a:pt x="1175" y="254"/>
                  <a:pt x="1175" y="254"/>
                </a:cubicBezTo>
                <a:close/>
                <a:moveTo>
                  <a:pt x="1172" y="225"/>
                </a:moveTo>
                <a:cubicBezTo>
                  <a:pt x="1169" y="250"/>
                  <a:pt x="1169" y="250"/>
                  <a:pt x="1169" y="250"/>
                </a:cubicBezTo>
                <a:cubicBezTo>
                  <a:pt x="1168" y="252"/>
                  <a:pt x="1166" y="253"/>
                  <a:pt x="1164" y="254"/>
                </a:cubicBezTo>
                <a:cubicBezTo>
                  <a:pt x="1163" y="256"/>
                  <a:pt x="1161" y="256"/>
                  <a:pt x="1159" y="256"/>
                </a:cubicBezTo>
                <a:cubicBezTo>
                  <a:pt x="1157" y="256"/>
                  <a:pt x="1155" y="255"/>
                  <a:pt x="1154" y="253"/>
                </a:cubicBezTo>
                <a:cubicBezTo>
                  <a:pt x="1153" y="252"/>
                  <a:pt x="1153" y="249"/>
                  <a:pt x="1153" y="246"/>
                </a:cubicBezTo>
                <a:cubicBezTo>
                  <a:pt x="1153" y="242"/>
                  <a:pt x="1153" y="239"/>
                  <a:pt x="1154" y="236"/>
                </a:cubicBezTo>
                <a:cubicBezTo>
                  <a:pt x="1155" y="232"/>
                  <a:pt x="1157" y="230"/>
                  <a:pt x="1159" y="227"/>
                </a:cubicBezTo>
                <a:cubicBezTo>
                  <a:pt x="1161" y="225"/>
                  <a:pt x="1164" y="224"/>
                  <a:pt x="1167" y="224"/>
                </a:cubicBezTo>
                <a:cubicBezTo>
                  <a:pt x="1169" y="224"/>
                  <a:pt x="1171" y="224"/>
                  <a:pt x="1172" y="225"/>
                </a:cubicBezTo>
                <a:close/>
                <a:moveTo>
                  <a:pt x="1198" y="254"/>
                </a:moveTo>
                <a:cubicBezTo>
                  <a:pt x="1202" y="221"/>
                  <a:pt x="1202" y="221"/>
                  <a:pt x="1202" y="221"/>
                </a:cubicBezTo>
                <a:cubicBezTo>
                  <a:pt x="1201" y="220"/>
                  <a:pt x="1201" y="220"/>
                  <a:pt x="1201" y="220"/>
                </a:cubicBezTo>
                <a:cubicBezTo>
                  <a:pt x="1191" y="222"/>
                  <a:pt x="1191" y="222"/>
                  <a:pt x="1191" y="222"/>
                </a:cubicBezTo>
                <a:cubicBezTo>
                  <a:pt x="1190" y="224"/>
                  <a:pt x="1190" y="224"/>
                  <a:pt x="1190" y="224"/>
                </a:cubicBezTo>
                <a:cubicBezTo>
                  <a:pt x="1195" y="226"/>
                  <a:pt x="1195" y="226"/>
                  <a:pt x="1195" y="226"/>
                </a:cubicBezTo>
                <a:cubicBezTo>
                  <a:pt x="1194" y="233"/>
                  <a:pt x="1193" y="239"/>
                  <a:pt x="1192" y="243"/>
                </a:cubicBezTo>
                <a:cubicBezTo>
                  <a:pt x="1191" y="251"/>
                  <a:pt x="1191" y="255"/>
                  <a:pt x="1191" y="256"/>
                </a:cubicBezTo>
                <a:cubicBezTo>
                  <a:pt x="1190" y="258"/>
                  <a:pt x="1191" y="259"/>
                  <a:pt x="1192" y="260"/>
                </a:cubicBezTo>
                <a:cubicBezTo>
                  <a:pt x="1192" y="260"/>
                  <a:pt x="1194" y="261"/>
                  <a:pt x="1195" y="261"/>
                </a:cubicBezTo>
                <a:cubicBezTo>
                  <a:pt x="1197" y="261"/>
                  <a:pt x="1199" y="260"/>
                  <a:pt x="1200" y="259"/>
                </a:cubicBezTo>
                <a:cubicBezTo>
                  <a:pt x="1202" y="258"/>
                  <a:pt x="1203" y="257"/>
                  <a:pt x="1203" y="256"/>
                </a:cubicBezTo>
                <a:cubicBezTo>
                  <a:pt x="1202" y="254"/>
                  <a:pt x="1202" y="254"/>
                  <a:pt x="1202" y="254"/>
                </a:cubicBezTo>
                <a:cubicBezTo>
                  <a:pt x="1202" y="255"/>
                  <a:pt x="1201" y="256"/>
                  <a:pt x="1200" y="256"/>
                </a:cubicBezTo>
                <a:cubicBezTo>
                  <a:pt x="1200" y="256"/>
                  <a:pt x="1199" y="256"/>
                  <a:pt x="1199" y="256"/>
                </a:cubicBezTo>
                <a:cubicBezTo>
                  <a:pt x="1198" y="256"/>
                  <a:pt x="1198" y="256"/>
                  <a:pt x="1198" y="256"/>
                </a:cubicBezTo>
                <a:cubicBezTo>
                  <a:pt x="1198" y="256"/>
                  <a:pt x="1198" y="255"/>
                  <a:pt x="1198" y="255"/>
                </a:cubicBezTo>
                <a:lnTo>
                  <a:pt x="1198" y="254"/>
                </a:lnTo>
                <a:close/>
                <a:moveTo>
                  <a:pt x="1200" y="213"/>
                </a:moveTo>
                <a:cubicBezTo>
                  <a:pt x="1201" y="213"/>
                  <a:pt x="1202" y="212"/>
                  <a:pt x="1203" y="211"/>
                </a:cubicBezTo>
                <a:cubicBezTo>
                  <a:pt x="1204" y="210"/>
                  <a:pt x="1205" y="209"/>
                  <a:pt x="1205" y="207"/>
                </a:cubicBezTo>
                <a:cubicBezTo>
                  <a:pt x="1205" y="206"/>
                  <a:pt x="1204" y="206"/>
                  <a:pt x="1204" y="205"/>
                </a:cubicBezTo>
                <a:cubicBezTo>
                  <a:pt x="1203" y="204"/>
                  <a:pt x="1202" y="204"/>
                  <a:pt x="1201" y="204"/>
                </a:cubicBezTo>
                <a:cubicBezTo>
                  <a:pt x="1200" y="204"/>
                  <a:pt x="1198" y="204"/>
                  <a:pt x="1198" y="205"/>
                </a:cubicBezTo>
                <a:cubicBezTo>
                  <a:pt x="1197" y="206"/>
                  <a:pt x="1196" y="207"/>
                  <a:pt x="1196" y="209"/>
                </a:cubicBezTo>
                <a:cubicBezTo>
                  <a:pt x="1196" y="210"/>
                  <a:pt x="1197" y="211"/>
                  <a:pt x="1197" y="212"/>
                </a:cubicBezTo>
                <a:cubicBezTo>
                  <a:pt x="1198" y="212"/>
                  <a:pt x="1199" y="213"/>
                  <a:pt x="1200" y="213"/>
                </a:cubicBezTo>
                <a:close/>
                <a:moveTo>
                  <a:pt x="1237" y="228"/>
                </a:moveTo>
                <a:cubicBezTo>
                  <a:pt x="1238" y="229"/>
                  <a:pt x="1238" y="229"/>
                  <a:pt x="1238" y="229"/>
                </a:cubicBezTo>
                <a:cubicBezTo>
                  <a:pt x="1240" y="222"/>
                  <a:pt x="1240" y="222"/>
                  <a:pt x="1240" y="222"/>
                </a:cubicBezTo>
                <a:cubicBezTo>
                  <a:pt x="1239" y="221"/>
                  <a:pt x="1238" y="221"/>
                  <a:pt x="1237" y="221"/>
                </a:cubicBezTo>
                <a:cubicBezTo>
                  <a:pt x="1235" y="220"/>
                  <a:pt x="1234" y="220"/>
                  <a:pt x="1232" y="220"/>
                </a:cubicBezTo>
                <a:cubicBezTo>
                  <a:pt x="1228" y="220"/>
                  <a:pt x="1224" y="221"/>
                  <a:pt x="1221" y="224"/>
                </a:cubicBezTo>
                <a:cubicBezTo>
                  <a:pt x="1218" y="227"/>
                  <a:pt x="1216" y="230"/>
                  <a:pt x="1214" y="234"/>
                </a:cubicBezTo>
                <a:cubicBezTo>
                  <a:pt x="1213" y="237"/>
                  <a:pt x="1212" y="241"/>
                  <a:pt x="1212" y="245"/>
                </a:cubicBezTo>
                <a:cubicBezTo>
                  <a:pt x="1212" y="250"/>
                  <a:pt x="1213" y="254"/>
                  <a:pt x="1215" y="257"/>
                </a:cubicBezTo>
                <a:cubicBezTo>
                  <a:pt x="1217" y="259"/>
                  <a:pt x="1220" y="261"/>
                  <a:pt x="1224" y="261"/>
                </a:cubicBezTo>
                <a:cubicBezTo>
                  <a:pt x="1227" y="261"/>
                  <a:pt x="1230" y="260"/>
                  <a:pt x="1232" y="259"/>
                </a:cubicBezTo>
                <a:cubicBezTo>
                  <a:pt x="1235" y="257"/>
                  <a:pt x="1236" y="256"/>
                  <a:pt x="1238" y="254"/>
                </a:cubicBezTo>
                <a:cubicBezTo>
                  <a:pt x="1236" y="252"/>
                  <a:pt x="1236" y="252"/>
                  <a:pt x="1236" y="252"/>
                </a:cubicBezTo>
                <a:cubicBezTo>
                  <a:pt x="1235" y="253"/>
                  <a:pt x="1233" y="254"/>
                  <a:pt x="1232" y="255"/>
                </a:cubicBezTo>
                <a:cubicBezTo>
                  <a:pt x="1230" y="256"/>
                  <a:pt x="1229" y="256"/>
                  <a:pt x="1227" y="256"/>
                </a:cubicBezTo>
                <a:cubicBezTo>
                  <a:pt x="1224" y="256"/>
                  <a:pt x="1222" y="255"/>
                  <a:pt x="1221" y="253"/>
                </a:cubicBezTo>
                <a:cubicBezTo>
                  <a:pt x="1220" y="251"/>
                  <a:pt x="1219" y="248"/>
                  <a:pt x="1219" y="244"/>
                </a:cubicBezTo>
                <a:cubicBezTo>
                  <a:pt x="1219" y="240"/>
                  <a:pt x="1219" y="237"/>
                  <a:pt x="1221" y="234"/>
                </a:cubicBezTo>
                <a:cubicBezTo>
                  <a:pt x="1222" y="231"/>
                  <a:pt x="1223" y="229"/>
                  <a:pt x="1225" y="227"/>
                </a:cubicBezTo>
                <a:cubicBezTo>
                  <a:pt x="1227" y="225"/>
                  <a:pt x="1229" y="225"/>
                  <a:pt x="1231" y="225"/>
                </a:cubicBezTo>
                <a:cubicBezTo>
                  <a:pt x="1232" y="225"/>
                  <a:pt x="1235" y="226"/>
                  <a:pt x="1237" y="228"/>
                </a:cubicBezTo>
                <a:close/>
                <a:moveTo>
                  <a:pt x="1255" y="254"/>
                </a:moveTo>
                <a:cubicBezTo>
                  <a:pt x="1260" y="221"/>
                  <a:pt x="1260" y="221"/>
                  <a:pt x="1260" y="221"/>
                </a:cubicBezTo>
                <a:cubicBezTo>
                  <a:pt x="1259" y="220"/>
                  <a:pt x="1259" y="220"/>
                  <a:pt x="1259" y="220"/>
                </a:cubicBezTo>
                <a:cubicBezTo>
                  <a:pt x="1249" y="222"/>
                  <a:pt x="1249" y="222"/>
                  <a:pt x="1249" y="222"/>
                </a:cubicBezTo>
                <a:cubicBezTo>
                  <a:pt x="1248" y="224"/>
                  <a:pt x="1248" y="224"/>
                  <a:pt x="1248" y="224"/>
                </a:cubicBezTo>
                <a:cubicBezTo>
                  <a:pt x="1253" y="226"/>
                  <a:pt x="1253" y="226"/>
                  <a:pt x="1253" y="226"/>
                </a:cubicBezTo>
                <a:cubicBezTo>
                  <a:pt x="1252" y="233"/>
                  <a:pt x="1251" y="239"/>
                  <a:pt x="1250" y="243"/>
                </a:cubicBezTo>
                <a:cubicBezTo>
                  <a:pt x="1249" y="251"/>
                  <a:pt x="1248" y="255"/>
                  <a:pt x="1248" y="256"/>
                </a:cubicBezTo>
                <a:cubicBezTo>
                  <a:pt x="1248" y="258"/>
                  <a:pt x="1249" y="259"/>
                  <a:pt x="1249" y="260"/>
                </a:cubicBezTo>
                <a:cubicBezTo>
                  <a:pt x="1250" y="260"/>
                  <a:pt x="1251" y="261"/>
                  <a:pt x="1253" y="261"/>
                </a:cubicBezTo>
                <a:cubicBezTo>
                  <a:pt x="1255" y="261"/>
                  <a:pt x="1256" y="260"/>
                  <a:pt x="1258" y="259"/>
                </a:cubicBezTo>
                <a:cubicBezTo>
                  <a:pt x="1259" y="258"/>
                  <a:pt x="1260" y="257"/>
                  <a:pt x="1261" y="256"/>
                </a:cubicBezTo>
                <a:cubicBezTo>
                  <a:pt x="1260" y="254"/>
                  <a:pt x="1260" y="254"/>
                  <a:pt x="1260" y="254"/>
                </a:cubicBezTo>
                <a:cubicBezTo>
                  <a:pt x="1259" y="255"/>
                  <a:pt x="1259" y="256"/>
                  <a:pt x="1258" y="256"/>
                </a:cubicBezTo>
                <a:cubicBezTo>
                  <a:pt x="1258" y="256"/>
                  <a:pt x="1257" y="256"/>
                  <a:pt x="1256" y="256"/>
                </a:cubicBezTo>
                <a:cubicBezTo>
                  <a:pt x="1256" y="256"/>
                  <a:pt x="1256" y="256"/>
                  <a:pt x="1256" y="256"/>
                </a:cubicBezTo>
                <a:cubicBezTo>
                  <a:pt x="1255" y="256"/>
                  <a:pt x="1255" y="255"/>
                  <a:pt x="1255" y="255"/>
                </a:cubicBezTo>
                <a:lnTo>
                  <a:pt x="1255" y="254"/>
                </a:lnTo>
                <a:close/>
                <a:moveTo>
                  <a:pt x="1258" y="213"/>
                </a:moveTo>
                <a:cubicBezTo>
                  <a:pt x="1259" y="213"/>
                  <a:pt x="1260" y="212"/>
                  <a:pt x="1261" y="211"/>
                </a:cubicBezTo>
                <a:cubicBezTo>
                  <a:pt x="1262" y="210"/>
                  <a:pt x="1262" y="209"/>
                  <a:pt x="1262" y="207"/>
                </a:cubicBezTo>
                <a:cubicBezTo>
                  <a:pt x="1262" y="206"/>
                  <a:pt x="1262" y="206"/>
                  <a:pt x="1261" y="205"/>
                </a:cubicBezTo>
                <a:cubicBezTo>
                  <a:pt x="1261" y="204"/>
                  <a:pt x="1260" y="204"/>
                  <a:pt x="1259" y="204"/>
                </a:cubicBezTo>
                <a:cubicBezTo>
                  <a:pt x="1257" y="204"/>
                  <a:pt x="1256" y="204"/>
                  <a:pt x="1255" y="205"/>
                </a:cubicBezTo>
                <a:cubicBezTo>
                  <a:pt x="1254" y="206"/>
                  <a:pt x="1254" y="207"/>
                  <a:pt x="1254" y="209"/>
                </a:cubicBezTo>
                <a:cubicBezTo>
                  <a:pt x="1254" y="210"/>
                  <a:pt x="1254" y="211"/>
                  <a:pt x="1255" y="212"/>
                </a:cubicBezTo>
                <a:cubicBezTo>
                  <a:pt x="1256" y="212"/>
                  <a:pt x="1257" y="213"/>
                  <a:pt x="1258" y="213"/>
                </a:cubicBezTo>
                <a:close/>
                <a:moveTo>
                  <a:pt x="1282" y="229"/>
                </a:moveTo>
                <a:cubicBezTo>
                  <a:pt x="1283" y="221"/>
                  <a:pt x="1283" y="221"/>
                  <a:pt x="1283" y="221"/>
                </a:cubicBezTo>
                <a:cubicBezTo>
                  <a:pt x="1281" y="220"/>
                  <a:pt x="1281" y="220"/>
                  <a:pt x="1281" y="220"/>
                </a:cubicBezTo>
                <a:cubicBezTo>
                  <a:pt x="1273" y="222"/>
                  <a:pt x="1273" y="222"/>
                  <a:pt x="1273" y="222"/>
                </a:cubicBezTo>
                <a:cubicBezTo>
                  <a:pt x="1272" y="224"/>
                  <a:pt x="1272" y="224"/>
                  <a:pt x="1272" y="224"/>
                </a:cubicBezTo>
                <a:cubicBezTo>
                  <a:pt x="1275" y="226"/>
                  <a:pt x="1275" y="226"/>
                  <a:pt x="1275" y="226"/>
                </a:cubicBezTo>
                <a:cubicBezTo>
                  <a:pt x="1271" y="260"/>
                  <a:pt x="1271" y="260"/>
                  <a:pt x="1271" y="260"/>
                </a:cubicBezTo>
                <a:cubicBezTo>
                  <a:pt x="1278" y="260"/>
                  <a:pt x="1278" y="260"/>
                  <a:pt x="1278" y="260"/>
                </a:cubicBezTo>
                <a:cubicBezTo>
                  <a:pt x="1281" y="235"/>
                  <a:pt x="1281" y="235"/>
                  <a:pt x="1281" y="235"/>
                </a:cubicBezTo>
                <a:cubicBezTo>
                  <a:pt x="1283" y="232"/>
                  <a:pt x="1285" y="230"/>
                  <a:pt x="1287" y="228"/>
                </a:cubicBezTo>
                <a:cubicBezTo>
                  <a:pt x="1289" y="226"/>
                  <a:pt x="1291" y="225"/>
                  <a:pt x="1293" y="225"/>
                </a:cubicBezTo>
                <a:cubicBezTo>
                  <a:pt x="1295" y="225"/>
                  <a:pt x="1296" y="226"/>
                  <a:pt x="1297" y="226"/>
                </a:cubicBezTo>
                <a:cubicBezTo>
                  <a:pt x="1297" y="227"/>
                  <a:pt x="1298" y="229"/>
                  <a:pt x="1298" y="231"/>
                </a:cubicBezTo>
                <a:cubicBezTo>
                  <a:pt x="1298" y="233"/>
                  <a:pt x="1297" y="234"/>
                  <a:pt x="1297" y="236"/>
                </a:cubicBezTo>
                <a:cubicBezTo>
                  <a:pt x="1297" y="238"/>
                  <a:pt x="1297" y="240"/>
                  <a:pt x="1296" y="243"/>
                </a:cubicBezTo>
                <a:cubicBezTo>
                  <a:pt x="1296" y="245"/>
                  <a:pt x="1296" y="245"/>
                  <a:pt x="1296" y="245"/>
                </a:cubicBezTo>
                <a:cubicBezTo>
                  <a:pt x="1295" y="248"/>
                  <a:pt x="1295" y="248"/>
                  <a:pt x="1295" y="248"/>
                </a:cubicBezTo>
                <a:cubicBezTo>
                  <a:pt x="1294" y="252"/>
                  <a:pt x="1294" y="255"/>
                  <a:pt x="1294" y="256"/>
                </a:cubicBezTo>
                <a:cubicBezTo>
                  <a:pt x="1294" y="259"/>
                  <a:pt x="1295" y="261"/>
                  <a:pt x="1298" y="261"/>
                </a:cubicBezTo>
                <a:cubicBezTo>
                  <a:pt x="1300" y="261"/>
                  <a:pt x="1301" y="260"/>
                  <a:pt x="1302" y="260"/>
                </a:cubicBezTo>
                <a:cubicBezTo>
                  <a:pt x="1303" y="259"/>
                  <a:pt x="1304" y="259"/>
                  <a:pt x="1305" y="258"/>
                </a:cubicBezTo>
                <a:cubicBezTo>
                  <a:pt x="1305" y="258"/>
                  <a:pt x="1306" y="257"/>
                  <a:pt x="1306" y="257"/>
                </a:cubicBezTo>
                <a:cubicBezTo>
                  <a:pt x="1305" y="255"/>
                  <a:pt x="1305" y="255"/>
                  <a:pt x="1305" y="255"/>
                </a:cubicBezTo>
                <a:cubicBezTo>
                  <a:pt x="1304" y="256"/>
                  <a:pt x="1303" y="256"/>
                  <a:pt x="1302" y="256"/>
                </a:cubicBezTo>
                <a:cubicBezTo>
                  <a:pt x="1301" y="256"/>
                  <a:pt x="1301" y="256"/>
                  <a:pt x="1301" y="255"/>
                </a:cubicBezTo>
                <a:cubicBezTo>
                  <a:pt x="1301" y="253"/>
                  <a:pt x="1301" y="250"/>
                  <a:pt x="1302" y="246"/>
                </a:cubicBezTo>
                <a:cubicBezTo>
                  <a:pt x="1303" y="243"/>
                  <a:pt x="1303" y="243"/>
                  <a:pt x="1303" y="243"/>
                </a:cubicBezTo>
                <a:cubicBezTo>
                  <a:pt x="1303" y="241"/>
                  <a:pt x="1303" y="241"/>
                  <a:pt x="1303" y="241"/>
                </a:cubicBezTo>
                <a:cubicBezTo>
                  <a:pt x="1304" y="236"/>
                  <a:pt x="1305" y="232"/>
                  <a:pt x="1305" y="230"/>
                </a:cubicBezTo>
                <a:cubicBezTo>
                  <a:pt x="1305" y="227"/>
                  <a:pt x="1304" y="224"/>
                  <a:pt x="1302" y="223"/>
                </a:cubicBezTo>
                <a:cubicBezTo>
                  <a:pt x="1301" y="221"/>
                  <a:pt x="1299" y="220"/>
                  <a:pt x="1296" y="220"/>
                </a:cubicBezTo>
                <a:cubicBezTo>
                  <a:pt x="1294" y="220"/>
                  <a:pt x="1291" y="221"/>
                  <a:pt x="1289" y="223"/>
                </a:cubicBezTo>
                <a:cubicBezTo>
                  <a:pt x="1286" y="224"/>
                  <a:pt x="1284" y="227"/>
                  <a:pt x="1282" y="229"/>
                </a:cubicBezTo>
                <a:close/>
                <a:moveTo>
                  <a:pt x="1342" y="253"/>
                </a:moveTo>
                <a:cubicBezTo>
                  <a:pt x="1340" y="251"/>
                  <a:pt x="1340" y="251"/>
                  <a:pt x="1340" y="251"/>
                </a:cubicBezTo>
                <a:cubicBezTo>
                  <a:pt x="1339" y="253"/>
                  <a:pt x="1337" y="254"/>
                  <a:pt x="1335" y="255"/>
                </a:cubicBezTo>
                <a:cubicBezTo>
                  <a:pt x="1333" y="256"/>
                  <a:pt x="1331" y="256"/>
                  <a:pt x="1329" y="256"/>
                </a:cubicBezTo>
                <a:cubicBezTo>
                  <a:pt x="1326" y="256"/>
                  <a:pt x="1323" y="255"/>
                  <a:pt x="1322" y="253"/>
                </a:cubicBezTo>
                <a:cubicBezTo>
                  <a:pt x="1321" y="250"/>
                  <a:pt x="1320" y="247"/>
                  <a:pt x="1320" y="244"/>
                </a:cubicBezTo>
                <a:cubicBezTo>
                  <a:pt x="1323" y="244"/>
                  <a:pt x="1327" y="244"/>
                  <a:pt x="1330" y="242"/>
                </a:cubicBezTo>
                <a:cubicBezTo>
                  <a:pt x="1334" y="241"/>
                  <a:pt x="1337" y="240"/>
                  <a:pt x="1340" y="237"/>
                </a:cubicBezTo>
                <a:cubicBezTo>
                  <a:pt x="1342" y="235"/>
                  <a:pt x="1344" y="232"/>
                  <a:pt x="1344" y="229"/>
                </a:cubicBezTo>
                <a:cubicBezTo>
                  <a:pt x="1344" y="226"/>
                  <a:pt x="1343" y="224"/>
                  <a:pt x="1341" y="223"/>
                </a:cubicBezTo>
                <a:cubicBezTo>
                  <a:pt x="1340" y="221"/>
                  <a:pt x="1337" y="220"/>
                  <a:pt x="1334" y="220"/>
                </a:cubicBezTo>
                <a:cubicBezTo>
                  <a:pt x="1330" y="220"/>
                  <a:pt x="1326" y="221"/>
                  <a:pt x="1323" y="224"/>
                </a:cubicBezTo>
                <a:cubicBezTo>
                  <a:pt x="1320" y="226"/>
                  <a:pt x="1318" y="229"/>
                  <a:pt x="1316" y="233"/>
                </a:cubicBezTo>
                <a:cubicBezTo>
                  <a:pt x="1314" y="237"/>
                  <a:pt x="1313" y="241"/>
                  <a:pt x="1313" y="246"/>
                </a:cubicBezTo>
                <a:cubicBezTo>
                  <a:pt x="1313" y="248"/>
                  <a:pt x="1314" y="251"/>
                  <a:pt x="1315" y="253"/>
                </a:cubicBezTo>
                <a:cubicBezTo>
                  <a:pt x="1316" y="255"/>
                  <a:pt x="1317" y="257"/>
                  <a:pt x="1319" y="259"/>
                </a:cubicBezTo>
                <a:cubicBezTo>
                  <a:pt x="1321" y="260"/>
                  <a:pt x="1324" y="261"/>
                  <a:pt x="1327" y="261"/>
                </a:cubicBezTo>
                <a:cubicBezTo>
                  <a:pt x="1330" y="261"/>
                  <a:pt x="1333" y="260"/>
                  <a:pt x="1336" y="258"/>
                </a:cubicBezTo>
                <a:cubicBezTo>
                  <a:pt x="1339" y="257"/>
                  <a:pt x="1341" y="255"/>
                  <a:pt x="1342" y="253"/>
                </a:cubicBezTo>
                <a:close/>
                <a:moveTo>
                  <a:pt x="1332" y="224"/>
                </a:moveTo>
                <a:cubicBezTo>
                  <a:pt x="1334" y="224"/>
                  <a:pt x="1335" y="224"/>
                  <a:pt x="1336" y="225"/>
                </a:cubicBezTo>
                <a:cubicBezTo>
                  <a:pt x="1337" y="226"/>
                  <a:pt x="1337" y="228"/>
                  <a:pt x="1337" y="229"/>
                </a:cubicBezTo>
                <a:cubicBezTo>
                  <a:pt x="1337" y="232"/>
                  <a:pt x="1336" y="234"/>
                  <a:pt x="1334" y="235"/>
                </a:cubicBezTo>
                <a:cubicBezTo>
                  <a:pt x="1333" y="237"/>
                  <a:pt x="1331" y="238"/>
                  <a:pt x="1328" y="239"/>
                </a:cubicBezTo>
                <a:cubicBezTo>
                  <a:pt x="1325" y="240"/>
                  <a:pt x="1323" y="241"/>
                  <a:pt x="1321" y="241"/>
                </a:cubicBezTo>
                <a:cubicBezTo>
                  <a:pt x="1321" y="238"/>
                  <a:pt x="1321" y="236"/>
                  <a:pt x="1322" y="233"/>
                </a:cubicBezTo>
                <a:cubicBezTo>
                  <a:pt x="1323" y="230"/>
                  <a:pt x="1325" y="228"/>
                  <a:pt x="1326" y="226"/>
                </a:cubicBezTo>
                <a:cubicBezTo>
                  <a:pt x="1328" y="225"/>
                  <a:pt x="1330" y="224"/>
                  <a:pt x="1332" y="224"/>
                </a:cubicBezTo>
                <a:close/>
              </a:path>
            </a:pathLst>
          </a:custGeom>
          <a:solidFill>
            <a:schemeClr val="bg1"/>
          </a:solidFill>
          <a:ln>
            <a:noFill/>
          </a:ln>
        </p:spPr>
        <p:txBody>
          <a:bodyPr vert="horz" wrap="square" lIns="121920" tIns="60960" rIns="121920" bIns="60960" numCol="1" anchor="t" anchorCtr="0" compatLnSpc="1">
            <a:prstTxWarp prst="textNoShape">
              <a:avLst/>
            </a:prstTxWarp>
          </a:bodyPr>
          <a:lstStyle/>
          <a:p>
            <a:endParaRPr lang="en-US" sz="2400"/>
          </a:p>
        </p:txBody>
      </p:sp>
      <p:sp>
        <p:nvSpPr>
          <p:cNvPr id="17" name="Text Placeholder 16">
            <a:extLst>
              <a:ext uri="{FF2B5EF4-FFF2-40B4-BE49-F238E27FC236}">
                <a16:creationId xmlns:a16="http://schemas.microsoft.com/office/drawing/2014/main" id="{FCA018DF-7EFB-4D08-89D5-E61FB47F425E}"/>
              </a:ext>
            </a:extLst>
          </p:cNvPr>
          <p:cNvSpPr>
            <a:spLocks noGrp="1"/>
          </p:cNvSpPr>
          <p:nvPr>
            <p:ph type="body" sz="quarter" idx="12" hasCustomPrompt="1"/>
          </p:nvPr>
        </p:nvSpPr>
        <p:spPr>
          <a:xfrm>
            <a:off x="7995920" y="6515586"/>
            <a:ext cx="3222413" cy="169277"/>
          </a:xfrm>
        </p:spPr>
        <p:txBody>
          <a:bodyPr wrap="square">
            <a:spAutoFit/>
          </a:bodyPr>
          <a:lstStyle>
            <a:lvl1pPr marL="0" indent="0">
              <a:buNone/>
              <a:defRPr sz="1000" cap="all" spc="147" baseline="0">
                <a:solidFill>
                  <a:schemeClr val="tx2"/>
                </a:solidFill>
              </a:defRPr>
            </a:lvl1pPr>
          </a:lstStyle>
          <a:p>
            <a:pPr lvl="0"/>
            <a:r>
              <a:rPr lang="en-US"/>
              <a:t>CLICK TO EDIT MASTER TEXT</a:t>
            </a:r>
          </a:p>
        </p:txBody>
      </p:sp>
    </p:spTree>
    <p:extLst>
      <p:ext uri="{BB962C8B-B14F-4D97-AF65-F5344CB8AC3E}">
        <p14:creationId xmlns:p14="http://schemas.microsoft.com/office/powerpoint/2010/main" val="1193317737"/>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p:cSld name="Title Slide - Light Teal">
    <p:spTree>
      <p:nvGrpSpPr>
        <p:cNvPr id="1" name=""/>
        <p:cNvGrpSpPr/>
        <p:nvPr/>
      </p:nvGrpSpPr>
      <p:grpSpPr>
        <a:xfrm>
          <a:off x="0" y="0"/>
          <a:ext cx="0" cy="0"/>
          <a:chOff x="0" y="0"/>
          <a:chExt cx="0" cy="0"/>
        </a:xfrm>
      </p:grpSpPr>
      <p:sp>
        <p:nvSpPr>
          <p:cNvPr id="15" name="Picture Placeholder 14">
            <a:extLst>
              <a:ext uri="{FF2B5EF4-FFF2-40B4-BE49-F238E27FC236}">
                <a16:creationId xmlns:a16="http://schemas.microsoft.com/office/drawing/2014/main" id="{42927F7C-53AC-400F-8DAD-235A2AF61FB8}"/>
              </a:ext>
            </a:extLst>
          </p:cNvPr>
          <p:cNvSpPr>
            <a:spLocks noGrp="1"/>
          </p:cNvSpPr>
          <p:nvPr>
            <p:ph type="pic" sz="quarter" idx="11"/>
          </p:nvPr>
        </p:nvSpPr>
        <p:spPr>
          <a:xfrm>
            <a:off x="0" y="1"/>
            <a:ext cx="12192000" cy="6280151"/>
          </a:xfrm>
          <a:solidFill>
            <a:schemeClr val="bg2">
              <a:lumMod val="90000"/>
            </a:schemeClr>
          </a:solidFill>
        </p:spPr>
        <p:txBody>
          <a:bodyPr/>
          <a:lstStyle/>
          <a:p>
            <a:r>
              <a:rPr lang="en-US"/>
              <a:t>Click icon to add picture</a:t>
            </a:r>
          </a:p>
        </p:txBody>
      </p:sp>
      <p:sp>
        <p:nvSpPr>
          <p:cNvPr id="13" name="Text Placeholder 12">
            <a:extLst>
              <a:ext uri="{FF2B5EF4-FFF2-40B4-BE49-F238E27FC236}">
                <a16:creationId xmlns:a16="http://schemas.microsoft.com/office/drawing/2014/main" id="{D2D74F39-96DB-4808-8693-9F55A9D7DB98}"/>
              </a:ext>
            </a:extLst>
          </p:cNvPr>
          <p:cNvSpPr>
            <a:spLocks noGrp="1"/>
          </p:cNvSpPr>
          <p:nvPr>
            <p:ph type="body" sz="quarter" idx="10"/>
          </p:nvPr>
        </p:nvSpPr>
        <p:spPr>
          <a:xfrm>
            <a:off x="2" y="1563078"/>
            <a:ext cx="7737229" cy="5294921"/>
          </a:xfrm>
          <a:solidFill>
            <a:srgbClr val="DEE5EA"/>
          </a:solidFill>
        </p:spPr>
        <p:txBody>
          <a:bodyPr lIns="502920" tIns="274320" rIns="457200" bIns="457200"/>
          <a:lstStyle>
            <a:lvl1pPr marL="0" indent="0">
              <a:lnSpc>
                <a:spcPct val="100000"/>
              </a:lnSpc>
              <a:buNone/>
              <a:defRPr sz="4000">
                <a:solidFill>
                  <a:schemeClr val="tx2"/>
                </a:solidFill>
                <a:latin typeface="+mj-lt"/>
              </a:defRPr>
            </a:lvl1pPr>
            <a:lvl2pPr marL="0" indent="0">
              <a:spcBef>
                <a:spcPts val="1200"/>
              </a:spcBef>
              <a:buNone/>
              <a:defRPr sz="2000">
                <a:solidFill>
                  <a:schemeClr val="tx2"/>
                </a:solidFill>
                <a:latin typeface="+mj-lt"/>
              </a:defRPr>
            </a:lvl2pPr>
            <a:lvl3pPr marL="609585" indent="0">
              <a:buNone/>
              <a:defRPr>
                <a:solidFill>
                  <a:schemeClr val="bg1"/>
                </a:solidFill>
                <a:latin typeface="+mj-lt"/>
              </a:defRPr>
            </a:lvl3pPr>
            <a:lvl4pPr marL="922844" indent="0">
              <a:buNone/>
              <a:defRPr>
                <a:solidFill>
                  <a:schemeClr val="bg1"/>
                </a:solidFill>
                <a:latin typeface="+mj-lt"/>
              </a:defRPr>
            </a:lvl4pPr>
            <a:lvl5pPr marL="1219170" indent="0">
              <a:buNone/>
              <a:defRPr>
                <a:solidFill>
                  <a:schemeClr val="bg1"/>
                </a:solidFill>
                <a:latin typeface="+mj-lt"/>
              </a:defRPr>
            </a:lvl5pPr>
          </a:lstStyle>
          <a:p>
            <a:pPr lvl="0"/>
            <a:r>
              <a:rPr lang="en-US"/>
              <a:t>Edit Master text styles</a:t>
            </a:r>
          </a:p>
          <a:p>
            <a:pPr lvl="1"/>
            <a:r>
              <a:rPr lang="en-US"/>
              <a:t>Second level</a:t>
            </a:r>
          </a:p>
        </p:txBody>
      </p:sp>
      <p:sp>
        <p:nvSpPr>
          <p:cNvPr id="3" name="Subtitle 2"/>
          <p:cNvSpPr>
            <a:spLocks noGrp="1"/>
          </p:cNvSpPr>
          <p:nvPr>
            <p:ph type="subTitle" idx="1"/>
          </p:nvPr>
        </p:nvSpPr>
        <p:spPr>
          <a:xfrm>
            <a:off x="701040" y="4738102"/>
            <a:ext cx="6461760" cy="225639"/>
          </a:xfrm>
        </p:spPr>
        <p:txBody>
          <a:bodyPr anchor="b" anchorCtr="0">
            <a:spAutoFit/>
          </a:bodyPr>
          <a:lstStyle>
            <a:lvl1pPr marL="0" indent="0" algn="l">
              <a:buNone/>
              <a:defRPr sz="1333" i="1">
                <a:solidFill>
                  <a:schemeClr val="tx1"/>
                </a:solidFill>
                <a:latin typeface="+mj-l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
        <p:nvSpPr>
          <p:cNvPr id="9" name="Freeform 5">
            <a:extLst>
              <a:ext uri="{FF2B5EF4-FFF2-40B4-BE49-F238E27FC236}">
                <a16:creationId xmlns:a16="http://schemas.microsoft.com/office/drawing/2014/main" id="{6EF64205-A64B-4137-BA41-5E5CFE0F359E}"/>
              </a:ext>
            </a:extLst>
          </p:cNvPr>
          <p:cNvSpPr>
            <a:spLocks noEditPoints="1"/>
          </p:cNvSpPr>
          <p:nvPr/>
        </p:nvSpPr>
        <p:spPr bwMode="auto">
          <a:xfrm>
            <a:off x="643609" y="578451"/>
            <a:ext cx="2922943" cy="547357"/>
          </a:xfrm>
          <a:custGeom>
            <a:avLst/>
            <a:gdLst>
              <a:gd name="T0" fmla="*/ 225 w 1440"/>
              <a:gd name="T1" fmla="*/ 110 h 267"/>
              <a:gd name="T2" fmla="*/ 317 w 1440"/>
              <a:gd name="T3" fmla="*/ 7 h 267"/>
              <a:gd name="T4" fmla="*/ 475 w 1440"/>
              <a:gd name="T5" fmla="*/ 19 h 267"/>
              <a:gd name="T6" fmla="*/ 830 w 1440"/>
              <a:gd name="T7" fmla="*/ 7 h 267"/>
              <a:gd name="T8" fmla="*/ 130 w 1440"/>
              <a:gd name="T9" fmla="*/ 210 h 267"/>
              <a:gd name="T10" fmla="*/ 437 w 1440"/>
              <a:gd name="T11" fmla="*/ 209 h 267"/>
              <a:gd name="T12" fmla="*/ 493 w 1440"/>
              <a:gd name="T13" fmla="*/ 198 h 267"/>
              <a:gd name="T14" fmla="*/ 866 w 1440"/>
              <a:gd name="T15" fmla="*/ 171 h 267"/>
              <a:gd name="T16" fmla="*/ 737 w 1440"/>
              <a:gd name="T17" fmla="*/ 261 h 267"/>
              <a:gd name="T18" fmla="*/ 958 w 1440"/>
              <a:gd name="T19" fmla="*/ 172 h 267"/>
              <a:gd name="T20" fmla="*/ 906 w 1440"/>
              <a:gd name="T21" fmla="*/ 254 h 267"/>
              <a:gd name="T22" fmla="*/ 309 w 1440"/>
              <a:gd name="T23" fmla="*/ 260 h 267"/>
              <a:gd name="T24" fmla="*/ 1053 w 1440"/>
              <a:gd name="T25" fmla="*/ 31 h 267"/>
              <a:gd name="T26" fmla="*/ 1075 w 1440"/>
              <a:gd name="T27" fmla="*/ 44 h 267"/>
              <a:gd name="T28" fmla="*/ 1091 w 1440"/>
              <a:gd name="T29" fmla="*/ 22 h 267"/>
              <a:gd name="T30" fmla="*/ 1107 w 1440"/>
              <a:gd name="T31" fmla="*/ 27 h 267"/>
              <a:gd name="T32" fmla="*/ 1125 w 1440"/>
              <a:gd name="T33" fmla="*/ 55 h 267"/>
              <a:gd name="T34" fmla="*/ 1159 w 1440"/>
              <a:gd name="T35" fmla="*/ 53 h 267"/>
              <a:gd name="T36" fmla="*/ 1160 w 1440"/>
              <a:gd name="T37" fmla="*/ 57 h 267"/>
              <a:gd name="T38" fmla="*/ 1177 w 1440"/>
              <a:gd name="T39" fmla="*/ 23 h 267"/>
              <a:gd name="T40" fmla="*/ 1207 w 1440"/>
              <a:gd name="T41" fmla="*/ 58 h 267"/>
              <a:gd name="T42" fmla="*/ 1245 w 1440"/>
              <a:gd name="T43" fmla="*/ 27 h 267"/>
              <a:gd name="T44" fmla="*/ 1225 w 1440"/>
              <a:gd name="T45" fmla="*/ 43 h 267"/>
              <a:gd name="T46" fmla="*/ 1271 w 1440"/>
              <a:gd name="T47" fmla="*/ 19 h 267"/>
              <a:gd name="T48" fmla="*/ 1259 w 1440"/>
              <a:gd name="T49" fmla="*/ 32 h 267"/>
              <a:gd name="T50" fmla="*/ 1290 w 1440"/>
              <a:gd name="T51" fmla="*/ 54 h 267"/>
              <a:gd name="T52" fmla="*/ 1310 w 1440"/>
              <a:gd name="T53" fmla="*/ 25 h 267"/>
              <a:gd name="T54" fmla="*/ 1059 w 1440"/>
              <a:gd name="T55" fmla="*/ 110 h 267"/>
              <a:gd name="T56" fmla="*/ 1099 w 1440"/>
              <a:gd name="T57" fmla="*/ 134 h 267"/>
              <a:gd name="T58" fmla="*/ 1120 w 1440"/>
              <a:gd name="T59" fmla="*/ 156 h 267"/>
              <a:gd name="T60" fmla="*/ 1141 w 1440"/>
              <a:gd name="T61" fmla="*/ 123 h 267"/>
              <a:gd name="T62" fmla="*/ 1148 w 1440"/>
              <a:gd name="T63" fmla="*/ 175 h 267"/>
              <a:gd name="T64" fmla="*/ 1184 w 1440"/>
              <a:gd name="T65" fmla="*/ 119 h 267"/>
              <a:gd name="T66" fmla="*/ 1181 w 1440"/>
              <a:gd name="T67" fmla="*/ 153 h 267"/>
              <a:gd name="T68" fmla="*/ 1201 w 1440"/>
              <a:gd name="T69" fmla="*/ 125 h 267"/>
              <a:gd name="T70" fmla="*/ 1230 w 1440"/>
              <a:gd name="T71" fmla="*/ 157 h 267"/>
              <a:gd name="T72" fmla="*/ 1260 w 1440"/>
              <a:gd name="T73" fmla="*/ 154 h 267"/>
              <a:gd name="T74" fmla="*/ 1261 w 1440"/>
              <a:gd name="T75" fmla="*/ 158 h 267"/>
              <a:gd name="T76" fmla="*/ 1284 w 1440"/>
              <a:gd name="T77" fmla="*/ 152 h 267"/>
              <a:gd name="T78" fmla="*/ 1294 w 1440"/>
              <a:gd name="T79" fmla="*/ 123 h 267"/>
              <a:gd name="T80" fmla="*/ 1317 w 1440"/>
              <a:gd name="T81" fmla="*/ 125 h 267"/>
              <a:gd name="T82" fmla="*/ 1342 w 1440"/>
              <a:gd name="T83" fmla="*/ 121 h 267"/>
              <a:gd name="T84" fmla="*/ 1351 w 1440"/>
              <a:gd name="T85" fmla="*/ 112 h 267"/>
              <a:gd name="T86" fmla="*/ 1364 w 1440"/>
              <a:gd name="T87" fmla="*/ 159 h 267"/>
              <a:gd name="T88" fmla="*/ 1399 w 1440"/>
              <a:gd name="T89" fmla="*/ 156 h 267"/>
              <a:gd name="T90" fmla="*/ 1432 w 1440"/>
              <a:gd name="T91" fmla="*/ 120 h 267"/>
              <a:gd name="T92" fmla="*/ 1410 w 1440"/>
              <a:gd name="T93" fmla="*/ 176 h 267"/>
              <a:gd name="T94" fmla="*/ 1076 w 1440"/>
              <a:gd name="T95" fmla="*/ 242 h 267"/>
              <a:gd name="T96" fmla="*/ 1062 w 1440"/>
              <a:gd name="T97" fmla="*/ 225 h 267"/>
              <a:gd name="T98" fmla="*/ 1091 w 1440"/>
              <a:gd name="T99" fmla="*/ 208 h 267"/>
              <a:gd name="T100" fmla="*/ 1112 w 1440"/>
              <a:gd name="T101" fmla="*/ 233 h 267"/>
              <a:gd name="T102" fmla="*/ 1128 w 1440"/>
              <a:gd name="T103" fmla="*/ 224 h 267"/>
              <a:gd name="T104" fmla="*/ 1168 w 1440"/>
              <a:gd name="T105" fmla="*/ 255 h 267"/>
              <a:gd name="T106" fmla="*/ 1154 w 1440"/>
              <a:gd name="T107" fmla="*/ 236 h 267"/>
              <a:gd name="T108" fmla="*/ 1203 w 1440"/>
              <a:gd name="T109" fmla="*/ 256 h 267"/>
              <a:gd name="T110" fmla="*/ 1200 w 1440"/>
              <a:gd name="T111" fmla="*/ 213 h 267"/>
              <a:gd name="T112" fmla="*/ 1227 w 1440"/>
              <a:gd name="T113" fmla="*/ 256 h 267"/>
              <a:gd name="T114" fmla="*/ 1249 w 1440"/>
              <a:gd name="T115" fmla="*/ 260 h 267"/>
              <a:gd name="T116" fmla="*/ 1255 w 1440"/>
              <a:gd name="T117" fmla="*/ 205 h 267"/>
              <a:gd name="T118" fmla="*/ 1297 w 1440"/>
              <a:gd name="T119" fmla="*/ 226 h 267"/>
              <a:gd name="T120" fmla="*/ 1303 w 1440"/>
              <a:gd name="T121" fmla="*/ 243 h 267"/>
              <a:gd name="T122" fmla="*/ 1344 w 1440"/>
              <a:gd name="T123" fmla="*/ 229 h 267"/>
              <a:gd name="T124" fmla="*/ 1328 w 1440"/>
              <a:gd name="T125" fmla="*/ 239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440" h="267">
                <a:moveTo>
                  <a:pt x="17" y="110"/>
                </a:moveTo>
                <a:cubicBezTo>
                  <a:pt x="3" y="110"/>
                  <a:pt x="3" y="110"/>
                  <a:pt x="3" y="110"/>
                </a:cubicBezTo>
                <a:cubicBezTo>
                  <a:pt x="3" y="1"/>
                  <a:pt x="3" y="1"/>
                  <a:pt x="3" y="1"/>
                </a:cubicBezTo>
                <a:cubicBezTo>
                  <a:pt x="81" y="83"/>
                  <a:pt x="81" y="83"/>
                  <a:pt x="81" y="83"/>
                </a:cubicBezTo>
                <a:cubicBezTo>
                  <a:pt x="81" y="7"/>
                  <a:pt x="81" y="7"/>
                  <a:pt x="81" y="7"/>
                </a:cubicBezTo>
                <a:cubicBezTo>
                  <a:pt x="95" y="7"/>
                  <a:pt x="95" y="7"/>
                  <a:pt x="95" y="7"/>
                </a:cubicBezTo>
                <a:cubicBezTo>
                  <a:pt x="95" y="117"/>
                  <a:pt x="95" y="117"/>
                  <a:pt x="95" y="117"/>
                </a:cubicBezTo>
                <a:cubicBezTo>
                  <a:pt x="17" y="35"/>
                  <a:pt x="17" y="35"/>
                  <a:pt x="17" y="35"/>
                </a:cubicBezTo>
                <a:lnTo>
                  <a:pt x="17" y="110"/>
                </a:lnTo>
                <a:close/>
                <a:moveTo>
                  <a:pt x="130" y="110"/>
                </a:moveTo>
                <a:cubicBezTo>
                  <a:pt x="145" y="110"/>
                  <a:pt x="145" y="110"/>
                  <a:pt x="145" y="110"/>
                </a:cubicBezTo>
                <a:cubicBezTo>
                  <a:pt x="178" y="33"/>
                  <a:pt x="178" y="33"/>
                  <a:pt x="178" y="33"/>
                </a:cubicBezTo>
                <a:cubicBezTo>
                  <a:pt x="210" y="109"/>
                  <a:pt x="210" y="109"/>
                  <a:pt x="210" y="109"/>
                </a:cubicBezTo>
                <a:cubicBezTo>
                  <a:pt x="210" y="110"/>
                  <a:pt x="210" y="110"/>
                  <a:pt x="210" y="110"/>
                </a:cubicBezTo>
                <a:cubicBezTo>
                  <a:pt x="225" y="110"/>
                  <a:pt x="225" y="110"/>
                  <a:pt x="225" y="110"/>
                </a:cubicBezTo>
                <a:cubicBezTo>
                  <a:pt x="178" y="0"/>
                  <a:pt x="178" y="0"/>
                  <a:pt x="178" y="0"/>
                </a:cubicBezTo>
                <a:lnTo>
                  <a:pt x="130" y="110"/>
                </a:lnTo>
                <a:close/>
                <a:moveTo>
                  <a:pt x="700" y="110"/>
                </a:moveTo>
                <a:cubicBezTo>
                  <a:pt x="715" y="110"/>
                  <a:pt x="715" y="110"/>
                  <a:pt x="715" y="110"/>
                </a:cubicBezTo>
                <a:cubicBezTo>
                  <a:pt x="748" y="33"/>
                  <a:pt x="748" y="33"/>
                  <a:pt x="748" y="33"/>
                </a:cubicBezTo>
                <a:cubicBezTo>
                  <a:pt x="780" y="109"/>
                  <a:pt x="780" y="109"/>
                  <a:pt x="780" y="109"/>
                </a:cubicBezTo>
                <a:cubicBezTo>
                  <a:pt x="780" y="110"/>
                  <a:pt x="780" y="110"/>
                  <a:pt x="780" y="110"/>
                </a:cubicBezTo>
                <a:cubicBezTo>
                  <a:pt x="795" y="110"/>
                  <a:pt x="795" y="110"/>
                  <a:pt x="795" y="110"/>
                </a:cubicBezTo>
                <a:cubicBezTo>
                  <a:pt x="748" y="0"/>
                  <a:pt x="748" y="0"/>
                  <a:pt x="748" y="0"/>
                </a:cubicBezTo>
                <a:lnTo>
                  <a:pt x="700" y="110"/>
                </a:lnTo>
                <a:close/>
                <a:moveTo>
                  <a:pt x="273" y="110"/>
                </a:moveTo>
                <a:cubicBezTo>
                  <a:pt x="286" y="110"/>
                  <a:pt x="286" y="110"/>
                  <a:pt x="286" y="110"/>
                </a:cubicBezTo>
                <a:cubicBezTo>
                  <a:pt x="286" y="20"/>
                  <a:pt x="286" y="20"/>
                  <a:pt x="286" y="20"/>
                </a:cubicBezTo>
                <a:cubicBezTo>
                  <a:pt x="317" y="20"/>
                  <a:pt x="317" y="20"/>
                  <a:pt x="317" y="20"/>
                </a:cubicBezTo>
                <a:cubicBezTo>
                  <a:pt x="317" y="7"/>
                  <a:pt x="317" y="7"/>
                  <a:pt x="317" y="7"/>
                </a:cubicBezTo>
                <a:cubicBezTo>
                  <a:pt x="242" y="7"/>
                  <a:pt x="242" y="7"/>
                  <a:pt x="242" y="7"/>
                </a:cubicBezTo>
                <a:cubicBezTo>
                  <a:pt x="242" y="20"/>
                  <a:pt x="242" y="20"/>
                  <a:pt x="242" y="20"/>
                </a:cubicBezTo>
                <a:cubicBezTo>
                  <a:pt x="273" y="20"/>
                  <a:pt x="273" y="20"/>
                  <a:pt x="273" y="20"/>
                </a:cubicBezTo>
                <a:lnTo>
                  <a:pt x="273" y="110"/>
                </a:lnTo>
                <a:close/>
                <a:moveTo>
                  <a:pt x="374" y="7"/>
                </a:moveTo>
                <a:cubicBezTo>
                  <a:pt x="360" y="7"/>
                  <a:pt x="360" y="7"/>
                  <a:pt x="360" y="7"/>
                </a:cubicBezTo>
                <a:cubicBezTo>
                  <a:pt x="360" y="110"/>
                  <a:pt x="360" y="110"/>
                  <a:pt x="360" y="110"/>
                </a:cubicBezTo>
                <a:cubicBezTo>
                  <a:pt x="374" y="110"/>
                  <a:pt x="374" y="110"/>
                  <a:pt x="374" y="110"/>
                </a:cubicBezTo>
                <a:lnTo>
                  <a:pt x="374" y="7"/>
                </a:lnTo>
                <a:close/>
                <a:moveTo>
                  <a:pt x="475" y="112"/>
                </a:moveTo>
                <a:cubicBezTo>
                  <a:pt x="445" y="112"/>
                  <a:pt x="421" y="88"/>
                  <a:pt x="421" y="59"/>
                </a:cubicBezTo>
                <a:cubicBezTo>
                  <a:pt x="421" y="29"/>
                  <a:pt x="445" y="5"/>
                  <a:pt x="475" y="5"/>
                </a:cubicBezTo>
                <a:cubicBezTo>
                  <a:pt x="505" y="5"/>
                  <a:pt x="528" y="29"/>
                  <a:pt x="528" y="59"/>
                </a:cubicBezTo>
                <a:cubicBezTo>
                  <a:pt x="528" y="88"/>
                  <a:pt x="505" y="112"/>
                  <a:pt x="475" y="112"/>
                </a:cubicBezTo>
                <a:close/>
                <a:moveTo>
                  <a:pt x="475" y="19"/>
                </a:moveTo>
                <a:cubicBezTo>
                  <a:pt x="453" y="19"/>
                  <a:pt x="435" y="37"/>
                  <a:pt x="435" y="59"/>
                </a:cubicBezTo>
                <a:cubicBezTo>
                  <a:pt x="435" y="81"/>
                  <a:pt x="453" y="99"/>
                  <a:pt x="475" y="99"/>
                </a:cubicBezTo>
                <a:cubicBezTo>
                  <a:pt x="497" y="99"/>
                  <a:pt x="514" y="81"/>
                  <a:pt x="514" y="59"/>
                </a:cubicBezTo>
                <a:cubicBezTo>
                  <a:pt x="514" y="37"/>
                  <a:pt x="497" y="19"/>
                  <a:pt x="475" y="19"/>
                </a:cubicBezTo>
                <a:close/>
                <a:moveTo>
                  <a:pt x="586" y="35"/>
                </a:moveTo>
                <a:cubicBezTo>
                  <a:pt x="664" y="117"/>
                  <a:pt x="664" y="117"/>
                  <a:pt x="664" y="117"/>
                </a:cubicBezTo>
                <a:cubicBezTo>
                  <a:pt x="664" y="7"/>
                  <a:pt x="664" y="7"/>
                  <a:pt x="664" y="7"/>
                </a:cubicBezTo>
                <a:cubicBezTo>
                  <a:pt x="650" y="7"/>
                  <a:pt x="650" y="7"/>
                  <a:pt x="650" y="7"/>
                </a:cubicBezTo>
                <a:cubicBezTo>
                  <a:pt x="650" y="83"/>
                  <a:pt x="650" y="83"/>
                  <a:pt x="650" y="83"/>
                </a:cubicBezTo>
                <a:cubicBezTo>
                  <a:pt x="572" y="1"/>
                  <a:pt x="572" y="1"/>
                  <a:pt x="572" y="1"/>
                </a:cubicBezTo>
                <a:cubicBezTo>
                  <a:pt x="572" y="110"/>
                  <a:pt x="572" y="110"/>
                  <a:pt x="572" y="110"/>
                </a:cubicBezTo>
                <a:cubicBezTo>
                  <a:pt x="586" y="110"/>
                  <a:pt x="586" y="110"/>
                  <a:pt x="586" y="110"/>
                </a:cubicBezTo>
                <a:lnTo>
                  <a:pt x="586" y="35"/>
                </a:lnTo>
                <a:close/>
                <a:moveTo>
                  <a:pt x="843" y="7"/>
                </a:moveTo>
                <a:cubicBezTo>
                  <a:pt x="830" y="7"/>
                  <a:pt x="830" y="7"/>
                  <a:pt x="830" y="7"/>
                </a:cubicBezTo>
                <a:cubicBezTo>
                  <a:pt x="830" y="110"/>
                  <a:pt x="830" y="110"/>
                  <a:pt x="830" y="110"/>
                </a:cubicBezTo>
                <a:cubicBezTo>
                  <a:pt x="885" y="110"/>
                  <a:pt x="885" y="110"/>
                  <a:pt x="885" y="110"/>
                </a:cubicBezTo>
                <a:cubicBezTo>
                  <a:pt x="885" y="97"/>
                  <a:pt x="885" y="97"/>
                  <a:pt x="885" y="97"/>
                </a:cubicBezTo>
                <a:cubicBezTo>
                  <a:pt x="843" y="97"/>
                  <a:pt x="843" y="97"/>
                  <a:pt x="843" y="97"/>
                </a:cubicBezTo>
                <a:lnTo>
                  <a:pt x="843" y="7"/>
                </a:lnTo>
                <a:close/>
                <a:moveTo>
                  <a:pt x="169" y="156"/>
                </a:moveTo>
                <a:cubicBezTo>
                  <a:pt x="139" y="156"/>
                  <a:pt x="116" y="179"/>
                  <a:pt x="116" y="209"/>
                </a:cubicBezTo>
                <a:cubicBezTo>
                  <a:pt x="116" y="240"/>
                  <a:pt x="139" y="262"/>
                  <a:pt x="169" y="262"/>
                </a:cubicBezTo>
                <a:cubicBezTo>
                  <a:pt x="175" y="262"/>
                  <a:pt x="188" y="261"/>
                  <a:pt x="200" y="252"/>
                </a:cubicBezTo>
                <a:cubicBezTo>
                  <a:pt x="200" y="252"/>
                  <a:pt x="200" y="252"/>
                  <a:pt x="200" y="252"/>
                </a:cubicBezTo>
                <a:cubicBezTo>
                  <a:pt x="200" y="234"/>
                  <a:pt x="200" y="234"/>
                  <a:pt x="200" y="234"/>
                </a:cubicBezTo>
                <a:cubicBezTo>
                  <a:pt x="198" y="236"/>
                  <a:pt x="198" y="236"/>
                  <a:pt x="198" y="236"/>
                </a:cubicBezTo>
                <a:cubicBezTo>
                  <a:pt x="196" y="239"/>
                  <a:pt x="192" y="242"/>
                  <a:pt x="187" y="245"/>
                </a:cubicBezTo>
                <a:cubicBezTo>
                  <a:pt x="181" y="247"/>
                  <a:pt x="175" y="249"/>
                  <a:pt x="169" y="249"/>
                </a:cubicBezTo>
                <a:cubicBezTo>
                  <a:pt x="142" y="249"/>
                  <a:pt x="130" y="226"/>
                  <a:pt x="130" y="210"/>
                </a:cubicBezTo>
                <a:cubicBezTo>
                  <a:pt x="130" y="187"/>
                  <a:pt x="147" y="169"/>
                  <a:pt x="169" y="169"/>
                </a:cubicBezTo>
                <a:cubicBezTo>
                  <a:pt x="174" y="169"/>
                  <a:pt x="180" y="170"/>
                  <a:pt x="185" y="173"/>
                </a:cubicBezTo>
                <a:cubicBezTo>
                  <a:pt x="190" y="175"/>
                  <a:pt x="194" y="178"/>
                  <a:pt x="198" y="182"/>
                </a:cubicBezTo>
                <a:cubicBezTo>
                  <a:pt x="200" y="184"/>
                  <a:pt x="200" y="184"/>
                  <a:pt x="200" y="184"/>
                </a:cubicBezTo>
                <a:cubicBezTo>
                  <a:pt x="200" y="166"/>
                  <a:pt x="200" y="166"/>
                  <a:pt x="200" y="166"/>
                </a:cubicBezTo>
                <a:cubicBezTo>
                  <a:pt x="200" y="166"/>
                  <a:pt x="200" y="166"/>
                  <a:pt x="200" y="166"/>
                </a:cubicBezTo>
                <a:cubicBezTo>
                  <a:pt x="191" y="159"/>
                  <a:pt x="181" y="156"/>
                  <a:pt x="169" y="156"/>
                </a:cubicBezTo>
                <a:close/>
                <a:moveTo>
                  <a:pt x="437" y="209"/>
                </a:moveTo>
                <a:cubicBezTo>
                  <a:pt x="437" y="225"/>
                  <a:pt x="431" y="238"/>
                  <a:pt x="419" y="249"/>
                </a:cubicBezTo>
                <a:cubicBezTo>
                  <a:pt x="409" y="257"/>
                  <a:pt x="399" y="261"/>
                  <a:pt x="382" y="261"/>
                </a:cubicBezTo>
                <a:cubicBezTo>
                  <a:pt x="360" y="261"/>
                  <a:pt x="360" y="261"/>
                  <a:pt x="360" y="261"/>
                </a:cubicBezTo>
                <a:cubicBezTo>
                  <a:pt x="360" y="157"/>
                  <a:pt x="360" y="157"/>
                  <a:pt x="360" y="157"/>
                </a:cubicBezTo>
                <a:cubicBezTo>
                  <a:pt x="382" y="157"/>
                  <a:pt x="382" y="157"/>
                  <a:pt x="382" y="157"/>
                </a:cubicBezTo>
                <a:cubicBezTo>
                  <a:pt x="393" y="157"/>
                  <a:pt x="407" y="159"/>
                  <a:pt x="420" y="170"/>
                </a:cubicBezTo>
                <a:cubicBezTo>
                  <a:pt x="426" y="175"/>
                  <a:pt x="437" y="187"/>
                  <a:pt x="437" y="209"/>
                </a:cubicBezTo>
                <a:close/>
                <a:moveTo>
                  <a:pt x="423" y="209"/>
                </a:moveTo>
                <a:cubicBezTo>
                  <a:pt x="423" y="186"/>
                  <a:pt x="407" y="171"/>
                  <a:pt x="382" y="171"/>
                </a:cubicBezTo>
                <a:cubicBezTo>
                  <a:pt x="374" y="171"/>
                  <a:pt x="374" y="171"/>
                  <a:pt x="374" y="171"/>
                </a:cubicBezTo>
                <a:cubicBezTo>
                  <a:pt x="374" y="247"/>
                  <a:pt x="374" y="247"/>
                  <a:pt x="374" y="247"/>
                </a:cubicBezTo>
                <a:cubicBezTo>
                  <a:pt x="382" y="247"/>
                  <a:pt x="382" y="247"/>
                  <a:pt x="382" y="247"/>
                </a:cubicBezTo>
                <a:cubicBezTo>
                  <a:pt x="390" y="247"/>
                  <a:pt x="401" y="246"/>
                  <a:pt x="410" y="239"/>
                </a:cubicBezTo>
                <a:cubicBezTo>
                  <a:pt x="416" y="234"/>
                  <a:pt x="423" y="224"/>
                  <a:pt x="423" y="209"/>
                </a:cubicBezTo>
                <a:close/>
                <a:moveTo>
                  <a:pt x="479" y="261"/>
                </a:moveTo>
                <a:cubicBezTo>
                  <a:pt x="541" y="261"/>
                  <a:pt x="541" y="261"/>
                  <a:pt x="541" y="261"/>
                </a:cubicBezTo>
                <a:cubicBezTo>
                  <a:pt x="541" y="247"/>
                  <a:pt x="541" y="247"/>
                  <a:pt x="541" y="247"/>
                </a:cubicBezTo>
                <a:cubicBezTo>
                  <a:pt x="493" y="247"/>
                  <a:pt x="493" y="247"/>
                  <a:pt x="493" y="247"/>
                </a:cubicBezTo>
                <a:cubicBezTo>
                  <a:pt x="493" y="211"/>
                  <a:pt x="493" y="211"/>
                  <a:pt x="493" y="211"/>
                </a:cubicBezTo>
                <a:cubicBezTo>
                  <a:pt x="535" y="211"/>
                  <a:pt x="535" y="211"/>
                  <a:pt x="535" y="211"/>
                </a:cubicBezTo>
                <a:cubicBezTo>
                  <a:pt x="535" y="198"/>
                  <a:pt x="535" y="198"/>
                  <a:pt x="535" y="198"/>
                </a:cubicBezTo>
                <a:cubicBezTo>
                  <a:pt x="493" y="198"/>
                  <a:pt x="493" y="198"/>
                  <a:pt x="493" y="198"/>
                </a:cubicBezTo>
                <a:cubicBezTo>
                  <a:pt x="493" y="171"/>
                  <a:pt x="493" y="171"/>
                  <a:pt x="493" y="171"/>
                </a:cubicBezTo>
                <a:cubicBezTo>
                  <a:pt x="541" y="171"/>
                  <a:pt x="541" y="171"/>
                  <a:pt x="541" y="171"/>
                </a:cubicBezTo>
                <a:cubicBezTo>
                  <a:pt x="541" y="157"/>
                  <a:pt x="541" y="157"/>
                  <a:pt x="541" y="157"/>
                </a:cubicBezTo>
                <a:cubicBezTo>
                  <a:pt x="479" y="157"/>
                  <a:pt x="479" y="157"/>
                  <a:pt x="479" y="157"/>
                </a:cubicBezTo>
                <a:lnTo>
                  <a:pt x="479" y="261"/>
                </a:lnTo>
                <a:close/>
                <a:moveTo>
                  <a:pt x="805" y="261"/>
                </a:moveTo>
                <a:cubicBezTo>
                  <a:pt x="866" y="261"/>
                  <a:pt x="866" y="261"/>
                  <a:pt x="866" y="261"/>
                </a:cubicBezTo>
                <a:cubicBezTo>
                  <a:pt x="866" y="247"/>
                  <a:pt x="866" y="247"/>
                  <a:pt x="866" y="247"/>
                </a:cubicBezTo>
                <a:cubicBezTo>
                  <a:pt x="819" y="247"/>
                  <a:pt x="819" y="247"/>
                  <a:pt x="819" y="247"/>
                </a:cubicBezTo>
                <a:cubicBezTo>
                  <a:pt x="819" y="211"/>
                  <a:pt x="819" y="211"/>
                  <a:pt x="819" y="211"/>
                </a:cubicBezTo>
                <a:cubicBezTo>
                  <a:pt x="860" y="211"/>
                  <a:pt x="860" y="211"/>
                  <a:pt x="860" y="211"/>
                </a:cubicBezTo>
                <a:cubicBezTo>
                  <a:pt x="860" y="198"/>
                  <a:pt x="860" y="198"/>
                  <a:pt x="860" y="198"/>
                </a:cubicBezTo>
                <a:cubicBezTo>
                  <a:pt x="819" y="198"/>
                  <a:pt x="819" y="198"/>
                  <a:pt x="819" y="198"/>
                </a:cubicBezTo>
                <a:cubicBezTo>
                  <a:pt x="819" y="171"/>
                  <a:pt x="819" y="171"/>
                  <a:pt x="819" y="171"/>
                </a:cubicBezTo>
                <a:cubicBezTo>
                  <a:pt x="866" y="171"/>
                  <a:pt x="866" y="171"/>
                  <a:pt x="866" y="171"/>
                </a:cubicBezTo>
                <a:cubicBezTo>
                  <a:pt x="866" y="157"/>
                  <a:pt x="866" y="157"/>
                  <a:pt x="866" y="157"/>
                </a:cubicBezTo>
                <a:cubicBezTo>
                  <a:pt x="805" y="157"/>
                  <a:pt x="805" y="157"/>
                  <a:pt x="805" y="157"/>
                </a:cubicBezTo>
                <a:lnTo>
                  <a:pt x="805" y="261"/>
                </a:lnTo>
                <a:close/>
                <a:moveTo>
                  <a:pt x="634" y="235"/>
                </a:moveTo>
                <a:cubicBezTo>
                  <a:pt x="595" y="149"/>
                  <a:pt x="595" y="149"/>
                  <a:pt x="595" y="149"/>
                </a:cubicBezTo>
                <a:cubicBezTo>
                  <a:pt x="578" y="261"/>
                  <a:pt x="578" y="261"/>
                  <a:pt x="578" y="261"/>
                </a:cubicBezTo>
                <a:cubicBezTo>
                  <a:pt x="592" y="261"/>
                  <a:pt x="592" y="261"/>
                  <a:pt x="592" y="261"/>
                </a:cubicBezTo>
                <a:cubicBezTo>
                  <a:pt x="601" y="194"/>
                  <a:pt x="601" y="194"/>
                  <a:pt x="601" y="194"/>
                </a:cubicBezTo>
                <a:cubicBezTo>
                  <a:pt x="634" y="267"/>
                  <a:pt x="634" y="267"/>
                  <a:pt x="634" y="267"/>
                </a:cubicBezTo>
                <a:cubicBezTo>
                  <a:pt x="668" y="194"/>
                  <a:pt x="668" y="194"/>
                  <a:pt x="668" y="194"/>
                </a:cubicBezTo>
                <a:cubicBezTo>
                  <a:pt x="677" y="261"/>
                  <a:pt x="677" y="261"/>
                  <a:pt x="677" y="261"/>
                </a:cubicBezTo>
                <a:cubicBezTo>
                  <a:pt x="691" y="261"/>
                  <a:pt x="691" y="261"/>
                  <a:pt x="691" y="261"/>
                </a:cubicBezTo>
                <a:cubicBezTo>
                  <a:pt x="674" y="148"/>
                  <a:pt x="674" y="148"/>
                  <a:pt x="674" y="148"/>
                </a:cubicBezTo>
                <a:lnTo>
                  <a:pt x="634" y="235"/>
                </a:lnTo>
                <a:close/>
                <a:moveTo>
                  <a:pt x="737" y="261"/>
                </a:moveTo>
                <a:cubicBezTo>
                  <a:pt x="751" y="261"/>
                  <a:pt x="751" y="261"/>
                  <a:pt x="751" y="261"/>
                </a:cubicBezTo>
                <a:cubicBezTo>
                  <a:pt x="751" y="157"/>
                  <a:pt x="751" y="157"/>
                  <a:pt x="751" y="157"/>
                </a:cubicBezTo>
                <a:cubicBezTo>
                  <a:pt x="737" y="157"/>
                  <a:pt x="737" y="157"/>
                  <a:pt x="737" y="157"/>
                </a:cubicBezTo>
                <a:lnTo>
                  <a:pt x="737" y="261"/>
                </a:lnTo>
                <a:close/>
                <a:moveTo>
                  <a:pt x="955" y="211"/>
                </a:moveTo>
                <a:cubicBezTo>
                  <a:pt x="950" y="207"/>
                  <a:pt x="945" y="204"/>
                  <a:pt x="939" y="201"/>
                </a:cubicBezTo>
                <a:cubicBezTo>
                  <a:pt x="929" y="197"/>
                  <a:pt x="929" y="197"/>
                  <a:pt x="929" y="197"/>
                </a:cubicBezTo>
                <a:cubicBezTo>
                  <a:pt x="925" y="195"/>
                  <a:pt x="922" y="194"/>
                  <a:pt x="919" y="191"/>
                </a:cubicBezTo>
                <a:cubicBezTo>
                  <a:pt x="916" y="189"/>
                  <a:pt x="916" y="187"/>
                  <a:pt x="916" y="183"/>
                </a:cubicBezTo>
                <a:cubicBezTo>
                  <a:pt x="916" y="175"/>
                  <a:pt x="922" y="169"/>
                  <a:pt x="931" y="169"/>
                </a:cubicBezTo>
                <a:cubicBezTo>
                  <a:pt x="936" y="169"/>
                  <a:pt x="940" y="171"/>
                  <a:pt x="942" y="172"/>
                </a:cubicBezTo>
                <a:cubicBezTo>
                  <a:pt x="944" y="174"/>
                  <a:pt x="946" y="177"/>
                  <a:pt x="947" y="179"/>
                </a:cubicBezTo>
                <a:cubicBezTo>
                  <a:pt x="948" y="181"/>
                  <a:pt x="948" y="181"/>
                  <a:pt x="948" y="181"/>
                </a:cubicBezTo>
                <a:cubicBezTo>
                  <a:pt x="959" y="173"/>
                  <a:pt x="959" y="173"/>
                  <a:pt x="959" y="173"/>
                </a:cubicBezTo>
                <a:cubicBezTo>
                  <a:pt x="958" y="172"/>
                  <a:pt x="958" y="172"/>
                  <a:pt x="958" y="172"/>
                </a:cubicBezTo>
                <a:cubicBezTo>
                  <a:pt x="956" y="167"/>
                  <a:pt x="952" y="163"/>
                  <a:pt x="948" y="161"/>
                </a:cubicBezTo>
                <a:cubicBezTo>
                  <a:pt x="943" y="157"/>
                  <a:pt x="938" y="156"/>
                  <a:pt x="931" y="156"/>
                </a:cubicBezTo>
                <a:cubicBezTo>
                  <a:pt x="914" y="156"/>
                  <a:pt x="902" y="167"/>
                  <a:pt x="902" y="183"/>
                </a:cubicBezTo>
                <a:cubicBezTo>
                  <a:pt x="902" y="190"/>
                  <a:pt x="904" y="195"/>
                  <a:pt x="909" y="200"/>
                </a:cubicBezTo>
                <a:cubicBezTo>
                  <a:pt x="913" y="205"/>
                  <a:pt x="918" y="207"/>
                  <a:pt x="922" y="209"/>
                </a:cubicBezTo>
                <a:cubicBezTo>
                  <a:pt x="932" y="213"/>
                  <a:pt x="932" y="213"/>
                  <a:pt x="932" y="213"/>
                </a:cubicBezTo>
                <a:cubicBezTo>
                  <a:pt x="937" y="215"/>
                  <a:pt x="941" y="217"/>
                  <a:pt x="944" y="220"/>
                </a:cubicBezTo>
                <a:cubicBezTo>
                  <a:pt x="947" y="223"/>
                  <a:pt x="948" y="226"/>
                  <a:pt x="948" y="231"/>
                </a:cubicBezTo>
                <a:cubicBezTo>
                  <a:pt x="948" y="240"/>
                  <a:pt x="942" y="249"/>
                  <a:pt x="929" y="249"/>
                </a:cubicBezTo>
                <a:cubicBezTo>
                  <a:pt x="924" y="249"/>
                  <a:pt x="919" y="247"/>
                  <a:pt x="916" y="244"/>
                </a:cubicBezTo>
                <a:cubicBezTo>
                  <a:pt x="913" y="241"/>
                  <a:pt x="911" y="236"/>
                  <a:pt x="910" y="232"/>
                </a:cubicBezTo>
                <a:cubicBezTo>
                  <a:pt x="910" y="230"/>
                  <a:pt x="910" y="230"/>
                  <a:pt x="910" y="230"/>
                </a:cubicBezTo>
                <a:cubicBezTo>
                  <a:pt x="896" y="234"/>
                  <a:pt x="896" y="234"/>
                  <a:pt x="896" y="234"/>
                </a:cubicBezTo>
                <a:cubicBezTo>
                  <a:pt x="897" y="235"/>
                  <a:pt x="897" y="235"/>
                  <a:pt x="897" y="235"/>
                </a:cubicBezTo>
                <a:cubicBezTo>
                  <a:pt x="898" y="243"/>
                  <a:pt x="902" y="249"/>
                  <a:pt x="906" y="254"/>
                </a:cubicBezTo>
                <a:cubicBezTo>
                  <a:pt x="912" y="260"/>
                  <a:pt x="920" y="262"/>
                  <a:pt x="929" y="262"/>
                </a:cubicBezTo>
                <a:cubicBezTo>
                  <a:pt x="948" y="262"/>
                  <a:pt x="962" y="249"/>
                  <a:pt x="962" y="230"/>
                </a:cubicBezTo>
                <a:cubicBezTo>
                  <a:pt x="962" y="222"/>
                  <a:pt x="960" y="216"/>
                  <a:pt x="955" y="211"/>
                </a:cubicBezTo>
                <a:close/>
                <a:moveTo>
                  <a:pt x="0" y="261"/>
                </a:moveTo>
                <a:cubicBezTo>
                  <a:pt x="15" y="261"/>
                  <a:pt x="15" y="261"/>
                  <a:pt x="15" y="261"/>
                </a:cubicBezTo>
                <a:cubicBezTo>
                  <a:pt x="48" y="184"/>
                  <a:pt x="48" y="184"/>
                  <a:pt x="48" y="184"/>
                </a:cubicBezTo>
                <a:cubicBezTo>
                  <a:pt x="79" y="260"/>
                  <a:pt x="79" y="260"/>
                  <a:pt x="79" y="260"/>
                </a:cubicBezTo>
                <a:cubicBezTo>
                  <a:pt x="80" y="261"/>
                  <a:pt x="80" y="261"/>
                  <a:pt x="80" y="261"/>
                </a:cubicBezTo>
                <a:cubicBezTo>
                  <a:pt x="95" y="261"/>
                  <a:pt x="95" y="261"/>
                  <a:pt x="95" y="261"/>
                </a:cubicBezTo>
                <a:cubicBezTo>
                  <a:pt x="48" y="151"/>
                  <a:pt x="48" y="151"/>
                  <a:pt x="48" y="151"/>
                </a:cubicBezTo>
                <a:lnTo>
                  <a:pt x="0" y="261"/>
                </a:lnTo>
                <a:close/>
                <a:moveTo>
                  <a:pt x="229" y="261"/>
                </a:moveTo>
                <a:cubicBezTo>
                  <a:pt x="244" y="261"/>
                  <a:pt x="244" y="261"/>
                  <a:pt x="244" y="261"/>
                </a:cubicBezTo>
                <a:cubicBezTo>
                  <a:pt x="277" y="184"/>
                  <a:pt x="277" y="184"/>
                  <a:pt x="277" y="184"/>
                </a:cubicBezTo>
                <a:cubicBezTo>
                  <a:pt x="309" y="260"/>
                  <a:pt x="309" y="260"/>
                  <a:pt x="309" y="260"/>
                </a:cubicBezTo>
                <a:cubicBezTo>
                  <a:pt x="309" y="261"/>
                  <a:pt x="309" y="261"/>
                  <a:pt x="309" y="261"/>
                </a:cubicBezTo>
                <a:cubicBezTo>
                  <a:pt x="324" y="261"/>
                  <a:pt x="324" y="261"/>
                  <a:pt x="324" y="261"/>
                </a:cubicBezTo>
                <a:cubicBezTo>
                  <a:pt x="277" y="151"/>
                  <a:pt x="277" y="151"/>
                  <a:pt x="277" y="151"/>
                </a:cubicBezTo>
                <a:lnTo>
                  <a:pt x="229" y="261"/>
                </a:lnTo>
                <a:close/>
                <a:moveTo>
                  <a:pt x="1071" y="11"/>
                </a:moveTo>
                <a:cubicBezTo>
                  <a:pt x="1071" y="18"/>
                  <a:pt x="1071" y="18"/>
                  <a:pt x="1071" y="18"/>
                </a:cubicBezTo>
                <a:cubicBezTo>
                  <a:pt x="1075" y="18"/>
                  <a:pt x="1075" y="18"/>
                  <a:pt x="1075" y="18"/>
                </a:cubicBezTo>
                <a:cubicBezTo>
                  <a:pt x="1077" y="9"/>
                  <a:pt x="1077" y="9"/>
                  <a:pt x="1077" y="9"/>
                </a:cubicBezTo>
                <a:cubicBezTo>
                  <a:pt x="1076" y="8"/>
                  <a:pt x="1074" y="7"/>
                  <a:pt x="1072" y="6"/>
                </a:cubicBezTo>
                <a:cubicBezTo>
                  <a:pt x="1070" y="6"/>
                  <a:pt x="1067" y="6"/>
                  <a:pt x="1064" y="6"/>
                </a:cubicBezTo>
                <a:cubicBezTo>
                  <a:pt x="1061" y="6"/>
                  <a:pt x="1058" y="6"/>
                  <a:pt x="1056" y="7"/>
                </a:cubicBezTo>
                <a:cubicBezTo>
                  <a:pt x="1053" y="9"/>
                  <a:pt x="1051" y="10"/>
                  <a:pt x="1049" y="12"/>
                </a:cubicBezTo>
                <a:cubicBezTo>
                  <a:pt x="1048" y="14"/>
                  <a:pt x="1047" y="17"/>
                  <a:pt x="1047" y="20"/>
                </a:cubicBezTo>
                <a:cubicBezTo>
                  <a:pt x="1047" y="22"/>
                  <a:pt x="1048" y="24"/>
                  <a:pt x="1049" y="26"/>
                </a:cubicBezTo>
                <a:cubicBezTo>
                  <a:pt x="1050" y="28"/>
                  <a:pt x="1051" y="30"/>
                  <a:pt x="1053" y="31"/>
                </a:cubicBezTo>
                <a:cubicBezTo>
                  <a:pt x="1055" y="32"/>
                  <a:pt x="1057" y="34"/>
                  <a:pt x="1059" y="35"/>
                </a:cubicBezTo>
                <a:cubicBezTo>
                  <a:pt x="1062" y="37"/>
                  <a:pt x="1064" y="39"/>
                  <a:pt x="1066" y="40"/>
                </a:cubicBezTo>
                <a:cubicBezTo>
                  <a:pt x="1067" y="42"/>
                  <a:pt x="1068" y="44"/>
                  <a:pt x="1068" y="47"/>
                </a:cubicBezTo>
                <a:cubicBezTo>
                  <a:pt x="1068" y="49"/>
                  <a:pt x="1067" y="52"/>
                  <a:pt x="1065" y="53"/>
                </a:cubicBezTo>
                <a:cubicBezTo>
                  <a:pt x="1062" y="55"/>
                  <a:pt x="1060" y="56"/>
                  <a:pt x="1057" y="56"/>
                </a:cubicBezTo>
                <a:cubicBezTo>
                  <a:pt x="1055" y="56"/>
                  <a:pt x="1053" y="56"/>
                  <a:pt x="1052" y="55"/>
                </a:cubicBezTo>
                <a:cubicBezTo>
                  <a:pt x="1050" y="55"/>
                  <a:pt x="1049" y="54"/>
                  <a:pt x="1048" y="54"/>
                </a:cubicBezTo>
                <a:cubicBezTo>
                  <a:pt x="1048" y="46"/>
                  <a:pt x="1048" y="46"/>
                  <a:pt x="1048" y="46"/>
                </a:cubicBezTo>
                <a:cubicBezTo>
                  <a:pt x="1044" y="46"/>
                  <a:pt x="1044" y="46"/>
                  <a:pt x="1044" y="46"/>
                </a:cubicBezTo>
                <a:cubicBezTo>
                  <a:pt x="1042" y="56"/>
                  <a:pt x="1042" y="56"/>
                  <a:pt x="1042" y="56"/>
                </a:cubicBezTo>
                <a:cubicBezTo>
                  <a:pt x="1043" y="57"/>
                  <a:pt x="1045" y="58"/>
                  <a:pt x="1048" y="58"/>
                </a:cubicBezTo>
                <a:cubicBezTo>
                  <a:pt x="1051" y="59"/>
                  <a:pt x="1054" y="59"/>
                  <a:pt x="1057" y="59"/>
                </a:cubicBezTo>
                <a:cubicBezTo>
                  <a:pt x="1060" y="59"/>
                  <a:pt x="1063" y="59"/>
                  <a:pt x="1066" y="57"/>
                </a:cubicBezTo>
                <a:cubicBezTo>
                  <a:pt x="1069" y="56"/>
                  <a:pt x="1071" y="54"/>
                  <a:pt x="1073" y="52"/>
                </a:cubicBezTo>
                <a:cubicBezTo>
                  <a:pt x="1074" y="50"/>
                  <a:pt x="1075" y="47"/>
                  <a:pt x="1075" y="44"/>
                </a:cubicBezTo>
                <a:cubicBezTo>
                  <a:pt x="1075" y="42"/>
                  <a:pt x="1074" y="40"/>
                  <a:pt x="1073" y="38"/>
                </a:cubicBezTo>
                <a:cubicBezTo>
                  <a:pt x="1072" y="36"/>
                  <a:pt x="1071" y="35"/>
                  <a:pt x="1069" y="34"/>
                </a:cubicBezTo>
                <a:cubicBezTo>
                  <a:pt x="1068" y="32"/>
                  <a:pt x="1066" y="31"/>
                  <a:pt x="1064" y="29"/>
                </a:cubicBezTo>
                <a:cubicBezTo>
                  <a:pt x="1060" y="27"/>
                  <a:pt x="1058" y="25"/>
                  <a:pt x="1056" y="24"/>
                </a:cubicBezTo>
                <a:cubicBezTo>
                  <a:pt x="1055" y="22"/>
                  <a:pt x="1054" y="20"/>
                  <a:pt x="1054" y="17"/>
                </a:cubicBezTo>
                <a:cubicBezTo>
                  <a:pt x="1054" y="15"/>
                  <a:pt x="1055" y="13"/>
                  <a:pt x="1057" y="11"/>
                </a:cubicBezTo>
                <a:cubicBezTo>
                  <a:pt x="1059" y="10"/>
                  <a:pt x="1061" y="9"/>
                  <a:pt x="1064" y="9"/>
                </a:cubicBezTo>
                <a:cubicBezTo>
                  <a:pt x="1065" y="9"/>
                  <a:pt x="1067" y="9"/>
                  <a:pt x="1068" y="10"/>
                </a:cubicBezTo>
                <a:cubicBezTo>
                  <a:pt x="1069" y="10"/>
                  <a:pt x="1070" y="10"/>
                  <a:pt x="1071" y="11"/>
                </a:cubicBezTo>
                <a:close/>
                <a:moveTo>
                  <a:pt x="1107" y="27"/>
                </a:moveTo>
                <a:cubicBezTo>
                  <a:pt x="1108" y="27"/>
                  <a:pt x="1108" y="27"/>
                  <a:pt x="1108" y="27"/>
                </a:cubicBezTo>
                <a:cubicBezTo>
                  <a:pt x="1110" y="20"/>
                  <a:pt x="1110" y="20"/>
                  <a:pt x="1110" y="20"/>
                </a:cubicBezTo>
                <a:cubicBezTo>
                  <a:pt x="1109" y="20"/>
                  <a:pt x="1108" y="19"/>
                  <a:pt x="1107" y="19"/>
                </a:cubicBezTo>
                <a:cubicBezTo>
                  <a:pt x="1105" y="19"/>
                  <a:pt x="1104" y="19"/>
                  <a:pt x="1102" y="19"/>
                </a:cubicBezTo>
                <a:cubicBezTo>
                  <a:pt x="1098" y="19"/>
                  <a:pt x="1094" y="20"/>
                  <a:pt x="1091" y="22"/>
                </a:cubicBezTo>
                <a:cubicBezTo>
                  <a:pt x="1088" y="25"/>
                  <a:pt x="1086" y="28"/>
                  <a:pt x="1084" y="32"/>
                </a:cubicBezTo>
                <a:cubicBezTo>
                  <a:pt x="1083" y="36"/>
                  <a:pt x="1082" y="40"/>
                  <a:pt x="1082" y="43"/>
                </a:cubicBezTo>
                <a:cubicBezTo>
                  <a:pt x="1082" y="48"/>
                  <a:pt x="1083" y="52"/>
                  <a:pt x="1085" y="55"/>
                </a:cubicBezTo>
                <a:cubicBezTo>
                  <a:pt x="1087" y="58"/>
                  <a:pt x="1091" y="59"/>
                  <a:pt x="1094" y="59"/>
                </a:cubicBezTo>
                <a:cubicBezTo>
                  <a:pt x="1098" y="59"/>
                  <a:pt x="1100" y="59"/>
                  <a:pt x="1102" y="57"/>
                </a:cubicBezTo>
                <a:cubicBezTo>
                  <a:pt x="1105" y="56"/>
                  <a:pt x="1106" y="54"/>
                  <a:pt x="1108" y="53"/>
                </a:cubicBezTo>
                <a:cubicBezTo>
                  <a:pt x="1106" y="50"/>
                  <a:pt x="1106" y="50"/>
                  <a:pt x="1106" y="50"/>
                </a:cubicBezTo>
                <a:cubicBezTo>
                  <a:pt x="1105" y="52"/>
                  <a:pt x="1103" y="53"/>
                  <a:pt x="1102" y="54"/>
                </a:cubicBezTo>
                <a:cubicBezTo>
                  <a:pt x="1100" y="54"/>
                  <a:pt x="1099" y="55"/>
                  <a:pt x="1097" y="55"/>
                </a:cubicBezTo>
                <a:cubicBezTo>
                  <a:pt x="1094" y="55"/>
                  <a:pt x="1092" y="54"/>
                  <a:pt x="1091" y="52"/>
                </a:cubicBezTo>
                <a:cubicBezTo>
                  <a:pt x="1090" y="50"/>
                  <a:pt x="1089" y="47"/>
                  <a:pt x="1089" y="43"/>
                </a:cubicBezTo>
                <a:cubicBezTo>
                  <a:pt x="1089" y="39"/>
                  <a:pt x="1090" y="35"/>
                  <a:pt x="1091" y="32"/>
                </a:cubicBezTo>
                <a:cubicBezTo>
                  <a:pt x="1092" y="30"/>
                  <a:pt x="1093" y="27"/>
                  <a:pt x="1095" y="26"/>
                </a:cubicBezTo>
                <a:cubicBezTo>
                  <a:pt x="1097" y="24"/>
                  <a:pt x="1099" y="23"/>
                  <a:pt x="1101" y="23"/>
                </a:cubicBezTo>
                <a:cubicBezTo>
                  <a:pt x="1102" y="23"/>
                  <a:pt x="1105" y="24"/>
                  <a:pt x="1107" y="27"/>
                </a:cubicBezTo>
                <a:close/>
                <a:moveTo>
                  <a:pt x="1124" y="52"/>
                </a:moveTo>
                <a:cubicBezTo>
                  <a:pt x="1129" y="19"/>
                  <a:pt x="1129" y="19"/>
                  <a:pt x="1129" y="19"/>
                </a:cubicBezTo>
                <a:cubicBezTo>
                  <a:pt x="1128" y="19"/>
                  <a:pt x="1128" y="19"/>
                  <a:pt x="1128" y="19"/>
                </a:cubicBezTo>
                <a:cubicBezTo>
                  <a:pt x="1118" y="20"/>
                  <a:pt x="1118" y="20"/>
                  <a:pt x="1118" y="20"/>
                </a:cubicBezTo>
                <a:cubicBezTo>
                  <a:pt x="1117" y="23"/>
                  <a:pt x="1117" y="23"/>
                  <a:pt x="1117" y="23"/>
                </a:cubicBezTo>
                <a:cubicBezTo>
                  <a:pt x="1122" y="24"/>
                  <a:pt x="1122" y="24"/>
                  <a:pt x="1122" y="24"/>
                </a:cubicBezTo>
                <a:cubicBezTo>
                  <a:pt x="1121" y="31"/>
                  <a:pt x="1120" y="37"/>
                  <a:pt x="1119" y="41"/>
                </a:cubicBezTo>
                <a:cubicBezTo>
                  <a:pt x="1118" y="49"/>
                  <a:pt x="1117" y="54"/>
                  <a:pt x="1117" y="55"/>
                </a:cubicBezTo>
                <a:cubicBezTo>
                  <a:pt x="1117" y="56"/>
                  <a:pt x="1118" y="57"/>
                  <a:pt x="1118" y="58"/>
                </a:cubicBezTo>
                <a:cubicBezTo>
                  <a:pt x="1119" y="59"/>
                  <a:pt x="1120" y="59"/>
                  <a:pt x="1122" y="59"/>
                </a:cubicBezTo>
                <a:cubicBezTo>
                  <a:pt x="1124" y="59"/>
                  <a:pt x="1125" y="59"/>
                  <a:pt x="1127" y="58"/>
                </a:cubicBezTo>
                <a:cubicBezTo>
                  <a:pt x="1128" y="57"/>
                  <a:pt x="1129" y="55"/>
                  <a:pt x="1130" y="54"/>
                </a:cubicBezTo>
                <a:cubicBezTo>
                  <a:pt x="1129" y="53"/>
                  <a:pt x="1129" y="53"/>
                  <a:pt x="1129" y="53"/>
                </a:cubicBezTo>
                <a:cubicBezTo>
                  <a:pt x="1128" y="54"/>
                  <a:pt x="1128" y="54"/>
                  <a:pt x="1127" y="54"/>
                </a:cubicBezTo>
                <a:cubicBezTo>
                  <a:pt x="1126" y="55"/>
                  <a:pt x="1126" y="55"/>
                  <a:pt x="1125" y="55"/>
                </a:cubicBezTo>
                <a:cubicBezTo>
                  <a:pt x="1125" y="55"/>
                  <a:pt x="1125" y="55"/>
                  <a:pt x="1125" y="54"/>
                </a:cubicBezTo>
                <a:cubicBezTo>
                  <a:pt x="1124" y="54"/>
                  <a:pt x="1124" y="54"/>
                  <a:pt x="1124" y="53"/>
                </a:cubicBezTo>
                <a:lnTo>
                  <a:pt x="1124" y="52"/>
                </a:lnTo>
                <a:close/>
                <a:moveTo>
                  <a:pt x="1127" y="11"/>
                </a:moveTo>
                <a:cubicBezTo>
                  <a:pt x="1128" y="11"/>
                  <a:pt x="1129" y="11"/>
                  <a:pt x="1130" y="10"/>
                </a:cubicBezTo>
                <a:cubicBezTo>
                  <a:pt x="1131" y="9"/>
                  <a:pt x="1131" y="7"/>
                  <a:pt x="1131" y="6"/>
                </a:cubicBezTo>
                <a:cubicBezTo>
                  <a:pt x="1131" y="5"/>
                  <a:pt x="1131" y="4"/>
                  <a:pt x="1130" y="3"/>
                </a:cubicBezTo>
                <a:cubicBezTo>
                  <a:pt x="1130" y="3"/>
                  <a:pt x="1129" y="2"/>
                  <a:pt x="1128" y="2"/>
                </a:cubicBezTo>
                <a:cubicBezTo>
                  <a:pt x="1126" y="2"/>
                  <a:pt x="1125" y="3"/>
                  <a:pt x="1124" y="4"/>
                </a:cubicBezTo>
                <a:cubicBezTo>
                  <a:pt x="1123" y="5"/>
                  <a:pt x="1123" y="6"/>
                  <a:pt x="1123" y="7"/>
                </a:cubicBezTo>
                <a:cubicBezTo>
                  <a:pt x="1123" y="8"/>
                  <a:pt x="1123" y="9"/>
                  <a:pt x="1124" y="10"/>
                </a:cubicBezTo>
                <a:cubicBezTo>
                  <a:pt x="1125" y="11"/>
                  <a:pt x="1126" y="11"/>
                  <a:pt x="1127" y="11"/>
                </a:cubicBezTo>
                <a:close/>
                <a:moveTo>
                  <a:pt x="1166" y="52"/>
                </a:moveTo>
                <a:cubicBezTo>
                  <a:pt x="1165" y="49"/>
                  <a:pt x="1165" y="49"/>
                  <a:pt x="1165" y="49"/>
                </a:cubicBezTo>
                <a:cubicBezTo>
                  <a:pt x="1163" y="51"/>
                  <a:pt x="1161" y="52"/>
                  <a:pt x="1159" y="53"/>
                </a:cubicBezTo>
                <a:cubicBezTo>
                  <a:pt x="1157" y="54"/>
                  <a:pt x="1155" y="55"/>
                  <a:pt x="1153" y="55"/>
                </a:cubicBezTo>
                <a:cubicBezTo>
                  <a:pt x="1150" y="55"/>
                  <a:pt x="1148" y="54"/>
                  <a:pt x="1147" y="51"/>
                </a:cubicBezTo>
                <a:cubicBezTo>
                  <a:pt x="1145" y="49"/>
                  <a:pt x="1145" y="46"/>
                  <a:pt x="1145" y="43"/>
                </a:cubicBezTo>
                <a:cubicBezTo>
                  <a:pt x="1148" y="43"/>
                  <a:pt x="1151" y="42"/>
                  <a:pt x="1155" y="41"/>
                </a:cubicBezTo>
                <a:cubicBezTo>
                  <a:pt x="1158" y="40"/>
                  <a:pt x="1162" y="38"/>
                  <a:pt x="1164" y="36"/>
                </a:cubicBezTo>
                <a:cubicBezTo>
                  <a:pt x="1167" y="33"/>
                  <a:pt x="1168" y="31"/>
                  <a:pt x="1168" y="27"/>
                </a:cubicBezTo>
                <a:cubicBezTo>
                  <a:pt x="1168" y="25"/>
                  <a:pt x="1167" y="23"/>
                  <a:pt x="1166" y="21"/>
                </a:cubicBezTo>
                <a:cubicBezTo>
                  <a:pt x="1164" y="19"/>
                  <a:pt x="1162" y="19"/>
                  <a:pt x="1158" y="19"/>
                </a:cubicBezTo>
                <a:cubicBezTo>
                  <a:pt x="1154" y="19"/>
                  <a:pt x="1151" y="20"/>
                  <a:pt x="1148" y="22"/>
                </a:cubicBezTo>
                <a:cubicBezTo>
                  <a:pt x="1145" y="24"/>
                  <a:pt x="1142" y="28"/>
                  <a:pt x="1140" y="31"/>
                </a:cubicBezTo>
                <a:cubicBezTo>
                  <a:pt x="1138" y="35"/>
                  <a:pt x="1138" y="40"/>
                  <a:pt x="1138" y="44"/>
                </a:cubicBezTo>
                <a:cubicBezTo>
                  <a:pt x="1138" y="47"/>
                  <a:pt x="1138" y="49"/>
                  <a:pt x="1139" y="52"/>
                </a:cubicBezTo>
                <a:cubicBezTo>
                  <a:pt x="1140" y="54"/>
                  <a:pt x="1142" y="56"/>
                  <a:pt x="1144" y="57"/>
                </a:cubicBezTo>
                <a:cubicBezTo>
                  <a:pt x="1146" y="59"/>
                  <a:pt x="1148" y="59"/>
                  <a:pt x="1151" y="59"/>
                </a:cubicBezTo>
                <a:cubicBezTo>
                  <a:pt x="1155" y="59"/>
                  <a:pt x="1158" y="58"/>
                  <a:pt x="1160" y="57"/>
                </a:cubicBezTo>
                <a:cubicBezTo>
                  <a:pt x="1163" y="55"/>
                  <a:pt x="1165" y="54"/>
                  <a:pt x="1166" y="52"/>
                </a:cubicBezTo>
                <a:close/>
                <a:moveTo>
                  <a:pt x="1157" y="22"/>
                </a:moveTo>
                <a:cubicBezTo>
                  <a:pt x="1158" y="22"/>
                  <a:pt x="1159" y="23"/>
                  <a:pt x="1160" y="24"/>
                </a:cubicBezTo>
                <a:cubicBezTo>
                  <a:pt x="1161" y="25"/>
                  <a:pt x="1161" y="26"/>
                  <a:pt x="1161" y="28"/>
                </a:cubicBezTo>
                <a:cubicBezTo>
                  <a:pt x="1161" y="30"/>
                  <a:pt x="1161" y="32"/>
                  <a:pt x="1159" y="34"/>
                </a:cubicBezTo>
                <a:cubicBezTo>
                  <a:pt x="1157" y="35"/>
                  <a:pt x="1155" y="37"/>
                  <a:pt x="1152" y="38"/>
                </a:cubicBezTo>
                <a:cubicBezTo>
                  <a:pt x="1150" y="39"/>
                  <a:pt x="1147" y="39"/>
                  <a:pt x="1145" y="39"/>
                </a:cubicBezTo>
                <a:cubicBezTo>
                  <a:pt x="1145" y="37"/>
                  <a:pt x="1146" y="34"/>
                  <a:pt x="1147" y="32"/>
                </a:cubicBezTo>
                <a:cubicBezTo>
                  <a:pt x="1148" y="29"/>
                  <a:pt x="1149" y="27"/>
                  <a:pt x="1151" y="25"/>
                </a:cubicBezTo>
                <a:cubicBezTo>
                  <a:pt x="1152" y="23"/>
                  <a:pt x="1154" y="22"/>
                  <a:pt x="1157" y="22"/>
                </a:cubicBezTo>
                <a:close/>
                <a:moveTo>
                  <a:pt x="1187" y="28"/>
                </a:moveTo>
                <a:cubicBezTo>
                  <a:pt x="1188" y="19"/>
                  <a:pt x="1188" y="19"/>
                  <a:pt x="1188" y="19"/>
                </a:cubicBezTo>
                <a:cubicBezTo>
                  <a:pt x="1186" y="19"/>
                  <a:pt x="1186" y="19"/>
                  <a:pt x="1186" y="19"/>
                </a:cubicBezTo>
                <a:cubicBezTo>
                  <a:pt x="1178" y="20"/>
                  <a:pt x="1178" y="20"/>
                  <a:pt x="1178" y="20"/>
                </a:cubicBezTo>
                <a:cubicBezTo>
                  <a:pt x="1177" y="23"/>
                  <a:pt x="1177" y="23"/>
                  <a:pt x="1177" y="23"/>
                </a:cubicBezTo>
                <a:cubicBezTo>
                  <a:pt x="1180" y="25"/>
                  <a:pt x="1180" y="25"/>
                  <a:pt x="1180" y="25"/>
                </a:cubicBezTo>
                <a:cubicBezTo>
                  <a:pt x="1176" y="58"/>
                  <a:pt x="1176" y="58"/>
                  <a:pt x="1176" y="58"/>
                </a:cubicBezTo>
                <a:cubicBezTo>
                  <a:pt x="1183" y="58"/>
                  <a:pt x="1183" y="58"/>
                  <a:pt x="1183" y="58"/>
                </a:cubicBezTo>
                <a:cubicBezTo>
                  <a:pt x="1186" y="33"/>
                  <a:pt x="1186" y="33"/>
                  <a:pt x="1186" y="33"/>
                </a:cubicBezTo>
                <a:cubicBezTo>
                  <a:pt x="1188" y="31"/>
                  <a:pt x="1190" y="28"/>
                  <a:pt x="1192" y="26"/>
                </a:cubicBezTo>
                <a:cubicBezTo>
                  <a:pt x="1194" y="25"/>
                  <a:pt x="1196" y="24"/>
                  <a:pt x="1198" y="24"/>
                </a:cubicBezTo>
                <a:cubicBezTo>
                  <a:pt x="1200" y="24"/>
                  <a:pt x="1201" y="24"/>
                  <a:pt x="1202" y="25"/>
                </a:cubicBezTo>
                <a:cubicBezTo>
                  <a:pt x="1202" y="26"/>
                  <a:pt x="1203" y="27"/>
                  <a:pt x="1203" y="29"/>
                </a:cubicBezTo>
                <a:cubicBezTo>
                  <a:pt x="1203" y="31"/>
                  <a:pt x="1202" y="33"/>
                  <a:pt x="1202" y="35"/>
                </a:cubicBezTo>
                <a:cubicBezTo>
                  <a:pt x="1202" y="37"/>
                  <a:pt x="1201" y="39"/>
                  <a:pt x="1201" y="41"/>
                </a:cubicBezTo>
                <a:cubicBezTo>
                  <a:pt x="1201" y="43"/>
                  <a:pt x="1201" y="43"/>
                  <a:pt x="1201" y="43"/>
                </a:cubicBezTo>
                <a:cubicBezTo>
                  <a:pt x="1200" y="46"/>
                  <a:pt x="1200" y="46"/>
                  <a:pt x="1200" y="46"/>
                </a:cubicBezTo>
                <a:cubicBezTo>
                  <a:pt x="1199" y="51"/>
                  <a:pt x="1199" y="54"/>
                  <a:pt x="1199" y="55"/>
                </a:cubicBezTo>
                <a:cubicBezTo>
                  <a:pt x="1199" y="58"/>
                  <a:pt x="1200" y="59"/>
                  <a:pt x="1203" y="59"/>
                </a:cubicBezTo>
                <a:cubicBezTo>
                  <a:pt x="1205" y="59"/>
                  <a:pt x="1206" y="59"/>
                  <a:pt x="1207" y="58"/>
                </a:cubicBezTo>
                <a:cubicBezTo>
                  <a:pt x="1208" y="58"/>
                  <a:pt x="1209" y="57"/>
                  <a:pt x="1210" y="57"/>
                </a:cubicBezTo>
                <a:cubicBezTo>
                  <a:pt x="1210" y="56"/>
                  <a:pt x="1211" y="55"/>
                  <a:pt x="1211" y="55"/>
                </a:cubicBezTo>
                <a:cubicBezTo>
                  <a:pt x="1210" y="53"/>
                  <a:pt x="1210" y="53"/>
                  <a:pt x="1210" y="53"/>
                </a:cubicBezTo>
                <a:cubicBezTo>
                  <a:pt x="1209" y="54"/>
                  <a:pt x="1208" y="55"/>
                  <a:pt x="1207" y="55"/>
                </a:cubicBezTo>
                <a:cubicBezTo>
                  <a:pt x="1206" y="55"/>
                  <a:pt x="1206" y="54"/>
                  <a:pt x="1206" y="53"/>
                </a:cubicBezTo>
                <a:cubicBezTo>
                  <a:pt x="1206" y="51"/>
                  <a:pt x="1206" y="48"/>
                  <a:pt x="1207" y="45"/>
                </a:cubicBezTo>
                <a:cubicBezTo>
                  <a:pt x="1208" y="41"/>
                  <a:pt x="1208" y="41"/>
                  <a:pt x="1208" y="41"/>
                </a:cubicBezTo>
                <a:cubicBezTo>
                  <a:pt x="1208" y="40"/>
                  <a:pt x="1208" y="40"/>
                  <a:pt x="1208" y="40"/>
                </a:cubicBezTo>
                <a:cubicBezTo>
                  <a:pt x="1209" y="34"/>
                  <a:pt x="1210" y="31"/>
                  <a:pt x="1210" y="29"/>
                </a:cubicBezTo>
                <a:cubicBezTo>
                  <a:pt x="1210" y="25"/>
                  <a:pt x="1209" y="23"/>
                  <a:pt x="1207" y="21"/>
                </a:cubicBezTo>
                <a:cubicBezTo>
                  <a:pt x="1206" y="19"/>
                  <a:pt x="1204" y="19"/>
                  <a:pt x="1201" y="19"/>
                </a:cubicBezTo>
                <a:cubicBezTo>
                  <a:pt x="1199" y="19"/>
                  <a:pt x="1196" y="19"/>
                  <a:pt x="1193" y="21"/>
                </a:cubicBezTo>
                <a:cubicBezTo>
                  <a:pt x="1191" y="23"/>
                  <a:pt x="1189" y="25"/>
                  <a:pt x="1187" y="28"/>
                </a:cubicBezTo>
                <a:close/>
                <a:moveTo>
                  <a:pt x="1243" y="27"/>
                </a:moveTo>
                <a:cubicBezTo>
                  <a:pt x="1245" y="27"/>
                  <a:pt x="1245" y="27"/>
                  <a:pt x="1245" y="27"/>
                </a:cubicBezTo>
                <a:cubicBezTo>
                  <a:pt x="1247" y="20"/>
                  <a:pt x="1247" y="20"/>
                  <a:pt x="1247" y="20"/>
                </a:cubicBezTo>
                <a:cubicBezTo>
                  <a:pt x="1246" y="20"/>
                  <a:pt x="1244" y="19"/>
                  <a:pt x="1243" y="19"/>
                </a:cubicBezTo>
                <a:cubicBezTo>
                  <a:pt x="1241" y="19"/>
                  <a:pt x="1240" y="19"/>
                  <a:pt x="1239" y="19"/>
                </a:cubicBezTo>
                <a:cubicBezTo>
                  <a:pt x="1234" y="19"/>
                  <a:pt x="1231" y="20"/>
                  <a:pt x="1228" y="22"/>
                </a:cubicBezTo>
                <a:cubicBezTo>
                  <a:pt x="1224" y="25"/>
                  <a:pt x="1222" y="28"/>
                  <a:pt x="1220" y="32"/>
                </a:cubicBezTo>
                <a:cubicBezTo>
                  <a:pt x="1219" y="36"/>
                  <a:pt x="1218" y="40"/>
                  <a:pt x="1218" y="43"/>
                </a:cubicBezTo>
                <a:cubicBezTo>
                  <a:pt x="1218" y="48"/>
                  <a:pt x="1219" y="52"/>
                  <a:pt x="1221" y="55"/>
                </a:cubicBezTo>
                <a:cubicBezTo>
                  <a:pt x="1224" y="58"/>
                  <a:pt x="1227" y="59"/>
                  <a:pt x="1231" y="59"/>
                </a:cubicBezTo>
                <a:cubicBezTo>
                  <a:pt x="1234" y="59"/>
                  <a:pt x="1236" y="59"/>
                  <a:pt x="1239" y="57"/>
                </a:cubicBezTo>
                <a:cubicBezTo>
                  <a:pt x="1241" y="56"/>
                  <a:pt x="1243" y="54"/>
                  <a:pt x="1244" y="53"/>
                </a:cubicBezTo>
                <a:cubicBezTo>
                  <a:pt x="1242" y="50"/>
                  <a:pt x="1242" y="50"/>
                  <a:pt x="1242" y="50"/>
                </a:cubicBezTo>
                <a:cubicBezTo>
                  <a:pt x="1241" y="52"/>
                  <a:pt x="1239" y="53"/>
                  <a:pt x="1238" y="54"/>
                </a:cubicBezTo>
                <a:cubicBezTo>
                  <a:pt x="1236" y="54"/>
                  <a:pt x="1235" y="55"/>
                  <a:pt x="1233" y="55"/>
                </a:cubicBezTo>
                <a:cubicBezTo>
                  <a:pt x="1230" y="55"/>
                  <a:pt x="1228" y="54"/>
                  <a:pt x="1227" y="52"/>
                </a:cubicBezTo>
                <a:cubicBezTo>
                  <a:pt x="1226" y="50"/>
                  <a:pt x="1225" y="47"/>
                  <a:pt x="1225" y="43"/>
                </a:cubicBezTo>
                <a:cubicBezTo>
                  <a:pt x="1225" y="39"/>
                  <a:pt x="1226" y="35"/>
                  <a:pt x="1227" y="32"/>
                </a:cubicBezTo>
                <a:cubicBezTo>
                  <a:pt x="1228" y="30"/>
                  <a:pt x="1229" y="27"/>
                  <a:pt x="1231" y="26"/>
                </a:cubicBezTo>
                <a:cubicBezTo>
                  <a:pt x="1233" y="24"/>
                  <a:pt x="1235" y="23"/>
                  <a:pt x="1237" y="23"/>
                </a:cubicBezTo>
                <a:cubicBezTo>
                  <a:pt x="1239" y="23"/>
                  <a:pt x="1241" y="24"/>
                  <a:pt x="1243" y="27"/>
                </a:cubicBezTo>
                <a:close/>
                <a:moveTo>
                  <a:pt x="1279" y="52"/>
                </a:moveTo>
                <a:cubicBezTo>
                  <a:pt x="1277" y="49"/>
                  <a:pt x="1277" y="49"/>
                  <a:pt x="1277" y="49"/>
                </a:cubicBezTo>
                <a:cubicBezTo>
                  <a:pt x="1276" y="51"/>
                  <a:pt x="1274" y="52"/>
                  <a:pt x="1272" y="53"/>
                </a:cubicBezTo>
                <a:cubicBezTo>
                  <a:pt x="1270" y="54"/>
                  <a:pt x="1268" y="55"/>
                  <a:pt x="1266" y="55"/>
                </a:cubicBezTo>
                <a:cubicBezTo>
                  <a:pt x="1263" y="55"/>
                  <a:pt x="1261" y="54"/>
                  <a:pt x="1259" y="51"/>
                </a:cubicBezTo>
                <a:cubicBezTo>
                  <a:pt x="1258" y="49"/>
                  <a:pt x="1257" y="46"/>
                  <a:pt x="1258" y="43"/>
                </a:cubicBezTo>
                <a:cubicBezTo>
                  <a:pt x="1260" y="43"/>
                  <a:pt x="1264" y="42"/>
                  <a:pt x="1267" y="41"/>
                </a:cubicBezTo>
                <a:cubicBezTo>
                  <a:pt x="1271" y="40"/>
                  <a:pt x="1274" y="38"/>
                  <a:pt x="1277" y="36"/>
                </a:cubicBezTo>
                <a:cubicBezTo>
                  <a:pt x="1280" y="33"/>
                  <a:pt x="1281" y="31"/>
                  <a:pt x="1281" y="27"/>
                </a:cubicBezTo>
                <a:cubicBezTo>
                  <a:pt x="1281" y="25"/>
                  <a:pt x="1280" y="23"/>
                  <a:pt x="1278" y="21"/>
                </a:cubicBezTo>
                <a:cubicBezTo>
                  <a:pt x="1277" y="19"/>
                  <a:pt x="1274" y="19"/>
                  <a:pt x="1271" y="19"/>
                </a:cubicBezTo>
                <a:cubicBezTo>
                  <a:pt x="1267" y="19"/>
                  <a:pt x="1264" y="20"/>
                  <a:pt x="1260" y="22"/>
                </a:cubicBezTo>
                <a:cubicBezTo>
                  <a:pt x="1257" y="24"/>
                  <a:pt x="1255" y="28"/>
                  <a:pt x="1253" y="31"/>
                </a:cubicBezTo>
                <a:cubicBezTo>
                  <a:pt x="1251" y="35"/>
                  <a:pt x="1250" y="40"/>
                  <a:pt x="1250" y="44"/>
                </a:cubicBezTo>
                <a:cubicBezTo>
                  <a:pt x="1250" y="47"/>
                  <a:pt x="1251" y="49"/>
                  <a:pt x="1252" y="52"/>
                </a:cubicBezTo>
                <a:cubicBezTo>
                  <a:pt x="1253" y="54"/>
                  <a:pt x="1254" y="56"/>
                  <a:pt x="1256" y="57"/>
                </a:cubicBezTo>
                <a:cubicBezTo>
                  <a:pt x="1258" y="59"/>
                  <a:pt x="1261" y="59"/>
                  <a:pt x="1264" y="59"/>
                </a:cubicBezTo>
                <a:cubicBezTo>
                  <a:pt x="1267" y="59"/>
                  <a:pt x="1270" y="58"/>
                  <a:pt x="1273" y="57"/>
                </a:cubicBezTo>
                <a:cubicBezTo>
                  <a:pt x="1276" y="55"/>
                  <a:pt x="1278" y="54"/>
                  <a:pt x="1279" y="52"/>
                </a:cubicBezTo>
                <a:close/>
                <a:moveTo>
                  <a:pt x="1269" y="22"/>
                </a:moveTo>
                <a:cubicBezTo>
                  <a:pt x="1271" y="22"/>
                  <a:pt x="1272" y="23"/>
                  <a:pt x="1273" y="24"/>
                </a:cubicBezTo>
                <a:cubicBezTo>
                  <a:pt x="1274" y="25"/>
                  <a:pt x="1274" y="26"/>
                  <a:pt x="1274" y="28"/>
                </a:cubicBezTo>
                <a:cubicBezTo>
                  <a:pt x="1274" y="30"/>
                  <a:pt x="1273" y="32"/>
                  <a:pt x="1272" y="34"/>
                </a:cubicBezTo>
                <a:cubicBezTo>
                  <a:pt x="1270" y="35"/>
                  <a:pt x="1268" y="37"/>
                  <a:pt x="1265" y="38"/>
                </a:cubicBezTo>
                <a:cubicBezTo>
                  <a:pt x="1263" y="39"/>
                  <a:pt x="1260" y="39"/>
                  <a:pt x="1258" y="39"/>
                </a:cubicBezTo>
                <a:cubicBezTo>
                  <a:pt x="1258" y="37"/>
                  <a:pt x="1259" y="34"/>
                  <a:pt x="1259" y="32"/>
                </a:cubicBezTo>
                <a:cubicBezTo>
                  <a:pt x="1260" y="29"/>
                  <a:pt x="1262" y="27"/>
                  <a:pt x="1263" y="25"/>
                </a:cubicBezTo>
                <a:cubicBezTo>
                  <a:pt x="1265" y="23"/>
                  <a:pt x="1267" y="22"/>
                  <a:pt x="1269" y="22"/>
                </a:cubicBezTo>
                <a:close/>
                <a:moveTo>
                  <a:pt x="1310" y="25"/>
                </a:moveTo>
                <a:cubicBezTo>
                  <a:pt x="1311" y="20"/>
                  <a:pt x="1311" y="20"/>
                  <a:pt x="1311" y="20"/>
                </a:cubicBezTo>
                <a:cubicBezTo>
                  <a:pt x="1311" y="20"/>
                  <a:pt x="1309" y="19"/>
                  <a:pt x="1308" y="19"/>
                </a:cubicBezTo>
                <a:cubicBezTo>
                  <a:pt x="1306" y="19"/>
                  <a:pt x="1304" y="19"/>
                  <a:pt x="1303" y="19"/>
                </a:cubicBezTo>
                <a:cubicBezTo>
                  <a:pt x="1300" y="19"/>
                  <a:pt x="1298" y="19"/>
                  <a:pt x="1296" y="20"/>
                </a:cubicBezTo>
                <a:cubicBezTo>
                  <a:pt x="1293" y="21"/>
                  <a:pt x="1292" y="22"/>
                  <a:pt x="1291" y="24"/>
                </a:cubicBezTo>
                <a:cubicBezTo>
                  <a:pt x="1289" y="26"/>
                  <a:pt x="1289" y="27"/>
                  <a:pt x="1289" y="30"/>
                </a:cubicBezTo>
                <a:cubicBezTo>
                  <a:pt x="1289" y="34"/>
                  <a:pt x="1291" y="38"/>
                  <a:pt x="1296" y="41"/>
                </a:cubicBezTo>
                <a:cubicBezTo>
                  <a:pt x="1298" y="43"/>
                  <a:pt x="1300" y="44"/>
                  <a:pt x="1301" y="45"/>
                </a:cubicBezTo>
                <a:cubicBezTo>
                  <a:pt x="1302" y="46"/>
                  <a:pt x="1303" y="48"/>
                  <a:pt x="1303" y="50"/>
                </a:cubicBezTo>
                <a:cubicBezTo>
                  <a:pt x="1303" y="51"/>
                  <a:pt x="1302" y="53"/>
                  <a:pt x="1301" y="54"/>
                </a:cubicBezTo>
                <a:cubicBezTo>
                  <a:pt x="1299" y="55"/>
                  <a:pt x="1297" y="55"/>
                  <a:pt x="1295" y="55"/>
                </a:cubicBezTo>
                <a:cubicBezTo>
                  <a:pt x="1293" y="55"/>
                  <a:pt x="1292" y="55"/>
                  <a:pt x="1290" y="54"/>
                </a:cubicBezTo>
                <a:cubicBezTo>
                  <a:pt x="1288" y="53"/>
                  <a:pt x="1287" y="53"/>
                  <a:pt x="1286" y="52"/>
                </a:cubicBezTo>
                <a:cubicBezTo>
                  <a:pt x="1285" y="57"/>
                  <a:pt x="1285" y="57"/>
                  <a:pt x="1285" y="57"/>
                </a:cubicBezTo>
                <a:cubicBezTo>
                  <a:pt x="1285" y="58"/>
                  <a:pt x="1287" y="58"/>
                  <a:pt x="1289" y="58"/>
                </a:cubicBezTo>
                <a:cubicBezTo>
                  <a:pt x="1291" y="59"/>
                  <a:pt x="1293" y="59"/>
                  <a:pt x="1295" y="59"/>
                </a:cubicBezTo>
                <a:cubicBezTo>
                  <a:pt x="1299" y="59"/>
                  <a:pt x="1303" y="58"/>
                  <a:pt x="1305" y="56"/>
                </a:cubicBezTo>
                <a:cubicBezTo>
                  <a:pt x="1308" y="54"/>
                  <a:pt x="1309" y="52"/>
                  <a:pt x="1309" y="48"/>
                </a:cubicBezTo>
                <a:cubicBezTo>
                  <a:pt x="1309" y="46"/>
                  <a:pt x="1309" y="45"/>
                  <a:pt x="1308" y="43"/>
                </a:cubicBezTo>
                <a:cubicBezTo>
                  <a:pt x="1307" y="42"/>
                  <a:pt x="1306" y="41"/>
                  <a:pt x="1305" y="40"/>
                </a:cubicBezTo>
                <a:cubicBezTo>
                  <a:pt x="1304" y="39"/>
                  <a:pt x="1303" y="38"/>
                  <a:pt x="1301" y="36"/>
                </a:cubicBezTo>
                <a:cubicBezTo>
                  <a:pt x="1299" y="35"/>
                  <a:pt x="1298" y="34"/>
                  <a:pt x="1297" y="32"/>
                </a:cubicBezTo>
                <a:cubicBezTo>
                  <a:pt x="1296" y="31"/>
                  <a:pt x="1295" y="30"/>
                  <a:pt x="1295" y="28"/>
                </a:cubicBezTo>
                <a:cubicBezTo>
                  <a:pt x="1295" y="26"/>
                  <a:pt x="1296" y="25"/>
                  <a:pt x="1297" y="24"/>
                </a:cubicBezTo>
                <a:cubicBezTo>
                  <a:pt x="1299" y="23"/>
                  <a:pt x="1300" y="23"/>
                  <a:pt x="1303" y="23"/>
                </a:cubicBezTo>
                <a:cubicBezTo>
                  <a:pt x="1304" y="23"/>
                  <a:pt x="1306" y="23"/>
                  <a:pt x="1307" y="24"/>
                </a:cubicBezTo>
                <a:cubicBezTo>
                  <a:pt x="1309" y="24"/>
                  <a:pt x="1310" y="25"/>
                  <a:pt x="1310" y="25"/>
                </a:cubicBezTo>
                <a:close/>
                <a:moveTo>
                  <a:pt x="1047" y="110"/>
                </a:moveTo>
                <a:cubicBezTo>
                  <a:pt x="1052" y="111"/>
                  <a:pt x="1052" y="111"/>
                  <a:pt x="1052" y="111"/>
                </a:cubicBezTo>
                <a:cubicBezTo>
                  <a:pt x="1046" y="156"/>
                  <a:pt x="1046" y="156"/>
                  <a:pt x="1046" y="156"/>
                </a:cubicBezTo>
                <a:cubicBezTo>
                  <a:pt x="1041" y="157"/>
                  <a:pt x="1041" y="157"/>
                  <a:pt x="1041" y="157"/>
                </a:cubicBezTo>
                <a:cubicBezTo>
                  <a:pt x="1041" y="159"/>
                  <a:pt x="1041" y="159"/>
                  <a:pt x="1041" y="159"/>
                </a:cubicBezTo>
                <a:cubicBezTo>
                  <a:pt x="1078" y="159"/>
                  <a:pt x="1078" y="159"/>
                  <a:pt x="1078" y="159"/>
                </a:cubicBezTo>
                <a:cubicBezTo>
                  <a:pt x="1081" y="147"/>
                  <a:pt x="1081" y="147"/>
                  <a:pt x="1081" y="147"/>
                </a:cubicBezTo>
                <a:cubicBezTo>
                  <a:pt x="1077" y="146"/>
                  <a:pt x="1077" y="146"/>
                  <a:pt x="1077" y="146"/>
                </a:cubicBezTo>
                <a:cubicBezTo>
                  <a:pt x="1073" y="155"/>
                  <a:pt x="1073" y="155"/>
                  <a:pt x="1073" y="155"/>
                </a:cubicBezTo>
                <a:cubicBezTo>
                  <a:pt x="1053" y="156"/>
                  <a:pt x="1053" y="156"/>
                  <a:pt x="1053" y="156"/>
                </a:cubicBezTo>
                <a:cubicBezTo>
                  <a:pt x="1056" y="134"/>
                  <a:pt x="1056" y="134"/>
                  <a:pt x="1056" y="134"/>
                </a:cubicBezTo>
                <a:cubicBezTo>
                  <a:pt x="1072" y="135"/>
                  <a:pt x="1072" y="135"/>
                  <a:pt x="1072" y="135"/>
                </a:cubicBezTo>
                <a:cubicBezTo>
                  <a:pt x="1073" y="130"/>
                  <a:pt x="1073" y="130"/>
                  <a:pt x="1073" y="130"/>
                </a:cubicBezTo>
                <a:cubicBezTo>
                  <a:pt x="1057" y="130"/>
                  <a:pt x="1057" y="130"/>
                  <a:pt x="1057" y="130"/>
                </a:cubicBezTo>
                <a:cubicBezTo>
                  <a:pt x="1059" y="110"/>
                  <a:pt x="1059" y="110"/>
                  <a:pt x="1059" y="110"/>
                </a:cubicBezTo>
                <a:cubicBezTo>
                  <a:pt x="1075" y="111"/>
                  <a:pt x="1075" y="111"/>
                  <a:pt x="1075" y="111"/>
                </a:cubicBezTo>
                <a:cubicBezTo>
                  <a:pt x="1076" y="118"/>
                  <a:pt x="1076" y="118"/>
                  <a:pt x="1076" y="118"/>
                </a:cubicBezTo>
                <a:cubicBezTo>
                  <a:pt x="1080" y="118"/>
                  <a:pt x="1080" y="118"/>
                  <a:pt x="1080" y="118"/>
                </a:cubicBezTo>
                <a:cubicBezTo>
                  <a:pt x="1081" y="107"/>
                  <a:pt x="1081" y="107"/>
                  <a:pt x="1081" y="107"/>
                </a:cubicBezTo>
                <a:cubicBezTo>
                  <a:pt x="1048" y="107"/>
                  <a:pt x="1048" y="107"/>
                  <a:pt x="1048" y="107"/>
                </a:cubicBezTo>
                <a:lnTo>
                  <a:pt x="1047" y="110"/>
                </a:lnTo>
                <a:close/>
                <a:moveTo>
                  <a:pt x="1100" y="129"/>
                </a:moveTo>
                <a:cubicBezTo>
                  <a:pt x="1100" y="120"/>
                  <a:pt x="1100" y="120"/>
                  <a:pt x="1100" y="120"/>
                </a:cubicBezTo>
                <a:cubicBezTo>
                  <a:pt x="1099" y="119"/>
                  <a:pt x="1099" y="119"/>
                  <a:pt x="1099" y="119"/>
                </a:cubicBezTo>
                <a:cubicBezTo>
                  <a:pt x="1090" y="121"/>
                  <a:pt x="1090" y="121"/>
                  <a:pt x="1090" y="121"/>
                </a:cubicBezTo>
                <a:cubicBezTo>
                  <a:pt x="1090" y="124"/>
                  <a:pt x="1090" y="124"/>
                  <a:pt x="1090" y="124"/>
                </a:cubicBezTo>
                <a:cubicBezTo>
                  <a:pt x="1093" y="125"/>
                  <a:pt x="1093" y="125"/>
                  <a:pt x="1093" y="125"/>
                </a:cubicBezTo>
                <a:cubicBezTo>
                  <a:pt x="1089" y="159"/>
                  <a:pt x="1089" y="159"/>
                  <a:pt x="1089" y="159"/>
                </a:cubicBezTo>
                <a:cubicBezTo>
                  <a:pt x="1095" y="159"/>
                  <a:pt x="1095" y="159"/>
                  <a:pt x="1095" y="159"/>
                </a:cubicBezTo>
                <a:cubicBezTo>
                  <a:pt x="1099" y="134"/>
                  <a:pt x="1099" y="134"/>
                  <a:pt x="1099" y="134"/>
                </a:cubicBezTo>
                <a:cubicBezTo>
                  <a:pt x="1101" y="131"/>
                  <a:pt x="1103" y="129"/>
                  <a:pt x="1105" y="127"/>
                </a:cubicBezTo>
                <a:cubicBezTo>
                  <a:pt x="1107" y="125"/>
                  <a:pt x="1109" y="124"/>
                  <a:pt x="1111" y="124"/>
                </a:cubicBezTo>
                <a:cubicBezTo>
                  <a:pt x="1113" y="124"/>
                  <a:pt x="1114" y="125"/>
                  <a:pt x="1114" y="126"/>
                </a:cubicBezTo>
                <a:cubicBezTo>
                  <a:pt x="1115" y="127"/>
                  <a:pt x="1115" y="128"/>
                  <a:pt x="1115" y="130"/>
                </a:cubicBezTo>
                <a:cubicBezTo>
                  <a:pt x="1115" y="132"/>
                  <a:pt x="1115" y="134"/>
                  <a:pt x="1115" y="135"/>
                </a:cubicBezTo>
                <a:cubicBezTo>
                  <a:pt x="1115" y="137"/>
                  <a:pt x="1114" y="140"/>
                  <a:pt x="1114" y="142"/>
                </a:cubicBezTo>
                <a:cubicBezTo>
                  <a:pt x="1114" y="144"/>
                  <a:pt x="1114" y="144"/>
                  <a:pt x="1114" y="144"/>
                </a:cubicBezTo>
                <a:cubicBezTo>
                  <a:pt x="1113" y="147"/>
                  <a:pt x="1113" y="147"/>
                  <a:pt x="1113" y="147"/>
                </a:cubicBezTo>
                <a:cubicBezTo>
                  <a:pt x="1112" y="151"/>
                  <a:pt x="1112" y="154"/>
                  <a:pt x="1112" y="156"/>
                </a:cubicBezTo>
                <a:cubicBezTo>
                  <a:pt x="1112" y="159"/>
                  <a:pt x="1113" y="160"/>
                  <a:pt x="1116" y="160"/>
                </a:cubicBezTo>
                <a:cubicBezTo>
                  <a:pt x="1117" y="160"/>
                  <a:pt x="1119" y="160"/>
                  <a:pt x="1120" y="159"/>
                </a:cubicBezTo>
                <a:cubicBezTo>
                  <a:pt x="1121" y="159"/>
                  <a:pt x="1122" y="158"/>
                  <a:pt x="1123" y="157"/>
                </a:cubicBezTo>
                <a:cubicBezTo>
                  <a:pt x="1123" y="157"/>
                  <a:pt x="1124" y="156"/>
                  <a:pt x="1124" y="156"/>
                </a:cubicBezTo>
                <a:cubicBezTo>
                  <a:pt x="1123" y="154"/>
                  <a:pt x="1123" y="154"/>
                  <a:pt x="1123" y="154"/>
                </a:cubicBezTo>
                <a:cubicBezTo>
                  <a:pt x="1122" y="155"/>
                  <a:pt x="1121" y="156"/>
                  <a:pt x="1120" y="156"/>
                </a:cubicBezTo>
                <a:cubicBezTo>
                  <a:pt x="1119" y="156"/>
                  <a:pt x="1119" y="155"/>
                  <a:pt x="1119" y="154"/>
                </a:cubicBezTo>
                <a:cubicBezTo>
                  <a:pt x="1119" y="152"/>
                  <a:pt x="1119" y="149"/>
                  <a:pt x="1120" y="145"/>
                </a:cubicBezTo>
                <a:cubicBezTo>
                  <a:pt x="1121" y="142"/>
                  <a:pt x="1121" y="142"/>
                  <a:pt x="1121" y="142"/>
                </a:cubicBezTo>
                <a:cubicBezTo>
                  <a:pt x="1121" y="140"/>
                  <a:pt x="1121" y="140"/>
                  <a:pt x="1121" y="140"/>
                </a:cubicBezTo>
                <a:cubicBezTo>
                  <a:pt x="1122" y="135"/>
                  <a:pt x="1122" y="132"/>
                  <a:pt x="1122" y="130"/>
                </a:cubicBezTo>
                <a:cubicBezTo>
                  <a:pt x="1122" y="126"/>
                  <a:pt x="1122" y="123"/>
                  <a:pt x="1120" y="122"/>
                </a:cubicBezTo>
                <a:cubicBezTo>
                  <a:pt x="1119" y="120"/>
                  <a:pt x="1117" y="119"/>
                  <a:pt x="1114" y="119"/>
                </a:cubicBezTo>
                <a:cubicBezTo>
                  <a:pt x="1112" y="119"/>
                  <a:pt x="1109" y="120"/>
                  <a:pt x="1106" y="122"/>
                </a:cubicBezTo>
                <a:cubicBezTo>
                  <a:pt x="1104" y="124"/>
                  <a:pt x="1102" y="126"/>
                  <a:pt x="1100" y="129"/>
                </a:cubicBezTo>
                <a:close/>
                <a:moveTo>
                  <a:pt x="1159" y="162"/>
                </a:moveTo>
                <a:cubicBezTo>
                  <a:pt x="1165" y="119"/>
                  <a:pt x="1165" y="119"/>
                  <a:pt x="1165" y="119"/>
                </a:cubicBezTo>
                <a:cubicBezTo>
                  <a:pt x="1160" y="121"/>
                  <a:pt x="1160" y="121"/>
                  <a:pt x="1160" y="121"/>
                </a:cubicBezTo>
                <a:cubicBezTo>
                  <a:pt x="1159" y="121"/>
                  <a:pt x="1158" y="120"/>
                  <a:pt x="1157" y="120"/>
                </a:cubicBezTo>
                <a:cubicBezTo>
                  <a:pt x="1155" y="120"/>
                  <a:pt x="1154" y="119"/>
                  <a:pt x="1153" y="119"/>
                </a:cubicBezTo>
                <a:cubicBezTo>
                  <a:pt x="1148" y="119"/>
                  <a:pt x="1144" y="121"/>
                  <a:pt x="1141" y="123"/>
                </a:cubicBezTo>
                <a:cubicBezTo>
                  <a:pt x="1137" y="126"/>
                  <a:pt x="1135" y="129"/>
                  <a:pt x="1133" y="133"/>
                </a:cubicBezTo>
                <a:cubicBezTo>
                  <a:pt x="1131" y="137"/>
                  <a:pt x="1130" y="141"/>
                  <a:pt x="1130" y="145"/>
                </a:cubicBezTo>
                <a:cubicBezTo>
                  <a:pt x="1130" y="150"/>
                  <a:pt x="1131" y="153"/>
                  <a:pt x="1133" y="156"/>
                </a:cubicBezTo>
                <a:cubicBezTo>
                  <a:pt x="1135" y="159"/>
                  <a:pt x="1138" y="160"/>
                  <a:pt x="1142" y="160"/>
                </a:cubicBezTo>
                <a:cubicBezTo>
                  <a:pt x="1144" y="160"/>
                  <a:pt x="1146" y="159"/>
                  <a:pt x="1148" y="158"/>
                </a:cubicBezTo>
                <a:cubicBezTo>
                  <a:pt x="1150" y="157"/>
                  <a:pt x="1152" y="156"/>
                  <a:pt x="1153" y="155"/>
                </a:cubicBezTo>
                <a:cubicBezTo>
                  <a:pt x="1151" y="164"/>
                  <a:pt x="1151" y="164"/>
                  <a:pt x="1151" y="164"/>
                </a:cubicBezTo>
                <a:cubicBezTo>
                  <a:pt x="1151" y="167"/>
                  <a:pt x="1150" y="169"/>
                  <a:pt x="1149" y="170"/>
                </a:cubicBezTo>
                <a:cubicBezTo>
                  <a:pt x="1147" y="172"/>
                  <a:pt x="1145" y="172"/>
                  <a:pt x="1142" y="172"/>
                </a:cubicBezTo>
                <a:cubicBezTo>
                  <a:pt x="1140" y="172"/>
                  <a:pt x="1139" y="172"/>
                  <a:pt x="1137" y="171"/>
                </a:cubicBezTo>
                <a:cubicBezTo>
                  <a:pt x="1136" y="171"/>
                  <a:pt x="1134" y="170"/>
                  <a:pt x="1133" y="170"/>
                </a:cubicBezTo>
                <a:cubicBezTo>
                  <a:pt x="1132" y="175"/>
                  <a:pt x="1132" y="175"/>
                  <a:pt x="1132" y="175"/>
                </a:cubicBezTo>
                <a:cubicBezTo>
                  <a:pt x="1132" y="176"/>
                  <a:pt x="1134" y="176"/>
                  <a:pt x="1135" y="176"/>
                </a:cubicBezTo>
                <a:cubicBezTo>
                  <a:pt x="1137" y="177"/>
                  <a:pt x="1138" y="177"/>
                  <a:pt x="1140" y="177"/>
                </a:cubicBezTo>
                <a:cubicBezTo>
                  <a:pt x="1142" y="177"/>
                  <a:pt x="1145" y="176"/>
                  <a:pt x="1148" y="175"/>
                </a:cubicBezTo>
                <a:cubicBezTo>
                  <a:pt x="1150" y="174"/>
                  <a:pt x="1153" y="173"/>
                  <a:pt x="1155" y="170"/>
                </a:cubicBezTo>
                <a:cubicBezTo>
                  <a:pt x="1157" y="168"/>
                  <a:pt x="1158" y="165"/>
                  <a:pt x="1159" y="162"/>
                </a:cubicBezTo>
                <a:close/>
                <a:moveTo>
                  <a:pt x="1157" y="125"/>
                </a:moveTo>
                <a:cubicBezTo>
                  <a:pt x="1154" y="150"/>
                  <a:pt x="1154" y="150"/>
                  <a:pt x="1154" y="150"/>
                </a:cubicBezTo>
                <a:cubicBezTo>
                  <a:pt x="1152" y="151"/>
                  <a:pt x="1151" y="153"/>
                  <a:pt x="1149" y="154"/>
                </a:cubicBezTo>
                <a:cubicBezTo>
                  <a:pt x="1148" y="155"/>
                  <a:pt x="1146" y="155"/>
                  <a:pt x="1144" y="155"/>
                </a:cubicBezTo>
                <a:cubicBezTo>
                  <a:pt x="1142" y="155"/>
                  <a:pt x="1140" y="155"/>
                  <a:pt x="1139" y="153"/>
                </a:cubicBezTo>
                <a:cubicBezTo>
                  <a:pt x="1138" y="151"/>
                  <a:pt x="1138" y="148"/>
                  <a:pt x="1138" y="145"/>
                </a:cubicBezTo>
                <a:cubicBezTo>
                  <a:pt x="1138" y="142"/>
                  <a:pt x="1138" y="138"/>
                  <a:pt x="1139" y="135"/>
                </a:cubicBezTo>
                <a:cubicBezTo>
                  <a:pt x="1140" y="132"/>
                  <a:pt x="1142" y="129"/>
                  <a:pt x="1144" y="127"/>
                </a:cubicBezTo>
                <a:cubicBezTo>
                  <a:pt x="1146" y="124"/>
                  <a:pt x="1149" y="123"/>
                  <a:pt x="1152" y="123"/>
                </a:cubicBezTo>
                <a:cubicBezTo>
                  <a:pt x="1154" y="123"/>
                  <a:pt x="1156" y="124"/>
                  <a:pt x="1157" y="125"/>
                </a:cubicBezTo>
                <a:close/>
                <a:moveTo>
                  <a:pt x="1181" y="153"/>
                </a:moveTo>
                <a:cubicBezTo>
                  <a:pt x="1185" y="120"/>
                  <a:pt x="1185" y="120"/>
                  <a:pt x="1185" y="120"/>
                </a:cubicBezTo>
                <a:cubicBezTo>
                  <a:pt x="1184" y="119"/>
                  <a:pt x="1184" y="119"/>
                  <a:pt x="1184" y="119"/>
                </a:cubicBezTo>
                <a:cubicBezTo>
                  <a:pt x="1174" y="121"/>
                  <a:pt x="1174" y="121"/>
                  <a:pt x="1174" y="121"/>
                </a:cubicBezTo>
                <a:cubicBezTo>
                  <a:pt x="1173" y="123"/>
                  <a:pt x="1173" y="123"/>
                  <a:pt x="1173" y="123"/>
                </a:cubicBezTo>
                <a:cubicBezTo>
                  <a:pt x="1178" y="125"/>
                  <a:pt x="1178" y="125"/>
                  <a:pt x="1178" y="125"/>
                </a:cubicBezTo>
                <a:cubicBezTo>
                  <a:pt x="1177" y="132"/>
                  <a:pt x="1176" y="138"/>
                  <a:pt x="1175" y="142"/>
                </a:cubicBezTo>
                <a:cubicBezTo>
                  <a:pt x="1174" y="150"/>
                  <a:pt x="1174" y="154"/>
                  <a:pt x="1173" y="156"/>
                </a:cubicBezTo>
                <a:cubicBezTo>
                  <a:pt x="1173" y="157"/>
                  <a:pt x="1174" y="158"/>
                  <a:pt x="1174" y="159"/>
                </a:cubicBezTo>
                <a:cubicBezTo>
                  <a:pt x="1175" y="160"/>
                  <a:pt x="1176" y="160"/>
                  <a:pt x="1178" y="160"/>
                </a:cubicBezTo>
                <a:cubicBezTo>
                  <a:pt x="1180" y="160"/>
                  <a:pt x="1182" y="159"/>
                  <a:pt x="1183" y="158"/>
                </a:cubicBezTo>
                <a:cubicBezTo>
                  <a:pt x="1184" y="157"/>
                  <a:pt x="1185" y="156"/>
                  <a:pt x="1186" y="155"/>
                </a:cubicBezTo>
                <a:cubicBezTo>
                  <a:pt x="1185" y="154"/>
                  <a:pt x="1185" y="154"/>
                  <a:pt x="1185" y="154"/>
                </a:cubicBezTo>
                <a:cubicBezTo>
                  <a:pt x="1184" y="154"/>
                  <a:pt x="1184" y="155"/>
                  <a:pt x="1183" y="155"/>
                </a:cubicBezTo>
                <a:cubicBezTo>
                  <a:pt x="1183" y="156"/>
                  <a:pt x="1182" y="156"/>
                  <a:pt x="1182" y="156"/>
                </a:cubicBezTo>
                <a:cubicBezTo>
                  <a:pt x="1181" y="156"/>
                  <a:pt x="1181" y="156"/>
                  <a:pt x="1181" y="155"/>
                </a:cubicBezTo>
                <a:cubicBezTo>
                  <a:pt x="1181" y="155"/>
                  <a:pt x="1180" y="155"/>
                  <a:pt x="1180" y="154"/>
                </a:cubicBezTo>
                <a:lnTo>
                  <a:pt x="1181" y="153"/>
                </a:lnTo>
                <a:close/>
                <a:moveTo>
                  <a:pt x="1183" y="112"/>
                </a:moveTo>
                <a:cubicBezTo>
                  <a:pt x="1184" y="112"/>
                  <a:pt x="1185" y="111"/>
                  <a:pt x="1186" y="110"/>
                </a:cubicBezTo>
                <a:cubicBezTo>
                  <a:pt x="1187" y="109"/>
                  <a:pt x="1188" y="108"/>
                  <a:pt x="1188" y="107"/>
                </a:cubicBezTo>
                <a:cubicBezTo>
                  <a:pt x="1188" y="106"/>
                  <a:pt x="1187" y="105"/>
                  <a:pt x="1187" y="104"/>
                </a:cubicBezTo>
                <a:cubicBezTo>
                  <a:pt x="1186" y="103"/>
                  <a:pt x="1185" y="103"/>
                  <a:pt x="1184" y="103"/>
                </a:cubicBezTo>
                <a:cubicBezTo>
                  <a:pt x="1182" y="103"/>
                  <a:pt x="1181" y="103"/>
                  <a:pt x="1180" y="104"/>
                </a:cubicBezTo>
                <a:cubicBezTo>
                  <a:pt x="1180" y="105"/>
                  <a:pt x="1179" y="107"/>
                  <a:pt x="1179" y="108"/>
                </a:cubicBezTo>
                <a:cubicBezTo>
                  <a:pt x="1179" y="109"/>
                  <a:pt x="1179" y="110"/>
                  <a:pt x="1180" y="111"/>
                </a:cubicBezTo>
                <a:cubicBezTo>
                  <a:pt x="1181" y="111"/>
                  <a:pt x="1182" y="112"/>
                  <a:pt x="1183" y="112"/>
                </a:cubicBezTo>
                <a:close/>
                <a:moveTo>
                  <a:pt x="1207" y="129"/>
                </a:moveTo>
                <a:cubicBezTo>
                  <a:pt x="1208" y="120"/>
                  <a:pt x="1208" y="120"/>
                  <a:pt x="1208" y="120"/>
                </a:cubicBezTo>
                <a:cubicBezTo>
                  <a:pt x="1207" y="119"/>
                  <a:pt x="1207" y="119"/>
                  <a:pt x="1207" y="119"/>
                </a:cubicBezTo>
                <a:cubicBezTo>
                  <a:pt x="1198" y="121"/>
                  <a:pt x="1198" y="121"/>
                  <a:pt x="1198" y="121"/>
                </a:cubicBezTo>
                <a:cubicBezTo>
                  <a:pt x="1198" y="124"/>
                  <a:pt x="1198" y="124"/>
                  <a:pt x="1198" y="124"/>
                </a:cubicBezTo>
                <a:cubicBezTo>
                  <a:pt x="1201" y="125"/>
                  <a:pt x="1201" y="125"/>
                  <a:pt x="1201" y="125"/>
                </a:cubicBezTo>
                <a:cubicBezTo>
                  <a:pt x="1196" y="159"/>
                  <a:pt x="1196" y="159"/>
                  <a:pt x="1196" y="159"/>
                </a:cubicBezTo>
                <a:cubicBezTo>
                  <a:pt x="1203" y="159"/>
                  <a:pt x="1203" y="159"/>
                  <a:pt x="1203" y="159"/>
                </a:cubicBezTo>
                <a:cubicBezTo>
                  <a:pt x="1207" y="134"/>
                  <a:pt x="1207" y="134"/>
                  <a:pt x="1207" y="134"/>
                </a:cubicBezTo>
                <a:cubicBezTo>
                  <a:pt x="1208" y="131"/>
                  <a:pt x="1210" y="129"/>
                  <a:pt x="1213" y="127"/>
                </a:cubicBezTo>
                <a:cubicBezTo>
                  <a:pt x="1215" y="125"/>
                  <a:pt x="1217" y="124"/>
                  <a:pt x="1219" y="124"/>
                </a:cubicBezTo>
                <a:cubicBezTo>
                  <a:pt x="1220" y="124"/>
                  <a:pt x="1221" y="125"/>
                  <a:pt x="1222" y="126"/>
                </a:cubicBezTo>
                <a:cubicBezTo>
                  <a:pt x="1223" y="127"/>
                  <a:pt x="1223" y="128"/>
                  <a:pt x="1223" y="130"/>
                </a:cubicBezTo>
                <a:cubicBezTo>
                  <a:pt x="1223" y="132"/>
                  <a:pt x="1223" y="134"/>
                  <a:pt x="1223" y="135"/>
                </a:cubicBezTo>
                <a:cubicBezTo>
                  <a:pt x="1222" y="137"/>
                  <a:pt x="1222" y="140"/>
                  <a:pt x="1222" y="142"/>
                </a:cubicBezTo>
                <a:cubicBezTo>
                  <a:pt x="1221" y="144"/>
                  <a:pt x="1221" y="144"/>
                  <a:pt x="1221" y="144"/>
                </a:cubicBezTo>
                <a:cubicBezTo>
                  <a:pt x="1221" y="147"/>
                  <a:pt x="1221" y="147"/>
                  <a:pt x="1221" y="147"/>
                </a:cubicBezTo>
                <a:cubicBezTo>
                  <a:pt x="1220" y="151"/>
                  <a:pt x="1219" y="154"/>
                  <a:pt x="1219" y="156"/>
                </a:cubicBezTo>
                <a:cubicBezTo>
                  <a:pt x="1219" y="159"/>
                  <a:pt x="1221" y="160"/>
                  <a:pt x="1224" y="160"/>
                </a:cubicBezTo>
                <a:cubicBezTo>
                  <a:pt x="1225" y="160"/>
                  <a:pt x="1226" y="160"/>
                  <a:pt x="1227" y="159"/>
                </a:cubicBezTo>
                <a:cubicBezTo>
                  <a:pt x="1228" y="159"/>
                  <a:pt x="1229" y="158"/>
                  <a:pt x="1230" y="157"/>
                </a:cubicBezTo>
                <a:cubicBezTo>
                  <a:pt x="1231" y="157"/>
                  <a:pt x="1231" y="156"/>
                  <a:pt x="1232" y="156"/>
                </a:cubicBezTo>
                <a:cubicBezTo>
                  <a:pt x="1231" y="154"/>
                  <a:pt x="1231" y="154"/>
                  <a:pt x="1231" y="154"/>
                </a:cubicBezTo>
                <a:cubicBezTo>
                  <a:pt x="1229" y="155"/>
                  <a:pt x="1228" y="156"/>
                  <a:pt x="1227" y="156"/>
                </a:cubicBezTo>
                <a:cubicBezTo>
                  <a:pt x="1227" y="156"/>
                  <a:pt x="1227" y="155"/>
                  <a:pt x="1227" y="154"/>
                </a:cubicBezTo>
                <a:cubicBezTo>
                  <a:pt x="1227" y="152"/>
                  <a:pt x="1227" y="149"/>
                  <a:pt x="1228" y="145"/>
                </a:cubicBezTo>
                <a:cubicBezTo>
                  <a:pt x="1228" y="142"/>
                  <a:pt x="1228" y="142"/>
                  <a:pt x="1228" y="142"/>
                </a:cubicBezTo>
                <a:cubicBezTo>
                  <a:pt x="1229" y="140"/>
                  <a:pt x="1229" y="140"/>
                  <a:pt x="1229" y="140"/>
                </a:cubicBezTo>
                <a:cubicBezTo>
                  <a:pt x="1230" y="135"/>
                  <a:pt x="1230" y="132"/>
                  <a:pt x="1230" y="130"/>
                </a:cubicBezTo>
                <a:cubicBezTo>
                  <a:pt x="1230" y="126"/>
                  <a:pt x="1229" y="123"/>
                  <a:pt x="1228" y="122"/>
                </a:cubicBezTo>
                <a:cubicBezTo>
                  <a:pt x="1227" y="120"/>
                  <a:pt x="1225" y="119"/>
                  <a:pt x="1222" y="119"/>
                </a:cubicBezTo>
                <a:cubicBezTo>
                  <a:pt x="1219" y="119"/>
                  <a:pt x="1217" y="120"/>
                  <a:pt x="1214" y="122"/>
                </a:cubicBezTo>
                <a:cubicBezTo>
                  <a:pt x="1211" y="124"/>
                  <a:pt x="1209" y="126"/>
                  <a:pt x="1207" y="129"/>
                </a:cubicBezTo>
                <a:close/>
                <a:moveTo>
                  <a:pt x="1267" y="153"/>
                </a:moveTo>
                <a:cubicBezTo>
                  <a:pt x="1266" y="150"/>
                  <a:pt x="1266" y="150"/>
                  <a:pt x="1266" y="150"/>
                </a:cubicBezTo>
                <a:cubicBezTo>
                  <a:pt x="1264" y="152"/>
                  <a:pt x="1262" y="153"/>
                  <a:pt x="1260" y="154"/>
                </a:cubicBezTo>
                <a:cubicBezTo>
                  <a:pt x="1258" y="155"/>
                  <a:pt x="1256" y="156"/>
                  <a:pt x="1254" y="156"/>
                </a:cubicBezTo>
                <a:cubicBezTo>
                  <a:pt x="1251" y="156"/>
                  <a:pt x="1249" y="154"/>
                  <a:pt x="1248" y="152"/>
                </a:cubicBezTo>
                <a:cubicBezTo>
                  <a:pt x="1246" y="150"/>
                  <a:pt x="1246" y="147"/>
                  <a:pt x="1246" y="143"/>
                </a:cubicBezTo>
                <a:cubicBezTo>
                  <a:pt x="1249" y="143"/>
                  <a:pt x="1252" y="143"/>
                  <a:pt x="1256" y="142"/>
                </a:cubicBezTo>
                <a:cubicBezTo>
                  <a:pt x="1259" y="140"/>
                  <a:pt x="1263" y="139"/>
                  <a:pt x="1265" y="136"/>
                </a:cubicBezTo>
                <a:cubicBezTo>
                  <a:pt x="1268" y="134"/>
                  <a:pt x="1269" y="131"/>
                  <a:pt x="1269" y="128"/>
                </a:cubicBezTo>
                <a:cubicBezTo>
                  <a:pt x="1269" y="125"/>
                  <a:pt x="1268" y="123"/>
                  <a:pt x="1267" y="122"/>
                </a:cubicBezTo>
                <a:cubicBezTo>
                  <a:pt x="1265" y="120"/>
                  <a:pt x="1263" y="119"/>
                  <a:pt x="1259" y="119"/>
                </a:cubicBezTo>
                <a:cubicBezTo>
                  <a:pt x="1255" y="119"/>
                  <a:pt x="1252" y="121"/>
                  <a:pt x="1249" y="123"/>
                </a:cubicBezTo>
                <a:cubicBezTo>
                  <a:pt x="1246" y="125"/>
                  <a:pt x="1243" y="128"/>
                  <a:pt x="1241" y="132"/>
                </a:cubicBezTo>
                <a:cubicBezTo>
                  <a:pt x="1240" y="136"/>
                  <a:pt x="1239" y="140"/>
                  <a:pt x="1239" y="145"/>
                </a:cubicBezTo>
                <a:cubicBezTo>
                  <a:pt x="1239" y="147"/>
                  <a:pt x="1239" y="150"/>
                  <a:pt x="1240" y="152"/>
                </a:cubicBezTo>
                <a:cubicBezTo>
                  <a:pt x="1241" y="155"/>
                  <a:pt x="1243" y="156"/>
                  <a:pt x="1245" y="158"/>
                </a:cubicBezTo>
                <a:cubicBezTo>
                  <a:pt x="1247" y="159"/>
                  <a:pt x="1249" y="160"/>
                  <a:pt x="1253" y="160"/>
                </a:cubicBezTo>
                <a:cubicBezTo>
                  <a:pt x="1256" y="160"/>
                  <a:pt x="1259" y="159"/>
                  <a:pt x="1261" y="158"/>
                </a:cubicBezTo>
                <a:cubicBezTo>
                  <a:pt x="1264" y="156"/>
                  <a:pt x="1266" y="154"/>
                  <a:pt x="1267" y="153"/>
                </a:cubicBezTo>
                <a:close/>
                <a:moveTo>
                  <a:pt x="1258" y="123"/>
                </a:moveTo>
                <a:cubicBezTo>
                  <a:pt x="1259" y="123"/>
                  <a:pt x="1260" y="124"/>
                  <a:pt x="1261" y="125"/>
                </a:cubicBezTo>
                <a:cubicBezTo>
                  <a:pt x="1262" y="125"/>
                  <a:pt x="1263" y="127"/>
                  <a:pt x="1263" y="129"/>
                </a:cubicBezTo>
                <a:cubicBezTo>
                  <a:pt x="1263" y="131"/>
                  <a:pt x="1262" y="133"/>
                  <a:pt x="1260" y="135"/>
                </a:cubicBezTo>
                <a:cubicBezTo>
                  <a:pt x="1258" y="136"/>
                  <a:pt x="1256" y="138"/>
                  <a:pt x="1253" y="139"/>
                </a:cubicBezTo>
                <a:cubicBezTo>
                  <a:pt x="1251" y="139"/>
                  <a:pt x="1248" y="140"/>
                  <a:pt x="1246" y="140"/>
                </a:cubicBezTo>
                <a:cubicBezTo>
                  <a:pt x="1246" y="138"/>
                  <a:pt x="1247" y="135"/>
                  <a:pt x="1248" y="132"/>
                </a:cubicBezTo>
                <a:cubicBezTo>
                  <a:pt x="1249" y="130"/>
                  <a:pt x="1250" y="127"/>
                  <a:pt x="1252" y="126"/>
                </a:cubicBezTo>
                <a:cubicBezTo>
                  <a:pt x="1254" y="124"/>
                  <a:pt x="1255" y="123"/>
                  <a:pt x="1258" y="123"/>
                </a:cubicBezTo>
                <a:close/>
                <a:moveTo>
                  <a:pt x="1303" y="153"/>
                </a:moveTo>
                <a:cubicBezTo>
                  <a:pt x="1302" y="150"/>
                  <a:pt x="1302" y="150"/>
                  <a:pt x="1302" y="150"/>
                </a:cubicBezTo>
                <a:cubicBezTo>
                  <a:pt x="1300" y="152"/>
                  <a:pt x="1298" y="153"/>
                  <a:pt x="1296" y="154"/>
                </a:cubicBezTo>
                <a:cubicBezTo>
                  <a:pt x="1294" y="155"/>
                  <a:pt x="1292" y="156"/>
                  <a:pt x="1290" y="156"/>
                </a:cubicBezTo>
                <a:cubicBezTo>
                  <a:pt x="1287" y="156"/>
                  <a:pt x="1285" y="154"/>
                  <a:pt x="1284" y="152"/>
                </a:cubicBezTo>
                <a:cubicBezTo>
                  <a:pt x="1282" y="150"/>
                  <a:pt x="1282" y="147"/>
                  <a:pt x="1282" y="143"/>
                </a:cubicBezTo>
                <a:cubicBezTo>
                  <a:pt x="1285" y="143"/>
                  <a:pt x="1288" y="143"/>
                  <a:pt x="1292" y="142"/>
                </a:cubicBezTo>
                <a:cubicBezTo>
                  <a:pt x="1295" y="140"/>
                  <a:pt x="1299" y="139"/>
                  <a:pt x="1301" y="136"/>
                </a:cubicBezTo>
                <a:cubicBezTo>
                  <a:pt x="1304" y="134"/>
                  <a:pt x="1305" y="131"/>
                  <a:pt x="1305" y="128"/>
                </a:cubicBezTo>
                <a:cubicBezTo>
                  <a:pt x="1305" y="125"/>
                  <a:pt x="1304" y="123"/>
                  <a:pt x="1303" y="122"/>
                </a:cubicBezTo>
                <a:cubicBezTo>
                  <a:pt x="1301" y="120"/>
                  <a:pt x="1299" y="119"/>
                  <a:pt x="1295" y="119"/>
                </a:cubicBezTo>
                <a:cubicBezTo>
                  <a:pt x="1291" y="119"/>
                  <a:pt x="1288" y="121"/>
                  <a:pt x="1285" y="123"/>
                </a:cubicBezTo>
                <a:cubicBezTo>
                  <a:pt x="1282" y="125"/>
                  <a:pt x="1279" y="128"/>
                  <a:pt x="1277" y="132"/>
                </a:cubicBezTo>
                <a:cubicBezTo>
                  <a:pt x="1275" y="136"/>
                  <a:pt x="1275" y="140"/>
                  <a:pt x="1275" y="145"/>
                </a:cubicBezTo>
                <a:cubicBezTo>
                  <a:pt x="1275" y="147"/>
                  <a:pt x="1275" y="150"/>
                  <a:pt x="1276" y="152"/>
                </a:cubicBezTo>
                <a:cubicBezTo>
                  <a:pt x="1277" y="155"/>
                  <a:pt x="1279" y="156"/>
                  <a:pt x="1281" y="158"/>
                </a:cubicBezTo>
                <a:cubicBezTo>
                  <a:pt x="1283" y="159"/>
                  <a:pt x="1285" y="160"/>
                  <a:pt x="1288" y="160"/>
                </a:cubicBezTo>
                <a:cubicBezTo>
                  <a:pt x="1292" y="160"/>
                  <a:pt x="1295" y="159"/>
                  <a:pt x="1297" y="158"/>
                </a:cubicBezTo>
                <a:cubicBezTo>
                  <a:pt x="1300" y="156"/>
                  <a:pt x="1302" y="154"/>
                  <a:pt x="1303" y="153"/>
                </a:cubicBezTo>
                <a:close/>
                <a:moveTo>
                  <a:pt x="1294" y="123"/>
                </a:moveTo>
                <a:cubicBezTo>
                  <a:pt x="1295" y="123"/>
                  <a:pt x="1296" y="124"/>
                  <a:pt x="1297" y="125"/>
                </a:cubicBezTo>
                <a:cubicBezTo>
                  <a:pt x="1298" y="125"/>
                  <a:pt x="1298" y="127"/>
                  <a:pt x="1298" y="129"/>
                </a:cubicBezTo>
                <a:cubicBezTo>
                  <a:pt x="1298" y="131"/>
                  <a:pt x="1298" y="133"/>
                  <a:pt x="1296" y="135"/>
                </a:cubicBezTo>
                <a:cubicBezTo>
                  <a:pt x="1294" y="136"/>
                  <a:pt x="1292" y="138"/>
                  <a:pt x="1289" y="139"/>
                </a:cubicBezTo>
                <a:cubicBezTo>
                  <a:pt x="1287" y="139"/>
                  <a:pt x="1284" y="140"/>
                  <a:pt x="1282" y="140"/>
                </a:cubicBezTo>
                <a:cubicBezTo>
                  <a:pt x="1282" y="138"/>
                  <a:pt x="1283" y="135"/>
                  <a:pt x="1284" y="132"/>
                </a:cubicBezTo>
                <a:cubicBezTo>
                  <a:pt x="1285" y="130"/>
                  <a:pt x="1286" y="127"/>
                  <a:pt x="1288" y="126"/>
                </a:cubicBezTo>
                <a:cubicBezTo>
                  <a:pt x="1289" y="124"/>
                  <a:pt x="1291" y="123"/>
                  <a:pt x="1294" y="123"/>
                </a:cubicBezTo>
                <a:close/>
                <a:moveTo>
                  <a:pt x="1322" y="129"/>
                </a:moveTo>
                <a:cubicBezTo>
                  <a:pt x="1323" y="127"/>
                  <a:pt x="1323" y="127"/>
                  <a:pt x="1323" y="127"/>
                </a:cubicBezTo>
                <a:cubicBezTo>
                  <a:pt x="1323" y="120"/>
                  <a:pt x="1323" y="120"/>
                  <a:pt x="1323" y="120"/>
                </a:cubicBezTo>
                <a:cubicBezTo>
                  <a:pt x="1322" y="119"/>
                  <a:pt x="1322" y="119"/>
                  <a:pt x="1322" y="119"/>
                </a:cubicBezTo>
                <a:cubicBezTo>
                  <a:pt x="1314" y="121"/>
                  <a:pt x="1314" y="121"/>
                  <a:pt x="1314" y="121"/>
                </a:cubicBezTo>
                <a:cubicBezTo>
                  <a:pt x="1313" y="124"/>
                  <a:pt x="1313" y="124"/>
                  <a:pt x="1313" y="124"/>
                </a:cubicBezTo>
                <a:cubicBezTo>
                  <a:pt x="1317" y="125"/>
                  <a:pt x="1317" y="125"/>
                  <a:pt x="1317" y="125"/>
                </a:cubicBezTo>
                <a:cubicBezTo>
                  <a:pt x="1312" y="159"/>
                  <a:pt x="1312" y="159"/>
                  <a:pt x="1312" y="159"/>
                </a:cubicBezTo>
                <a:cubicBezTo>
                  <a:pt x="1319" y="159"/>
                  <a:pt x="1319" y="159"/>
                  <a:pt x="1319" y="159"/>
                </a:cubicBezTo>
                <a:cubicBezTo>
                  <a:pt x="1322" y="134"/>
                  <a:pt x="1322" y="134"/>
                  <a:pt x="1322" y="134"/>
                </a:cubicBezTo>
                <a:cubicBezTo>
                  <a:pt x="1323" y="132"/>
                  <a:pt x="1325" y="130"/>
                  <a:pt x="1327" y="129"/>
                </a:cubicBezTo>
                <a:cubicBezTo>
                  <a:pt x="1329" y="127"/>
                  <a:pt x="1331" y="127"/>
                  <a:pt x="1333" y="127"/>
                </a:cubicBezTo>
                <a:cubicBezTo>
                  <a:pt x="1334" y="127"/>
                  <a:pt x="1335" y="127"/>
                  <a:pt x="1336" y="127"/>
                </a:cubicBezTo>
                <a:cubicBezTo>
                  <a:pt x="1338" y="120"/>
                  <a:pt x="1338" y="120"/>
                  <a:pt x="1338" y="120"/>
                </a:cubicBezTo>
                <a:cubicBezTo>
                  <a:pt x="1337" y="120"/>
                  <a:pt x="1336" y="119"/>
                  <a:pt x="1335" y="119"/>
                </a:cubicBezTo>
                <a:cubicBezTo>
                  <a:pt x="1333" y="119"/>
                  <a:pt x="1331" y="120"/>
                  <a:pt x="1330" y="121"/>
                </a:cubicBezTo>
                <a:cubicBezTo>
                  <a:pt x="1328" y="122"/>
                  <a:pt x="1326" y="123"/>
                  <a:pt x="1325" y="125"/>
                </a:cubicBezTo>
                <a:cubicBezTo>
                  <a:pt x="1324" y="126"/>
                  <a:pt x="1323" y="128"/>
                  <a:pt x="1322" y="129"/>
                </a:cubicBezTo>
                <a:close/>
                <a:moveTo>
                  <a:pt x="1349" y="153"/>
                </a:moveTo>
                <a:cubicBezTo>
                  <a:pt x="1354" y="120"/>
                  <a:pt x="1354" y="120"/>
                  <a:pt x="1354" y="120"/>
                </a:cubicBezTo>
                <a:cubicBezTo>
                  <a:pt x="1352" y="119"/>
                  <a:pt x="1352" y="119"/>
                  <a:pt x="1352" y="119"/>
                </a:cubicBezTo>
                <a:cubicBezTo>
                  <a:pt x="1342" y="121"/>
                  <a:pt x="1342" y="121"/>
                  <a:pt x="1342" y="121"/>
                </a:cubicBezTo>
                <a:cubicBezTo>
                  <a:pt x="1342" y="123"/>
                  <a:pt x="1342" y="123"/>
                  <a:pt x="1342" y="123"/>
                </a:cubicBezTo>
                <a:cubicBezTo>
                  <a:pt x="1346" y="125"/>
                  <a:pt x="1346" y="125"/>
                  <a:pt x="1346" y="125"/>
                </a:cubicBezTo>
                <a:cubicBezTo>
                  <a:pt x="1345" y="132"/>
                  <a:pt x="1345" y="138"/>
                  <a:pt x="1344" y="142"/>
                </a:cubicBezTo>
                <a:cubicBezTo>
                  <a:pt x="1343" y="150"/>
                  <a:pt x="1342" y="154"/>
                  <a:pt x="1342" y="156"/>
                </a:cubicBezTo>
                <a:cubicBezTo>
                  <a:pt x="1342" y="157"/>
                  <a:pt x="1342" y="158"/>
                  <a:pt x="1343" y="159"/>
                </a:cubicBezTo>
                <a:cubicBezTo>
                  <a:pt x="1344" y="160"/>
                  <a:pt x="1345" y="160"/>
                  <a:pt x="1347" y="160"/>
                </a:cubicBezTo>
                <a:cubicBezTo>
                  <a:pt x="1349" y="160"/>
                  <a:pt x="1350" y="159"/>
                  <a:pt x="1352" y="158"/>
                </a:cubicBezTo>
                <a:cubicBezTo>
                  <a:pt x="1353" y="157"/>
                  <a:pt x="1354" y="156"/>
                  <a:pt x="1355" y="155"/>
                </a:cubicBezTo>
                <a:cubicBezTo>
                  <a:pt x="1354" y="154"/>
                  <a:pt x="1354" y="154"/>
                  <a:pt x="1354" y="154"/>
                </a:cubicBezTo>
                <a:cubicBezTo>
                  <a:pt x="1353" y="154"/>
                  <a:pt x="1352" y="155"/>
                  <a:pt x="1352" y="155"/>
                </a:cubicBezTo>
                <a:cubicBezTo>
                  <a:pt x="1351" y="156"/>
                  <a:pt x="1351" y="156"/>
                  <a:pt x="1350" y="156"/>
                </a:cubicBezTo>
                <a:cubicBezTo>
                  <a:pt x="1350" y="156"/>
                  <a:pt x="1350" y="156"/>
                  <a:pt x="1349" y="155"/>
                </a:cubicBezTo>
                <a:cubicBezTo>
                  <a:pt x="1349" y="155"/>
                  <a:pt x="1349" y="155"/>
                  <a:pt x="1349" y="154"/>
                </a:cubicBezTo>
                <a:lnTo>
                  <a:pt x="1349" y="153"/>
                </a:lnTo>
                <a:close/>
                <a:moveTo>
                  <a:pt x="1351" y="112"/>
                </a:moveTo>
                <a:cubicBezTo>
                  <a:pt x="1353" y="112"/>
                  <a:pt x="1354" y="111"/>
                  <a:pt x="1355" y="110"/>
                </a:cubicBezTo>
                <a:cubicBezTo>
                  <a:pt x="1356" y="109"/>
                  <a:pt x="1356" y="108"/>
                  <a:pt x="1356" y="107"/>
                </a:cubicBezTo>
                <a:cubicBezTo>
                  <a:pt x="1356" y="106"/>
                  <a:pt x="1356" y="105"/>
                  <a:pt x="1355" y="104"/>
                </a:cubicBezTo>
                <a:cubicBezTo>
                  <a:pt x="1354" y="103"/>
                  <a:pt x="1353" y="103"/>
                  <a:pt x="1352" y="103"/>
                </a:cubicBezTo>
                <a:cubicBezTo>
                  <a:pt x="1351" y="103"/>
                  <a:pt x="1350" y="103"/>
                  <a:pt x="1349" y="104"/>
                </a:cubicBezTo>
                <a:cubicBezTo>
                  <a:pt x="1348" y="105"/>
                  <a:pt x="1348" y="107"/>
                  <a:pt x="1348" y="108"/>
                </a:cubicBezTo>
                <a:cubicBezTo>
                  <a:pt x="1348" y="109"/>
                  <a:pt x="1348" y="110"/>
                  <a:pt x="1349" y="111"/>
                </a:cubicBezTo>
                <a:cubicBezTo>
                  <a:pt x="1350" y="111"/>
                  <a:pt x="1350" y="112"/>
                  <a:pt x="1351" y="112"/>
                </a:cubicBezTo>
                <a:close/>
                <a:moveTo>
                  <a:pt x="1374" y="129"/>
                </a:moveTo>
                <a:cubicBezTo>
                  <a:pt x="1375" y="120"/>
                  <a:pt x="1375" y="120"/>
                  <a:pt x="1375" y="120"/>
                </a:cubicBezTo>
                <a:cubicBezTo>
                  <a:pt x="1374" y="119"/>
                  <a:pt x="1374" y="119"/>
                  <a:pt x="1374" y="119"/>
                </a:cubicBezTo>
                <a:cubicBezTo>
                  <a:pt x="1365" y="121"/>
                  <a:pt x="1365" y="121"/>
                  <a:pt x="1365" y="121"/>
                </a:cubicBezTo>
                <a:cubicBezTo>
                  <a:pt x="1365" y="124"/>
                  <a:pt x="1365" y="124"/>
                  <a:pt x="1365" y="124"/>
                </a:cubicBezTo>
                <a:cubicBezTo>
                  <a:pt x="1368" y="125"/>
                  <a:pt x="1368" y="125"/>
                  <a:pt x="1368" y="125"/>
                </a:cubicBezTo>
                <a:cubicBezTo>
                  <a:pt x="1364" y="159"/>
                  <a:pt x="1364" y="159"/>
                  <a:pt x="1364" y="159"/>
                </a:cubicBezTo>
                <a:cubicBezTo>
                  <a:pt x="1370" y="159"/>
                  <a:pt x="1370" y="159"/>
                  <a:pt x="1370" y="159"/>
                </a:cubicBezTo>
                <a:cubicBezTo>
                  <a:pt x="1374" y="134"/>
                  <a:pt x="1374" y="134"/>
                  <a:pt x="1374" y="134"/>
                </a:cubicBezTo>
                <a:cubicBezTo>
                  <a:pt x="1375" y="131"/>
                  <a:pt x="1377" y="129"/>
                  <a:pt x="1380" y="127"/>
                </a:cubicBezTo>
                <a:cubicBezTo>
                  <a:pt x="1382" y="125"/>
                  <a:pt x="1384" y="124"/>
                  <a:pt x="1386" y="124"/>
                </a:cubicBezTo>
                <a:cubicBezTo>
                  <a:pt x="1388" y="124"/>
                  <a:pt x="1389" y="125"/>
                  <a:pt x="1389" y="126"/>
                </a:cubicBezTo>
                <a:cubicBezTo>
                  <a:pt x="1390" y="127"/>
                  <a:pt x="1390" y="128"/>
                  <a:pt x="1390" y="130"/>
                </a:cubicBezTo>
                <a:cubicBezTo>
                  <a:pt x="1390" y="132"/>
                  <a:pt x="1390" y="134"/>
                  <a:pt x="1390" y="135"/>
                </a:cubicBezTo>
                <a:cubicBezTo>
                  <a:pt x="1390" y="137"/>
                  <a:pt x="1389" y="140"/>
                  <a:pt x="1389" y="142"/>
                </a:cubicBezTo>
                <a:cubicBezTo>
                  <a:pt x="1388" y="144"/>
                  <a:pt x="1388" y="144"/>
                  <a:pt x="1388" y="144"/>
                </a:cubicBezTo>
                <a:cubicBezTo>
                  <a:pt x="1388" y="147"/>
                  <a:pt x="1388" y="147"/>
                  <a:pt x="1388" y="147"/>
                </a:cubicBezTo>
                <a:cubicBezTo>
                  <a:pt x="1387" y="151"/>
                  <a:pt x="1387" y="154"/>
                  <a:pt x="1387" y="156"/>
                </a:cubicBezTo>
                <a:cubicBezTo>
                  <a:pt x="1387" y="159"/>
                  <a:pt x="1388" y="160"/>
                  <a:pt x="1391" y="160"/>
                </a:cubicBezTo>
                <a:cubicBezTo>
                  <a:pt x="1392" y="160"/>
                  <a:pt x="1394" y="160"/>
                  <a:pt x="1395" y="159"/>
                </a:cubicBezTo>
                <a:cubicBezTo>
                  <a:pt x="1396" y="159"/>
                  <a:pt x="1397" y="158"/>
                  <a:pt x="1397" y="157"/>
                </a:cubicBezTo>
                <a:cubicBezTo>
                  <a:pt x="1398" y="157"/>
                  <a:pt x="1399" y="156"/>
                  <a:pt x="1399" y="156"/>
                </a:cubicBezTo>
                <a:cubicBezTo>
                  <a:pt x="1398" y="154"/>
                  <a:pt x="1398" y="154"/>
                  <a:pt x="1398" y="154"/>
                </a:cubicBezTo>
                <a:cubicBezTo>
                  <a:pt x="1397" y="155"/>
                  <a:pt x="1396" y="156"/>
                  <a:pt x="1395" y="156"/>
                </a:cubicBezTo>
                <a:cubicBezTo>
                  <a:pt x="1394" y="156"/>
                  <a:pt x="1394" y="155"/>
                  <a:pt x="1394" y="154"/>
                </a:cubicBezTo>
                <a:cubicBezTo>
                  <a:pt x="1394" y="152"/>
                  <a:pt x="1394" y="149"/>
                  <a:pt x="1395" y="145"/>
                </a:cubicBezTo>
                <a:cubicBezTo>
                  <a:pt x="1395" y="142"/>
                  <a:pt x="1395" y="142"/>
                  <a:pt x="1395" y="142"/>
                </a:cubicBezTo>
                <a:cubicBezTo>
                  <a:pt x="1396" y="140"/>
                  <a:pt x="1396" y="140"/>
                  <a:pt x="1396" y="140"/>
                </a:cubicBezTo>
                <a:cubicBezTo>
                  <a:pt x="1397" y="135"/>
                  <a:pt x="1397" y="132"/>
                  <a:pt x="1397" y="130"/>
                </a:cubicBezTo>
                <a:cubicBezTo>
                  <a:pt x="1397" y="126"/>
                  <a:pt x="1397" y="123"/>
                  <a:pt x="1395" y="122"/>
                </a:cubicBezTo>
                <a:cubicBezTo>
                  <a:pt x="1394" y="120"/>
                  <a:pt x="1392" y="119"/>
                  <a:pt x="1389" y="119"/>
                </a:cubicBezTo>
                <a:cubicBezTo>
                  <a:pt x="1386" y="119"/>
                  <a:pt x="1384" y="120"/>
                  <a:pt x="1381" y="122"/>
                </a:cubicBezTo>
                <a:cubicBezTo>
                  <a:pt x="1379" y="124"/>
                  <a:pt x="1376" y="126"/>
                  <a:pt x="1374" y="129"/>
                </a:cubicBezTo>
                <a:close/>
                <a:moveTo>
                  <a:pt x="1433" y="162"/>
                </a:moveTo>
                <a:cubicBezTo>
                  <a:pt x="1440" y="119"/>
                  <a:pt x="1440" y="119"/>
                  <a:pt x="1440" y="119"/>
                </a:cubicBezTo>
                <a:cubicBezTo>
                  <a:pt x="1435" y="121"/>
                  <a:pt x="1435" y="121"/>
                  <a:pt x="1435" y="121"/>
                </a:cubicBezTo>
                <a:cubicBezTo>
                  <a:pt x="1434" y="121"/>
                  <a:pt x="1433" y="120"/>
                  <a:pt x="1432" y="120"/>
                </a:cubicBezTo>
                <a:cubicBezTo>
                  <a:pt x="1430" y="120"/>
                  <a:pt x="1429" y="119"/>
                  <a:pt x="1428" y="119"/>
                </a:cubicBezTo>
                <a:cubicBezTo>
                  <a:pt x="1423" y="119"/>
                  <a:pt x="1419" y="121"/>
                  <a:pt x="1416" y="123"/>
                </a:cubicBezTo>
                <a:cubicBezTo>
                  <a:pt x="1412" y="126"/>
                  <a:pt x="1410" y="129"/>
                  <a:pt x="1408" y="133"/>
                </a:cubicBezTo>
                <a:cubicBezTo>
                  <a:pt x="1406" y="137"/>
                  <a:pt x="1405" y="141"/>
                  <a:pt x="1405" y="145"/>
                </a:cubicBezTo>
                <a:cubicBezTo>
                  <a:pt x="1405" y="150"/>
                  <a:pt x="1406" y="153"/>
                  <a:pt x="1408" y="156"/>
                </a:cubicBezTo>
                <a:cubicBezTo>
                  <a:pt x="1410" y="159"/>
                  <a:pt x="1413" y="160"/>
                  <a:pt x="1417" y="160"/>
                </a:cubicBezTo>
                <a:cubicBezTo>
                  <a:pt x="1419" y="160"/>
                  <a:pt x="1421" y="159"/>
                  <a:pt x="1423" y="158"/>
                </a:cubicBezTo>
                <a:cubicBezTo>
                  <a:pt x="1425" y="157"/>
                  <a:pt x="1426" y="156"/>
                  <a:pt x="1428" y="155"/>
                </a:cubicBezTo>
                <a:cubicBezTo>
                  <a:pt x="1426" y="164"/>
                  <a:pt x="1426" y="164"/>
                  <a:pt x="1426" y="164"/>
                </a:cubicBezTo>
                <a:cubicBezTo>
                  <a:pt x="1426" y="167"/>
                  <a:pt x="1425" y="169"/>
                  <a:pt x="1424" y="170"/>
                </a:cubicBezTo>
                <a:cubicBezTo>
                  <a:pt x="1422" y="172"/>
                  <a:pt x="1420" y="172"/>
                  <a:pt x="1417" y="172"/>
                </a:cubicBezTo>
                <a:cubicBezTo>
                  <a:pt x="1415" y="172"/>
                  <a:pt x="1414" y="172"/>
                  <a:pt x="1412" y="171"/>
                </a:cubicBezTo>
                <a:cubicBezTo>
                  <a:pt x="1410" y="171"/>
                  <a:pt x="1409" y="170"/>
                  <a:pt x="1408" y="170"/>
                </a:cubicBezTo>
                <a:cubicBezTo>
                  <a:pt x="1406" y="175"/>
                  <a:pt x="1406" y="175"/>
                  <a:pt x="1406" y="175"/>
                </a:cubicBezTo>
                <a:cubicBezTo>
                  <a:pt x="1407" y="176"/>
                  <a:pt x="1408" y="176"/>
                  <a:pt x="1410" y="176"/>
                </a:cubicBezTo>
                <a:cubicBezTo>
                  <a:pt x="1411" y="177"/>
                  <a:pt x="1413" y="177"/>
                  <a:pt x="1414" y="177"/>
                </a:cubicBezTo>
                <a:cubicBezTo>
                  <a:pt x="1417" y="177"/>
                  <a:pt x="1420" y="176"/>
                  <a:pt x="1423" y="175"/>
                </a:cubicBezTo>
                <a:cubicBezTo>
                  <a:pt x="1425" y="174"/>
                  <a:pt x="1428" y="173"/>
                  <a:pt x="1430" y="170"/>
                </a:cubicBezTo>
                <a:cubicBezTo>
                  <a:pt x="1432" y="168"/>
                  <a:pt x="1433" y="165"/>
                  <a:pt x="1433" y="162"/>
                </a:cubicBezTo>
                <a:close/>
                <a:moveTo>
                  <a:pt x="1432" y="125"/>
                </a:moveTo>
                <a:cubicBezTo>
                  <a:pt x="1428" y="150"/>
                  <a:pt x="1428" y="150"/>
                  <a:pt x="1428" y="150"/>
                </a:cubicBezTo>
                <a:cubicBezTo>
                  <a:pt x="1427" y="151"/>
                  <a:pt x="1426" y="153"/>
                  <a:pt x="1424" y="154"/>
                </a:cubicBezTo>
                <a:cubicBezTo>
                  <a:pt x="1423" y="155"/>
                  <a:pt x="1421" y="155"/>
                  <a:pt x="1419" y="155"/>
                </a:cubicBezTo>
                <a:cubicBezTo>
                  <a:pt x="1417" y="155"/>
                  <a:pt x="1415" y="155"/>
                  <a:pt x="1414" y="153"/>
                </a:cubicBezTo>
                <a:cubicBezTo>
                  <a:pt x="1413" y="151"/>
                  <a:pt x="1412" y="148"/>
                  <a:pt x="1412" y="145"/>
                </a:cubicBezTo>
                <a:cubicBezTo>
                  <a:pt x="1412" y="142"/>
                  <a:pt x="1413" y="138"/>
                  <a:pt x="1414" y="135"/>
                </a:cubicBezTo>
                <a:cubicBezTo>
                  <a:pt x="1415" y="132"/>
                  <a:pt x="1417" y="129"/>
                  <a:pt x="1419" y="127"/>
                </a:cubicBezTo>
                <a:cubicBezTo>
                  <a:pt x="1421" y="124"/>
                  <a:pt x="1424" y="123"/>
                  <a:pt x="1427" y="123"/>
                </a:cubicBezTo>
                <a:cubicBezTo>
                  <a:pt x="1429" y="123"/>
                  <a:pt x="1431" y="124"/>
                  <a:pt x="1432" y="125"/>
                </a:cubicBezTo>
                <a:close/>
                <a:moveTo>
                  <a:pt x="1076" y="242"/>
                </a:moveTo>
                <a:cubicBezTo>
                  <a:pt x="1072" y="249"/>
                  <a:pt x="1072" y="249"/>
                  <a:pt x="1072" y="249"/>
                </a:cubicBezTo>
                <a:cubicBezTo>
                  <a:pt x="1072" y="242"/>
                  <a:pt x="1072" y="242"/>
                  <a:pt x="1072" y="242"/>
                </a:cubicBezTo>
                <a:cubicBezTo>
                  <a:pt x="1066" y="208"/>
                  <a:pt x="1066" y="208"/>
                  <a:pt x="1066" y="208"/>
                </a:cubicBezTo>
                <a:cubicBezTo>
                  <a:pt x="1050" y="208"/>
                  <a:pt x="1050" y="208"/>
                  <a:pt x="1050" y="208"/>
                </a:cubicBezTo>
                <a:cubicBezTo>
                  <a:pt x="1049" y="211"/>
                  <a:pt x="1049" y="211"/>
                  <a:pt x="1049" y="211"/>
                </a:cubicBezTo>
                <a:cubicBezTo>
                  <a:pt x="1056" y="212"/>
                  <a:pt x="1056" y="212"/>
                  <a:pt x="1056" y="212"/>
                </a:cubicBezTo>
                <a:cubicBezTo>
                  <a:pt x="1045" y="256"/>
                  <a:pt x="1045" y="256"/>
                  <a:pt x="1045" y="256"/>
                </a:cubicBezTo>
                <a:cubicBezTo>
                  <a:pt x="1039" y="257"/>
                  <a:pt x="1039" y="257"/>
                  <a:pt x="1039" y="257"/>
                </a:cubicBezTo>
                <a:cubicBezTo>
                  <a:pt x="1039" y="260"/>
                  <a:pt x="1039" y="260"/>
                  <a:pt x="1039" y="260"/>
                </a:cubicBezTo>
                <a:cubicBezTo>
                  <a:pt x="1057" y="260"/>
                  <a:pt x="1057" y="260"/>
                  <a:pt x="1057" y="260"/>
                </a:cubicBezTo>
                <a:cubicBezTo>
                  <a:pt x="1057" y="257"/>
                  <a:pt x="1057" y="257"/>
                  <a:pt x="1057" y="257"/>
                </a:cubicBezTo>
                <a:cubicBezTo>
                  <a:pt x="1050" y="256"/>
                  <a:pt x="1050" y="256"/>
                  <a:pt x="1050" y="256"/>
                </a:cubicBezTo>
                <a:cubicBezTo>
                  <a:pt x="1057" y="225"/>
                  <a:pt x="1057" y="225"/>
                  <a:pt x="1057" y="225"/>
                </a:cubicBezTo>
                <a:cubicBezTo>
                  <a:pt x="1060" y="211"/>
                  <a:pt x="1060" y="211"/>
                  <a:pt x="1060" y="211"/>
                </a:cubicBezTo>
                <a:cubicBezTo>
                  <a:pt x="1062" y="225"/>
                  <a:pt x="1062" y="225"/>
                  <a:pt x="1062" y="225"/>
                </a:cubicBezTo>
                <a:cubicBezTo>
                  <a:pt x="1068" y="261"/>
                  <a:pt x="1068" y="261"/>
                  <a:pt x="1068" y="261"/>
                </a:cubicBezTo>
                <a:cubicBezTo>
                  <a:pt x="1072" y="260"/>
                  <a:pt x="1072" y="260"/>
                  <a:pt x="1072" y="260"/>
                </a:cubicBezTo>
                <a:cubicBezTo>
                  <a:pt x="1088" y="224"/>
                  <a:pt x="1088" y="224"/>
                  <a:pt x="1088" y="224"/>
                </a:cubicBezTo>
                <a:cubicBezTo>
                  <a:pt x="1094" y="211"/>
                  <a:pt x="1094" y="211"/>
                  <a:pt x="1094" y="211"/>
                </a:cubicBezTo>
                <a:cubicBezTo>
                  <a:pt x="1093" y="225"/>
                  <a:pt x="1093" y="225"/>
                  <a:pt x="1093" y="225"/>
                </a:cubicBezTo>
                <a:cubicBezTo>
                  <a:pt x="1091" y="256"/>
                  <a:pt x="1091" y="256"/>
                  <a:pt x="1091" y="256"/>
                </a:cubicBezTo>
                <a:cubicBezTo>
                  <a:pt x="1085" y="257"/>
                  <a:pt x="1085" y="257"/>
                  <a:pt x="1085" y="257"/>
                </a:cubicBezTo>
                <a:cubicBezTo>
                  <a:pt x="1084" y="260"/>
                  <a:pt x="1084" y="260"/>
                  <a:pt x="1084" y="260"/>
                </a:cubicBezTo>
                <a:cubicBezTo>
                  <a:pt x="1104" y="260"/>
                  <a:pt x="1104" y="260"/>
                  <a:pt x="1104" y="260"/>
                </a:cubicBezTo>
                <a:cubicBezTo>
                  <a:pt x="1104" y="257"/>
                  <a:pt x="1104" y="257"/>
                  <a:pt x="1104" y="257"/>
                </a:cubicBezTo>
                <a:cubicBezTo>
                  <a:pt x="1098" y="256"/>
                  <a:pt x="1098" y="256"/>
                  <a:pt x="1098" y="256"/>
                </a:cubicBezTo>
                <a:cubicBezTo>
                  <a:pt x="1099" y="212"/>
                  <a:pt x="1099" y="212"/>
                  <a:pt x="1099" y="212"/>
                </a:cubicBezTo>
                <a:cubicBezTo>
                  <a:pt x="1106" y="211"/>
                  <a:pt x="1106" y="211"/>
                  <a:pt x="1106" y="211"/>
                </a:cubicBezTo>
                <a:cubicBezTo>
                  <a:pt x="1106" y="208"/>
                  <a:pt x="1106" y="208"/>
                  <a:pt x="1106" y="208"/>
                </a:cubicBezTo>
                <a:cubicBezTo>
                  <a:pt x="1091" y="208"/>
                  <a:pt x="1091" y="208"/>
                  <a:pt x="1091" y="208"/>
                </a:cubicBezTo>
                <a:cubicBezTo>
                  <a:pt x="1090" y="211"/>
                  <a:pt x="1087" y="217"/>
                  <a:pt x="1083" y="225"/>
                </a:cubicBezTo>
                <a:cubicBezTo>
                  <a:pt x="1079" y="233"/>
                  <a:pt x="1077" y="239"/>
                  <a:pt x="1076" y="242"/>
                </a:cubicBezTo>
                <a:close/>
                <a:moveTo>
                  <a:pt x="1138" y="253"/>
                </a:moveTo>
                <a:cubicBezTo>
                  <a:pt x="1136" y="251"/>
                  <a:pt x="1136" y="251"/>
                  <a:pt x="1136" y="251"/>
                </a:cubicBezTo>
                <a:cubicBezTo>
                  <a:pt x="1134" y="253"/>
                  <a:pt x="1133" y="254"/>
                  <a:pt x="1131" y="255"/>
                </a:cubicBezTo>
                <a:cubicBezTo>
                  <a:pt x="1129" y="256"/>
                  <a:pt x="1126" y="256"/>
                  <a:pt x="1124" y="256"/>
                </a:cubicBezTo>
                <a:cubicBezTo>
                  <a:pt x="1121" y="256"/>
                  <a:pt x="1119" y="255"/>
                  <a:pt x="1118" y="253"/>
                </a:cubicBezTo>
                <a:cubicBezTo>
                  <a:pt x="1117" y="250"/>
                  <a:pt x="1116" y="247"/>
                  <a:pt x="1116" y="244"/>
                </a:cubicBezTo>
                <a:cubicBezTo>
                  <a:pt x="1119" y="244"/>
                  <a:pt x="1123" y="244"/>
                  <a:pt x="1126" y="242"/>
                </a:cubicBezTo>
                <a:cubicBezTo>
                  <a:pt x="1130" y="241"/>
                  <a:pt x="1133" y="240"/>
                  <a:pt x="1136" y="237"/>
                </a:cubicBezTo>
                <a:cubicBezTo>
                  <a:pt x="1138" y="235"/>
                  <a:pt x="1140" y="232"/>
                  <a:pt x="1140" y="229"/>
                </a:cubicBezTo>
                <a:cubicBezTo>
                  <a:pt x="1140" y="226"/>
                  <a:pt x="1139" y="224"/>
                  <a:pt x="1137" y="223"/>
                </a:cubicBezTo>
                <a:cubicBezTo>
                  <a:pt x="1135" y="221"/>
                  <a:pt x="1133" y="220"/>
                  <a:pt x="1130" y="220"/>
                </a:cubicBezTo>
                <a:cubicBezTo>
                  <a:pt x="1126" y="220"/>
                  <a:pt x="1122" y="221"/>
                  <a:pt x="1119" y="224"/>
                </a:cubicBezTo>
                <a:cubicBezTo>
                  <a:pt x="1116" y="226"/>
                  <a:pt x="1114" y="229"/>
                  <a:pt x="1112" y="233"/>
                </a:cubicBezTo>
                <a:cubicBezTo>
                  <a:pt x="1110" y="237"/>
                  <a:pt x="1109" y="241"/>
                  <a:pt x="1109" y="246"/>
                </a:cubicBezTo>
                <a:cubicBezTo>
                  <a:pt x="1109" y="248"/>
                  <a:pt x="1110" y="251"/>
                  <a:pt x="1111" y="253"/>
                </a:cubicBezTo>
                <a:cubicBezTo>
                  <a:pt x="1111" y="255"/>
                  <a:pt x="1113" y="257"/>
                  <a:pt x="1115" y="259"/>
                </a:cubicBezTo>
                <a:cubicBezTo>
                  <a:pt x="1117" y="260"/>
                  <a:pt x="1120" y="261"/>
                  <a:pt x="1123" y="261"/>
                </a:cubicBezTo>
                <a:cubicBezTo>
                  <a:pt x="1126" y="261"/>
                  <a:pt x="1129" y="260"/>
                  <a:pt x="1132" y="258"/>
                </a:cubicBezTo>
                <a:cubicBezTo>
                  <a:pt x="1135" y="257"/>
                  <a:pt x="1136" y="255"/>
                  <a:pt x="1138" y="253"/>
                </a:cubicBezTo>
                <a:close/>
                <a:moveTo>
                  <a:pt x="1128" y="224"/>
                </a:moveTo>
                <a:cubicBezTo>
                  <a:pt x="1130" y="224"/>
                  <a:pt x="1131" y="224"/>
                  <a:pt x="1132" y="225"/>
                </a:cubicBezTo>
                <a:cubicBezTo>
                  <a:pt x="1132" y="226"/>
                  <a:pt x="1133" y="228"/>
                  <a:pt x="1133" y="229"/>
                </a:cubicBezTo>
                <a:cubicBezTo>
                  <a:pt x="1133" y="232"/>
                  <a:pt x="1132" y="234"/>
                  <a:pt x="1130" y="235"/>
                </a:cubicBezTo>
                <a:cubicBezTo>
                  <a:pt x="1129" y="237"/>
                  <a:pt x="1126" y="238"/>
                  <a:pt x="1124" y="239"/>
                </a:cubicBezTo>
                <a:cubicBezTo>
                  <a:pt x="1121" y="240"/>
                  <a:pt x="1119" y="241"/>
                  <a:pt x="1116" y="241"/>
                </a:cubicBezTo>
                <a:cubicBezTo>
                  <a:pt x="1117" y="238"/>
                  <a:pt x="1117" y="236"/>
                  <a:pt x="1118" y="233"/>
                </a:cubicBezTo>
                <a:cubicBezTo>
                  <a:pt x="1119" y="230"/>
                  <a:pt x="1121" y="228"/>
                  <a:pt x="1122" y="226"/>
                </a:cubicBezTo>
                <a:cubicBezTo>
                  <a:pt x="1124" y="225"/>
                  <a:pt x="1126" y="224"/>
                  <a:pt x="1128" y="224"/>
                </a:cubicBezTo>
                <a:close/>
                <a:moveTo>
                  <a:pt x="1175" y="254"/>
                </a:moveTo>
                <a:cubicBezTo>
                  <a:pt x="1182" y="204"/>
                  <a:pt x="1182" y="204"/>
                  <a:pt x="1182" y="204"/>
                </a:cubicBezTo>
                <a:cubicBezTo>
                  <a:pt x="1181" y="204"/>
                  <a:pt x="1181" y="204"/>
                  <a:pt x="1181" y="204"/>
                </a:cubicBezTo>
                <a:cubicBezTo>
                  <a:pt x="1171" y="205"/>
                  <a:pt x="1171" y="205"/>
                  <a:pt x="1171" y="205"/>
                </a:cubicBezTo>
                <a:cubicBezTo>
                  <a:pt x="1170" y="207"/>
                  <a:pt x="1170" y="207"/>
                  <a:pt x="1170" y="207"/>
                </a:cubicBezTo>
                <a:cubicBezTo>
                  <a:pt x="1175" y="208"/>
                  <a:pt x="1175" y="208"/>
                  <a:pt x="1175" y="208"/>
                </a:cubicBezTo>
                <a:cubicBezTo>
                  <a:pt x="1173" y="221"/>
                  <a:pt x="1173" y="221"/>
                  <a:pt x="1173" y="221"/>
                </a:cubicBezTo>
                <a:cubicBezTo>
                  <a:pt x="1171" y="220"/>
                  <a:pt x="1169" y="220"/>
                  <a:pt x="1168" y="220"/>
                </a:cubicBezTo>
                <a:cubicBezTo>
                  <a:pt x="1163" y="220"/>
                  <a:pt x="1159" y="222"/>
                  <a:pt x="1156" y="224"/>
                </a:cubicBezTo>
                <a:cubicBezTo>
                  <a:pt x="1152" y="227"/>
                  <a:pt x="1150" y="230"/>
                  <a:pt x="1148" y="234"/>
                </a:cubicBezTo>
                <a:cubicBezTo>
                  <a:pt x="1146" y="238"/>
                  <a:pt x="1145" y="242"/>
                  <a:pt x="1145" y="246"/>
                </a:cubicBezTo>
                <a:cubicBezTo>
                  <a:pt x="1145" y="250"/>
                  <a:pt x="1146" y="254"/>
                  <a:pt x="1148" y="257"/>
                </a:cubicBezTo>
                <a:cubicBezTo>
                  <a:pt x="1150" y="259"/>
                  <a:pt x="1153" y="261"/>
                  <a:pt x="1157" y="261"/>
                </a:cubicBezTo>
                <a:cubicBezTo>
                  <a:pt x="1159" y="261"/>
                  <a:pt x="1162" y="260"/>
                  <a:pt x="1163" y="259"/>
                </a:cubicBezTo>
                <a:cubicBezTo>
                  <a:pt x="1165" y="258"/>
                  <a:pt x="1167" y="256"/>
                  <a:pt x="1168" y="255"/>
                </a:cubicBezTo>
                <a:cubicBezTo>
                  <a:pt x="1168" y="256"/>
                  <a:pt x="1168" y="256"/>
                  <a:pt x="1168" y="256"/>
                </a:cubicBezTo>
                <a:cubicBezTo>
                  <a:pt x="1168" y="259"/>
                  <a:pt x="1170" y="261"/>
                  <a:pt x="1173" y="261"/>
                </a:cubicBezTo>
                <a:cubicBezTo>
                  <a:pt x="1174" y="261"/>
                  <a:pt x="1176" y="260"/>
                  <a:pt x="1177" y="259"/>
                </a:cubicBezTo>
                <a:cubicBezTo>
                  <a:pt x="1178" y="258"/>
                  <a:pt x="1179" y="257"/>
                  <a:pt x="1180" y="256"/>
                </a:cubicBezTo>
                <a:cubicBezTo>
                  <a:pt x="1179" y="255"/>
                  <a:pt x="1179" y="255"/>
                  <a:pt x="1179" y="255"/>
                </a:cubicBezTo>
                <a:cubicBezTo>
                  <a:pt x="1178" y="256"/>
                  <a:pt x="1177" y="256"/>
                  <a:pt x="1176" y="256"/>
                </a:cubicBezTo>
                <a:cubicBezTo>
                  <a:pt x="1175" y="256"/>
                  <a:pt x="1175" y="256"/>
                  <a:pt x="1175" y="255"/>
                </a:cubicBezTo>
                <a:cubicBezTo>
                  <a:pt x="1175" y="254"/>
                  <a:pt x="1175" y="254"/>
                  <a:pt x="1175" y="254"/>
                </a:cubicBezTo>
                <a:close/>
                <a:moveTo>
                  <a:pt x="1172" y="225"/>
                </a:moveTo>
                <a:cubicBezTo>
                  <a:pt x="1169" y="250"/>
                  <a:pt x="1169" y="250"/>
                  <a:pt x="1169" y="250"/>
                </a:cubicBezTo>
                <a:cubicBezTo>
                  <a:pt x="1168" y="252"/>
                  <a:pt x="1166" y="253"/>
                  <a:pt x="1164" y="254"/>
                </a:cubicBezTo>
                <a:cubicBezTo>
                  <a:pt x="1163" y="256"/>
                  <a:pt x="1161" y="256"/>
                  <a:pt x="1159" y="256"/>
                </a:cubicBezTo>
                <a:cubicBezTo>
                  <a:pt x="1157" y="256"/>
                  <a:pt x="1155" y="255"/>
                  <a:pt x="1154" y="253"/>
                </a:cubicBezTo>
                <a:cubicBezTo>
                  <a:pt x="1153" y="252"/>
                  <a:pt x="1153" y="249"/>
                  <a:pt x="1153" y="246"/>
                </a:cubicBezTo>
                <a:cubicBezTo>
                  <a:pt x="1153" y="242"/>
                  <a:pt x="1153" y="239"/>
                  <a:pt x="1154" y="236"/>
                </a:cubicBezTo>
                <a:cubicBezTo>
                  <a:pt x="1155" y="232"/>
                  <a:pt x="1157" y="230"/>
                  <a:pt x="1159" y="227"/>
                </a:cubicBezTo>
                <a:cubicBezTo>
                  <a:pt x="1161" y="225"/>
                  <a:pt x="1164" y="224"/>
                  <a:pt x="1167" y="224"/>
                </a:cubicBezTo>
                <a:cubicBezTo>
                  <a:pt x="1169" y="224"/>
                  <a:pt x="1171" y="224"/>
                  <a:pt x="1172" y="225"/>
                </a:cubicBezTo>
                <a:close/>
                <a:moveTo>
                  <a:pt x="1198" y="254"/>
                </a:moveTo>
                <a:cubicBezTo>
                  <a:pt x="1202" y="221"/>
                  <a:pt x="1202" y="221"/>
                  <a:pt x="1202" y="221"/>
                </a:cubicBezTo>
                <a:cubicBezTo>
                  <a:pt x="1201" y="220"/>
                  <a:pt x="1201" y="220"/>
                  <a:pt x="1201" y="220"/>
                </a:cubicBezTo>
                <a:cubicBezTo>
                  <a:pt x="1191" y="222"/>
                  <a:pt x="1191" y="222"/>
                  <a:pt x="1191" y="222"/>
                </a:cubicBezTo>
                <a:cubicBezTo>
                  <a:pt x="1190" y="224"/>
                  <a:pt x="1190" y="224"/>
                  <a:pt x="1190" y="224"/>
                </a:cubicBezTo>
                <a:cubicBezTo>
                  <a:pt x="1195" y="226"/>
                  <a:pt x="1195" y="226"/>
                  <a:pt x="1195" y="226"/>
                </a:cubicBezTo>
                <a:cubicBezTo>
                  <a:pt x="1194" y="233"/>
                  <a:pt x="1193" y="239"/>
                  <a:pt x="1192" y="243"/>
                </a:cubicBezTo>
                <a:cubicBezTo>
                  <a:pt x="1191" y="251"/>
                  <a:pt x="1191" y="255"/>
                  <a:pt x="1191" y="256"/>
                </a:cubicBezTo>
                <a:cubicBezTo>
                  <a:pt x="1190" y="258"/>
                  <a:pt x="1191" y="259"/>
                  <a:pt x="1192" y="260"/>
                </a:cubicBezTo>
                <a:cubicBezTo>
                  <a:pt x="1192" y="260"/>
                  <a:pt x="1194" y="261"/>
                  <a:pt x="1195" y="261"/>
                </a:cubicBezTo>
                <a:cubicBezTo>
                  <a:pt x="1197" y="261"/>
                  <a:pt x="1199" y="260"/>
                  <a:pt x="1200" y="259"/>
                </a:cubicBezTo>
                <a:cubicBezTo>
                  <a:pt x="1202" y="258"/>
                  <a:pt x="1203" y="257"/>
                  <a:pt x="1203" y="256"/>
                </a:cubicBezTo>
                <a:cubicBezTo>
                  <a:pt x="1202" y="254"/>
                  <a:pt x="1202" y="254"/>
                  <a:pt x="1202" y="254"/>
                </a:cubicBezTo>
                <a:cubicBezTo>
                  <a:pt x="1202" y="255"/>
                  <a:pt x="1201" y="256"/>
                  <a:pt x="1200" y="256"/>
                </a:cubicBezTo>
                <a:cubicBezTo>
                  <a:pt x="1200" y="256"/>
                  <a:pt x="1199" y="256"/>
                  <a:pt x="1199" y="256"/>
                </a:cubicBezTo>
                <a:cubicBezTo>
                  <a:pt x="1198" y="256"/>
                  <a:pt x="1198" y="256"/>
                  <a:pt x="1198" y="256"/>
                </a:cubicBezTo>
                <a:cubicBezTo>
                  <a:pt x="1198" y="256"/>
                  <a:pt x="1198" y="255"/>
                  <a:pt x="1198" y="255"/>
                </a:cubicBezTo>
                <a:lnTo>
                  <a:pt x="1198" y="254"/>
                </a:lnTo>
                <a:close/>
                <a:moveTo>
                  <a:pt x="1200" y="213"/>
                </a:moveTo>
                <a:cubicBezTo>
                  <a:pt x="1201" y="213"/>
                  <a:pt x="1202" y="212"/>
                  <a:pt x="1203" y="211"/>
                </a:cubicBezTo>
                <a:cubicBezTo>
                  <a:pt x="1204" y="210"/>
                  <a:pt x="1205" y="209"/>
                  <a:pt x="1205" y="207"/>
                </a:cubicBezTo>
                <a:cubicBezTo>
                  <a:pt x="1205" y="206"/>
                  <a:pt x="1204" y="206"/>
                  <a:pt x="1204" y="205"/>
                </a:cubicBezTo>
                <a:cubicBezTo>
                  <a:pt x="1203" y="204"/>
                  <a:pt x="1202" y="204"/>
                  <a:pt x="1201" y="204"/>
                </a:cubicBezTo>
                <a:cubicBezTo>
                  <a:pt x="1200" y="204"/>
                  <a:pt x="1198" y="204"/>
                  <a:pt x="1198" y="205"/>
                </a:cubicBezTo>
                <a:cubicBezTo>
                  <a:pt x="1197" y="206"/>
                  <a:pt x="1196" y="207"/>
                  <a:pt x="1196" y="209"/>
                </a:cubicBezTo>
                <a:cubicBezTo>
                  <a:pt x="1196" y="210"/>
                  <a:pt x="1197" y="211"/>
                  <a:pt x="1197" y="212"/>
                </a:cubicBezTo>
                <a:cubicBezTo>
                  <a:pt x="1198" y="212"/>
                  <a:pt x="1199" y="213"/>
                  <a:pt x="1200" y="213"/>
                </a:cubicBezTo>
                <a:close/>
                <a:moveTo>
                  <a:pt x="1237" y="228"/>
                </a:moveTo>
                <a:cubicBezTo>
                  <a:pt x="1238" y="229"/>
                  <a:pt x="1238" y="229"/>
                  <a:pt x="1238" y="229"/>
                </a:cubicBezTo>
                <a:cubicBezTo>
                  <a:pt x="1240" y="222"/>
                  <a:pt x="1240" y="222"/>
                  <a:pt x="1240" y="222"/>
                </a:cubicBezTo>
                <a:cubicBezTo>
                  <a:pt x="1239" y="221"/>
                  <a:pt x="1238" y="221"/>
                  <a:pt x="1237" y="221"/>
                </a:cubicBezTo>
                <a:cubicBezTo>
                  <a:pt x="1235" y="220"/>
                  <a:pt x="1234" y="220"/>
                  <a:pt x="1232" y="220"/>
                </a:cubicBezTo>
                <a:cubicBezTo>
                  <a:pt x="1228" y="220"/>
                  <a:pt x="1224" y="221"/>
                  <a:pt x="1221" y="224"/>
                </a:cubicBezTo>
                <a:cubicBezTo>
                  <a:pt x="1218" y="227"/>
                  <a:pt x="1216" y="230"/>
                  <a:pt x="1214" y="234"/>
                </a:cubicBezTo>
                <a:cubicBezTo>
                  <a:pt x="1213" y="237"/>
                  <a:pt x="1212" y="241"/>
                  <a:pt x="1212" y="245"/>
                </a:cubicBezTo>
                <a:cubicBezTo>
                  <a:pt x="1212" y="250"/>
                  <a:pt x="1213" y="254"/>
                  <a:pt x="1215" y="257"/>
                </a:cubicBezTo>
                <a:cubicBezTo>
                  <a:pt x="1217" y="259"/>
                  <a:pt x="1220" y="261"/>
                  <a:pt x="1224" y="261"/>
                </a:cubicBezTo>
                <a:cubicBezTo>
                  <a:pt x="1227" y="261"/>
                  <a:pt x="1230" y="260"/>
                  <a:pt x="1232" y="259"/>
                </a:cubicBezTo>
                <a:cubicBezTo>
                  <a:pt x="1235" y="257"/>
                  <a:pt x="1236" y="256"/>
                  <a:pt x="1238" y="254"/>
                </a:cubicBezTo>
                <a:cubicBezTo>
                  <a:pt x="1236" y="252"/>
                  <a:pt x="1236" y="252"/>
                  <a:pt x="1236" y="252"/>
                </a:cubicBezTo>
                <a:cubicBezTo>
                  <a:pt x="1235" y="253"/>
                  <a:pt x="1233" y="254"/>
                  <a:pt x="1232" y="255"/>
                </a:cubicBezTo>
                <a:cubicBezTo>
                  <a:pt x="1230" y="256"/>
                  <a:pt x="1229" y="256"/>
                  <a:pt x="1227" y="256"/>
                </a:cubicBezTo>
                <a:cubicBezTo>
                  <a:pt x="1224" y="256"/>
                  <a:pt x="1222" y="255"/>
                  <a:pt x="1221" y="253"/>
                </a:cubicBezTo>
                <a:cubicBezTo>
                  <a:pt x="1220" y="251"/>
                  <a:pt x="1219" y="248"/>
                  <a:pt x="1219" y="244"/>
                </a:cubicBezTo>
                <a:cubicBezTo>
                  <a:pt x="1219" y="240"/>
                  <a:pt x="1219" y="237"/>
                  <a:pt x="1221" y="234"/>
                </a:cubicBezTo>
                <a:cubicBezTo>
                  <a:pt x="1222" y="231"/>
                  <a:pt x="1223" y="229"/>
                  <a:pt x="1225" y="227"/>
                </a:cubicBezTo>
                <a:cubicBezTo>
                  <a:pt x="1227" y="225"/>
                  <a:pt x="1229" y="225"/>
                  <a:pt x="1231" y="225"/>
                </a:cubicBezTo>
                <a:cubicBezTo>
                  <a:pt x="1232" y="225"/>
                  <a:pt x="1235" y="226"/>
                  <a:pt x="1237" y="228"/>
                </a:cubicBezTo>
                <a:close/>
                <a:moveTo>
                  <a:pt x="1255" y="254"/>
                </a:moveTo>
                <a:cubicBezTo>
                  <a:pt x="1260" y="221"/>
                  <a:pt x="1260" y="221"/>
                  <a:pt x="1260" y="221"/>
                </a:cubicBezTo>
                <a:cubicBezTo>
                  <a:pt x="1259" y="220"/>
                  <a:pt x="1259" y="220"/>
                  <a:pt x="1259" y="220"/>
                </a:cubicBezTo>
                <a:cubicBezTo>
                  <a:pt x="1249" y="222"/>
                  <a:pt x="1249" y="222"/>
                  <a:pt x="1249" y="222"/>
                </a:cubicBezTo>
                <a:cubicBezTo>
                  <a:pt x="1248" y="224"/>
                  <a:pt x="1248" y="224"/>
                  <a:pt x="1248" y="224"/>
                </a:cubicBezTo>
                <a:cubicBezTo>
                  <a:pt x="1253" y="226"/>
                  <a:pt x="1253" y="226"/>
                  <a:pt x="1253" y="226"/>
                </a:cubicBezTo>
                <a:cubicBezTo>
                  <a:pt x="1252" y="233"/>
                  <a:pt x="1251" y="239"/>
                  <a:pt x="1250" y="243"/>
                </a:cubicBezTo>
                <a:cubicBezTo>
                  <a:pt x="1249" y="251"/>
                  <a:pt x="1248" y="255"/>
                  <a:pt x="1248" y="256"/>
                </a:cubicBezTo>
                <a:cubicBezTo>
                  <a:pt x="1248" y="258"/>
                  <a:pt x="1249" y="259"/>
                  <a:pt x="1249" y="260"/>
                </a:cubicBezTo>
                <a:cubicBezTo>
                  <a:pt x="1250" y="260"/>
                  <a:pt x="1251" y="261"/>
                  <a:pt x="1253" y="261"/>
                </a:cubicBezTo>
                <a:cubicBezTo>
                  <a:pt x="1255" y="261"/>
                  <a:pt x="1256" y="260"/>
                  <a:pt x="1258" y="259"/>
                </a:cubicBezTo>
                <a:cubicBezTo>
                  <a:pt x="1259" y="258"/>
                  <a:pt x="1260" y="257"/>
                  <a:pt x="1261" y="256"/>
                </a:cubicBezTo>
                <a:cubicBezTo>
                  <a:pt x="1260" y="254"/>
                  <a:pt x="1260" y="254"/>
                  <a:pt x="1260" y="254"/>
                </a:cubicBezTo>
                <a:cubicBezTo>
                  <a:pt x="1259" y="255"/>
                  <a:pt x="1259" y="256"/>
                  <a:pt x="1258" y="256"/>
                </a:cubicBezTo>
                <a:cubicBezTo>
                  <a:pt x="1258" y="256"/>
                  <a:pt x="1257" y="256"/>
                  <a:pt x="1256" y="256"/>
                </a:cubicBezTo>
                <a:cubicBezTo>
                  <a:pt x="1256" y="256"/>
                  <a:pt x="1256" y="256"/>
                  <a:pt x="1256" y="256"/>
                </a:cubicBezTo>
                <a:cubicBezTo>
                  <a:pt x="1255" y="256"/>
                  <a:pt x="1255" y="255"/>
                  <a:pt x="1255" y="255"/>
                </a:cubicBezTo>
                <a:lnTo>
                  <a:pt x="1255" y="254"/>
                </a:lnTo>
                <a:close/>
                <a:moveTo>
                  <a:pt x="1258" y="213"/>
                </a:moveTo>
                <a:cubicBezTo>
                  <a:pt x="1259" y="213"/>
                  <a:pt x="1260" y="212"/>
                  <a:pt x="1261" y="211"/>
                </a:cubicBezTo>
                <a:cubicBezTo>
                  <a:pt x="1262" y="210"/>
                  <a:pt x="1262" y="209"/>
                  <a:pt x="1262" y="207"/>
                </a:cubicBezTo>
                <a:cubicBezTo>
                  <a:pt x="1262" y="206"/>
                  <a:pt x="1262" y="206"/>
                  <a:pt x="1261" y="205"/>
                </a:cubicBezTo>
                <a:cubicBezTo>
                  <a:pt x="1261" y="204"/>
                  <a:pt x="1260" y="204"/>
                  <a:pt x="1259" y="204"/>
                </a:cubicBezTo>
                <a:cubicBezTo>
                  <a:pt x="1257" y="204"/>
                  <a:pt x="1256" y="204"/>
                  <a:pt x="1255" y="205"/>
                </a:cubicBezTo>
                <a:cubicBezTo>
                  <a:pt x="1254" y="206"/>
                  <a:pt x="1254" y="207"/>
                  <a:pt x="1254" y="209"/>
                </a:cubicBezTo>
                <a:cubicBezTo>
                  <a:pt x="1254" y="210"/>
                  <a:pt x="1254" y="211"/>
                  <a:pt x="1255" y="212"/>
                </a:cubicBezTo>
                <a:cubicBezTo>
                  <a:pt x="1256" y="212"/>
                  <a:pt x="1257" y="213"/>
                  <a:pt x="1258" y="213"/>
                </a:cubicBezTo>
                <a:close/>
                <a:moveTo>
                  <a:pt x="1282" y="229"/>
                </a:moveTo>
                <a:cubicBezTo>
                  <a:pt x="1283" y="221"/>
                  <a:pt x="1283" y="221"/>
                  <a:pt x="1283" y="221"/>
                </a:cubicBezTo>
                <a:cubicBezTo>
                  <a:pt x="1281" y="220"/>
                  <a:pt x="1281" y="220"/>
                  <a:pt x="1281" y="220"/>
                </a:cubicBezTo>
                <a:cubicBezTo>
                  <a:pt x="1273" y="222"/>
                  <a:pt x="1273" y="222"/>
                  <a:pt x="1273" y="222"/>
                </a:cubicBezTo>
                <a:cubicBezTo>
                  <a:pt x="1272" y="224"/>
                  <a:pt x="1272" y="224"/>
                  <a:pt x="1272" y="224"/>
                </a:cubicBezTo>
                <a:cubicBezTo>
                  <a:pt x="1275" y="226"/>
                  <a:pt x="1275" y="226"/>
                  <a:pt x="1275" y="226"/>
                </a:cubicBezTo>
                <a:cubicBezTo>
                  <a:pt x="1271" y="260"/>
                  <a:pt x="1271" y="260"/>
                  <a:pt x="1271" y="260"/>
                </a:cubicBezTo>
                <a:cubicBezTo>
                  <a:pt x="1278" y="260"/>
                  <a:pt x="1278" y="260"/>
                  <a:pt x="1278" y="260"/>
                </a:cubicBezTo>
                <a:cubicBezTo>
                  <a:pt x="1281" y="235"/>
                  <a:pt x="1281" y="235"/>
                  <a:pt x="1281" y="235"/>
                </a:cubicBezTo>
                <a:cubicBezTo>
                  <a:pt x="1283" y="232"/>
                  <a:pt x="1285" y="230"/>
                  <a:pt x="1287" y="228"/>
                </a:cubicBezTo>
                <a:cubicBezTo>
                  <a:pt x="1289" y="226"/>
                  <a:pt x="1291" y="225"/>
                  <a:pt x="1293" y="225"/>
                </a:cubicBezTo>
                <a:cubicBezTo>
                  <a:pt x="1295" y="225"/>
                  <a:pt x="1296" y="226"/>
                  <a:pt x="1297" y="226"/>
                </a:cubicBezTo>
                <a:cubicBezTo>
                  <a:pt x="1297" y="227"/>
                  <a:pt x="1298" y="229"/>
                  <a:pt x="1298" y="231"/>
                </a:cubicBezTo>
                <a:cubicBezTo>
                  <a:pt x="1298" y="233"/>
                  <a:pt x="1297" y="234"/>
                  <a:pt x="1297" y="236"/>
                </a:cubicBezTo>
                <a:cubicBezTo>
                  <a:pt x="1297" y="238"/>
                  <a:pt x="1297" y="240"/>
                  <a:pt x="1296" y="243"/>
                </a:cubicBezTo>
                <a:cubicBezTo>
                  <a:pt x="1296" y="245"/>
                  <a:pt x="1296" y="245"/>
                  <a:pt x="1296" y="245"/>
                </a:cubicBezTo>
                <a:cubicBezTo>
                  <a:pt x="1295" y="248"/>
                  <a:pt x="1295" y="248"/>
                  <a:pt x="1295" y="248"/>
                </a:cubicBezTo>
                <a:cubicBezTo>
                  <a:pt x="1294" y="252"/>
                  <a:pt x="1294" y="255"/>
                  <a:pt x="1294" y="256"/>
                </a:cubicBezTo>
                <a:cubicBezTo>
                  <a:pt x="1294" y="259"/>
                  <a:pt x="1295" y="261"/>
                  <a:pt x="1298" y="261"/>
                </a:cubicBezTo>
                <a:cubicBezTo>
                  <a:pt x="1300" y="261"/>
                  <a:pt x="1301" y="260"/>
                  <a:pt x="1302" y="260"/>
                </a:cubicBezTo>
                <a:cubicBezTo>
                  <a:pt x="1303" y="259"/>
                  <a:pt x="1304" y="259"/>
                  <a:pt x="1305" y="258"/>
                </a:cubicBezTo>
                <a:cubicBezTo>
                  <a:pt x="1305" y="258"/>
                  <a:pt x="1306" y="257"/>
                  <a:pt x="1306" y="257"/>
                </a:cubicBezTo>
                <a:cubicBezTo>
                  <a:pt x="1305" y="255"/>
                  <a:pt x="1305" y="255"/>
                  <a:pt x="1305" y="255"/>
                </a:cubicBezTo>
                <a:cubicBezTo>
                  <a:pt x="1304" y="256"/>
                  <a:pt x="1303" y="256"/>
                  <a:pt x="1302" y="256"/>
                </a:cubicBezTo>
                <a:cubicBezTo>
                  <a:pt x="1301" y="256"/>
                  <a:pt x="1301" y="256"/>
                  <a:pt x="1301" y="255"/>
                </a:cubicBezTo>
                <a:cubicBezTo>
                  <a:pt x="1301" y="253"/>
                  <a:pt x="1301" y="250"/>
                  <a:pt x="1302" y="246"/>
                </a:cubicBezTo>
                <a:cubicBezTo>
                  <a:pt x="1303" y="243"/>
                  <a:pt x="1303" y="243"/>
                  <a:pt x="1303" y="243"/>
                </a:cubicBezTo>
                <a:cubicBezTo>
                  <a:pt x="1303" y="241"/>
                  <a:pt x="1303" y="241"/>
                  <a:pt x="1303" y="241"/>
                </a:cubicBezTo>
                <a:cubicBezTo>
                  <a:pt x="1304" y="236"/>
                  <a:pt x="1305" y="232"/>
                  <a:pt x="1305" y="230"/>
                </a:cubicBezTo>
                <a:cubicBezTo>
                  <a:pt x="1305" y="227"/>
                  <a:pt x="1304" y="224"/>
                  <a:pt x="1302" y="223"/>
                </a:cubicBezTo>
                <a:cubicBezTo>
                  <a:pt x="1301" y="221"/>
                  <a:pt x="1299" y="220"/>
                  <a:pt x="1296" y="220"/>
                </a:cubicBezTo>
                <a:cubicBezTo>
                  <a:pt x="1294" y="220"/>
                  <a:pt x="1291" y="221"/>
                  <a:pt x="1289" y="223"/>
                </a:cubicBezTo>
                <a:cubicBezTo>
                  <a:pt x="1286" y="224"/>
                  <a:pt x="1284" y="227"/>
                  <a:pt x="1282" y="229"/>
                </a:cubicBezTo>
                <a:close/>
                <a:moveTo>
                  <a:pt x="1342" y="253"/>
                </a:moveTo>
                <a:cubicBezTo>
                  <a:pt x="1340" y="251"/>
                  <a:pt x="1340" y="251"/>
                  <a:pt x="1340" y="251"/>
                </a:cubicBezTo>
                <a:cubicBezTo>
                  <a:pt x="1339" y="253"/>
                  <a:pt x="1337" y="254"/>
                  <a:pt x="1335" y="255"/>
                </a:cubicBezTo>
                <a:cubicBezTo>
                  <a:pt x="1333" y="256"/>
                  <a:pt x="1331" y="256"/>
                  <a:pt x="1329" y="256"/>
                </a:cubicBezTo>
                <a:cubicBezTo>
                  <a:pt x="1326" y="256"/>
                  <a:pt x="1323" y="255"/>
                  <a:pt x="1322" y="253"/>
                </a:cubicBezTo>
                <a:cubicBezTo>
                  <a:pt x="1321" y="250"/>
                  <a:pt x="1320" y="247"/>
                  <a:pt x="1320" y="244"/>
                </a:cubicBezTo>
                <a:cubicBezTo>
                  <a:pt x="1323" y="244"/>
                  <a:pt x="1327" y="244"/>
                  <a:pt x="1330" y="242"/>
                </a:cubicBezTo>
                <a:cubicBezTo>
                  <a:pt x="1334" y="241"/>
                  <a:pt x="1337" y="240"/>
                  <a:pt x="1340" y="237"/>
                </a:cubicBezTo>
                <a:cubicBezTo>
                  <a:pt x="1342" y="235"/>
                  <a:pt x="1344" y="232"/>
                  <a:pt x="1344" y="229"/>
                </a:cubicBezTo>
                <a:cubicBezTo>
                  <a:pt x="1344" y="226"/>
                  <a:pt x="1343" y="224"/>
                  <a:pt x="1341" y="223"/>
                </a:cubicBezTo>
                <a:cubicBezTo>
                  <a:pt x="1340" y="221"/>
                  <a:pt x="1337" y="220"/>
                  <a:pt x="1334" y="220"/>
                </a:cubicBezTo>
                <a:cubicBezTo>
                  <a:pt x="1330" y="220"/>
                  <a:pt x="1326" y="221"/>
                  <a:pt x="1323" y="224"/>
                </a:cubicBezTo>
                <a:cubicBezTo>
                  <a:pt x="1320" y="226"/>
                  <a:pt x="1318" y="229"/>
                  <a:pt x="1316" y="233"/>
                </a:cubicBezTo>
                <a:cubicBezTo>
                  <a:pt x="1314" y="237"/>
                  <a:pt x="1313" y="241"/>
                  <a:pt x="1313" y="246"/>
                </a:cubicBezTo>
                <a:cubicBezTo>
                  <a:pt x="1313" y="248"/>
                  <a:pt x="1314" y="251"/>
                  <a:pt x="1315" y="253"/>
                </a:cubicBezTo>
                <a:cubicBezTo>
                  <a:pt x="1316" y="255"/>
                  <a:pt x="1317" y="257"/>
                  <a:pt x="1319" y="259"/>
                </a:cubicBezTo>
                <a:cubicBezTo>
                  <a:pt x="1321" y="260"/>
                  <a:pt x="1324" y="261"/>
                  <a:pt x="1327" y="261"/>
                </a:cubicBezTo>
                <a:cubicBezTo>
                  <a:pt x="1330" y="261"/>
                  <a:pt x="1333" y="260"/>
                  <a:pt x="1336" y="258"/>
                </a:cubicBezTo>
                <a:cubicBezTo>
                  <a:pt x="1339" y="257"/>
                  <a:pt x="1341" y="255"/>
                  <a:pt x="1342" y="253"/>
                </a:cubicBezTo>
                <a:close/>
                <a:moveTo>
                  <a:pt x="1332" y="224"/>
                </a:moveTo>
                <a:cubicBezTo>
                  <a:pt x="1334" y="224"/>
                  <a:pt x="1335" y="224"/>
                  <a:pt x="1336" y="225"/>
                </a:cubicBezTo>
                <a:cubicBezTo>
                  <a:pt x="1337" y="226"/>
                  <a:pt x="1337" y="228"/>
                  <a:pt x="1337" y="229"/>
                </a:cubicBezTo>
                <a:cubicBezTo>
                  <a:pt x="1337" y="232"/>
                  <a:pt x="1336" y="234"/>
                  <a:pt x="1334" y="235"/>
                </a:cubicBezTo>
                <a:cubicBezTo>
                  <a:pt x="1333" y="237"/>
                  <a:pt x="1331" y="238"/>
                  <a:pt x="1328" y="239"/>
                </a:cubicBezTo>
                <a:cubicBezTo>
                  <a:pt x="1325" y="240"/>
                  <a:pt x="1323" y="241"/>
                  <a:pt x="1321" y="241"/>
                </a:cubicBezTo>
                <a:cubicBezTo>
                  <a:pt x="1321" y="238"/>
                  <a:pt x="1321" y="236"/>
                  <a:pt x="1322" y="233"/>
                </a:cubicBezTo>
                <a:cubicBezTo>
                  <a:pt x="1323" y="230"/>
                  <a:pt x="1325" y="228"/>
                  <a:pt x="1326" y="226"/>
                </a:cubicBezTo>
                <a:cubicBezTo>
                  <a:pt x="1328" y="225"/>
                  <a:pt x="1330" y="224"/>
                  <a:pt x="1332" y="224"/>
                </a:cubicBezTo>
                <a:close/>
              </a:path>
            </a:pathLst>
          </a:custGeom>
          <a:solidFill>
            <a:schemeClr val="bg1"/>
          </a:solidFill>
          <a:ln>
            <a:noFill/>
          </a:ln>
        </p:spPr>
        <p:txBody>
          <a:bodyPr vert="horz" wrap="square" lIns="121920" tIns="60960" rIns="121920" bIns="60960" numCol="1" anchor="t" anchorCtr="0" compatLnSpc="1">
            <a:prstTxWarp prst="textNoShape">
              <a:avLst/>
            </a:prstTxWarp>
          </a:bodyPr>
          <a:lstStyle/>
          <a:p>
            <a:endParaRPr lang="en-US" sz="2400"/>
          </a:p>
        </p:txBody>
      </p:sp>
      <p:sp>
        <p:nvSpPr>
          <p:cNvPr id="17" name="Text Placeholder 16">
            <a:extLst>
              <a:ext uri="{FF2B5EF4-FFF2-40B4-BE49-F238E27FC236}">
                <a16:creationId xmlns:a16="http://schemas.microsoft.com/office/drawing/2014/main" id="{FCA018DF-7EFB-4D08-89D5-E61FB47F425E}"/>
              </a:ext>
            </a:extLst>
          </p:cNvPr>
          <p:cNvSpPr>
            <a:spLocks noGrp="1"/>
          </p:cNvSpPr>
          <p:nvPr>
            <p:ph type="body" sz="quarter" idx="12" hasCustomPrompt="1"/>
          </p:nvPr>
        </p:nvSpPr>
        <p:spPr>
          <a:xfrm>
            <a:off x="7995920" y="6515586"/>
            <a:ext cx="3222413" cy="169277"/>
          </a:xfrm>
        </p:spPr>
        <p:txBody>
          <a:bodyPr wrap="square">
            <a:spAutoFit/>
          </a:bodyPr>
          <a:lstStyle>
            <a:lvl1pPr marL="0" indent="0">
              <a:buNone/>
              <a:defRPr sz="1000" cap="all" spc="147" baseline="0">
                <a:solidFill>
                  <a:schemeClr val="tx2"/>
                </a:solidFill>
              </a:defRPr>
            </a:lvl1pPr>
          </a:lstStyle>
          <a:p>
            <a:pPr lvl="0"/>
            <a:r>
              <a:rPr lang="en-US"/>
              <a:t>CLICK TO EDIT MASTER TEXT</a:t>
            </a:r>
          </a:p>
        </p:txBody>
      </p:sp>
    </p:spTree>
    <p:extLst>
      <p:ext uri="{BB962C8B-B14F-4D97-AF65-F5344CB8AC3E}">
        <p14:creationId xmlns:p14="http://schemas.microsoft.com/office/powerpoint/2010/main" val="56652615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3">
            <a:extLst>
              <a:ext uri="{FF2B5EF4-FFF2-40B4-BE49-F238E27FC236}">
                <a16:creationId xmlns:a16="http://schemas.microsoft.com/office/drawing/2014/main" id="{65CEC2D0-59E0-FFE1-1548-C54F19B9BC76}"/>
              </a:ext>
            </a:extLst>
          </p:cNvPr>
          <p:cNvSpPr>
            <a:spLocks noGrp="1"/>
          </p:cNvSpPr>
          <p:nvPr>
            <p:ph type="dt" sz="half" idx="10"/>
          </p:nvPr>
        </p:nvSpPr>
        <p:spPr/>
        <p:txBody>
          <a:bodyPr/>
          <a:lstStyle>
            <a:lvl1pPr>
              <a:defRPr/>
            </a:lvl1pPr>
          </a:lstStyle>
          <a:p>
            <a:pPr>
              <a:defRPr/>
            </a:pPr>
            <a:r>
              <a:rPr lang="en-US"/>
              <a:t>May 5 and 6, 2020</a:t>
            </a:r>
          </a:p>
        </p:txBody>
      </p:sp>
      <p:sp>
        <p:nvSpPr>
          <p:cNvPr id="3" name="Footer Placeholder 4">
            <a:extLst>
              <a:ext uri="{FF2B5EF4-FFF2-40B4-BE49-F238E27FC236}">
                <a16:creationId xmlns:a16="http://schemas.microsoft.com/office/drawing/2014/main" id="{5BADD3D4-14E4-FE26-B684-834407850681}"/>
              </a:ext>
            </a:extLst>
          </p:cNvPr>
          <p:cNvSpPr>
            <a:spLocks noGrp="1"/>
          </p:cNvSpPr>
          <p:nvPr>
            <p:ph type="ftr" sz="quarter" idx="11"/>
          </p:nvPr>
        </p:nvSpPr>
        <p:spPr/>
        <p:txBody>
          <a:bodyPr/>
          <a:lstStyle>
            <a:lvl1pPr>
              <a:defRPr/>
            </a:lvl1pPr>
          </a:lstStyle>
          <a:p>
            <a:pPr>
              <a:defRPr/>
            </a:pPr>
            <a:r>
              <a:rPr lang="en-US"/>
              <a:t>FY 2022 Strategy Session  [Name of Campaign] Campaign</a:t>
            </a:r>
          </a:p>
        </p:txBody>
      </p:sp>
      <p:sp>
        <p:nvSpPr>
          <p:cNvPr id="4" name="Slide Number Placeholder 5">
            <a:extLst>
              <a:ext uri="{FF2B5EF4-FFF2-40B4-BE49-F238E27FC236}">
                <a16:creationId xmlns:a16="http://schemas.microsoft.com/office/drawing/2014/main" id="{D24A2872-EFF0-A512-93ED-25B3F5915DE1}"/>
              </a:ext>
            </a:extLst>
          </p:cNvPr>
          <p:cNvSpPr>
            <a:spLocks noGrp="1"/>
          </p:cNvSpPr>
          <p:nvPr>
            <p:ph type="sldNum" sz="quarter" idx="12"/>
          </p:nvPr>
        </p:nvSpPr>
        <p:spPr/>
        <p:txBody>
          <a:bodyPr/>
          <a:lstStyle>
            <a:lvl1pPr>
              <a:defRPr/>
            </a:lvl1pPr>
          </a:lstStyle>
          <a:p>
            <a:pPr>
              <a:defRPr/>
            </a:pPr>
            <a:fld id="{03DD33B1-F452-470A-8B9C-5A6709F91390}" type="slidenum">
              <a:rPr lang="en-US"/>
              <a:pPr>
                <a:defRPr/>
              </a:pPr>
              <a:t>‹#›</a:t>
            </a:fld>
            <a:endParaRPr lang="en-US"/>
          </a:p>
        </p:txBody>
      </p:sp>
    </p:spTree>
    <p:extLst>
      <p:ext uri="{BB962C8B-B14F-4D97-AF65-F5344CB8AC3E}">
        <p14:creationId xmlns:p14="http://schemas.microsoft.com/office/powerpoint/2010/main" val="2441060952"/>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p:cSld name="Title Slide - Light Purple">
    <p:spTree>
      <p:nvGrpSpPr>
        <p:cNvPr id="1" name=""/>
        <p:cNvGrpSpPr/>
        <p:nvPr/>
      </p:nvGrpSpPr>
      <p:grpSpPr>
        <a:xfrm>
          <a:off x="0" y="0"/>
          <a:ext cx="0" cy="0"/>
          <a:chOff x="0" y="0"/>
          <a:chExt cx="0" cy="0"/>
        </a:xfrm>
      </p:grpSpPr>
      <p:sp>
        <p:nvSpPr>
          <p:cNvPr id="15" name="Picture Placeholder 14">
            <a:extLst>
              <a:ext uri="{FF2B5EF4-FFF2-40B4-BE49-F238E27FC236}">
                <a16:creationId xmlns:a16="http://schemas.microsoft.com/office/drawing/2014/main" id="{42927F7C-53AC-400F-8DAD-235A2AF61FB8}"/>
              </a:ext>
            </a:extLst>
          </p:cNvPr>
          <p:cNvSpPr>
            <a:spLocks noGrp="1"/>
          </p:cNvSpPr>
          <p:nvPr>
            <p:ph type="pic" sz="quarter" idx="11"/>
          </p:nvPr>
        </p:nvSpPr>
        <p:spPr>
          <a:xfrm>
            <a:off x="0" y="1"/>
            <a:ext cx="12192000" cy="6280151"/>
          </a:xfrm>
          <a:solidFill>
            <a:schemeClr val="bg2">
              <a:lumMod val="90000"/>
            </a:schemeClr>
          </a:solidFill>
        </p:spPr>
        <p:txBody>
          <a:bodyPr/>
          <a:lstStyle/>
          <a:p>
            <a:r>
              <a:rPr lang="en-US"/>
              <a:t>Click icon to add picture</a:t>
            </a:r>
          </a:p>
        </p:txBody>
      </p:sp>
      <p:sp>
        <p:nvSpPr>
          <p:cNvPr id="13" name="Text Placeholder 12">
            <a:extLst>
              <a:ext uri="{FF2B5EF4-FFF2-40B4-BE49-F238E27FC236}">
                <a16:creationId xmlns:a16="http://schemas.microsoft.com/office/drawing/2014/main" id="{D2D74F39-96DB-4808-8693-9F55A9D7DB98}"/>
              </a:ext>
            </a:extLst>
          </p:cNvPr>
          <p:cNvSpPr>
            <a:spLocks noGrp="1"/>
          </p:cNvSpPr>
          <p:nvPr>
            <p:ph type="body" sz="quarter" idx="10"/>
          </p:nvPr>
        </p:nvSpPr>
        <p:spPr>
          <a:xfrm>
            <a:off x="2" y="1563078"/>
            <a:ext cx="7737229" cy="5294921"/>
          </a:xfrm>
          <a:solidFill>
            <a:srgbClr val="E2E1E7"/>
          </a:solidFill>
        </p:spPr>
        <p:txBody>
          <a:bodyPr lIns="502920" tIns="274320" rIns="457200" bIns="457200"/>
          <a:lstStyle>
            <a:lvl1pPr marL="0" indent="0">
              <a:lnSpc>
                <a:spcPct val="100000"/>
              </a:lnSpc>
              <a:buNone/>
              <a:defRPr sz="4000">
                <a:solidFill>
                  <a:schemeClr val="tx2"/>
                </a:solidFill>
                <a:latin typeface="+mj-lt"/>
              </a:defRPr>
            </a:lvl1pPr>
            <a:lvl2pPr marL="0" indent="0">
              <a:spcBef>
                <a:spcPts val="1200"/>
              </a:spcBef>
              <a:buNone/>
              <a:defRPr sz="2000">
                <a:solidFill>
                  <a:schemeClr val="tx2"/>
                </a:solidFill>
                <a:latin typeface="+mj-lt"/>
              </a:defRPr>
            </a:lvl2pPr>
            <a:lvl3pPr marL="609585" indent="0">
              <a:buNone/>
              <a:defRPr>
                <a:solidFill>
                  <a:schemeClr val="bg1"/>
                </a:solidFill>
                <a:latin typeface="+mj-lt"/>
              </a:defRPr>
            </a:lvl3pPr>
            <a:lvl4pPr marL="922844" indent="0">
              <a:buNone/>
              <a:defRPr>
                <a:solidFill>
                  <a:schemeClr val="bg1"/>
                </a:solidFill>
                <a:latin typeface="+mj-lt"/>
              </a:defRPr>
            </a:lvl4pPr>
            <a:lvl5pPr marL="1219170" indent="0">
              <a:buNone/>
              <a:defRPr>
                <a:solidFill>
                  <a:schemeClr val="bg1"/>
                </a:solidFill>
                <a:latin typeface="+mj-lt"/>
              </a:defRPr>
            </a:lvl5pPr>
          </a:lstStyle>
          <a:p>
            <a:pPr lvl="0"/>
            <a:r>
              <a:rPr lang="en-US"/>
              <a:t>Edit Master text styles</a:t>
            </a:r>
          </a:p>
          <a:p>
            <a:pPr lvl="1"/>
            <a:r>
              <a:rPr lang="en-US"/>
              <a:t>Second level</a:t>
            </a:r>
          </a:p>
        </p:txBody>
      </p:sp>
      <p:sp>
        <p:nvSpPr>
          <p:cNvPr id="3" name="Subtitle 2"/>
          <p:cNvSpPr>
            <a:spLocks noGrp="1"/>
          </p:cNvSpPr>
          <p:nvPr>
            <p:ph type="subTitle" idx="1"/>
          </p:nvPr>
        </p:nvSpPr>
        <p:spPr>
          <a:xfrm>
            <a:off x="701040" y="4738102"/>
            <a:ext cx="6461760" cy="225639"/>
          </a:xfrm>
        </p:spPr>
        <p:txBody>
          <a:bodyPr anchor="b" anchorCtr="0">
            <a:spAutoFit/>
          </a:bodyPr>
          <a:lstStyle>
            <a:lvl1pPr marL="0" indent="0" algn="l">
              <a:buNone/>
              <a:defRPr sz="1333" i="1">
                <a:solidFill>
                  <a:schemeClr val="tx1"/>
                </a:solidFill>
                <a:latin typeface="+mj-l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
        <p:nvSpPr>
          <p:cNvPr id="9" name="Freeform 5">
            <a:extLst>
              <a:ext uri="{FF2B5EF4-FFF2-40B4-BE49-F238E27FC236}">
                <a16:creationId xmlns:a16="http://schemas.microsoft.com/office/drawing/2014/main" id="{6EF64205-A64B-4137-BA41-5E5CFE0F359E}"/>
              </a:ext>
            </a:extLst>
          </p:cNvPr>
          <p:cNvSpPr>
            <a:spLocks noEditPoints="1"/>
          </p:cNvSpPr>
          <p:nvPr/>
        </p:nvSpPr>
        <p:spPr bwMode="auto">
          <a:xfrm>
            <a:off x="643609" y="578451"/>
            <a:ext cx="2922943" cy="547357"/>
          </a:xfrm>
          <a:custGeom>
            <a:avLst/>
            <a:gdLst>
              <a:gd name="T0" fmla="*/ 225 w 1440"/>
              <a:gd name="T1" fmla="*/ 110 h 267"/>
              <a:gd name="T2" fmla="*/ 317 w 1440"/>
              <a:gd name="T3" fmla="*/ 7 h 267"/>
              <a:gd name="T4" fmla="*/ 475 w 1440"/>
              <a:gd name="T5" fmla="*/ 19 h 267"/>
              <a:gd name="T6" fmla="*/ 830 w 1440"/>
              <a:gd name="T7" fmla="*/ 7 h 267"/>
              <a:gd name="T8" fmla="*/ 130 w 1440"/>
              <a:gd name="T9" fmla="*/ 210 h 267"/>
              <a:gd name="T10" fmla="*/ 437 w 1440"/>
              <a:gd name="T11" fmla="*/ 209 h 267"/>
              <a:gd name="T12" fmla="*/ 493 w 1440"/>
              <a:gd name="T13" fmla="*/ 198 h 267"/>
              <a:gd name="T14" fmla="*/ 866 w 1440"/>
              <a:gd name="T15" fmla="*/ 171 h 267"/>
              <a:gd name="T16" fmla="*/ 737 w 1440"/>
              <a:gd name="T17" fmla="*/ 261 h 267"/>
              <a:gd name="T18" fmla="*/ 958 w 1440"/>
              <a:gd name="T19" fmla="*/ 172 h 267"/>
              <a:gd name="T20" fmla="*/ 906 w 1440"/>
              <a:gd name="T21" fmla="*/ 254 h 267"/>
              <a:gd name="T22" fmla="*/ 309 w 1440"/>
              <a:gd name="T23" fmla="*/ 260 h 267"/>
              <a:gd name="T24" fmla="*/ 1053 w 1440"/>
              <a:gd name="T25" fmla="*/ 31 h 267"/>
              <a:gd name="T26" fmla="*/ 1075 w 1440"/>
              <a:gd name="T27" fmla="*/ 44 h 267"/>
              <a:gd name="T28" fmla="*/ 1091 w 1440"/>
              <a:gd name="T29" fmla="*/ 22 h 267"/>
              <a:gd name="T30" fmla="*/ 1107 w 1440"/>
              <a:gd name="T31" fmla="*/ 27 h 267"/>
              <a:gd name="T32" fmla="*/ 1125 w 1440"/>
              <a:gd name="T33" fmla="*/ 55 h 267"/>
              <a:gd name="T34" fmla="*/ 1159 w 1440"/>
              <a:gd name="T35" fmla="*/ 53 h 267"/>
              <a:gd name="T36" fmla="*/ 1160 w 1440"/>
              <a:gd name="T37" fmla="*/ 57 h 267"/>
              <a:gd name="T38" fmla="*/ 1177 w 1440"/>
              <a:gd name="T39" fmla="*/ 23 h 267"/>
              <a:gd name="T40" fmla="*/ 1207 w 1440"/>
              <a:gd name="T41" fmla="*/ 58 h 267"/>
              <a:gd name="T42" fmla="*/ 1245 w 1440"/>
              <a:gd name="T43" fmla="*/ 27 h 267"/>
              <a:gd name="T44" fmla="*/ 1225 w 1440"/>
              <a:gd name="T45" fmla="*/ 43 h 267"/>
              <a:gd name="T46" fmla="*/ 1271 w 1440"/>
              <a:gd name="T47" fmla="*/ 19 h 267"/>
              <a:gd name="T48" fmla="*/ 1259 w 1440"/>
              <a:gd name="T49" fmla="*/ 32 h 267"/>
              <a:gd name="T50" fmla="*/ 1290 w 1440"/>
              <a:gd name="T51" fmla="*/ 54 h 267"/>
              <a:gd name="T52" fmla="*/ 1310 w 1440"/>
              <a:gd name="T53" fmla="*/ 25 h 267"/>
              <a:gd name="T54" fmla="*/ 1059 w 1440"/>
              <a:gd name="T55" fmla="*/ 110 h 267"/>
              <a:gd name="T56" fmla="*/ 1099 w 1440"/>
              <a:gd name="T57" fmla="*/ 134 h 267"/>
              <a:gd name="T58" fmla="*/ 1120 w 1440"/>
              <a:gd name="T59" fmla="*/ 156 h 267"/>
              <a:gd name="T60" fmla="*/ 1141 w 1440"/>
              <a:gd name="T61" fmla="*/ 123 h 267"/>
              <a:gd name="T62" fmla="*/ 1148 w 1440"/>
              <a:gd name="T63" fmla="*/ 175 h 267"/>
              <a:gd name="T64" fmla="*/ 1184 w 1440"/>
              <a:gd name="T65" fmla="*/ 119 h 267"/>
              <a:gd name="T66" fmla="*/ 1181 w 1440"/>
              <a:gd name="T67" fmla="*/ 153 h 267"/>
              <a:gd name="T68" fmla="*/ 1201 w 1440"/>
              <a:gd name="T69" fmla="*/ 125 h 267"/>
              <a:gd name="T70" fmla="*/ 1230 w 1440"/>
              <a:gd name="T71" fmla="*/ 157 h 267"/>
              <a:gd name="T72" fmla="*/ 1260 w 1440"/>
              <a:gd name="T73" fmla="*/ 154 h 267"/>
              <a:gd name="T74" fmla="*/ 1261 w 1440"/>
              <a:gd name="T75" fmla="*/ 158 h 267"/>
              <a:gd name="T76" fmla="*/ 1284 w 1440"/>
              <a:gd name="T77" fmla="*/ 152 h 267"/>
              <a:gd name="T78" fmla="*/ 1294 w 1440"/>
              <a:gd name="T79" fmla="*/ 123 h 267"/>
              <a:gd name="T80" fmla="*/ 1317 w 1440"/>
              <a:gd name="T81" fmla="*/ 125 h 267"/>
              <a:gd name="T82" fmla="*/ 1342 w 1440"/>
              <a:gd name="T83" fmla="*/ 121 h 267"/>
              <a:gd name="T84" fmla="*/ 1351 w 1440"/>
              <a:gd name="T85" fmla="*/ 112 h 267"/>
              <a:gd name="T86" fmla="*/ 1364 w 1440"/>
              <a:gd name="T87" fmla="*/ 159 h 267"/>
              <a:gd name="T88" fmla="*/ 1399 w 1440"/>
              <a:gd name="T89" fmla="*/ 156 h 267"/>
              <a:gd name="T90" fmla="*/ 1432 w 1440"/>
              <a:gd name="T91" fmla="*/ 120 h 267"/>
              <a:gd name="T92" fmla="*/ 1410 w 1440"/>
              <a:gd name="T93" fmla="*/ 176 h 267"/>
              <a:gd name="T94" fmla="*/ 1076 w 1440"/>
              <a:gd name="T95" fmla="*/ 242 h 267"/>
              <a:gd name="T96" fmla="*/ 1062 w 1440"/>
              <a:gd name="T97" fmla="*/ 225 h 267"/>
              <a:gd name="T98" fmla="*/ 1091 w 1440"/>
              <a:gd name="T99" fmla="*/ 208 h 267"/>
              <a:gd name="T100" fmla="*/ 1112 w 1440"/>
              <a:gd name="T101" fmla="*/ 233 h 267"/>
              <a:gd name="T102" fmla="*/ 1128 w 1440"/>
              <a:gd name="T103" fmla="*/ 224 h 267"/>
              <a:gd name="T104" fmla="*/ 1168 w 1440"/>
              <a:gd name="T105" fmla="*/ 255 h 267"/>
              <a:gd name="T106" fmla="*/ 1154 w 1440"/>
              <a:gd name="T107" fmla="*/ 236 h 267"/>
              <a:gd name="T108" fmla="*/ 1203 w 1440"/>
              <a:gd name="T109" fmla="*/ 256 h 267"/>
              <a:gd name="T110" fmla="*/ 1200 w 1440"/>
              <a:gd name="T111" fmla="*/ 213 h 267"/>
              <a:gd name="T112" fmla="*/ 1227 w 1440"/>
              <a:gd name="T113" fmla="*/ 256 h 267"/>
              <a:gd name="T114" fmla="*/ 1249 w 1440"/>
              <a:gd name="T115" fmla="*/ 260 h 267"/>
              <a:gd name="T116" fmla="*/ 1255 w 1440"/>
              <a:gd name="T117" fmla="*/ 205 h 267"/>
              <a:gd name="T118" fmla="*/ 1297 w 1440"/>
              <a:gd name="T119" fmla="*/ 226 h 267"/>
              <a:gd name="T120" fmla="*/ 1303 w 1440"/>
              <a:gd name="T121" fmla="*/ 243 h 267"/>
              <a:gd name="T122" fmla="*/ 1344 w 1440"/>
              <a:gd name="T123" fmla="*/ 229 h 267"/>
              <a:gd name="T124" fmla="*/ 1328 w 1440"/>
              <a:gd name="T125" fmla="*/ 239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440" h="267">
                <a:moveTo>
                  <a:pt x="17" y="110"/>
                </a:moveTo>
                <a:cubicBezTo>
                  <a:pt x="3" y="110"/>
                  <a:pt x="3" y="110"/>
                  <a:pt x="3" y="110"/>
                </a:cubicBezTo>
                <a:cubicBezTo>
                  <a:pt x="3" y="1"/>
                  <a:pt x="3" y="1"/>
                  <a:pt x="3" y="1"/>
                </a:cubicBezTo>
                <a:cubicBezTo>
                  <a:pt x="81" y="83"/>
                  <a:pt x="81" y="83"/>
                  <a:pt x="81" y="83"/>
                </a:cubicBezTo>
                <a:cubicBezTo>
                  <a:pt x="81" y="7"/>
                  <a:pt x="81" y="7"/>
                  <a:pt x="81" y="7"/>
                </a:cubicBezTo>
                <a:cubicBezTo>
                  <a:pt x="95" y="7"/>
                  <a:pt x="95" y="7"/>
                  <a:pt x="95" y="7"/>
                </a:cubicBezTo>
                <a:cubicBezTo>
                  <a:pt x="95" y="117"/>
                  <a:pt x="95" y="117"/>
                  <a:pt x="95" y="117"/>
                </a:cubicBezTo>
                <a:cubicBezTo>
                  <a:pt x="17" y="35"/>
                  <a:pt x="17" y="35"/>
                  <a:pt x="17" y="35"/>
                </a:cubicBezTo>
                <a:lnTo>
                  <a:pt x="17" y="110"/>
                </a:lnTo>
                <a:close/>
                <a:moveTo>
                  <a:pt x="130" y="110"/>
                </a:moveTo>
                <a:cubicBezTo>
                  <a:pt x="145" y="110"/>
                  <a:pt x="145" y="110"/>
                  <a:pt x="145" y="110"/>
                </a:cubicBezTo>
                <a:cubicBezTo>
                  <a:pt x="178" y="33"/>
                  <a:pt x="178" y="33"/>
                  <a:pt x="178" y="33"/>
                </a:cubicBezTo>
                <a:cubicBezTo>
                  <a:pt x="210" y="109"/>
                  <a:pt x="210" y="109"/>
                  <a:pt x="210" y="109"/>
                </a:cubicBezTo>
                <a:cubicBezTo>
                  <a:pt x="210" y="110"/>
                  <a:pt x="210" y="110"/>
                  <a:pt x="210" y="110"/>
                </a:cubicBezTo>
                <a:cubicBezTo>
                  <a:pt x="225" y="110"/>
                  <a:pt x="225" y="110"/>
                  <a:pt x="225" y="110"/>
                </a:cubicBezTo>
                <a:cubicBezTo>
                  <a:pt x="178" y="0"/>
                  <a:pt x="178" y="0"/>
                  <a:pt x="178" y="0"/>
                </a:cubicBezTo>
                <a:lnTo>
                  <a:pt x="130" y="110"/>
                </a:lnTo>
                <a:close/>
                <a:moveTo>
                  <a:pt x="700" y="110"/>
                </a:moveTo>
                <a:cubicBezTo>
                  <a:pt x="715" y="110"/>
                  <a:pt x="715" y="110"/>
                  <a:pt x="715" y="110"/>
                </a:cubicBezTo>
                <a:cubicBezTo>
                  <a:pt x="748" y="33"/>
                  <a:pt x="748" y="33"/>
                  <a:pt x="748" y="33"/>
                </a:cubicBezTo>
                <a:cubicBezTo>
                  <a:pt x="780" y="109"/>
                  <a:pt x="780" y="109"/>
                  <a:pt x="780" y="109"/>
                </a:cubicBezTo>
                <a:cubicBezTo>
                  <a:pt x="780" y="110"/>
                  <a:pt x="780" y="110"/>
                  <a:pt x="780" y="110"/>
                </a:cubicBezTo>
                <a:cubicBezTo>
                  <a:pt x="795" y="110"/>
                  <a:pt x="795" y="110"/>
                  <a:pt x="795" y="110"/>
                </a:cubicBezTo>
                <a:cubicBezTo>
                  <a:pt x="748" y="0"/>
                  <a:pt x="748" y="0"/>
                  <a:pt x="748" y="0"/>
                </a:cubicBezTo>
                <a:lnTo>
                  <a:pt x="700" y="110"/>
                </a:lnTo>
                <a:close/>
                <a:moveTo>
                  <a:pt x="273" y="110"/>
                </a:moveTo>
                <a:cubicBezTo>
                  <a:pt x="286" y="110"/>
                  <a:pt x="286" y="110"/>
                  <a:pt x="286" y="110"/>
                </a:cubicBezTo>
                <a:cubicBezTo>
                  <a:pt x="286" y="20"/>
                  <a:pt x="286" y="20"/>
                  <a:pt x="286" y="20"/>
                </a:cubicBezTo>
                <a:cubicBezTo>
                  <a:pt x="317" y="20"/>
                  <a:pt x="317" y="20"/>
                  <a:pt x="317" y="20"/>
                </a:cubicBezTo>
                <a:cubicBezTo>
                  <a:pt x="317" y="7"/>
                  <a:pt x="317" y="7"/>
                  <a:pt x="317" y="7"/>
                </a:cubicBezTo>
                <a:cubicBezTo>
                  <a:pt x="242" y="7"/>
                  <a:pt x="242" y="7"/>
                  <a:pt x="242" y="7"/>
                </a:cubicBezTo>
                <a:cubicBezTo>
                  <a:pt x="242" y="20"/>
                  <a:pt x="242" y="20"/>
                  <a:pt x="242" y="20"/>
                </a:cubicBezTo>
                <a:cubicBezTo>
                  <a:pt x="273" y="20"/>
                  <a:pt x="273" y="20"/>
                  <a:pt x="273" y="20"/>
                </a:cubicBezTo>
                <a:lnTo>
                  <a:pt x="273" y="110"/>
                </a:lnTo>
                <a:close/>
                <a:moveTo>
                  <a:pt x="374" y="7"/>
                </a:moveTo>
                <a:cubicBezTo>
                  <a:pt x="360" y="7"/>
                  <a:pt x="360" y="7"/>
                  <a:pt x="360" y="7"/>
                </a:cubicBezTo>
                <a:cubicBezTo>
                  <a:pt x="360" y="110"/>
                  <a:pt x="360" y="110"/>
                  <a:pt x="360" y="110"/>
                </a:cubicBezTo>
                <a:cubicBezTo>
                  <a:pt x="374" y="110"/>
                  <a:pt x="374" y="110"/>
                  <a:pt x="374" y="110"/>
                </a:cubicBezTo>
                <a:lnTo>
                  <a:pt x="374" y="7"/>
                </a:lnTo>
                <a:close/>
                <a:moveTo>
                  <a:pt x="475" y="112"/>
                </a:moveTo>
                <a:cubicBezTo>
                  <a:pt x="445" y="112"/>
                  <a:pt x="421" y="88"/>
                  <a:pt x="421" y="59"/>
                </a:cubicBezTo>
                <a:cubicBezTo>
                  <a:pt x="421" y="29"/>
                  <a:pt x="445" y="5"/>
                  <a:pt x="475" y="5"/>
                </a:cubicBezTo>
                <a:cubicBezTo>
                  <a:pt x="505" y="5"/>
                  <a:pt x="528" y="29"/>
                  <a:pt x="528" y="59"/>
                </a:cubicBezTo>
                <a:cubicBezTo>
                  <a:pt x="528" y="88"/>
                  <a:pt x="505" y="112"/>
                  <a:pt x="475" y="112"/>
                </a:cubicBezTo>
                <a:close/>
                <a:moveTo>
                  <a:pt x="475" y="19"/>
                </a:moveTo>
                <a:cubicBezTo>
                  <a:pt x="453" y="19"/>
                  <a:pt x="435" y="37"/>
                  <a:pt x="435" y="59"/>
                </a:cubicBezTo>
                <a:cubicBezTo>
                  <a:pt x="435" y="81"/>
                  <a:pt x="453" y="99"/>
                  <a:pt x="475" y="99"/>
                </a:cubicBezTo>
                <a:cubicBezTo>
                  <a:pt x="497" y="99"/>
                  <a:pt x="514" y="81"/>
                  <a:pt x="514" y="59"/>
                </a:cubicBezTo>
                <a:cubicBezTo>
                  <a:pt x="514" y="37"/>
                  <a:pt x="497" y="19"/>
                  <a:pt x="475" y="19"/>
                </a:cubicBezTo>
                <a:close/>
                <a:moveTo>
                  <a:pt x="586" y="35"/>
                </a:moveTo>
                <a:cubicBezTo>
                  <a:pt x="664" y="117"/>
                  <a:pt x="664" y="117"/>
                  <a:pt x="664" y="117"/>
                </a:cubicBezTo>
                <a:cubicBezTo>
                  <a:pt x="664" y="7"/>
                  <a:pt x="664" y="7"/>
                  <a:pt x="664" y="7"/>
                </a:cubicBezTo>
                <a:cubicBezTo>
                  <a:pt x="650" y="7"/>
                  <a:pt x="650" y="7"/>
                  <a:pt x="650" y="7"/>
                </a:cubicBezTo>
                <a:cubicBezTo>
                  <a:pt x="650" y="83"/>
                  <a:pt x="650" y="83"/>
                  <a:pt x="650" y="83"/>
                </a:cubicBezTo>
                <a:cubicBezTo>
                  <a:pt x="572" y="1"/>
                  <a:pt x="572" y="1"/>
                  <a:pt x="572" y="1"/>
                </a:cubicBezTo>
                <a:cubicBezTo>
                  <a:pt x="572" y="110"/>
                  <a:pt x="572" y="110"/>
                  <a:pt x="572" y="110"/>
                </a:cubicBezTo>
                <a:cubicBezTo>
                  <a:pt x="586" y="110"/>
                  <a:pt x="586" y="110"/>
                  <a:pt x="586" y="110"/>
                </a:cubicBezTo>
                <a:lnTo>
                  <a:pt x="586" y="35"/>
                </a:lnTo>
                <a:close/>
                <a:moveTo>
                  <a:pt x="843" y="7"/>
                </a:moveTo>
                <a:cubicBezTo>
                  <a:pt x="830" y="7"/>
                  <a:pt x="830" y="7"/>
                  <a:pt x="830" y="7"/>
                </a:cubicBezTo>
                <a:cubicBezTo>
                  <a:pt x="830" y="110"/>
                  <a:pt x="830" y="110"/>
                  <a:pt x="830" y="110"/>
                </a:cubicBezTo>
                <a:cubicBezTo>
                  <a:pt x="885" y="110"/>
                  <a:pt x="885" y="110"/>
                  <a:pt x="885" y="110"/>
                </a:cubicBezTo>
                <a:cubicBezTo>
                  <a:pt x="885" y="97"/>
                  <a:pt x="885" y="97"/>
                  <a:pt x="885" y="97"/>
                </a:cubicBezTo>
                <a:cubicBezTo>
                  <a:pt x="843" y="97"/>
                  <a:pt x="843" y="97"/>
                  <a:pt x="843" y="97"/>
                </a:cubicBezTo>
                <a:lnTo>
                  <a:pt x="843" y="7"/>
                </a:lnTo>
                <a:close/>
                <a:moveTo>
                  <a:pt x="169" y="156"/>
                </a:moveTo>
                <a:cubicBezTo>
                  <a:pt x="139" y="156"/>
                  <a:pt x="116" y="179"/>
                  <a:pt x="116" y="209"/>
                </a:cubicBezTo>
                <a:cubicBezTo>
                  <a:pt x="116" y="240"/>
                  <a:pt x="139" y="262"/>
                  <a:pt x="169" y="262"/>
                </a:cubicBezTo>
                <a:cubicBezTo>
                  <a:pt x="175" y="262"/>
                  <a:pt x="188" y="261"/>
                  <a:pt x="200" y="252"/>
                </a:cubicBezTo>
                <a:cubicBezTo>
                  <a:pt x="200" y="252"/>
                  <a:pt x="200" y="252"/>
                  <a:pt x="200" y="252"/>
                </a:cubicBezTo>
                <a:cubicBezTo>
                  <a:pt x="200" y="234"/>
                  <a:pt x="200" y="234"/>
                  <a:pt x="200" y="234"/>
                </a:cubicBezTo>
                <a:cubicBezTo>
                  <a:pt x="198" y="236"/>
                  <a:pt x="198" y="236"/>
                  <a:pt x="198" y="236"/>
                </a:cubicBezTo>
                <a:cubicBezTo>
                  <a:pt x="196" y="239"/>
                  <a:pt x="192" y="242"/>
                  <a:pt x="187" y="245"/>
                </a:cubicBezTo>
                <a:cubicBezTo>
                  <a:pt x="181" y="247"/>
                  <a:pt x="175" y="249"/>
                  <a:pt x="169" y="249"/>
                </a:cubicBezTo>
                <a:cubicBezTo>
                  <a:pt x="142" y="249"/>
                  <a:pt x="130" y="226"/>
                  <a:pt x="130" y="210"/>
                </a:cubicBezTo>
                <a:cubicBezTo>
                  <a:pt x="130" y="187"/>
                  <a:pt x="147" y="169"/>
                  <a:pt x="169" y="169"/>
                </a:cubicBezTo>
                <a:cubicBezTo>
                  <a:pt x="174" y="169"/>
                  <a:pt x="180" y="170"/>
                  <a:pt x="185" y="173"/>
                </a:cubicBezTo>
                <a:cubicBezTo>
                  <a:pt x="190" y="175"/>
                  <a:pt x="194" y="178"/>
                  <a:pt x="198" y="182"/>
                </a:cubicBezTo>
                <a:cubicBezTo>
                  <a:pt x="200" y="184"/>
                  <a:pt x="200" y="184"/>
                  <a:pt x="200" y="184"/>
                </a:cubicBezTo>
                <a:cubicBezTo>
                  <a:pt x="200" y="166"/>
                  <a:pt x="200" y="166"/>
                  <a:pt x="200" y="166"/>
                </a:cubicBezTo>
                <a:cubicBezTo>
                  <a:pt x="200" y="166"/>
                  <a:pt x="200" y="166"/>
                  <a:pt x="200" y="166"/>
                </a:cubicBezTo>
                <a:cubicBezTo>
                  <a:pt x="191" y="159"/>
                  <a:pt x="181" y="156"/>
                  <a:pt x="169" y="156"/>
                </a:cubicBezTo>
                <a:close/>
                <a:moveTo>
                  <a:pt x="437" y="209"/>
                </a:moveTo>
                <a:cubicBezTo>
                  <a:pt x="437" y="225"/>
                  <a:pt x="431" y="238"/>
                  <a:pt x="419" y="249"/>
                </a:cubicBezTo>
                <a:cubicBezTo>
                  <a:pt x="409" y="257"/>
                  <a:pt x="399" y="261"/>
                  <a:pt x="382" y="261"/>
                </a:cubicBezTo>
                <a:cubicBezTo>
                  <a:pt x="360" y="261"/>
                  <a:pt x="360" y="261"/>
                  <a:pt x="360" y="261"/>
                </a:cubicBezTo>
                <a:cubicBezTo>
                  <a:pt x="360" y="157"/>
                  <a:pt x="360" y="157"/>
                  <a:pt x="360" y="157"/>
                </a:cubicBezTo>
                <a:cubicBezTo>
                  <a:pt x="382" y="157"/>
                  <a:pt x="382" y="157"/>
                  <a:pt x="382" y="157"/>
                </a:cubicBezTo>
                <a:cubicBezTo>
                  <a:pt x="393" y="157"/>
                  <a:pt x="407" y="159"/>
                  <a:pt x="420" y="170"/>
                </a:cubicBezTo>
                <a:cubicBezTo>
                  <a:pt x="426" y="175"/>
                  <a:pt x="437" y="187"/>
                  <a:pt x="437" y="209"/>
                </a:cubicBezTo>
                <a:close/>
                <a:moveTo>
                  <a:pt x="423" y="209"/>
                </a:moveTo>
                <a:cubicBezTo>
                  <a:pt x="423" y="186"/>
                  <a:pt x="407" y="171"/>
                  <a:pt x="382" y="171"/>
                </a:cubicBezTo>
                <a:cubicBezTo>
                  <a:pt x="374" y="171"/>
                  <a:pt x="374" y="171"/>
                  <a:pt x="374" y="171"/>
                </a:cubicBezTo>
                <a:cubicBezTo>
                  <a:pt x="374" y="247"/>
                  <a:pt x="374" y="247"/>
                  <a:pt x="374" y="247"/>
                </a:cubicBezTo>
                <a:cubicBezTo>
                  <a:pt x="382" y="247"/>
                  <a:pt x="382" y="247"/>
                  <a:pt x="382" y="247"/>
                </a:cubicBezTo>
                <a:cubicBezTo>
                  <a:pt x="390" y="247"/>
                  <a:pt x="401" y="246"/>
                  <a:pt x="410" y="239"/>
                </a:cubicBezTo>
                <a:cubicBezTo>
                  <a:pt x="416" y="234"/>
                  <a:pt x="423" y="224"/>
                  <a:pt x="423" y="209"/>
                </a:cubicBezTo>
                <a:close/>
                <a:moveTo>
                  <a:pt x="479" y="261"/>
                </a:moveTo>
                <a:cubicBezTo>
                  <a:pt x="541" y="261"/>
                  <a:pt x="541" y="261"/>
                  <a:pt x="541" y="261"/>
                </a:cubicBezTo>
                <a:cubicBezTo>
                  <a:pt x="541" y="247"/>
                  <a:pt x="541" y="247"/>
                  <a:pt x="541" y="247"/>
                </a:cubicBezTo>
                <a:cubicBezTo>
                  <a:pt x="493" y="247"/>
                  <a:pt x="493" y="247"/>
                  <a:pt x="493" y="247"/>
                </a:cubicBezTo>
                <a:cubicBezTo>
                  <a:pt x="493" y="211"/>
                  <a:pt x="493" y="211"/>
                  <a:pt x="493" y="211"/>
                </a:cubicBezTo>
                <a:cubicBezTo>
                  <a:pt x="535" y="211"/>
                  <a:pt x="535" y="211"/>
                  <a:pt x="535" y="211"/>
                </a:cubicBezTo>
                <a:cubicBezTo>
                  <a:pt x="535" y="198"/>
                  <a:pt x="535" y="198"/>
                  <a:pt x="535" y="198"/>
                </a:cubicBezTo>
                <a:cubicBezTo>
                  <a:pt x="493" y="198"/>
                  <a:pt x="493" y="198"/>
                  <a:pt x="493" y="198"/>
                </a:cubicBezTo>
                <a:cubicBezTo>
                  <a:pt x="493" y="171"/>
                  <a:pt x="493" y="171"/>
                  <a:pt x="493" y="171"/>
                </a:cubicBezTo>
                <a:cubicBezTo>
                  <a:pt x="541" y="171"/>
                  <a:pt x="541" y="171"/>
                  <a:pt x="541" y="171"/>
                </a:cubicBezTo>
                <a:cubicBezTo>
                  <a:pt x="541" y="157"/>
                  <a:pt x="541" y="157"/>
                  <a:pt x="541" y="157"/>
                </a:cubicBezTo>
                <a:cubicBezTo>
                  <a:pt x="479" y="157"/>
                  <a:pt x="479" y="157"/>
                  <a:pt x="479" y="157"/>
                </a:cubicBezTo>
                <a:lnTo>
                  <a:pt x="479" y="261"/>
                </a:lnTo>
                <a:close/>
                <a:moveTo>
                  <a:pt x="805" y="261"/>
                </a:moveTo>
                <a:cubicBezTo>
                  <a:pt x="866" y="261"/>
                  <a:pt x="866" y="261"/>
                  <a:pt x="866" y="261"/>
                </a:cubicBezTo>
                <a:cubicBezTo>
                  <a:pt x="866" y="247"/>
                  <a:pt x="866" y="247"/>
                  <a:pt x="866" y="247"/>
                </a:cubicBezTo>
                <a:cubicBezTo>
                  <a:pt x="819" y="247"/>
                  <a:pt x="819" y="247"/>
                  <a:pt x="819" y="247"/>
                </a:cubicBezTo>
                <a:cubicBezTo>
                  <a:pt x="819" y="211"/>
                  <a:pt x="819" y="211"/>
                  <a:pt x="819" y="211"/>
                </a:cubicBezTo>
                <a:cubicBezTo>
                  <a:pt x="860" y="211"/>
                  <a:pt x="860" y="211"/>
                  <a:pt x="860" y="211"/>
                </a:cubicBezTo>
                <a:cubicBezTo>
                  <a:pt x="860" y="198"/>
                  <a:pt x="860" y="198"/>
                  <a:pt x="860" y="198"/>
                </a:cubicBezTo>
                <a:cubicBezTo>
                  <a:pt x="819" y="198"/>
                  <a:pt x="819" y="198"/>
                  <a:pt x="819" y="198"/>
                </a:cubicBezTo>
                <a:cubicBezTo>
                  <a:pt x="819" y="171"/>
                  <a:pt x="819" y="171"/>
                  <a:pt x="819" y="171"/>
                </a:cubicBezTo>
                <a:cubicBezTo>
                  <a:pt x="866" y="171"/>
                  <a:pt x="866" y="171"/>
                  <a:pt x="866" y="171"/>
                </a:cubicBezTo>
                <a:cubicBezTo>
                  <a:pt x="866" y="157"/>
                  <a:pt x="866" y="157"/>
                  <a:pt x="866" y="157"/>
                </a:cubicBezTo>
                <a:cubicBezTo>
                  <a:pt x="805" y="157"/>
                  <a:pt x="805" y="157"/>
                  <a:pt x="805" y="157"/>
                </a:cubicBezTo>
                <a:lnTo>
                  <a:pt x="805" y="261"/>
                </a:lnTo>
                <a:close/>
                <a:moveTo>
                  <a:pt x="634" y="235"/>
                </a:moveTo>
                <a:cubicBezTo>
                  <a:pt x="595" y="149"/>
                  <a:pt x="595" y="149"/>
                  <a:pt x="595" y="149"/>
                </a:cubicBezTo>
                <a:cubicBezTo>
                  <a:pt x="578" y="261"/>
                  <a:pt x="578" y="261"/>
                  <a:pt x="578" y="261"/>
                </a:cubicBezTo>
                <a:cubicBezTo>
                  <a:pt x="592" y="261"/>
                  <a:pt x="592" y="261"/>
                  <a:pt x="592" y="261"/>
                </a:cubicBezTo>
                <a:cubicBezTo>
                  <a:pt x="601" y="194"/>
                  <a:pt x="601" y="194"/>
                  <a:pt x="601" y="194"/>
                </a:cubicBezTo>
                <a:cubicBezTo>
                  <a:pt x="634" y="267"/>
                  <a:pt x="634" y="267"/>
                  <a:pt x="634" y="267"/>
                </a:cubicBezTo>
                <a:cubicBezTo>
                  <a:pt x="668" y="194"/>
                  <a:pt x="668" y="194"/>
                  <a:pt x="668" y="194"/>
                </a:cubicBezTo>
                <a:cubicBezTo>
                  <a:pt x="677" y="261"/>
                  <a:pt x="677" y="261"/>
                  <a:pt x="677" y="261"/>
                </a:cubicBezTo>
                <a:cubicBezTo>
                  <a:pt x="691" y="261"/>
                  <a:pt x="691" y="261"/>
                  <a:pt x="691" y="261"/>
                </a:cubicBezTo>
                <a:cubicBezTo>
                  <a:pt x="674" y="148"/>
                  <a:pt x="674" y="148"/>
                  <a:pt x="674" y="148"/>
                </a:cubicBezTo>
                <a:lnTo>
                  <a:pt x="634" y="235"/>
                </a:lnTo>
                <a:close/>
                <a:moveTo>
                  <a:pt x="737" y="261"/>
                </a:moveTo>
                <a:cubicBezTo>
                  <a:pt x="751" y="261"/>
                  <a:pt x="751" y="261"/>
                  <a:pt x="751" y="261"/>
                </a:cubicBezTo>
                <a:cubicBezTo>
                  <a:pt x="751" y="157"/>
                  <a:pt x="751" y="157"/>
                  <a:pt x="751" y="157"/>
                </a:cubicBezTo>
                <a:cubicBezTo>
                  <a:pt x="737" y="157"/>
                  <a:pt x="737" y="157"/>
                  <a:pt x="737" y="157"/>
                </a:cubicBezTo>
                <a:lnTo>
                  <a:pt x="737" y="261"/>
                </a:lnTo>
                <a:close/>
                <a:moveTo>
                  <a:pt x="955" y="211"/>
                </a:moveTo>
                <a:cubicBezTo>
                  <a:pt x="950" y="207"/>
                  <a:pt x="945" y="204"/>
                  <a:pt x="939" y="201"/>
                </a:cubicBezTo>
                <a:cubicBezTo>
                  <a:pt x="929" y="197"/>
                  <a:pt x="929" y="197"/>
                  <a:pt x="929" y="197"/>
                </a:cubicBezTo>
                <a:cubicBezTo>
                  <a:pt x="925" y="195"/>
                  <a:pt x="922" y="194"/>
                  <a:pt x="919" y="191"/>
                </a:cubicBezTo>
                <a:cubicBezTo>
                  <a:pt x="916" y="189"/>
                  <a:pt x="916" y="187"/>
                  <a:pt x="916" y="183"/>
                </a:cubicBezTo>
                <a:cubicBezTo>
                  <a:pt x="916" y="175"/>
                  <a:pt x="922" y="169"/>
                  <a:pt x="931" y="169"/>
                </a:cubicBezTo>
                <a:cubicBezTo>
                  <a:pt x="936" y="169"/>
                  <a:pt x="940" y="171"/>
                  <a:pt x="942" y="172"/>
                </a:cubicBezTo>
                <a:cubicBezTo>
                  <a:pt x="944" y="174"/>
                  <a:pt x="946" y="177"/>
                  <a:pt x="947" y="179"/>
                </a:cubicBezTo>
                <a:cubicBezTo>
                  <a:pt x="948" y="181"/>
                  <a:pt x="948" y="181"/>
                  <a:pt x="948" y="181"/>
                </a:cubicBezTo>
                <a:cubicBezTo>
                  <a:pt x="959" y="173"/>
                  <a:pt x="959" y="173"/>
                  <a:pt x="959" y="173"/>
                </a:cubicBezTo>
                <a:cubicBezTo>
                  <a:pt x="958" y="172"/>
                  <a:pt x="958" y="172"/>
                  <a:pt x="958" y="172"/>
                </a:cubicBezTo>
                <a:cubicBezTo>
                  <a:pt x="956" y="167"/>
                  <a:pt x="952" y="163"/>
                  <a:pt x="948" y="161"/>
                </a:cubicBezTo>
                <a:cubicBezTo>
                  <a:pt x="943" y="157"/>
                  <a:pt x="938" y="156"/>
                  <a:pt x="931" y="156"/>
                </a:cubicBezTo>
                <a:cubicBezTo>
                  <a:pt x="914" y="156"/>
                  <a:pt x="902" y="167"/>
                  <a:pt x="902" y="183"/>
                </a:cubicBezTo>
                <a:cubicBezTo>
                  <a:pt x="902" y="190"/>
                  <a:pt x="904" y="195"/>
                  <a:pt x="909" y="200"/>
                </a:cubicBezTo>
                <a:cubicBezTo>
                  <a:pt x="913" y="205"/>
                  <a:pt x="918" y="207"/>
                  <a:pt x="922" y="209"/>
                </a:cubicBezTo>
                <a:cubicBezTo>
                  <a:pt x="932" y="213"/>
                  <a:pt x="932" y="213"/>
                  <a:pt x="932" y="213"/>
                </a:cubicBezTo>
                <a:cubicBezTo>
                  <a:pt x="937" y="215"/>
                  <a:pt x="941" y="217"/>
                  <a:pt x="944" y="220"/>
                </a:cubicBezTo>
                <a:cubicBezTo>
                  <a:pt x="947" y="223"/>
                  <a:pt x="948" y="226"/>
                  <a:pt x="948" y="231"/>
                </a:cubicBezTo>
                <a:cubicBezTo>
                  <a:pt x="948" y="240"/>
                  <a:pt x="942" y="249"/>
                  <a:pt x="929" y="249"/>
                </a:cubicBezTo>
                <a:cubicBezTo>
                  <a:pt x="924" y="249"/>
                  <a:pt x="919" y="247"/>
                  <a:pt x="916" y="244"/>
                </a:cubicBezTo>
                <a:cubicBezTo>
                  <a:pt x="913" y="241"/>
                  <a:pt x="911" y="236"/>
                  <a:pt x="910" y="232"/>
                </a:cubicBezTo>
                <a:cubicBezTo>
                  <a:pt x="910" y="230"/>
                  <a:pt x="910" y="230"/>
                  <a:pt x="910" y="230"/>
                </a:cubicBezTo>
                <a:cubicBezTo>
                  <a:pt x="896" y="234"/>
                  <a:pt x="896" y="234"/>
                  <a:pt x="896" y="234"/>
                </a:cubicBezTo>
                <a:cubicBezTo>
                  <a:pt x="897" y="235"/>
                  <a:pt x="897" y="235"/>
                  <a:pt x="897" y="235"/>
                </a:cubicBezTo>
                <a:cubicBezTo>
                  <a:pt x="898" y="243"/>
                  <a:pt x="902" y="249"/>
                  <a:pt x="906" y="254"/>
                </a:cubicBezTo>
                <a:cubicBezTo>
                  <a:pt x="912" y="260"/>
                  <a:pt x="920" y="262"/>
                  <a:pt x="929" y="262"/>
                </a:cubicBezTo>
                <a:cubicBezTo>
                  <a:pt x="948" y="262"/>
                  <a:pt x="962" y="249"/>
                  <a:pt x="962" y="230"/>
                </a:cubicBezTo>
                <a:cubicBezTo>
                  <a:pt x="962" y="222"/>
                  <a:pt x="960" y="216"/>
                  <a:pt x="955" y="211"/>
                </a:cubicBezTo>
                <a:close/>
                <a:moveTo>
                  <a:pt x="0" y="261"/>
                </a:moveTo>
                <a:cubicBezTo>
                  <a:pt x="15" y="261"/>
                  <a:pt x="15" y="261"/>
                  <a:pt x="15" y="261"/>
                </a:cubicBezTo>
                <a:cubicBezTo>
                  <a:pt x="48" y="184"/>
                  <a:pt x="48" y="184"/>
                  <a:pt x="48" y="184"/>
                </a:cubicBezTo>
                <a:cubicBezTo>
                  <a:pt x="79" y="260"/>
                  <a:pt x="79" y="260"/>
                  <a:pt x="79" y="260"/>
                </a:cubicBezTo>
                <a:cubicBezTo>
                  <a:pt x="80" y="261"/>
                  <a:pt x="80" y="261"/>
                  <a:pt x="80" y="261"/>
                </a:cubicBezTo>
                <a:cubicBezTo>
                  <a:pt x="95" y="261"/>
                  <a:pt x="95" y="261"/>
                  <a:pt x="95" y="261"/>
                </a:cubicBezTo>
                <a:cubicBezTo>
                  <a:pt x="48" y="151"/>
                  <a:pt x="48" y="151"/>
                  <a:pt x="48" y="151"/>
                </a:cubicBezTo>
                <a:lnTo>
                  <a:pt x="0" y="261"/>
                </a:lnTo>
                <a:close/>
                <a:moveTo>
                  <a:pt x="229" y="261"/>
                </a:moveTo>
                <a:cubicBezTo>
                  <a:pt x="244" y="261"/>
                  <a:pt x="244" y="261"/>
                  <a:pt x="244" y="261"/>
                </a:cubicBezTo>
                <a:cubicBezTo>
                  <a:pt x="277" y="184"/>
                  <a:pt x="277" y="184"/>
                  <a:pt x="277" y="184"/>
                </a:cubicBezTo>
                <a:cubicBezTo>
                  <a:pt x="309" y="260"/>
                  <a:pt x="309" y="260"/>
                  <a:pt x="309" y="260"/>
                </a:cubicBezTo>
                <a:cubicBezTo>
                  <a:pt x="309" y="261"/>
                  <a:pt x="309" y="261"/>
                  <a:pt x="309" y="261"/>
                </a:cubicBezTo>
                <a:cubicBezTo>
                  <a:pt x="324" y="261"/>
                  <a:pt x="324" y="261"/>
                  <a:pt x="324" y="261"/>
                </a:cubicBezTo>
                <a:cubicBezTo>
                  <a:pt x="277" y="151"/>
                  <a:pt x="277" y="151"/>
                  <a:pt x="277" y="151"/>
                </a:cubicBezTo>
                <a:lnTo>
                  <a:pt x="229" y="261"/>
                </a:lnTo>
                <a:close/>
                <a:moveTo>
                  <a:pt x="1071" y="11"/>
                </a:moveTo>
                <a:cubicBezTo>
                  <a:pt x="1071" y="18"/>
                  <a:pt x="1071" y="18"/>
                  <a:pt x="1071" y="18"/>
                </a:cubicBezTo>
                <a:cubicBezTo>
                  <a:pt x="1075" y="18"/>
                  <a:pt x="1075" y="18"/>
                  <a:pt x="1075" y="18"/>
                </a:cubicBezTo>
                <a:cubicBezTo>
                  <a:pt x="1077" y="9"/>
                  <a:pt x="1077" y="9"/>
                  <a:pt x="1077" y="9"/>
                </a:cubicBezTo>
                <a:cubicBezTo>
                  <a:pt x="1076" y="8"/>
                  <a:pt x="1074" y="7"/>
                  <a:pt x="1072" y="6"/>
                </a:cubicBezTo>
                <a:cubicBezTo>
                  <a:pt x="1070" y="6"/>
                  <a:pt x="1067" y="6"/>
                  <a:pt x="1064" y="6"/>
                </a:cubicBezTo>
                <a:cubicBezTo>
                  <a:pt x="1061" y="6"/>
                  <a:pt x="1058" y="6"/>
                  <a:pt x="1056" y="7"/>
                </a:cubicBezTo>
                <a:cubicBezTo>
                  <a:pt x="1053" y="9"/>
                  <a:pt x="1051" y="10"/>
                  <a:pt x="1049" y="12"/>
                </a:cubicBezTo>
                <a:cubicBezTo>
                  <a:pt x="1048" y="14"/>
                  <a:pt x="1047" y="17"/>
                  <a:pt x="1047" y="20"/>
                </a:cubicBezTo>
                <a:cubicBezTo>
                  <a:pt x="1047" y="22"/>
                  <a:pt x="1048" y="24"/>
                  <a:pt x="1049" y="26"/>
                </a:cubicBezTo>
                <a:cubicBezTo>
                  <a:pt x="1050" y="28"/>
                  <a:pt x="1051" y="30"/>
                  <a:pt x="1053" y="31"/>
                </a:cubicBezTo>
                <a:cubicBezTo>
                  <a:pt x="1055" y="32"/>
                  <a:pt x="1057" y="34"/>
                  <a:pt x="1059" y="35"/>
                </a:cubicBezTo>
                <a:cubicBezTo>
                  <a:pt x="1062" y="37"/>
                  <a:pt x="1064" y="39"/>
                  <a:pt x="1066" y="40"/>
                </a:cubicBezTo>
                <a:cubicBezTo>
                  <a:pt x="1067" y="42"/>
                  <a:pt x="1068" y="44"/>
                  <a:pt x="1068" y="47"/>
                </a:cubicBezTo>
                <a:cubicBezTo>
                  <a:pt x="1068" y="49"/>
                  <a:pt x="1067" y="52"/>
                  <a:pt x="1065" y="53"/>
                </a:cubicBezTo>
                <a:cubicBezTo>
                  <a:pt x="1062" y="55"/>
                  <a:pt x="1060" y="56"/>
                  <a:pt x="1057" y="56"/>
                </a:cubicBezTo>
                <a:cubicBezTo>
                  <a:pt x="1055" y="56"/>
                  <a:pt x="1053" y="56"/>
                  <a:pt x="1052" y="55"/>
                </a:cubicBezTo>
                <a:cubicBezTo>
                  <a:pt x="1050" y="55"/>
                  <a:pt x="1049" y="54"/>
                  <a:pt x="1048" y="54"/>
                </a:cubicBezTo>
                <a:cubicBezTo>
                  <a:pt x="1048" y="46"/>
                  <a:pt x="1048" y="46"/>
                  <a:pt x="1048" y="46"/>
                </a:cubicBezTo>
                <a:cubicBezTo>
                  <a:pt x="1044" y="46"/>
                  <a:pt x="1044" y="46"/>
                  <a:pt x="1044" y="46"/>
                </a:cubicBezTo>
                <a:cubicBezTo>
                  <a:pt x="1042" y="56"/>
                  <a:pt x="1042" y="56"/>
                  <a:pt x="1042" y="56"/>
                </a:cubicBezTo>
                <a:cubicBezTo>
                  <a:pt x="1043" y="57"/>
                  <a:pt x="1045" y="58"/>
                  <a:pt x="1048" y="58"/>
                </a:cubicBezTo>
                <a:cubicBezTo>
                  <a:pt x="1051" y="59"/>
                  <a:pt x="1054" y="59"/>
                  <a:pt x="1057" y="59"/>
                </a:cubicBezTo>
                <a:cubicBezTo>
                  <a:pt x="1060" y="59"/>
                  <a:pt x="1063" y="59"/>
                  <a:pt x="1066" y="57"/>
                </a:cubicBezTo>
                <a:cubicBezTo>
                  <a:pt x="1069" y="56"/>
                  <a:pt x="1071" y="54"/>
                  <a:pt x="1073" y="52"/>
                </a:cubicBezTo>
                <a:cubicBezTo>
                  <a:pt x="1074" y="50"/>
                  <a:pt x="1075" y="47"/>
                  <a:pt x="1075" y="44"/>
                </a:cubicBezTo>
                <a:cubicBezTo>
                  <a:pt x="1075" y="42"/>
                  <a:pt x="1074" y="40"/>
                  <a:pt x="1073" y="38"/>
                </a:cubicBezTo>
                <a:cubicBezTo>
                  <a:pt x="1072" y="36"/>
                  <a:pt x="1071" y="35"/>
                  <a:pt x="1069" y="34"/>
                </a:cubicBezTo>
                <a:cubicBezTo>
                  <a:pt x="1068" y="32"/>
                  <a:pt x="1066" y="31"/>
                  <a:pt x="1064" y="29"/>
                </a:cubicBezTo>
                <a:cubicBezTo>
                  <a:pt x="1060" y="27"/>
                  <a:pt x="1058" y="25"/>
                  <a:pt x="1056" y="24"/>
                </a:cubicBezTo>
                <a:cubicBezTo>
                  <a:pt x="1055" y="22"/>
                  <a:pt x="1054" y="20"/>
                  <a:pt x="1054" y="17"/>
                </a:cubicBezTo>
                <a:cubicBezTo>
                  <a:pt x="1054" y="15"/>
                  <a:pt x="1055" y="13"/>
                  <a:pt x="1057" y="11"/>
                </a:cubicBezTo>
                <a:cubicBezTo>
                  <a:pt x="1059" y="10"/>
                  <a:pt x="1061" y="9"/>
                  <a:pt x="1064" y="9"/>
                </a:cubicBezTo>
                <a:cubicBezTo>
                  <a:pt x="1065" y="9"/>
                  <a:pt x="1067" y="9"/>
                  <a:pt x="1068" y="10"/>
                </a:cubicBezTo>
                <a:cubicBezTo>
                  <a:pt x="1069" y="10"/>
                  <a:pt x="1070" y="10"/>
                  <a:pt x="1071" y="11"/>
                </a:cubicBezTo>
                <a:close/>
                <a:moveTo>
                  <a:pt x="1107" y="27"/>
                </a:moveTo>
                <a:cubicBezTo>
                  <a:pt x="1108" y="27"/>
                  <a:pt x="1108" y="27"/>
                  <a:pt x="1108" y="27"/>
                </a:cubicBezTo>
                <a:cubicBezTo>
                  <a:pt x="1110" y="20"/>
                  <a:pt x="1110" y="20"/>
                  <a:pt x="1110" y="20"/>
                </a:cubicBezTo>
                <a:cubicBezTo>
                  <a:pt x="1109" y="20"/>
                  <a:pt x="1108" y="19"/>
                  <a:pt x="1107" y="19"/>
                </a:cubicBezTo>
                <a:cubicBezTo>
                  <a:pt x="1105" y="19"/>
                  <a:pt x="1104" y="19"/>
                  <a:pt x="1102" y="19"/>
                </a:cubicBezTo>
                <a:cubicBezTo>
                  <a:pt x="1098" y="19"/>
                  <a:pt x="1094" y="20"/>
                  <a:pt x="1091" y="22"/>
                </a:cubicBezTo>
                <a:cubicBezTo>
                  <a:pt x="1088" y="25"/>
                  <a:pt x="1086" y="28"/>
                  <a:pt x="1084" y="32"/>
                </a:cubicBezTo>
                <a:cubicBezTo>
                  <a:pt x="1083" y="36"/>
                  <a:pt x="1082" y="40"/>
                  <a:pt x="1082" y="43"/>
                </a:cubicBezTo>
                <a:cubicBezTo>
                  <a:pt x="1082" y="48"/>
                  <a:pt x="1083" y="52"/>
                  <a:pt x="1085" y="55"/>
                </a:cubicBezTo>
                <a:cubicBezTo>
                  <a:pt x="1087" y="58"/>
                  <a:pt x="1091" y="59"/>
                  <a:pt x="1094" y="59"/>
                </a:cubicBezTo>
                <a:cubicBezTo>
                  <a:pt x="1098" y="59"/>
                  <a:pt x="1100" y="59"/>
                  <a:pt x="1102" y="57"/>
                </a:cubicBezTo>
                <a:cubicBezTo>
                  <a:pt x="1105" y="56"/>
                  <a:pt x="1106" y="54"/>
                  <a:pt x="1108" y="53"/>
                </a:cubicBezTo>
                <a:cubicBezTo>
                  <a:pt x="1106" y="50"/>
                  <a:pt x="1106" y="50"/>
                  <a:pt x="1106" y="50"/>
                </a:cubicBezTo>
                <a:cubicBezTo>
                  <a:pt x="1105" y="52"/>
                  <a:pt x="1103" y="53"/>
                  <a:pt x="1102" y="54"/>
                </a:cubicBezTo>
                <a:cubicBezTo>
                  <a:pt x="1100" y="54"/>
                  <a:pt x="1099" y="55"/>
                  <a:pt x="1097" y="55"/>
                </a:cubicBezTo>
                <a:cubicBezTo>
                  <a:pt x="1094" y="55"/>
                  <a:pt x="1092" y="54"/>
                  <a:pt x="1091" y="52"/>
                </a:cubicBezTo>
                <a:cubicBezTo>
                  <a:pt x="1090" y="50"/>
                  <a:pt x="1089" y="47"/>
                  <a:pt x="1089" y="43"/>
                </a:cubicBezTo>
                <a:cubicBezTo>
                  <a:pt x="1089" y="39"/>
                  <a:pt x="1090" y="35"/>
                  <a:pt x="1091" y="32"/>
                </a:cubicBezTo>
                <a:cubicBezTo>
                  <a:pt x="1092" y="30"/>
                  <a:pt x="1093" y="27"/>
                  <a:pt x="1095" y="26"/>
                </a:cubicBezTo>
                <a:cubicBezTo>
                  <a:pt x="1097" y="24"/>
                  <a:pt x="1099" y="23"/>
                  <a:pt x="1101" y="23"/>
                </a:cubicBezTo>
                <a:cubicBezTo>
                  <a:pt x="1102" y="23"/>
                  <a:pt x="1105" y="24"/>
                  <a:pt x="1107" y="27"/>
                </a:cubicBezTo>
                <a:close/>
                <a:moveTo>
                  <a:pt x="1124" y="52"/>
                </a:moveTo>
                <a:cubicBezTo>
                  <a:pt x="1129" y="19"/>
                  <a:pt x="1129" y="19"/>
                  <a:pt x="1129" y="19"/>
                </a:cubicBezTo>
                <a:cubicBezTo>
                  <a:pt x="1128" y="19"/>
                  <a:pt x="1128" y="19"/>
                  <a:pt x="1128" y="19"/>
                </a:cubicBezTo>
                <a:cubicBezTo>
                  <a:pt x="1118" y="20"/>
                  <a:pt x="1118" y="20"/>
                  <a:pt x="1118" y="20"/>
                </a:cubicBezTo>
                <a:cubicBezTo>
                  <a:pt x="1117" y="23"/>
                  <a:pt x="1117" y="23"/>
                  <a:pt x="1117" y="23"/>
                </a:cubicBezTo>
                <a:cubicBezTo>
                  <a:pt x="1122" y="24"/>
                  <a:pt x="1122" y="24"/>
                  <a:pt x="1122" y="24"/>
                </a:cubicBezTo>
                <a:cubicBezTo>
                  <a:pt x="1121" y="31"/>
                  <a:pt x="1120" y="37"/>
                  <a:pt x="1119" y="41"/>
                </a:cubicBezTo>
                <a:cubicBezTo>
                  <a:pt x="1118" y="49"/>
                  <a:pt x="1117" y="54"/>
                  <a:pt x="1117" y="55"/>
                </a:cubicBezTo>
                <a:cubicBezTo>
                  <a:pt x="1117" y="56"/>
                  <a:pt x="1118" y="57"/>
                  <a:pt x="1118" y="58"/>
                </a:cubicBezTo>
                <a:cubicBezTo>
                  <a:pt x="1119" y="59"/>
                  <a:pt x="1120" y="59"/>
                  <a:pt x="1122" y="59"/>
                </a:cubicBezTo>
                <a:cubicBezTo>
                  <a:pt x="1124" y="59"/>
                  <a:pt x="1125" y="59"/>
                  <a:pt x="1127" y="58"/>
                </a:cubicBezTo>
                <a:cubicBezTo>
                  <a:pt x="1128" y="57"/>
                  <a:pt x="1129" y="55"/>
                  <a:pt x="1130" y="54"/>
                </a:cubicBezTo>
                <a:cubicBezTo>
                  <a:pt x="1129" y="53"/>
                  <a:pt x="1129" y="53"/>
                  <a:pt x="1129" y="53"/>
                </a:cubicBezTo>
                <a:cubicBezTo>
                  <a:pt x="1128" y="54"/>
                  <a:pt x="1128" y="54"/>
                  <a:pt x="1127" y="54"/>
                </a:cubicBezTo>
                <a:cubicBezTo>
                  <a:pt x="1126" y="55"/>
                  <a:pt x="1126" y="55"/>
                  <a:pt x="1125" y="55"/>
                </a:cubicBezTo>
                <a:cubicBezTo>
                  <a:pt x="1125" y="55"/>
                  <a:pt x="1125" y="55"/>
                  <a:pt x="1125" y="54"/>
                </a:cubicBezTo>
                <a:cubicBezTo>
                  <a:pt x="1124" y="54"/>
                  <a:pt x="1124" y="54"/>
                  <a:pt x="1124" y="53"/>
                </a:cubicBezTo>
                <a:lnTo>
                  <a:pt x="1124" y="52"/>
                </a:lnTo>
                <a:close/>
                <a:moveTo>
                  <a:pt x="1127" y="11"/>
                </a:moveTo>
                <a:cubicBezTo>
                  <a:pt x="1128" y="11"/>
                  <a:pt x="1129" y="11"/>
                  <a:pt x="1130" y="10"/>
                </a:cubicBezTo>
                <a:cubicBezTo>
                  <a:pt x="1131" y="9"/>
                  <a:pt x="1131" y="7"/>
                  <a:pt x="1131" y="6"/>
                </a:cubicBezTo>
                <a:cubicBezTo>
                  <a:pt x="1131" y="5"/>
                  <a:pt x="1131" y="4"/>
                  <a:pt x="1130" y="3"/>
                </a:cubicBezTo>
                <a:cubicBezTo>
                  <a:pt x="1130" y="3"/>
                  <a:pt x="1129" y="2"/>
                  <a:pt x="1128" y="2"/>
                </a:cubicBezTo>
                <a:cubicBezTo>
                  <a:pt x="1126" y="2"/>
                  <a:pt x="1125" y="3"/>
                  <a:pt x="1124" y="4"/>
                </a:cubicBezTo>
                <a:cubicBezTo>
                  <a:pt x="1123" y="5"/>
                  <a:pt x="1123" y="6"/>
                  <a:pt x="1123" y="7"/>
                </a:cubicBezTo>
                <a:cubicBezTo>
                  <a:pt x="1123" y="8"/>
                  <a:pt x="1123" y="9"/>
                  <a:pt x="1124" y="10"/>
                </a:cubicBezTo>
                <a:cubicBezTo>
                  <a:pt x="1125" y="11"/>
                  <a:pt x="1126" y="11"/>
                  <a:pt x="1127" y="11"/>
                </a:cubicBezTo>
                <a:close/>
                <a:moveTo>
                  <a:pt x="1166" y="52"/>
                </a:moveTo>
                <a:cubicBezTo>
                  <a:pt x="1165" y="49"/>
                  <a:pt x="1165" y="49"/>
                  <a:pt x="1165" y="49"/>
                </a:cubicBezTo>
                <a:cubicBezTo>
                  <a:pt x="1163" y="51"/>
                  <a:pt x="1161" y="52"/>
                  <a:pt x="1159" y="53"/>
                </a:cubicBezTo>
                <a:cubicBezTo>
                  <a:pt x="1157" y="54"/>
                  <a:pt x="1155" y="55"/>
                  <a:pt x="1153" y="55"/>
                </a:cubicBezTo>
                <a:cubicBezTo>
                  <a:pt x="1150" y="55"/>
                  <a:pt x="1148" y="54"/>
                  <a:pt x="1147" y="51"/>
                </a:cubicBezTo>
                <a:cubicBezTo>
                  <a:pt x="1145" y="49"/>
                  <a:pt x="1145" y="46"/>
                  <a:pt x="1145" y="43"/>
                </a:cubicBezTo>
                <a:cubicBezTo>
                  <a:pt x="1148" y="43"/>
                  <a:pt x="1151" y="42"/>
                  <a:pt x="1155" y="41"/>
                </a:cubicBezTo>
                <a:cubicBezTo>
                  <a:pt x="1158" y="40"/>
                  <a:pt x="1162" y="38"/>
                  <a:pt x="1164" y="36"/>
                </a:cubicBezTo>
                <a:cubicBezTo>
                  <a:pt x="1167" y="33"/>
                  <a:pt x="1168" y="31"/>
                  <a:pt x="1168" y="27"/>
                </a:cubicBezTo>
                <a:cubicBezTo>
                  <a:pt x="1168" y="25"/>
                  <a:pt x="1167" y="23"/>
                  <a:pt x="1166" y="21"/>
                </a:cubicBezTo>
                <a:cubicBezTo>
                  <a:pt x="1164" y="19"/>
                  <a:pt x="1162" y="19"/>
                  <a:pt x="1158" y="19"/>
                </a:cubicBezTo>
                <a:cubicBezTo>
                  <a:pt x="1154" y="19"/>
                  <a:pt x="1151" y="20"/>
                  <a:pt x="1148" y="22"/>
                </a:cubicBezTo>
                <a:cubicBezTo>
                  <a:pt x="1145" y="24"/>
                  <a:pt x="1142" y="28"/>
                  <a:pt x="1140" y="31"/>
                </a:cubicBezTo>
                <a:cubicBezTo>
                  <a:pt x="1138" y="35"/>
                  <a:pt x="1138" y="40"/>
                  <a:pt x="1138" y="44"/>
                </a:cubicBezTo>
                <a:cubicBezTo>
                  <a:pt x="1138" y="47"/>
                  <a:pt x="1138" y="49"/>
                  <a:pt x="1139" y="52"/>
                </a:cubicBezTo>
                <a:cubicBezTo>
                  <a:pt x="1140" y="54"/>
                  <a:pt x="1142" y="56"/>
                  <a:pt x="1144" y="57"/>
                </a:cubicBezTo>
                <a:cubicBezTo>
                  <a:pt x="1146" y="59"/>
                  <a:pt x="1148" y="59"/>
                  <a:pt x="1151" y="59"/>
                </a:cubicBezTo>
                <a:cubicBezTo>
                  <a:pt x="1155" y="59"/>
                  <a:pt x="1158" y="58"/>
                  <a:pt x="1160" y="57"/>
                </a:cubicBezTo>
                <a:cubicBezTo>
                  <a:pt x="1163" y="55"/>
                  <a:pt x="1165" y="54"/>
                  <a:pt x="1166" y="52"/>
                </a:cubicBezTo>
                <a:close/>
                <a:moveTo>
                  <a:pt x="1157" y="22"/>
                </a:moveTo>
                <a:cubicBezTo>
                  <a:pt x="1158" y="22"/>
                  <a:pt x="1159" y="23"/>
                  <a:pt x="1160" y="24"/>
                </a:cubicBezTo>
                <a:cubicBezTo>
                  <a:pt x="1161" y="25"/>
                  <a:pt x="1161" y="26"/>
                  <a:pt x="1161" y="28"/>
                </a:cubicBezTo>
                <a:cubicBezTo>
                  <a:pt x="1161" y="30"/>
                  <a:pt x="1161" y="32"/>
                  <a:pt x="1159" y="34"/>
                </a:cubicBezTo>
                <a:cubicBezTo>
                  <a:pt x="1157" y="35"/>
                  <a:pt x="1155" y="37"/>
                  <a:pt x="1152" y="38"/>
                </a:cubicBezTo>
                <a:cubicBezTo>
                  <a:pt x="1150" y="39"/>
                  <a:pt x="1147" y="39"/>
                  <a:pt x="1145" y="39"/>
                </a:cubicBezTo>
                <a:cubicBezTo>
                  <a:pt x="1145" y="37"/>
                  <a:pt x="1146" y="34"/>
                  <a:pt x="1147" y="32"/>
                </a:cubicBezTo>
                <a:cubicBezTo>
                  <a:pt x="1148" y="29"/>
                  <a:pt x="1149" y="27"/>
                  <a:pt x="1151" y="25"/>
                </a:cubicBezTo>
                <a:cubicBezTo>
                  <a:pt x="1152" y="23"/>
                  <a:pt x="1154" y="22"/>
                  <a:pt x="1157" y="22"/>
                </a:cubicBezTo>
                <a:close/>
                <a:moveTo>
                  <a:pt x="1187" y="28"/>
                </a:moveTo>
                <a:cubicBezTo>
                  <a:pt x="1188" y="19"/>
                  <a:pt x="1188" y="19"/>
                  <a:pt x="1188" y="19"/>
                </a:cubicBezTo>
                <a:cubicBezTo>
                  <a:pt x="1186" y="19"/>
                  <a:pt x="1186" y="19"/>
                  <a:pt x="1186" y="19"/>
                </a:cubicBezTo>
                <a:cubicBezTo>
                  <a:pt x="1178" y="20"/>
                  <a:pt x="1178" y="20"/>
                  <a:pt x="1178" y="20"/>
                </a:cubicBezTo>
                <a:cubicBezTo>
                  <a:pt x="1177" y="23"/>
                  <a:pt x="1177" y="23"/>
                  <a:pt x="1177" y="23"/>
                </a:cubicBezTo>
                <a:cubicBezTo>
                  <a:pt x="1180" y="25"/>
                  <a:pt x="1180" y="25"/>
                  <a:pt x="1180" y="25"/>
                </a:cubicBezTo>
                <a:cubicBezTo>
                  <a:pt x="1176" y="58"/>
                  <a:pt x="1176" y="58"/>
                  <a:pt x="1176" y="58"/>
                </a:cubicBezTo>
                <a:cubicBezTo>
                  <a:pt x="1183" y="58"/>
                  <a:pt x="1183" y="58"/>
                  <a:pt x="1183" y="58"/>
                </a:cubicBezTo>
                <a:cubicBezTo>
                  <a:pt x="1186" y="33"/>
                  <a:pt x="1186" y="33"/>
                  <a:pt x="1186" y="33"/>
                </a:cubicBezTo>
                <a:cubicBezTo>
                  <a:pt x="1188" y="31"/>
                  <a:pt x="1190" y="28"/>
                  <a:pt x="1192" y="26"/>
                </a:cubicBezTo>
                <a:cubicBezTo>
                  <a:pt x="1194" y="25"/>
                  <a:pt x="1196" y="24"/>
                  <a:pt x="1198" y="24"/>
                </a:cubicBezTo>
                <a:cubicBezTo>
                  <a:pt x="1200" y="24"/>
                  <a:pt x="1201" y="24"/>
                  <a:pt x="1202" y="25"/>
                </a:cubicBezTo>
                <a:cubicBezTo>
                  <a:pt x="1202" y="26"/>
                  <a:pt x="1203" y="27"/>
                  <a:pt x="1203" y="29"/>
                </a:cubicBezTo>
                <a:cubicBezTo>
                  <a:pt x="1203" y="31"/>
                  <a:pt x="1202" y="33"/>
                  <a:pt x="1202" y="35"/>
                </a:cubicBezTo>
                <a:cubicBezTo>
                  <a:pt x="1202" y="37"/>
                  <a:pt x="1201" y="39"/>
                  <a:pt x="1201" y="41"/>
                </a:cubicBezTo>
                <a:cubicBezTo>
                  <a:pt x="1201" y="43"/>
                  <a:pt x="1201" y="43"/>
                  <a:pt x="1201" y="43"/>
                </a:cubicBezTo>
                <a:cubicBezTo>
                  <a:pt x="1200" y="46"/>
                  <a:pt x="1200" y="46"/>
                  <a:pt x="1200" y="46"/>
                </a:cubicBezTo>
                <a:cubicBezTo>
                  <a:pt x="1199" y="51"/>
                  <a:pt x="1199" y="54"/>
                  <a:pt x="1199" y="55"/>
                </a:cubicBezTo>
                <a:cubicBezTo>
                  <a:pt x="1199" y="58"/>
                  <a:pt x="1200" y="59"/>
                  <a:pt x="1203" y="59"/>
                </a:cubicBezTo>
                <a:cubicBezTo>
                  <a:pt x="1205" y="59"/>
                  <a:pt x="1206" y="59"/>
                  <a:pt x="1207" y="58"/>
                </a:cubicBezTo>
                <a:cubicBezTo>
                  <a:pt x="1208" y="58"/>
                  <a:pt x="1209" y="57"/>
                  <a:pt x="1210" y="57"/>
                </a:cubicBezTo>
                <a:cubicBezTo>
                  <a:pt x="1210" y="56"/>
                  <a:pt x="1211" y="55"/>
                  <a:pt x="1211" y="55"/>
                </a:cubicBezTo>
                <a:cubicBezTo>
                  <a:pt x="1210" y="53"/>
                  <a:pt x="1210" y="53"/>
                  <a:pt x="1210" y="53"/>
                </a:cubicBezTo>
                <a:cubicBezTo>
                  <a:pt x="1209" y="54"/>
                  <a:pt x="1208" y="55"/>
                  <a:pt x="1207" y="55"/>
                </a:cubicBezTo>
                <a:cubicBezTo>
                  <a:pt x="1206" y="55"/>
                  <a:pt x="1206" y="54"/>
                  <a:pt x="1206" y="53"/>
                </a:cubicBezTo>
                <a:cubicBezTo>
                  <a:pt x="1206" y="51"/>
                  <a:pt x="1206" y="48"/>
                  <a:pt x="1207" y="45"/>
                </a:cubicBezTo>
                <a:cubicBezTo>
                  <a:pt x="1208" y="41"/>
                  <a:pt x="1208" y="41"/>
                  <a:pt x="1208" y="41"/>
                </a:cubicBezTo>
                <a:cubicBezTo>
                  <a:pt x="1208" y="40"/>
                  <a:pt x="1208" y="40"/>
                  <a:pt x="1208" y="40"/>
                </a:cubicBezTo>
                <a:cubicBezTo>
                  <a:pt x="1209" y="34"/>
                  <a:pt x="1210" y="31"/>
                  <a:pt x="1210" y="29"/>
                </a:cubicBezTo>
                <a:cubicBezTo>
                  <a:pt x="1210" y="25"/>
                  <a:pt x="1209" y="23"/>
                  <a:pt x="1207" y="21"/>
                </a:cubicBezTo>
                <a:cubicBezTo>
                  <a:pt x="1206" y="19"/>
                  <a:pt x="1204" y="19"/>
                  <a:pt x="1201" y="19"/>
                </a:cubicBezTo>
                <a:cubicBezTo>
                  <a:pt x="1199" y="19"/>
                  <a:pt x="1196" y="19"/>
                  <a:pt x="1193" y="21"/>
                </a:cubicBezTo>
                <a:cubicBezTo>
                  <a:pt x="1191" y="23"/>
                  <a:pt x="1189" y="25"/>
                  <a:pt x="1187" y="28"/>
                </a:cubicBezTo>
                <a:close/>
                <a:moveTo>
                  <a:pt x="1243" y="27"/>
                </a:moveTo>
                <a:cubicBezTo>
                  <a:pt x="1245" y="27"/>
                  <a:pt x="1245" y="27"/>
                  <a:pt x="1245" y="27"/>
                </a:cubicBezTo>
                <a:cubicBezTo>
                  <a:pt x="1247" y="20"/>
                  <a:pt x="1247" y="20"/>
                  <a:pt x="1247" y="20"/>
                </a:cubicBezTo>
                <a:cubicBezTo>
                  <a:pt x="1246" y="20"/>
                  <a:pt x="1244" y="19"/>
                  <a:pt x="1243" y="19"/>
                </a:cubicBezTo>
                <a:cubicBezTo>
                  <a:pt x="1241" y="19"/>
                  <a:pt x="1240" y="19"/>
                  <a:pt x="1239" y="19"/>
                </a:cubicBezTo>
                <a:cubicBezTo>
                  <a:pt x="1234" y="19"/>
                  <a:pt x="1231" y="20"/>
                  <a:pt x="1228" y="22"/>
                </a:cubicBezTo>
                <a:cubicBezTo>
                  <a:pt x="1224" y="25"/>
                  <a:pt x="1222" y="28"/>
                  <a:pt x="1220" y="32"/>
                </a:cubicBezTo>
                <a:cubicBezTo>
                  <a:pt x="1219" y="36"/>
                  <a:pt x="1218" y="40"/>
                  <a:pt x="1218" y="43"/>
                </a:cubicBezTo>
                <a:cubicBezTo>
                  <a:pt x="1218" y="48"/>
                  <a:pt x="1219" y="52"/>
                  <a:pt x="1221" y="55"/>
                </a:cubicBezTo>
                <a:cubicBezTo>
                  <a:pt x="1224" y="58"/>
                  <a:pt x="1227" y="59"/>
                  <a:pt x="1231" y="59"/>
                </a:cubicBezTo>
                <a:cubicBezTo>
                  <a:pt x="1234" y="59"/>
                  <a:pt x="1236" y="59"/>
                  <a:pt x="1239" y="57"/>
                </a:cubicBezTo>
                <a:cubicBezTo>
                  <a:pt x="1241" y="56"/>
                  <a:pt x="1243" y="54"/>
                  <a:pt x="1244" y="53"/>
                </a:cubicBezTo>
                <a:cubicBezTo>
                  <a:pt x="1242" y="50"/>
                  <a:pt x="1242" y="50"/>
                  <a:pt x="1242" y="50"/>
                </a:cubicBezTo>
                <a:cubicBezTo>
                  <a:pt x="1241" y="52"/>
                  <a:pt x="1239" y="53"/>
                  <a:pt x="1238" y="54"/>
                </a:cubicBezTo>
                <a:cubicBezTo>
                  <a:pt x="1236" y="54"/>
                  <a:pt x="1235" y="55"/>
                  <a:pt x="1233" y="55"/>
                </a:cubicBezTo>
                <a:cubicBezTo>
                  <a:pt x="1230" y="55"/>
                  <a:pt x="1228" y="54"/>
                  <a:pt x="1227" y="52"/>
                </a:cubicBezTo>
                <a:cubicBezTo>
                  <a:pt x="1226" y="50"/>
                  <a:pt x="1225" y="47"/>
                  <a:pt x="1225" y="43"/>
                </a:cubicBezTo>
                <a:cubicBezTo>
                  <a:pt x="1225" y="39"/>
                  <a:pt x="1226" y="35"/>
                  <a:pt x="1227" y="32"/>
                </a:cubicBezTo>
                <a:cubicBezTo>
                  <a:pt x="1228" y="30"/>
                  <a:pt x="1229" y="27"/>
                  <a:pt x="1231" y="26"/>
                </a:cubicBezTo>
                <a:cubicBezTo>
                  <a:pt x="1233" y="24"/>
                  <a:pt x="1235" y="23"/>
                  <a:pt x="1237" y="23"/>
                </a:cubicBezTo>
                <a:cubicBezTo>
                  <a:pt x="1239" y="23"/>
                  <a:pt x="1241" y="24"/>
                  <a:pt x="1243" y="27"/>
                </a:cubicBezTo>
                <a:close/>
                <a:moveTo>
                  <a:pt x="1279" y="52"/>
                </a:moveTo>
                <a:cubicBezTo>
                  <a:pt x="1277" y="49"/>
                  <a:pt x="1277" y="49"/>
                  <a:pt x="1277" y="49"/>
                </a:cubicBezTo>
                <a:cubicBezTo>
                  <a:pt x="1276" y="51"/>
                  <a:pt x="1274" y="52"/>
                  <a:pt x="1272" y="53"/>
                </a:cubicBezTo>
                <a:cubicBezTo>
                  <a:pt x="1270" y="54"/>
                  <a:pt x="1268" y="55"/>
                  <a:pt x="1266" y="55"/>
                </a:cubicBezTo>
                <a:cubicBezTo>
                  <a:pt x="1263" y="55"/>
                  <a:pt x="1261" y="54"/>
                  <a:pt x="1259" y="51"/>
                </a:cubicBezTo>
                <a:cubicBezTo>
                  <a:pt x="1258" y="49"/>
                  <a:pt x="1257" y="46"/>
                  <a:pt x="1258" y="43"/>
                </a:cubicBezTo>
                <a:cubicBezTo>
                  <a:pt x="1260" y="43"/>
                  <a:pt x="1264" y="42"/>
                  <a:pt x="1267" y="41"/>
                </a:cubicBezTo>
                <a:cubicBezTo>
                  <a:pt x="1271" y="40"/>
                  <a:pt x="1274" y="38"/>
                  <a:pt x="1277" y="36"/>
                </a:cubicBezTo>
                <a:cubicBezTo>
                  <a:pt x="1280" y="33"/>
                  <a:pt x="1281" y="31"/>
                  <a:pt x="1281" y="27"/>
                </a:cubicBezTo>
                <a:cubicBezTo>
                  <a:pt x="1281" y="25"/>
                  <a:pt x="1280" y="23"/>
                  <a:pt x="1278" y="21"/>
                </a:cubicBezTo>
                <a:cubicBezTo>
                  <a:pt x="1277" y="19"/>
                  <a:pt x="1274" y="19"/>
                  <a:pt x="1271" y="19"/>
                </a:cubicBezTo>
                <a:cubicBezTo>
                  <a:pt x="1267" y="19"/>
                  <a:pt x="1264" y="20"/>
                  <a:pt x="1260" y="22"/>
                </a:cubicBezTo>
                <a:cubicBezTo>
                  <a:pt x="1257" y="24"/>
                  <a:pt x="1255" y="28"/>
                  <a:pt x="1253" y="31"/>
                </a:cubicBezTo>
                <a:cubicBezTo>
                  <a:pt x="1251" y="35"/>
                  <a:pt x="1250" y="40"/>
                  <a:pt x="1250" y="44"/>
                </a:cubicBezTo>
                <a:cubicBezTo>
                  <a:pt x="1250" y="47"/>
                  <a:pt x="1251" y="49"/>
                  <a:pt x="1252" y="52"/>
                </a:cubicBezTo>
                <a:cubicBezTo>
                  <a:pt x="1253" y="54"/>
                  <a:pt x="1254" y="56"/>
                  <a:pt x="1256" y="57"/>
                </a:cubicBezTo>
                <a:cubicBezTo>
                  <a:pt x="1258" y="59"/>
                  <a:pt x="1261" y="59"/>
                  <a:pt x="1264" y="59"/>
                </a:cubicBezTo>
                <a:cubicBezTo>
                  <a:pt x="1267" y="59"/>
                  <a:pt x="1270" y="58"/>
                  <a:pt x="1273" y="57"/>
                </a:cubicBezTo>
                <a:cubicBezTo>
                  <a:pt x="1276" y="55"/>
                  <a:pt x="1278" y="54"/>
                  <a:pt x="1279" y="52"/>
                </a:cubicBezTo>
                <a:close/>
                <a:moveTo>
                  <a:pt x="1269" y="22"/>
                </a:moveTo>
                <a:cubicBezTo>
                  <a:pt x="1271" y="22"/>
                  <a:pt x="1272" y="23"/>
                  <a:pt x="1273" y="24"/>
                </a:cubicBezTo>
                <a:cubicBezTo>
                  <a:pt x="1274" y="25"/>
                  <a:pt x="1274" y="26"/>
                  <a:pt x="1274" y="28"/>
                </a:cubicBezTo>
                <a:cubicBezTo>
                  <a:pt x="1274" y="30"/>
                  <a:pt x="1273" y="32"/>
                  <a:pt x="1272" y="34"/>
                </a:cubicBezTo>
                <a:cubicBezTo>
                  <a:pt x="1270" y="35"/>
                  <a:pt x="1268" y="37"/>
                  <a:pt x="1265" y="38"/>
                </a:cubicBezTo>
                <a:cubicBezTo>
                  <a:pt x="1263" y="39"/>
                  <a:pt x="1260" y="39"/>
                  <a:pt x="1258" y="39"/>
                </a:cubicBezTo>
                <a:cubicBezTo>
                  <a:pt x="1258" y="37"/>
                  <a:pt x="1259" y="34"/>
                  <a:pt x="1259" y="32"/>
                </a:cubicBezTo>
                <a:cubicBezTo>
                  <a:pt x="1260" y="29"/>
                  <a:pt x="1262" y="27"/>
                  <a:pt x="1263" y="25"/>
                </a:cubicBezTo>
                <a:cubicBezTo>
                  <a:pt x="1265" y="23"/>
                  <a:pt x="1267" y="22"/>
                  <a:pt x="1269" y="22"/>
                </a:cubicBezTo>
                <a:close/>
                <a:moveTo>
                  <a:pt x="1310" y="25"/>
                </a:moveTo>
                <a:cubicBezTo>
                  <a:pt x="1311" y="20"/>
                  <a:pt x="1311" y="20"/>
                  <a:pt x="1311" y="20"/>
                </a:cubicBezTo>
                <a:cubicBezTo>
                  <a:pt x="1311" y="20"/>
                  <a:pt x="1309" y="19"/>
                  <a:pt x="1308" y="19"/>
                </a:cubicBezTo>
                <a:cubicBezTo>
                  <a:pt x="1306" y="19"/>
                  <a:pt x="1304" y="19"/>
                  <a:pt x="1303" y="19"/>
                </a:cubicBezTo>
                <a:cubicBezTo>
                  <a:pt x="1300" y="19"/>
                  <a:pt x="1298" y="19"/>
                  <a:pt x="1296" y="20"/>
                </a:cubicBezTo>
                <a:cubicBezTo>
                  <a:pt x="1293" y="21"/>
                  <a:pt x="1292" y="22"/>
                  <a:pt x="1291" y="24"/>
                </a:cubicBezTo>
                <a:cubicBezTo>
                  <a:pt x="1289" y="26"/>
                  <a:pt x="1289" y="27"/>
                  <a:pt x="1289" y="30"/>
                </a:cubicBezTo>
                <a:cubicBezTo>
                  <a:pt x="1289" y="34"/>
                  <a:pt x="1291" y="38"/>
                  <a:pt x="1296" y="41"/>
                </a:cubicBezTo>
                <a:cubicBezTo>
                  <a:pt x="1298" y="43"/>
                  <a:pt x="1300" y="44"/>
                  <a:pt x="1301" y="45"/>
                </a:cubicBezTo>
                <a:cubicBezTo>
                  <a:pt x="1302" y="46"/>
                  <a:pt x="1303" y="48"/>
                  <a:pt x="1303" y="50"/>
                </a:cubicBezTo>
                <a:cubicBezTo>
                  <a:pt x="1303" y="51"/>
                  <a:pt x="1302" y="53"/>
                  <a:pt x="1301" y="54"/>
                </a:cubicBezTo>
                <a:cubicBezTo>
                  <a:pt x="1299" y="55"/>
                  <a:pt x="1297" y="55"/>
                  <a:pt x="1295" y="55"/>
                </a:cubicBezTo>
                <a:cubicBezTo>
                  <a:pt x="1293" y="55"/>
                  <a:pt x="1292" y="55"/>
                  <a:pt x="1290" y="54"/>
                </a:cubicBezTo>
                <a:cubicBezTo>
                  <a:pt x="1288" y="53"/>
                  <a:pt x="1287" y="53"/>
                  <a:pt x="1286" y="52"/>
                </a:cubicBezTo>
                <a:cubicBezTo>
                  <a:pt x="1285" y="57"/>
                  <a:pt x="1285" y="57"/>
                  <a:pt x="1285" y="57"/>
                </a:cubicBezTo>
                <a:cubicBezTo>
                  <a:pt x="1285" y="58"/>
                  <a:pt x="1287" y="58"/>
                  <a:pt x="1289" y="58"/>
                </a:cubicBezTo>
                <a:cubicBezTo>
                  <a:pt x="1291" y="59"/>
                  <a:pt x="1293" y="59"/>
                  <a:pt x="1295" y="59"/>
                </a:cubicBezTo>
                <a:cubicBezTo>
                  <a:pt x="1299" y="59"/>
                  <a:pt x="1303" y="58"/>
                  <a:pt x="1305" y="56"/>
                </a:cubicBezTo>
                <a:cubicBezTo>
                  <a:pt x="1308" y="54"/>
                  <a:pt x="1309" y="52"/>
                  <a:pt x="1309" y="48"/>
                </a:cubicBezTo>
                <a:cubicBezTo>
                  <a:pt x="1309" y="46"/>
                  <a:pt x="1309" y="45"/>
                  <a:pt x="1308" y="43"/>
                </a:cubicBezTo>
                <a:cubicBezTo>
                  <a:pt x="1307" y="42"/>
                  <a:pt x="1306" y="41"/>
                  <a:pt x="1305" y="40"/>
                </a:cubicBezTo>
                <a:cubicBezTo>
                  <a:pt x="1304" y="39"/>
                  <a:pt x="1303" y="38"/>
                  <a:pt x="1301" y="36"/>
                </a:cubicBezTo>
                <a:cubicBezTo>
                  <a:pt x="1299" y="35"/>
                  <a:pt x="1298" y="34"/>
                  <a:pt x="1297" y="32"/>
                </a:cubicBezTo>
                <a:cubicBezTo>
                  <a:pt x="1296" y="31"/>
                  <a:pt x="1295" y="30"/>
                  <a:pt x="1295" y="28"/>
                </a:cubicBezTo>
                <a:cubicBezTo>
                  <a:pt x="1295" y="26"/>
                  <a:pt x="1296" y="25"/>
                  <a:pt x="1297" y="24"/>
                </a:cubicBezTo>
                <a:cubicBezTo>
                  <a:pt x="1299" y="23"/>
                  <a:pt x="1300" y="23"/>
                  <a:pt x="1303" y="23"/>
                </a:cubicBezTo>
                <a:cubicBezTo>
                  <a:pt x="1304" y="23"/>
                  <a:pt x="1306" y="23"/>
                  <a:pt x="1307" y="24"/>
                </a:cubicBezTo>
                <a:cubicBezTo>
                  <a:pt x="1309" y="24"/>
                  <a:pt x="1310" y="25"/>
                  <a:pt x="1310" y="25"/>
                </a:cubicBezTo>
                <a:close/>
                <a:moveTo>
                  <a:pt x="1047" y="110"/>
                </a:moveTo>
                <a:cubicBezTo>
                  <a:pt x="1052" y="111"/>
                  <a:pt x="1052" y="111"/>
                  <a:pt x="1052" y="111"/>
                </a:cubicBezTo>
                <a:cubicBezTo>
                  <a:pt x="1046" y="156"/>
                  <a:pt x="1046" y="156"/>
                  <a:pt x="1046" y="156"/>
                </a:cubicBezTo>
                <a:cubicBezTo>
                  <a:pt x="1041" y="157"/>
                  <a:pt x="1041" y="157"/>
                  <a:pt x="1041" y="157"/>
                </a:cubicBezTo>
                <a:cubicBezTo>
                  <a:pt x="1041" y="159"/>
                  <a:pt x="1041" y="159"/>
                  <a:pt x="1041" y="159"/>
                </a:cubicBezTo>
                <a:cubicBezTo>
                  <a:pt x="1078" y="159"/>
                  <a:pt x="1078" y="159"/>
                  <a:pt x="1078" y="159"/>
                </a:cubicBezTo>
                <a:cubicBezTo>
                  <a:pt x="1081" y="147"/>
                  <a:pt x="1081" y="147"/>
                  <a:pt x="1081" y="147"/>
                </a:cubicBezTo>
                <a:cubicBezTo>
                  <a:pt x="1077" y="146"/>
                  <a:pt x="1077" y="146"/>
                  <a:pt x="1077" y="146"/>
                </a:cubicBezTo>
                <a:cubicBezTo>
                  <a:pt x="1073" y="155"/>
                  <a:pt x="1073" y="155"/>
                  <a:pt x="1073" y="155"/>
                </a:cubicBezTo>
                <a:cubicBezTo>
                  <a:pt x="1053" y="156"/>
                  <a:pt x="1053" y="156"/>
                  <a:pt x="1053" y="156"/>
                </a:cubicBezTo>
                <a:cubicBezTo>
                  <a:pt x="1056" y="134"/>
                  <a:pt x="1056" y="134"/>
                  <a:pt x="1056" y="134"/>
                </a:cubicBezTo>
                <a:cubicBezTo>
                  <a:pt x="1072" y="135"/>
                  <a:pt x="1072" y="135"/>
                  <a:pt x="1072" y="135"/>
                </a:cubicBezTo>
                <a:cubicBezTo>
                  <a:pt x="1073" y="130"/>
                  <a:pt x="1073" y="130"/>
                  <a:pt x="1073" y="130"/>
                </a:cubicBezTo>
                <a:cubicBezTo>
                  <a:pt x="1057" y="130"/>
                  <a:pt x="1057" y="130"/>
                  <a:pt x="1057" y="130"/>
                </a:cubicBezTo>
                <a:cubicBezTo>
                  <a:pt x="1059" y="110"/>
                  <a:pt x="1059" y="110"/>
                  <a:pt x="1059" y="110"/>
                </a:cubicBezTo>
                <a:cubicBezTo>
                  <a:pt x="1075" y="111"/>
                  <a:pt x="1075" y="111"/>
                  <a:pt x="1075" y="111"/>
                </a:cubicBezTo>
                <a:cubicBezTo>
                  <a:pt x="1076" y="118"/>
                  <a:pt x="1076" y="118"/>
                  <a:pt x="1076" y="118"/>
                </a:cubicBezTo>
                <a:cubicBezTo>
                  <a:pt x="1080" y="118"/>
                  <a:pt x="1080" y="118"/>
                  <a:pt x="1080" y="118"/>
                </a:cubicBezTo>
                <a:cubicBezTo>
                  <a:pt x="1081" y="107"/>
                  <a:pt x="1081" y="107"/>
                  <a:pt x="1081" y="107"/>
                </a:cubicBezTo>
                <a:cubicBezTo>
                  <a:pt x="1048" y="107"/>
                  <a:pt x="1048" y="107"/>
                  <a:pt x="1048" y="107"/>
                </a:cubicBezTo>
                <a:lnTo>
                  <a:pt x="1047" y="110"/>
                </a:lnTo>
                <a:close/>
                <a:moveTo>
                  <a:pt x="1100" y="129"/>
                </a:moveTo>
                <a:cubicBezTo>
                  <a:pt x="1100" y="120"/>
                  <a:pt x="1100" y="120"/>
                  <a:pt x="1100" y="120"/>
                </a:cubicBezTo>
                <a:cubicBezTo>
                  <a:pt x="1099" y="119"/>
                  <a:pt x="1099" y="119"/>
                  <a:pt x="1099" y="119"/>
                </a:cubicBezTo>
                <a:cubicBezTo>
                  <a:pt x="1090" y="121"/>
                  <a:pt x="1090" y="121"/>
                  <a:pt x="1090" y="121"/>
                </a:cubicBezTo>
                <a:cubicBezTo>
                  <a:pt x="1090" y="124"/>
                  <a:pt x="1090" y="124"/>
                  <a:pt x="1090" y="124"/>
                </a:cubicBezTo>
                <a:cubicBezTo>
                  <a:pt x="1093" y="125"/>
                  <a:pt x="1093" y="125"/>
                  <a:pt x="1093" y="125"/>
                </a:cubicBezTo>
                <a:cubicBezTo>
                  <a:pt x="1089" y="159"/>
                  <a:pt x="1089" y="159"/>
                  <a:pt x="1089" y="159"/>
                </a:cubicBezTo>
                <a:cubicBezTo>
                  <a:pt x="1095" y="159"/>
                  <a:pt x="1095" y="159"/>
                  <a:pt x="1095" y="159"/>
                </a:cubicBezTo>
                <a:cubicBezTo>
                  <a:pt x="1099" y="134"/>
                  <a:pt x="1099" y="134"/>
                  <a:pt x="1099" y="134"/>
                </a:cubicBezTo>
                <a:cubicBezTo>
                  <a:pt x="1101" y="131"/>
                  <a:pt x="1103" y="129"/>
                  <a:pt x="1105" y="127"/>
                </a:cubicBezTo>
                <a:cubicBezTo>
                  <a:pt x="1107" y="125"/>
                  <a:pt x="1109" y="124"/>
                  <a:pt x="1111" y="124"/>
                </a:cubicBezTo>
                <a:cubicBezTo>
                  <a:pt x="1113" y="124"/>
                  <a:pt x="1114" y="125"/>
                  <a:pt x="1114" y="126"/>
                </a:cubicBezTo>
                <a:cubicBezTo>
                  <a:pt x="1115" y="127"/>
                  <a:pt x="1115" y="128"/>
                  <a:pt x="1115" y="130"/>
                </a:cubicBezTo>
                <a:cubicBezTo>
                  <a:pt x="1115" y="132"/>
                  <a:pt x="1115" y="134"/>
                  <a:pt x="1115" y="135"/>
                </a:cubicBezTo>
                <a:cubicBezTo>
                  <a:pt x="1115" y="137"/>
                  <a:pt x="1114" y="140"/>
                  <a:pt x="1114" y="142"/>
                </a:cubicBezTo>
                <a:cubicBezTo>
                  <a:pt x="1114" y="144"/>
                  <a:pt x="1114" y="144"/>
                  <a:pt x="1114" y="144"/>
                </a:cubicBezTo>
                <a:cubicBezTo>
                  <a:pt x="1113" y="147"/>
                  <a:pt x="1113" y="147"/>
                  <a:pt x="1113" y="147"/>
                </a:cubicBezTo>
                <a:cubicBezTo>
                  <a:pt x="1112" y="151"/>
                  <a:pt x="1112" y="154"/>
                  <a:pt x="1112" y="156"/>
                </a:cubicBezTo>
                <a:cubicBezTo>
                  <a:pt x="1112" y="159"/>
                  <a:pt x="1113" y="160"/>
                  <a:pt x="1116" y="160"/>
                </a:cubicBezTo>
                <a:cubicBezTo>
                  <a:pt x="1117" y="160"/>
                  <a:pt x="1119" y="160"/>
                  <a:pt x="1120" y="159"/>
                </a:cubicBezTo>
                <a:cubicBezTo>
                  <a:pt x="1121" y="159"/>
                  <a:pt x="1122" y="158"/>
                  <a:pt x="1123" y="157"/>
                </a:cubicBezTo>
                <a:cubicBezTo>
                  <a:pt x="1123" y="157"/>
                  <a:pt x="1124" y="156"/>
                  <a:pt x="1124" y="156"/>
                </a:cubicBezTo>
                <a:cubicBezTo>
                  <a:pt x="1123" y="154"/>
                  <a:pt x="1123" y="154"/>
                  <a:pt x="1123" y="154"/>
                </a:cubicBezTo>
                <a:cubicBezTo>
                  <a:pt x="1122" y="155"/>
                  <a:pt x="1121" y="156"/>
                  <a:pt x="1120" y="156"/>
                </a:cubicBezTo>
                <a:cubicBezTo>
                  <a:pt x="1119" y="156"/>
                  <a:pt x="1119" y="155"/>
                  <a:pt x="1119" y="154"/>
                </a:cubicBezTo>
                <a:cubicBezTo>
                  <a:pt x="1119" y="152"/>
                  <a:pt x="1119" y="149"/>
                  <a:pt x="1120" y="145"/>
                </a:cubicBezTo>
                <a:cubicBezTo>
                  <a:pt x="1121" y="142"/>
                  <a:pt x="1121" y="142"/>
                  <a:pt x="1121" y="142"/>
                </a:cubicBezTo>
                <a:cubicBezTo>
                  <a:pt x="1121" y="140"/>
                  <a:pt x="1121" y="140"/>
                  <a:pt x="1121" y="140"/>
                </a:cubicBezTo>
                <a:cubicBezTo>
                  <a:pt x="1122" y="135"/>
                  <a:pt x="1122" y="132"/>
                  <a:pt x="1122" y="130"/>
                </a:cubicBezTo>
                <a:cubicBezTo>
                  <a:pt x="1122" y="126"/>
                  <a:pt x="1122" y="123"/>
                  <a:pt x="1120" y="122"/>
                </a:cubicBezTo>
                <a:cubicBezTo>
                  <a:pt x="1119" y="120"/>
                  <a:pt x="1117" y="119"/>
                  <a:pt x="1114" y="119"/>
                </a:cubicBezTo>
                <a:cubicBezTo>
                  <a:pt x="1112" y="119"/>
                  <a:pt x="1109" y="120"/>
                  <a:pt x="1106" y="122"/>
                </a:cubicBezTo>
                <a:cubicBezTo>
                  <a:pt x="1104" y="124"/>
                  <a:pt x="1102" y="126"/>
                  <a:pt x="1100" y="129"/>
                </a:cubicBezTo>
                <a:close/>
                <a:moveTo>
                  <a:pt x="1159" y="162"/>
                </a:moveTo>
                <a:cubicBezTo>
                  <a:pt x="1165" y="119"/>
                  <a:pt x="1165" y="119"/>
                  <a:pt x="1165" y="119"/>
                </a:cubicBezTo>
                <a:cubicBezTo>
                  <a:pt x="1160" y="121"/>
                  <a:pt x="1160" y="121"/>
                  <a:pt x="1160" y="121"/>
                </a:cubicBezTo>
                <a:cubicBezTo>
                  <a:pt x="1159" y="121"/>
                  <a:pt x="1158" y="120"/>
                  <a:pt x="1157" y="120"/>
                </a:cubicBezTo>
                <a:cubicBezTo>
                  <a:pt x="1155" y="120"/>
                  <a:pt x="1154" y="119"/>
                  <a:pt x="1153" y="119"/>
                </a:cubicBezTo>
                <a:cubicBezTo>
                  <a:pt x="1148" y="119"/>
                  <a:pt x="1144" y="121"/>
                  <a:pt x="1141" y="123"/>
                </a:cubicBezTo>
                <a:cubicBezTo>
                  <a:pt x="1137" y="126"/>
                  <a:pt x="1135" y="129"/>
                  <a:pt x="1133" y="133"/>
                </a:cubicBezTo>
                <a:cubicBezTo>
                  <a:pt x="1131" y="137"/>
                  <a:pt x="1130" y="141"/>
                  <a:pt x="1130" y="145"/>
                </a:cubicBezTo>
                <a:cubicBezTo>
                  <a:pt x="1130" y="150"/>
                  <a:pt x="1131" y="153"/>
                  <a:pt x="1133" y="156"/>
                </a:cubicBezTo>
                <a:cubicBezTo>
                  <a:pt x="1135" y="159"/>
                  <a:pt x="1138" y="160"/>
                  <a:pt x="1142" y="160"/>
                </a:cubicBezTo>
                <a:cubicBezTo>
                  <a:pt x="1144" y="160"/>
                  <a:pt x="1146" y="159"/>
                  <a:pt x="1148" y="158"/>
                </a:cubicBezTo>
                <a:cubicBezTo>
                  <a:pt x="1150" y="157"/>
                  <a:pt x="1152" y="156"/>
                  <a:pt x="1153" y="155"/>
                </a:cubicBezTo>
                <a:cubicBezTo>
                  <a:pt x="1151" y="164"/>
                  <a:pt x="1151" y="164"/>
                  <a:pt x="1151" y="164"/>
                </a:cubicBezTo>
                <a:cubicBezTo>
                  <a:pt x="1151" y="167"/>
                  <a:pt x="1150" y="169"/>
                  <a:pt x="1149" y="170"/>
                </a:cubicBezTo>
                <a:cubicBezTo>
                  <a:pt x="1147" y="172"/>
                  <a:pt x="1145" y="172"/>
                  <a:pt x="1142" y="172"/>
                </a:cubicBezTo>
                <a:cubicBezTo>
                  <a:pt x="1140" y="172"/>
                  <a:pt x="1139" y="172"/>
                  <a:pt x="1137" y="171"/>
                </a:cubicBezTo>
                <a:cubicBezTo>
                  <a:pt x="1136" y="171"/>
                  <a:pt x="1134" y="170"/>
                  <a:pt x="1133" y="170"/>
                </a:cubicBezTo>
                <a:cubicBezTo>
                  <a:pt x="1132" y="175"/>
                  <a:pt x="1132" y="175"/>
                  <a:pt x="1132" y="175"/>
                </a:cubicBezTo>
                <a:cubicBezTo>
                  <a:pt x="1132" y="176"/>
                  <a:pt x="1134" y="176"/>
                  <a:pt x="1135" y="176"/>
                </a:cubicBezTo>
                <a:cubicBezTo>
                  <a:pt x="1137" y="177"/>
                  <a:pt x="1138" y="177"/>
                  <a:pt x="1140" y="177"/>
                </a:cubicBezTo>
                <a:cubicBezTo>
                  <a:pt x="1142" y="177"/>
                  <a:pt x="1145" y="176"/>
                  <a:pt x="1148" y="175"/>
                </a:cubicBezTo>
                <a:cubicBezTo>
                  <a:pt x="1150" y="174"/>
                  <a:pt x="1153" y="173"/>
                  <a:pt x="1155" y="170"/>
                </a:cubicBezTo>
                <a:cubicBezTo>
                  <a:pt x="1157" y="168"/>
                  <a:pt x="1158" y="165"/>
                  <a:pt x="1159" y="162"/>
                </a:cubicBezTo>
                <a:close/>
                <a:moveTo>
                  <a:pt x="1157" y="125"/>
                </a:moveTo>
                <a:cubicBezTo>
                  <a:pt x="1154" y="150"/>
                  <a:pt x="1154" y="150"/>
                  <a:pt x="1154" y="150"/>
                </a:cubicBezTo>
                <a:cubicBezTo>
                  <a:pt x="1152" y="151"/>
                  <a:pt x="1151" y="153"/>
                  <a:pt x="1149" y="154"/>
                </a:cubicBezTo>
                <a:cubicBezTo>
                  <a:pt x="1148" y="155"/>
                  <a:pt x="1146" y="155"/>
                  <a:pt x="1144" y="155"/>
                </a:cubicBezTo>
                <a:cubicBezTo>
                  <a:pt x="1142" y="155"/>
                  <a:pt x="1140" y="155"/>
                  <a:pt x="1139" y="153"/>
                </a:cubicBezTo>
                <a:cubicBezTo>
                  <a:pt x="1138" y="151"/>
                  <a:pt x="1138" y="148"/>
                  <a:pt x="1138" y="145"/>
                </a:cubicBezTo>
                <a:cubicBezTo>
                  <a:pt x="1138" y="142"/>
                  <a:pt x="1138" y="138"/>
                  <a:pt x="1139" y="135"/>
                </a:cubicBezTo>
                <a:cubicBezTo>
                  <a:pt x="1140" y="132"/>
                  <a:pt x="1142" y="129"/>
                  <a:pt x="1144" y="127"/>
                </a:cubicBezTo>
                <a:cubicBezTo>
                  <a:pt x="1146" y="124"/>
                  <a:pt x="1149" y="123"/>
                  <a:pt x="1152" y="123"/>
                </a:cubicBezTo>
                <a:cubicBezTo>
                  <a:pt x="1154" y="123"/>
                  <a:pt x="1156" y="124"/>
                  <a:pt x="1157" y="125"/>
                </a:cubicBezTo>
                <a:close/>
                <a:moveTo>
                  <a:pt x="1181" y="153"/>
                </a:moveTo>
                <a:cubicBezTo>
                  <a:pt x="1185" y="120"/>
                  <a:pt x="1185" y="120"/>
                  <a:pt x="1185" y="120"/>
                </a:cubicBezTo>
                <a:cubicBezTo>
                  <a:pt x="1184" y="119"/>
                  <a:pt x="1184" y="119"/>
                  <a:pt x="1184" y="119"/>
                </a:cubicBezTo>
                <a:cubicBezTo>
                  <a:pt x="1174" y="121"/>
                  <a:pt x="1174" y="121"/>
                  <a:pt x="1174" y="121"/>
                </a:cubicBezTo>
                <a:cubicBezTo>
                  <a:pt x="1173" y="123"/>
                  <a:pt x="1173" y="123"/>
                  <a:pt x="1173" y="123"/>
                </a:cubicBezTo>
                <a:cubicBezTo>
                  <a:pt x="1178" y="125"/>
                  <a:pt x="1178" y="125"/>
                  <a:pt x="1178" y="125"/>
                </a:cubicBezTo>
                <a:cubicBezTo>
                  <a:pt x="1177" y="132"/>
                  <a:pt x="1176" y="138"/>
                  <a:pt x="1175" y="142"/>
                </a:cubicBezTo>
                <a:cubicBezTo>
                  <a:pt x="1174" y="150"/>
                  <a:pt x="1174" y="154"/>
                  <a:pt x="1173" y="156"/>
                </a:cubicBezTo>
                <a:cubicBezTo>
                  <a:pt x="1173" y="157"/>
                  <a:pt x="1174" y="158"/>
                  <a:pt x="1174" y="159"/>
                </a:cubicBezTo>
                <a:cubicBezTo>
                  <a:pt x="1175" y="160"/>
                  <a:pt x="1176" y="160"/>
                  <a:pt x="1178" y="160"/>
                </a:cubicBezTo>
                <a:cubicBezTo>
                  <a:pt x="1180" y="160"/>
                  <a:pt x="1182" y="159"/>
                  <a:pt x="1183" y="158"/>
                </a:cubicBezTo>
                <a:cubicBezTo>
                  <a:pt x="1184" y="157"/>
                  <a:pt x="1185" y="156"/>
                  <a:pt x="1186" y="155"/>
                </a:cubicBezTo>
                <a:cubicBezTo>
                  <a:pt x="1185" y="154"/>
                  <a:pt x="1185" y="154"/>
                  <a:pt x="1185" y="154"/>
                </a:cubicBezTo>
                <a:cubicBezTo>
                  <a:pt x="1184" y="154"/>
                  <a:pt x="1184" y="155"/>
                  <a:pt x="1183" y="155"/>
                </a:cubicBezTo>
                <a:cubicBezTo>
                  <a:pt x="1183" y="156"/>
                  <a:pt x="1182" y="156"/>
                  <a:pt x="1182" y="156"/>
                </a:cubicBezTo>
                <a:cubicBezTo>
                  <a:pt x="1181" y="156"/>
                  <a:pt x="1181" y="156"/>
                  <a:pt x="1181" y="155"/>
                </a:cubicBezTo>
                <a:cubicBezTo>
                  <a:pt x="1181" y="155"/>
                  <a:pt x="1180" y="155"/>
                  <a:pt x="1180" y="154"/>
                </a:cubicBezTo>
                <a:lnTo>
                  <a:pt x="1181" y="153"/>
                </a:lnTo>
                <a:close/>
                <a:moveTo>
                  <a:pt x="1183" y="112"/>
                </a:moveTo>
                <a:cubicBezTo>
                  <a:pt x="1184" y="112"/>
                  <a:pt x="1185" y="111"/>
                  <a:pt x="1186" y="110"/>
                </a:cubicBezTo>
                <a:cubicBezTo>
                  <a:pt x="1187" y="109"/>
                  <a:pt x="1188" y="108"/>
                  <a:pt x="1188" y="107"/>
                </a:cubicBezTo>
                <a:cubicBezTo>
                  <a:pt x="1188" y="106"/>
                  <a:pt x="1187" y="105"/>
                  <a:pt x="1187" y="104"/>
                </a:cubicBezTo>
                <a:cubicBezTo>
                  <a:pt x="1186" y="103"/>
                  <a:pt x="1185" y="103"/>
                  <a:pt x="1184" y="103"/>
                </a:cubicBezTo>
                <a:cubicBezTo>
                  <a:pt x="1182" y="103"/>
                  <a:pt x="1181" y="103"/>
                  <a:pt x="1180" y="104"/>
                </a:cubicBezTo>
                <a:cubicBezTo>
                  <a:pt x="1180" y="105"/>
                  <a:pt x="1179" y="107"/>
                  <a:pt x="1179" y="108"/>
                </a:cubicBezTo>
                <a:cubicBezTo>
                  <a:pt x="1179" y="109"/>
                  <a:pt x="1179" y="110"/>
                  <a:pt x="1180" y="111"/>
                </a:cubicBezTo>
                <a:cubicBezTo>
                  <a:pt x="1181" y="111"/>
                  <a:pt x="1182" y="112"/>
                  <a:pt x="1183" y="112"/>
                </a:cubicBezTo>
                <a:close/>
                <a:moveTo>
                  <a:pt x="1207" y="129"/>
                </a:moveTo>
                <a:cubicBezTo>
                  <a:pt x="1208" y="120"/>
                  <a:pt x="1208" y="120"/>
                  <a:pt x="1208" y="120"/>
                </a:cubicBezTo>
                <a:cubicBezTo>
                  <a:pt x="1207" y="119"/>
                  <a:pt x="1207" y="119"/>
                  <a:pt x="1207" y="119"/>
                </a:cubicBezTo>
                <a:cubicBezTo>
                  <a:pt x="1198" y="121"/>
                  <a:pt x="1198" y="121"/>
                  <a:pt x="1198" y="121"/>
                </a:cubicBezTo>
                <a:cubicBezTo>
                  <a:pt x="1198" y="124"/>
                  <a:pt x="1198" y="124"/>
                  <a:pt x="1198" y="124"/>
                </a:cubicBezTo>
                <a:cubicBezTo>
                  <a:pt x="1201" y="125"/>
                  <a:pt x="1201" y="125"/>
                  <a:pt x="1201" y="125"/>
                </a:cubicBezTo>
                <a:cubicBezTo>
                  <a:pt x="1196" y="159"/>
                  <a:pt x="1196" y="159"/>
                  <a:pt x="1196" y="159"/>
                </a:cubicBezTo>
                <a:cubicBezTo>
                  <a:pt x="1203" y="159"/>
                  <a:pt x="1203" y="159"/>
                  <a:pt x="1203" y="159"/>
                </a:cubicBezTo>
                <a:cubicBezTo>
                  <a:pt x="1207" y="134"/>
                  <a:pt x="1207" y="134"/>
                  <a:pt x="1207" y="134"/>
                </a:cubicBezTo>
                <a:cubicBezTo>
                  <a:pt x="1208" y="131"/>
                  <a:pt x="1210" y="129"/>
                  <a:pt x="1213" y="127"/>
                </a:cubicBezTo>
                <a:cubicBezTo>
                  <a:pt x="1215" y="125"/>
                  <a:pt x="1217" y="124"/>
                  <a:pt x="1219" y="124"/>
                </a:cubicBezTo>
                <a:cubicBezTo>
                  <a:pt x="1220" y="124"/>
                  <a:pt x="1221" y="125"/>
                  <a:pt x="1222" y="126"/>
                </a:cubicBezTo>
                <a:cubicBezTo>
                  <a:pt x="1223" y="127"/>
                  <a:pt x="1223" y="128"/>
                  <a:pt x="1223" y="130"/>
                </a:cubicBezTo>
                <a:cubicBezTo>
                  <a:pt x="1223" y="132"/>
                  <a:pt x="1223" y="134"/>
                  <a:pt x="1223" y="135"/>
                </a:cubicBezTo>
                <a:cubicBezTo>
                  <a:pt x="1222" y="137"/>
                  <a:pt x="1222" y="140"/>
                  <a:pt x="1222" y="142"/>
                </a:cubicBezTo>
                <a:cubicBezTo>
                  <a:pt x="1221" y="144"/>
                  <a:pt x="1221" y="144"/>
                  <a:pt x="1221" y="144"/>
                </a:cubicBezTo>
                <a:cubicBezTo>
                  <a:pt x="1221" y="147"/>
                  <a:pt x="1221" y="147"/>
                  <a:pt x="1221" y="147"/>
                </a:cubicBezTo>
                <a:cubicBezTo>
                  <a:pt x="1220" y="151"/>
                  <a:pt x="1219" y="154"/>
                  <a:pt x="1219" y="156"/>
                </a:cubicBezTo>
                <a:cubicBezTo>
                  <a:pt x="1219" y="159"/>
                  <a:pt x="1221" y="160"/>
                  <a:pt x="1224" y="160"/>
                </a:cubicBezTo>
                <a:cubicBezTo>
                  <a:pt x="1225" y="160"/>
                  <a:pt x="1226" y="160"/>
                  <a:pt x="1227" y="159"/>
                </a:cubicBezTo>
                <a:cubicBezTo>
                  <a:pt x="1228" y="159"/>
                  <a:pt x="1229" y="158"/>
                  <a:pt x="1230" y="157"/>
                </a:cubicBezTo>
                <a:cubicBezTo>
                  <a:pt x="1231" y="157"/>
                  <a:pt x="1231" y="156"/>
                  <a:pt x="1232" y="156"/>
                </a:cubicBezTo>
                <a:cubicBezTo>
                  <a:pt x="1231" y="154"/>
                  <a:pt x="1231" y="154"/>
                  <a:pt x="1231" y="154"/>
                </a:cubicBezTo>
                <a:cubicBezTo>
                  <a:pt x="1229" y="155"/>
                  <a:pt x="1228" y="156"/>
                  <a:pt x="1227" y="156"/>
                </a:cubicBezTo>
                <a:cubicBezTo>
                  <a:pt x="1227" y="156"/>
                  <a:pt x="1227" y="155"/>
                  <a:pt x="1227" y="154"/>
                </a:cubicBezTo>
                <a:cubicBezTo>
                  <a:pt x="1227" y="152"/>
                  <a:pt x="1227" y="149"/>
                  <a:pt x="1228" y="145"/>
                </a:cubicBezTo>
                <a:cubicBezTo>
                  <a:pt x="1228" y="142"/>
                  <a:pt x="1228" y="142"/>
                  <a:pt x="1228" y="142"/>
                </a:cubicBezTo>
                <a:cubicBezTo>
                  <a:pt x="1229" y="140"/>
                  <a:pt x="1229" y="140"/>
                  <a:pt x="1229" y="140"/>
                </a:cubicBezTo>
                <a:cubicBezTo>
                  <a:pt x="1230" y="135"/>
                  <a:pt x="1230" y="132"/>
                  <a:pt x="1230" y="130"/>
                </a:cubicBezTo>
                <a:cubicBezTo>
                  <a:pt x="1230" y="126"/>
                  <a:pt x="1229" y="123"/>
                  <a:pt x="1228" y="122"/>
                </a:cubicBezTo>
                <a:cubicBezTo>
                  <a:pt x="1227" y="120"/>
                  <a:pt x="1225" y="119"/>
                  <a:pt x="1222" y="119"/>
                </a:cubicBezTo>
                <a:cubicBezTo>
                  <a:pt x="1219" y="119"/>
                  <a:pt x="1217" y="120"/>
                  <a:pt x="1214" y="122"/>
                </a:cubicBezTo>
                <a:cubicBezTo>
                  <a:pt x="1211" y="124"/>
                  <a:pt x="1209" y="126"/>
                  <a:pt x="1207" y="129"/>
                </a:cubicBezTo>
                <a:close/>
                <a:moveTo>
                  <a:pt x="1267" y="153"/>
                </a:moveTo>
                <a:cubicBezTo>
                  <a:pt x="1266" y="150"/>
                  <a:pt x="1266" y="150"/>
                  <a:pt x="1266" y="150"/>
                </a:cubicBezTo>
                <a:cubicBezTo>
                  <a:pt x="1264" y="152"/>
                  <a:pt x="1262" y="153"/>
                  <a:pt x="1260" y="154"/>
                </a:cubicBezTo>
                <a:cubicBezTo>
                  <a:pt x="1258" y="155"/>
                  <a:pt x="1256" y="156"/>
                  <a:pt x="1254" y="156"/>
                </a:cubicBezTo>
                <a:cubicBezTo>
                  <a:pt x="1251" y="156"/>
                  <a:pt x="1249" y="154"/>
                  <a:pt x="1248" y="152"/>
                </a:cubicBezTo>
                <a:cubicBezTo>
                  <a:pt x="1246" y="150"/>
                  <a:pt x="1246" y="147"/>
                  <a:pt x="1246" y="143"/>
                </a:cubicBezTo>
                <a:cubicBezTo>
                  <a:pt x="1249" y="143"/>
                  <a:pt x="1252" y="143"/>
                  <a:pt x="1256" y="142"/>
                </a:cubicBezTo>
                <a:cubicBezTo>
                  <a:pt x="1259" y="140"/>
                  <a:pt x="1263" y="139"/>
                  <a:pt x="1265" y="136"/>
                </a:cubicBezTo>
                <a:cubicBezTo>
                  <a:pt x="1268" y="134"/>
                  <a:pt x="1269" y="131"/>
                  <a:pt x="1269" y="128"/>
                </a:cubicBezTo>
                <a:cubicBezTo>
                  <a:pt x="1269" y="125"/>
                  <a:pt x="1268" y="123"/>
                  <a:pt x="1267" y="122"/>
                </a:cubicBezTo>
                <a:cubicBezTo>
                  <a:pt x="1265" y="120"/>
                  <a:pt x="1263" y="119"/>
                  <a:pt x="1259" y="119"/>
                </a:cubicBezTo>
                <a:cubicBezTo>
                  <a:pt x="1255" y="119"/>
                  <a:pt x="1252" y="121"/>
                  <a:pt x="1249" y="123"/>
                </a:cubicBezTo>
                <a:cubicBezTo>
                  <a:pt x="1246" y="125"/>
                  <a:pt x="1243" y="128"/>
                  <a:pt x="1241" y="132"/>
                </a:cubicBezTo>
                <a:cubicBezTo>
                  <a:pt x="1240" y="136"/>
                  <a:pt x="1239" y="140"/>
                  <a:pt x="1239" y="145"/>
                </a:cubicBezTo>
                <a:cubicBezTo>
                  <a:pt x="1239" y="147"/>
                  <a:pt x="1239" y="150"/>
                  <a:pt x="1240" y="152"/>
                </a:cubicBezTo>
                <a:cubicBezTo>
                  <a:pt x="1241" y="155"/>
                  <a:pt x="1243" y="156"/>
                  <a:pt x="1245" y="158"/>
                </a:cubicBezTo>
                <a:cubicBezTo>
                  <a:pt x="1247" y="159"/>
                  <a:pt x="1249" y="160"/>
                  <a:pt x="1253" y="160"/>
                </a:cubicBezTo>
                <a:cubicBezTo>
                  <a:pt x="1256" y="160"/>
                  <a:pt x="1259" y="159"/>
                  <a:pt x="1261" y="158"/>
                </a:cubicBezTo>
                <a:cubicBezTo>
                  <a:pt x="1264" y="156"/>
                  <a:pt x="1266" y="154"/>
                  <a:pt x="1267" y="153"/>
                </a:cubicBezTo>
                <a:close/>
                <a:moveTo>
                  <a:pt x="1258" y="123"/>
                </a:moveTo>
                <a:cubicBezTo>
                  <a:pt x="1259" y="123"/>
                  <a:pt x="1260" y="124"/>
                  <a:pt x="1261" y="125"/>
                </a:cubicBezTo>
                <a:cubicBezTo>
                  <a:pt x="1262" y="125"/>
                  <a:pt x="1263" y="127"/>
                  <a:pt x="1263" y="129"/>
                </a:cubicBezTo>
                <a:cubicBezTo>
                  <a:pt x="1263" y="131"/>
                  <a:pt x="1262" y="133"/>
                  <a:pt x="1260" y="135"/>
                </a:cubicBezTo>
                <a:cubicBezTo>
                  <a:pt x="1258" y="136"/>
                  <a:pt x="1256" y="138"/>
                  <a:pt x="1253" y="139"/>
                </a:cubicBezTo>
                <a:cubicBezTo>
                  <a:pt x="1251" y="139"/>
                  <a:pt x="1248" y="140"/>
                  <a:pt x="1246" y="140"/>
                </a:cubicBezTo>
                <a:cubicBezTo>
                  <a:pt x="1246" y="138"/>
                  <a:pt x="1247" y="135"/>
                  <a:pt x="1248" y="132"/>
                </a:cubicBezTo>
                <a:cubicBezTo>
                  <a:pt x="1249" y="130"/>
                  <a:pt x="1250" y="127"/>
                  <a:pt x="1252" y="126"/>
                </a:cubicBezTo>
                <a:cubicBezTo>
                  <a:pt x="1254" y="124"/>
                  <a:pt x="1255" y="123"/>
                  <a:pt x="1258" y="123"/>
                </a:cubicBezTo>
                <a:close/>
                <a:moveTo>
                  <a:pt x="1303" y="153"/>
                </a:moveTo>
                <a:cubicBezTo>
                  <a:pt x="1302" y="150"/>
                  <a:pt x="1302" y="150"/>
                  <a:pt x="1302" y="150"/>
                </a:cubicBezTo>
                <a:cubicBezTo>
                  <a:pt x="1300" y="152"/>
                  <a:pt x="1298" y="153"/>
                  <a:pt x="1296" y="154"/>
                </a:cubicBezTo>
                <a:cubicBezTo>
                  <a:pt x="1294" y="155"/>
                  <a:pt x="1292" y="156"/>
                  <a:pt x="1290" y="156"/>
                </a:cubicBezTo>
                <a:cubicBezTo>
                  <a:pt x="1287" y="156"/>
                  <a:pt x="1285" y="154"/>
                  <a:pt x="1284" y="152"/>
                </a:cubicBezTo>
                <a:cubicBezTo>
                  <a:pt x="1282" y="150"/>
                  <a:pt x="1282" y="147"/>
                  <a:pt x="1282" y="143"/>
                </a:cubicBezTo>
                <a:cubicBezTo>
                  <a:pt x="1285" y="143"/>
                  <a:pt x="1288" y="143"/>
                  <a:pt x="1292" y="142"/>
                </a:cubicBezTo>
                <a:cubicBezTo>
                  <a:pt x="1295" y="140"/>
                  <a:pt x="1299" y="139"/>
                  <a:pt x="1301" y="136"/>
                </a:cubicBezTo>
                <a:cubicBezTo>
                  <a:pt x="1304" y="134"/>
                  <a:pt x="1305" y="131"/>
                  <a:pt x="1305" y="128"/>
                </a:cubicBezTo>
                <a:cubicBezTo>
                  <a:pt x="1305" y="125"/>
                  <a:pt x="1304" y="123"/>
                  <a:pt x="1303" y="122"/>
                </a:cubicBezTo>
                <a:cubicBezTo>
                  <a:pt x="1301" y="120"/>
                  <a:pt x="1299" y="119"/>
                  <a:pt x="1295" y="119"/>
                </a:cubicBezTo>
                <a:cubicBezTo>
                  <a:pt x="1291" y="119"/>
                  <a:pt x="1288" y="121"/>
                  <a:pt x="1285" y="123"/>
                </a:cubicBezTo>
                <a:cubicBezTo>
                  <a:pt x="1282" y="125"/>
                  <a:pt x="1279" y="128"/>
                  <a:pt x="1277" y="132"/>
                </a:cubicBezTo>
                <a:cubicBezTo>
                  <a:pt x="1275" y="136"/>
                  <a:pt x="1275" y="140"/>
                  <a:pt x="1275" y="145"/>
                </a:cubicBezTo>
                <a:cubicBezTo>
                  <a:pt x="1275" y="147"/>
                  <a:pt x="1275" y="150"/>
                  <a:pt x="1276" y="152"/>
                </a:cubicBezTo>
                <a:cubicBezTo>
                  <a:pt x="1277" y="155"/>
                  <a:pt x="1279" y="156"/>
                  <a:pt x="1281" y="158"/>
                </a:cubicBezTo>
                <a:cubicBezTo>
                  <a:pt x="1283" y="159"/>
                  <a:pt x="1285" y="160"/>
                  <a:pt x="1288" y="160"/>
                </a:cubicBezTo>
                <a:cubicBezTo>
                  <a:pt x="1292" y="160"/>
                  <a:pt x="1295" y="159"/>
                  <a:pt x="1297" y="158"/>
                </a:cubicBezTo>
                <a:cubicBezTo>
                  <a:pt x="1300" y="156"/>
                  <a:pt x="1302" y="154"/>
                  <a:pt x="1303" y="153"/>
                </a:cubicBezTo>
                <a:close/>
                <a:moveTo>
                  <a:pt x="1294" y="123"/>
                </a:moveTo>
                <a:cubicBezTo>
                  <a:pt x="1295" y="123"/>
                  <a:pt x="1296" y="124"/>
                  <a:pt x="1297" y="125"/>
                </a:cubicBezTo>
                <a:cubicBezTo>
                  <a:pt x="1298" y="125"/>
                  <a:pt x="1298" y="127"/>
                  <a:pt x="1298" y="129"/>
                </a:cubicBezTo>
                <a:cubicBezTo>
                  <a:pt x="1298" y="131"/>
                  <a:pt x="1298" y="133"/>
                  <a:pt x="1296" y="135"/>
                </a:cubicBezTo>
                <a:cubicBezTo>
                  <a:pt x="1294" y="136"/>
                  <a:pt x="1292" y="138"/>
                  <a:pt x="1289" y="139"/>
                </a:cubicBezTo>
                <a:cubicBezTo>
                  <a:pt x="1287" y="139"/>
                  <a:pt x="1284" y="140"/>
                  <a:pt x="1282" y="140"/>
                </a:cubicBezTo>
                <a:cubicBezTo>
                  <a:pt x="1282" y="138"/>
                  <a:pt x="1283" y="135"/>
                  <a:pt x="1284" y="132"/>
                </a:cubicBezTo>
                <a:cubicBezTo>
                  <a:pt x="1285" y="130"/>
                  <a:pt x="1286" y="127"/>
                  <a:pt x="1288" y="126"/>
                </a:cubicBezTo>
                <a:cubicBezTo>
                  <a:pt x="1289" y="124"/>
                  <a:pt x="1291" y="123"/>
                  <a:pt x="1294" y="123"/>
                </a:cubicBezTo>
                <a:close/>
                <a:moveTo>
                  <a:pt x="1322" y="129"/>
                </a:moveTo>
                <a:cubicBezTo>
                  <a:pt x="1323" y="127"/>
                  <a:pt x="1323" y="127"/>
                  <a:pt x="1323" y="127"/>
                </a:cubicBezTo>
                <a:cubicBezTo>
                  <a:pt x="1323" y="120"/>
                  <a:pt x="1323" y="120"/>
                  <a:pt x="1323" y="120"/>
                </a:cubicBezTo>
                <a:cubicBezTo>
                  <a:pt x="1322" y="119"/>
                  <a:pt x="1322" y="119"/>
                  <a:pt x="1322" y="119"/>
                </a:cubicBezTo>
                <a:cubicBezTo>
                  <a:pt x="1314" y="121"/>
                  <a:pt x="1314" y="121"/>
                  <a:pt x="1314" y="121"/>
                </a:cubicBezTo>
                <a:cubicBezTo>
                  <a:pt x="1313" y="124"/>
                  <a:pt x="1313" y="124"/>
                  <a:pt x="1313" y="124"/>
                </a:cubicBezTo>
                <a:cubicBezTo>
                  <a:pt x="1317" y="125"/>
                  <a:pt x="1317" y="125"/>
                  <a:pt x="1317" y="125"/>
                </a:cubicBezTo>
                <a:cubicBezTo>
                  <a:pt x="1312" y="159"/>
                  <a:pt x="1312" y="159"/>
                  <a:pt x="1312" y="159"/>
                </a:cubicBezTo>
                <a:cubicBezTo>
                  <a:pt x="1319" y="159"/>
                  <a:pt x="1319" y="159"/>
                  <a:pt x="1319" y="159"/>
                </a:cubicBezTo>
                <a:cubicBezTo>
                  <a:pt x="1322" y="134"/>
                  <a:pt x="1322" y="134"/>
                  <a:pt x="1322" y="134"/>
                </a:cubicBezTo>
                <a:cubicBezTo>
                  <a:pt x="1323" y="132"/>
                  <a:pt x="1325" y="130"/>
                  <a:pt x="1327" y="129"/>
                </a:cubicBezTo>
                <a:cubicBezTo>
                  <a:pt x="1329" y="127"/>
                  <a:pt x="1331" y="127"/>
                  <a:pt x="1333" y="127"/>
                </a:cubicBezTo>
                <a:cubicBezTo>
                  <a:pt x="1334" y="127"/>
                  <a:pt x="1335" y="127"/>
                  <a:pt x="1336" y="127"/>
                </a:cubicBezTo>
                <a:cubicBezTo>
                  <a:pt x="1338" y="120"/>
                  <a:pt x="1338" y="120"/>
                  <a:pt x="1338" y="120"/>
                </a:cubicBezTo>
                <a:cubicBezTo>
                  <a:pt x="1337" y="120"/>
                  <a:pt x="1336" y="119"/>
                  <a:pt x="1335" y="119"/>
                </a:cubicBezTo>
                <a:cubicBezTo>
                  <a:pt x="1333" y="119"/>
                  <a:pt x="1331" y="120"/>
                  <a:pt x="1330" y="121"/>
                </a:cubicBezTo>
                <a:cubicBezTo>
                  <a:pt x="1328" y="122"/>
                  <a:pt x="1326" y="123"/>
                  <a:pt x="1325" y="125"/>
                </a:cubicBezTo>
                <a:cubicBezTo>
                  <a:pt x="1324" y="126"/>
                  <a:pt x="1323" y="128"/>
                  <a:pt x="1322" y="129"/>
                </a:cubicBezTo>
                <a:close/>
                <a:moveTo>
                  <a:pt x="1349" y="153"/>
                </a:moveTo>
                <a:cubicBezTo>
                  <a:pt x="1354" y="120"/>
                  <a:pt x="1354" y="120"/>
                  <a:pt x="1354" y="120"/>
                </a:cubicBezTo>
                <a:cubicBezTo>
                  <a:pt x="1352" y="119"/>
                  <a:pt x="1352" y="119"/>
                  <a:pt x="1352" y="119"/>
                </a:cubicBezTo>
                <a:cubicBezTo>
                  <a:pt x="1342" y="121"/>
                  <a:pt x="1342" y="121"/>
                  <a:pt x="1342" y="121"/>
                </a:cubicBezTo>
                <a:cubicBezTo>
                  <a:pt x="1342" y="123"/>
                  <a:pt x="1342" y="123"/>
                  <a:pt x="1342" y="123"/>
                </a:cubicBezTo>
                <a:cubicBezTo>
                  <a:pt x="1346" y="125"/>
                  <a:pt x="1346" y="125"/>
                  <a:pt x="1346" y="125"/>
                </a:cubicBezTo>
                <a:cubicBezTo>
                  <a:pt x="1345" y="132"/>
                  <a:pt x="1345" y="138"/>
                  <a:pt x="1344" y="142"/>
                </a:cubicBezTo>
                <a:cubicBezTo>
                  <a:pt x="1343" y="150"/>
                  <a:pt x="1342" y="154"/>
                  <a:pt x="1342" y="156"/>
                </a:cubicBezTo>
                <a:cubicBezTo>
                  <a:pt x="1342" y="157"/>
                  <a:pt x="1342" y="158"/>
                  <a:pt x="1343" y="159"/>
                </a:cubicBezTo>
                <a:cubicBezTo>
                  <a:pt x="1344" y="160"/>
                  <a:pt x="1345" y="160"/>
                  <a:pt x="1347" y="160"/>
                </a:cubicBezTo>
                <a:cubicBezTo>
                  <a:pt x="1349" y="160"/>
                  <a:pt x="1350" y="159"/>
                  <a:pt x="1352" y="158"/>
                </a:cubicBezTo>
                <a:cubicBezTo>
                  <a:pt x="1353" y="157"/>
                  <a:pt x="1354" y="156"/>
                  <a:pt x="1355" y="155"/>
                </a:cubicBezTo>
                <a:cubicBezTo>
                  <a:pt x="1354" y="154"/>
                  <a:pt x="1354" y="154"/>
                  <a:pt x="1354" y="154"/>
                </a:cubicBezTo>
                <a:cubicBezTo>
                  <a:pt x="1353" y="154"/>
                  <a:pt x="1352" y="155"/>
                  <a:pt x="1352" y="155"/>
                </a:cubicBezTo>
                <a:cubicBezTo>
                  <a:pt x="1351" y="156"/>
                  <a:pt x="1351" y="156"/>
                  <a:pt x="1350" y="156"/>
                </a:cubicBezTo>
                <a:cubicBezTo>
                  <a:pt x="1350" y="156"/>
                  <a:pt x="1350" y="156"/>
                  <a:pt x="1349" y="155"/>
                </a:cubicBezTo>
                <a:cubicBezTo>
                  <a:pt x="1349" y="155"/>
                  <a:pt x="1349" y="155"/>
                  <a:pt x="1349" y="154"/>
                </a:cubicBezTo>
                <a:lnTo>
                  <a:pt x="1349" y="153"/>
                </a:lnTo>
                <a:close/>
                <a:moveTo>
                  <a:pt x="1351" y="112"/>
                </a:moveTo>
                <a:cubicBezTo>
                  <a:pt x="1353" y="112"/>
                  <a:pt x="1354" y="111"/>
                  <a:pt x="1355" y="110"/>
                </a:cubicBezTo>
                <a:cubicBezTo>
                  <a:pt x="1356" y="109"/>
                  <a:pt x="1356" y="108"/>
                  <a:pt x="1356" y="107"/>
                </a:cubicBezTo>
                <a:cubicBezTo>
                  <a:pt x="1356" y="106"/>
                  <a:pt x="1356" y="105"/>
                  <a:pt x="1355" y="104"/>
                </a:cubicBezTo>
                <a:cubicBezTo>
                  <a:pt x="1354" y="103"/>
                  <a:pt x="1353" y="103"/>
                  <a:pt x="1352" y="103"/>
                </a:cubicBezTo>
                <a:cubicBezTo>
                  <a:pt x="1351" y="103"/>
                  <a:pt x="1350" y="103"/>
                  <a:pt x="1349" y="104"/>
                </a:cubicBezTo>
                <a:cubicBezTo>
                  <a:pt x="1348" y="105"/>
                  <a:pt x="1348" y="107"/>
                  <a:pt x="1348" y="108"/>
                </a:cubicBezTo>
                <a:cubicBezTo>
                  <a:pt x="1348" y="109"/>
                  <a:pt x="1348" y="110"/>
                  <a:pt x="1349" y="111"/>
                </a:cubicBezTo>
                <a:cubicBezTo>
                  <a:pt x="1350" y="111"/>
                  <a:pt x="1350" y="112"/>
                  <a:pt x="1351" y="112"/>
                </a:cubicBezTo>
                <a:close/>
                <a:moveTo>
                  <a:pt x="1374" y="129"/>
                </a:moveTo>
                <a:cubicBezTo>
                  <a:pt x="1375" y="120"/>
                  <a:pt x="1375" y="120"/>
                  <a:pt x="1375" y="120"/>
                </a:cubicBezTo>
                <a:cubicBezTo>
                  <a:pt x="1374" y="119"/>
                  <a:pt x="1374" y="119"/>
                  <a:pt x="1374" y="119"/>
                </a:cubicBezTo>
                <a:cubicBezTo>
                  <a:pt x="1365" y="121"/>
                  <a:pt x="1365" y="121"/>
                  <a:pt x="1365" y="121"/>
                </a:cubicBezTo>
                <a:cubicBezTo>
                  <a:pt x="1365" y="124"/>
                  <a:pt x="1365" y="124"/>
                  <a:pt x="1365" y="124"/>
                </a:cubicBezTo>
                <a:cubicBezTo>
                  <a:pt x="1368" y="125"/>
                  <a:pt x="1368" y="125"/>
                  <a:pt x="1368" y="125"/>
                </a:cubicBezTo>
                <a:cubicBezTo>
                  <a:pt x="1364" y="159"/>
                  <a:pt x="1364" y="159"/>
                  <a:pt x="1364" y="159"/>
                </a:cubicBezTo>
                <a:cubicBezTo>
                  <a:pt x="1370" y="159"/>
                  <a:pt x="1370" y="159"/>
                  <a:pt x="1370" y="159"/>
                </a:cubicBezTo>
                <a:cubicBezTo>
                  <a:pt x="1374" y="134"/>
                  <a:pt x="1374" y="134"/>
                  <a:pt x="1374" y="134"/>
                </a:cubicBezTo>
                <a:cubicBezTo>
                  <a:pt x="1375" y="131"/>
                  <a:pt x="1377" y="129"/>
                  <a:pt x="1380" y="127"/>
                </a:cubicBezTo>
                <a:cubicBezTo>
                  <a:pt x="1382" y="125"/>
                  <a:pt x="1384" y="124"/>
                  <a:pt x="1386" y="124"/>
                </a:cubicBezTo>
                <a:cubicBezTo>
                  <a:pt x="1388" y="124"/>
                  <a:pt x="1389" y="125"/>
                  <a:pt x="1389" y="126"/>
                </a:cubicBezTo>
                <a:cubicBezTo>
                  <a:pt x="1390" y="127"/>
                  <a:pt x="1390" y="128"/>
                  <a:pt x="1390" y="130"/>
                </a:cubicBezTo>
                <a:cubicBezTo>
                  <a:pt x="1390" y="132"/>
                  <a:pt x="1390" y="134"/>
                  <a:pt x="1390" y="135"/>
                </a:cubicBezTo>
                <a:cubicBezTo>
                  <a:pt x="1390" y="137"/>
                  <a:pt x="1389" y="140"/>
                  <a:pt x="1389" y="142"/>
                </a:cubicBezTo>
                <a:cubicBezTo>
                  <a:pt x="1388" y="144"/>
                  <a:pt x="1388" y="144"/>
                  <a:pt x="1388" y="144"/>
                </a:cubicBezTo>
                <a:cubicBezTo>
                  <a:pt x="1388" y="147"/>
                  <a:pt x="1388" y="147"/>
                  <a:pt x="1388" y="147"/>
                </a:cubicBezTo>
                <a:cubicBezTo>
                  <a:pt x="1387" y="151"/>
                  <a:pt x="1387" y="154"/>
                  <a:pt x="1387" y="156"/>
                </a:cubicBezTo>
                <a:cubicBezTo>
                  <a:pt x="1387" y="159"/>
                  <a:pt x="1388" y="160"/>
                  <a:pt x="1391" y="160"/>
                </a:cubicBezTo>
                <a:cubicBezTo>
                  <a:pt x="1392" y="160"/>
                  <a:pt x="1394" y="160"/>
                  <a:pt x="1395" y="159"/>
                </a:cubicBezTo>
                <a:cubicBezTo>
                  <a:pt x="1396" y="159"/>
                  <a:pt x="1397" y="158"/>
                  <a:pt x="1397" y="157"/>
                </a:cubicBezTo>
                <a:cubicBezTo>
                  <a:pt x="1398" y="157"/>
                  <a:pt x="1399" y="156"/>
                  <a:pt x="1399" y="156"/>
                </a:cubicBezTo>
                <a:cubicBezTo>
                  <a:pt x="1398" y="154"/>
                  <a:pt x="1398" y="154"/>
                  <a:pt x="1398" y="154"/>
                </a:cubicBezTo>
                <a:cubicBezTo>
                  <a:pt x="1397" y="155"/>
                  <a:pt x="1396" y="156"/>
                  <a:pt x="1395" y="156"/>
                </a:cubicBezTo>
                <a:cubicBezTo>
                  <a:pt x="1394" y="156"/>
                  <a:pt x="1394" y="155"/>
                  <a:pt x="1394" y="154"/>
                </a:cubicBezTo>
                <a:cubicBezTo>
                  <a:pt x="1394" y="152"/>
                  <a:pt x="1394" y="149"/>
                  <a:pt x="1395" y="145"/>
                </a:cubicBezTo>
                <a:cubicBezTo>
                  <a:pt x="1395" y="142"/>
                  <a:pt x="1395" y="142"/>
                  <a:pt x="1395" y="142"/>
                </a:cubicBezTo>
                <a:cubicBezTo>
                  <a:pt x="1396" y="140"/>
                  <a:pt x="1396" y="140"/>
                  <a:pt x="1396" y="140"/>
                </a:cubicBezTo>
                <a:cubicBezTo>
                  <a:pt x="1397" y="135"/>
                  <a:pt x="1397" y="132"/>
                  <a:pt x="1397" y="130"/>
                </a:cubicBezTo>
                <a:cubicBezTo>
                  <a:pt x="1397" y="126"/>
                  <a:pt x="1397" y="123"/>
                  <a:pt x="1395" y="122"/>
                </a:cubicBezTo>
                <a:cubicBezTo>
                  <a:pt x="1394" y="120"/>
                  <a:pt x="1392" y="119"/>
                  <a:pt x="1389" y="119"/>
                </a:cubicBezTo>
                <a:cubicBezTo>
                  <a:pt x="1386" y="119"/>
                  <a:pt x="1384" y="120"/>
                  <a:pt x="1381" y="122"/>
                </a:cubicBezTo>
                <a:cubicBezTo>
                  <a:pt x="1379" y="124"/>
                  <a:pt x="1376" y="126"/>
                  <a:pt x="1374" y="129"/>
                </a:cubicBezTo>
                <a:close/>
                <a:moveTo>
                  <a:pt x="1433" y="162"/>
                </a:moveTo>
                <a:cubicBezTo>
                  <a:pt x="1440" y="119"/>
                  <a:pt x="1440" y="119"/>
                  <a:pt x="1440" y="119"/>
                </a:cubicBezTo>
                <a:cubicBezTo>
                  <a:pt x="1435" y="121"/>
                  <a:pt x="1435" y="121"/>
                  <a:pt x="1435" y="121"/>
                </a:cubicBezTo>
                <a:cubicBezTo>
                  <a:pt x="1434" y="121"/>
                  <a:pt x="1433" y="120"/>
                  <a:pt x="1432" y="120"/>
                </a:cubicBezTo>
                <a:cubicBezTo>
                  <a:pt x="1430" y="120"/>
                  <a:pt x="1429" y="119"/>
                  <a:pt x="1428" y="119"/>
                </a:cubicBezTo>
                <a:cubicBezTo>
                  <a:pt x="1423" y="119"/>
                  <a:pt x="1419" y="121"/>
                  <a:pt x="1416" y="123"/>
                </a:cubicBezTo>
                <a:cubicBezTo>
                  <a:pt x="1412" y="126"/>
                  <a:pt x="1410" y="129"/>
                  <a:pt x="1408" y="133"/>
                </a:cubicBezTo>
                <a:cubicBezTo>
                  <a:pt x="1406" y="137"/>
                  <a:pt x="1405" y="141"/>
                  <a:pt x="1405" y="145"/>
                </a:cubicBezTo>
                <a:cubicBezTo>
                  <a:pt x="1405" y="150"/>
                  <a:pt x="1406" y="153"/>
                  <a:pt x="1408" y="156"/>
                </a:cubicBezTo>
                <a:cubicBezTo>
                  <a:pt x="1410" y="159"/>
                  <a:pt x="1413" y="160"/>
                  <a:pt x="1417" y="160"/>
                </a:cubicBezTo>
                <a:cubicBezTo>
                  <a:pt x="1419" y="160"/>
                  <a:pt x="1421" y="159"/>
                  <a:pt x="1423" y="158"/>
                </a:cubicBezTo>
                <a:cubicBezTo>
                  <a:pt x="1425" y="157"/>
                  <a:pt x="1426" y="156"/>
                  <a:pt x="1428" y="155"/>
                </a:cubicBezTo>
                <a:cubicBezTo>
                  <a:pt x="1426" y="164"/>
                  <a:pt x="1426" y="164"/>
                  <a:pt x="1426" y="164"/>
                </a:cubicBezTo>
                <a:cubicBezTo>
                  <a:pt x="1426" y="167"/>
                  <a:pt x="1425" y="169"/>
                  <a:pt x="1424" y="170"/>
                </a:cubicBezTo>
                <a:cubicBezTo>
                  <a:pt x="1422" y="172"/>
                  <a:pt x="1420" y="172"/>
                  <a:pt x="1417" y="172"/>
                </a:cubicBezTo>
                <a:cubicBezTo>
                  <a:pt x="1415" y="172"/>
                  <a:pt x="1414" y="172"/>
                  <a:pt x="1412" y="171"/>
                </a:cubicBezTo>
                <a:cubicBezTo>
                  <a:pt x="1410" y="171"/>
                  <a:pt x="1409" y="170"/>
                  <a:pt x="1408" y="170"/>
                </a:cubicBezTo>
                <a:cubicBezTo>
                  <a:pt x="1406" y="175"/>
                  <a:pt x="1406" y="175"/>
                  <a:pt x="1406" y="175"/>
                </a:cubicBezTo>
                <a:cubicBezTo>
                  <a:pt x="1407" y="176"/>
                  <a:pt x="1408" y="176"/>
                  <a:pt x="1410" y="176"/>
                </a:cubicBezTo>
                <a:cubicBezTo>
                  <a:pt x="1411" y="177"/>
                  <a:pt x="1413" y="177"/>
                  <a:pt x="1414" y="177"/>
                </a:cubicBezTo>
                <a:cubicBezTo>
                  <a:pt x="1417" y="177"/>
                  <a:pt x="1420" y="176"/>
                  <a:pt x="1423" y="175"/>
                </a:cubicBezTo>
                <a:cubicBezTo>
                  <a:pt x="1425" y="174"/>
                  <a:pt x="1428" y="173"/>
                  <a:pt x="1430" y="170"/>
                </a:cubicBezTo>
                <a:cubicBezTo>
                  <a:pt x="1432" y="168"/>
                  <a:pt x="1433" y="165"/>
                  <a:pt x="1433" y="162"/>
                </a:cubicBezTo>
                <a:close/>
                <a:moveTo>
                  <a:pt x="1432" y="125"/>
                </a:moveTo>
                <a:cubicBezTo>
                  <a:pt x="1428" y="150"/>
                  <a:pt x="1428" y="150"/>
                  <a:pt x="1428" y="150"/>
                </a:cubicBezTo>
                <a:cubicBezTo>
                  <a:pt x="1427" y="151"/>
                  <a:pt x="1426" y="153"/>
                  <a:pt x="1424" y="154"/>
                </a:cubicBezTo>
                <a:cubicBezTo>
                  <a:pt x="1423" y="155"/>
                  <a:pt x="1421" y="155"/>
                  <a:pt x="1419" y="155"/>
                </a:cubicBezTo>
                <a:cubicBezTo>
                  <a:pt x="1417" y="155"/>
                  <a:pt x="1415" y="155"/>
                  <a:pt x="1414" y="153"/>
                </a:cubicBezTo>
                <a:cubicBezTo>
                  <a:pt x="1413" y="151"/>
                  <a:pt x="1412" y="148"/>
                  <a:pt x="1412" y="145"/>
                </a:cubicBezTo>
                <a:cubicBezTo>
                  <a:pt x="1412" y="142"/>
                  <a:pt x="1413" y="138"/>
                  <a:pt x="1414" y="135"/>
                </a:cubicBezTo>
                <a:cubicBezTo>
                  <a:pt x="1415" y="132"/>
                  <a:pt x="1417" y="129"/>
                  <a:pt x="1419" y="127"/>
                </a:cubicBezTo>
                <a:cubicBezTo>
                  <a:pt x="1421" y="124"/>
                  <a:pt x="1424" y="123"/>
                  <a:pt x="1427" y="123"/>
                </a:cubicBezTo>
                <a:cubicBezTo>
                  <a:pt x="1429" y="123"/>
                  <a:pt x="1431" y="124"/>
                  <a:pt x="1432" y="125"/>
                </a:cubicBezTo>
                <a:close/>
                <a:moveTo>
                  <a:pt x="1076" y="242"/>
                </a:moveTo>
                <a:cubicBezTo>
                  <a:pt x="1072" y="249"/>
                  <a:pt x="1072" y="249"/>
                  <a:pt x="1072" y="249"/>
                </a:cubicBezTo>
                <a:cubicBezTo>
                  <a:pt x="1072" y="242"/>
                  <a:pt x="1072" y="242"/>
                  <a:pt x="1072" y="242"/>
                </a:cubicBezTo>
                <a:cubicBezTo>
                  <a:pt x="1066" y="208"/>
                  <a:pt x="1066" y="208"/>
                  <a:pt x="1066" y="208"/>
                </a:cubicBezTo>
                <a:cubicBezTo>
                  <a:pt x="1050" y="208"/>
                  <a:pt x="1050" y="208"/>
                  <a:pt x="1050" y="208"/>
                </a:cubicBezTo>
                <a:cubicBezTo>
                  <a:pt x="1049" y="211"/>
                  <a:pt x="1049" y="211"/>
                  <a:pt x="1049" y="211"/>
                </a:cubicBezTo>
                <a:cubicBezTo>
                  <a:pt x="1056" y="212"/>
                  <a:pt x="1056" y="212"/>
                  <a:pt x="1056" y="212"/>
                </a:cubicBezTo>
                <a:cubicBezTo>
                  <a:pt x="1045" y="256"/>
                  <a:pt x="1045" y="256"/>
                  <a:pt x="1045" y="256"/>
                </a:cubicBezTo>
                <a:cubicBezTo>
                  <a:pt x="1039" y="257"/>
                  <a:pt x="1039" y="257"/>
                  <a:pt x="1039" y="257"/>
                </a:cubicBezTo>
                <a:cubicBezTo>
                  <a:pt x="1039" y="260"/>
                  <a:pt x="1039" y="260"/>
                  <a:pt x="1039" y="260"/>
                </a:cubicBezTo>
                <a:cubicBezTo>
                  <a:pt x="1057" y="260"/>
                  <a:pt x="1057" y="260"/>
                  <a:pt x="1057" y="260"/>
                </a:cubicBezTo>
                <a:cubicBezTo>
                  <a:pt x="1057" y="257"/>
                  <a:pt x="1057" y="257"/>
                  <a:pt x="1057" y="257"/>
                </a:cubicBezTo>
                <a:cubicBezTo>
                  <a:pt x="1050" y="256"/>
                  <a:pt x="1050" y="256"/>
                  <a:pt x="1050" y="256"/>
                </a:cubicBezTo>
                <a:cubicBezTo>
                  <a:pt x="1057" y="225"/>
                  <a:pt x="1057" y="225"/>
                  <a:pt x="1057" y="225"/>
                </a:cubicBezTo>
                <a:cubicBezTo>
                  <a:pt x="1060" y="211"/>
                  <a:pt x="1060" y="211"/>
                  <a:pt x="1060" y="211"/>
                </a:cubicBezTo>
                <a:cubicBezTo>
                  <a:pt x="1062" y="225"/>
                  <a:pt x="1062" y="225"/>
                  <a:pt x="1062" y="225"/>
                </a:cubicBezTo>
                <a:cubicBezTo>
                  <a:pt x="1068" y="261"/>
                  <a:pt x="1068" y="261"/>
                  <a:pt x="1068" y="261"/>
                </a:cubicBezTo>
                <a:cubicBezTo>
                  <a:pt x="1072" y="260"/>
                  <a:pt x="1072" y="260"/>
                  <a:pt x="1072" y="260"/>
                </a:cubicBezTo>
                <a:cubicBezTo>
                  <a:pt x="1088" y="224"/>
                  <a:pt x="1088" y="224"/>
                  <a:pt x="1088" y="224"/>
                </a:cubicBezTo>
                <a:cubicBezTo>
                  <a:pt x="1094" y="211"/>
                  <a:pt x="1094" y="211"/>
                  <a:pt x="1094" y="211"/>
                </a:cubicBezTo>
                <a:cubicBezTo>
                  <a:pt x="1093" y="225"/>
                  <a:pt x="1093" y="225"/>
                  <a:pt x="1093" y="225"/>
                </a:cubicBezTo>
                <a:cubicBezTo>
                  <a:pt x="1091" y="256"/>
                  <a:pt x="1091" y="256"/>
                  <a:pt x="1091" y="256"/>
                </a:cubicBezTo>
                <a:cubicBezTo>
                  <a:pt x="1085" y="257"/>
                  <a:pt x="1085" y="257"/>
                  <a:pt x="1085" y="257"/>
                </a:cubicBezTo>
                <a:cubicBezTo>
                  <a:pt x="1084" y="260"/>
                  <a:pt x="1084" y="260"/>
                  <a:pt x="1084" y="260"/>
                </a:cubicBezTo>
                <a:cubicBezTo>
                  <a:pt x="1104" y="260"/>
                  <a:pt x="1104" y="260"/>
                  <a:pt x="1104" y="260"/>
                </a:cubicBezTo>
                <a:cubicBezTo>
                  <a:pt x="1104" y="257"/>
                  <a:pt x="1104" y="257"/>
                  <a:pt x="1104" y="257"/>
                </a:cubicBezTo>
                <a:cubicBezTo>
                  <a:pt x="1098" y="256"/>
                  <a:pt x="1098" y="256"/>
                  <a:pt x="1098" y="256"/>
                </a:cubicBezTo>
                <a:cubicBezTo>
                  <a:pt x="1099" y="212"/>
                  <a:pt x="1099" y="212"/>
                  <a:pt x="1099" y="212"/>
                </a:cubicBezTo>
                <a:cubicBezTo>
                  <a:pt x="1106" y="211"/>
                  <a:pt x="1106" y="211"/>
                  <a:pt x="1106" y="211"/>
                </a:cubicBezTo>
                <a:cubicBezTo>
                  <a:pt x="1106" y="208"/>
                  <a:pt x="1106" y="208"/>
                  <a:pt x="1106" y="208"/>
                </a:cubicBezTo>
                <a:cubicBezTo>
                  <a:pt x="1091" y="208"/>
                  <a:pt x="1091" y="208"/>
                  <a:pt x="1091" y="208"/>
                </a:cubicBezTo>
                <a:cubicBezTo>
                  <a:pt x="1090" y="211"/>
                  <a:pt x="1087" y="217"/>
                  <a:pt x="1083" y="225"/>
                </a:cubicBezTo>
                <a:cubicBezTo>
                  <a:pt x="1079" y="233"/>
                  <a:pt x="1077" y="239"/>
                  <a:pt x="1076" y="242"/>
                </a:cubicBezTo>
                <a:close/>
                <a:moveTo>
                  <a:pt x="1138" y="253"/>
                </a:moveTo>
                <a:cubicBezTo>
                  <a:pt x="1136" y="251"/>
                  <a:pt x="1136" y="251"/>
                  <a:pt x="1136" y="251"/>
                </a:cubicBezTo>
                <a:cubicBezTo>
                  <a:pt x="1134" y="253"/>
                  <a:pt x="1133" y="254"/>
                  <a:pt x="1131" y="255"/>
                </a:cubicBezTo>
                <a:cubicBezTo>
                  <a:pt x="1129" y="256"/>
                  <a:pt x="1126" y="256"/>
                  <a:pt x="1124" y="256"/>
                </a:cubicBezTo>
                <a:cubicBezTo>
                  <a:pt x="1121" y="256"/>
                  <a:pt x="1119" y="255"/>
                  <a:pt x="1118" y="253"/>
                </a:cubicBezTo>
                <a:cubicBezTo>
                  <a:pt x="1117" y="250"/>
                  <a:pt x="1116" y="247"/>
                  <a:pt x="1116" y="244"/>
                </a:cubicBezTo>
                <a:cubicBezTo>
                  <a:pt x="1119" y="244"/>
                  <a:pt x="1123" y="244"/>
                  <a:pt x="1126" y="242"/>
                </a:cubicBezTo>
                <a:cubicBezTo>
                  <a:pt x="1130" y="241"/>
                  <a:pt x="1133" y="240"/>
                  <a:pt x="1136" y="237"/>
                </a:cubicBezTo>
                <a:cubicBezTo>
                  <a:pt x="1138" y="235"/>
                  <a:pt x="1140" y="232"/>
                  <a:pt x="1140" y="229"/>
                </a:cubicBezTo>
                <a:cubicBezTo>
                  <a:pt x="1140" y="226"/>
                  <a:pt x="1139" y="224"/>
                  <a:pt x="1137" y="223"/>
                </a:cubicBezTo>
                <a:cubicBezTo>
                  <a:pt x="1135" y="221"/>
                  <a:pt x="1133" y="220"/>
                  <a:pt x="1130" y="220"/>
                </a:cubicBezTo>
                <a:cubicBezTo>
                  <a:pt x="1126" y="220"/>
                  <a:pt x="1122" y="221"/>
                  <a:pt x="1119" y="224"/>
                </a:cubicBezTo>
                <a:cubicBezTo>
                  <a:pt x="1116" y="226"/>
                  <a:pt x="1114" y="229"/>
                  <a:pt x="1112" y="233"/>
                </a:cubicBezTo>
                <a:cubicBezTo>
                  <a:pt x="1110" y="237"/>
                  <a:pt x="1109" y="241"/>
                  <a:pt x="1109" y="246"/>
                </a:cubicBezTo>
                <a:cubicBezTo>
                  <a:pt x="1109" y="248"/>
                  <a:pt x="1110" y="251"/>
                  <a:pt x="1111" y="253"/>
                </a:cubicBezTo>
                <a:cubicBezTo>
                  <a:pt x="1111" y="255"/>
                  <a:pt x="1113" y="257"/>
                  <a:pt x="1115" y="259"/>
                </a:cubicBezTo>
                <a:cubicBezTo>
                  <a:pt x="1117" y="260"/>
                  <a:pt x="1120" y="261"/>
                  <a:pt x="1123" y="261"/>
                </a:cubicBezTo>
                <a:cubicBezTo>
                  <a:pt x="1126" y="261"/>
                  <a:pt x="1129" y="260"/>
                  <a:pt x="1132" y="258"/>
                </a:cubicBezTo>
                <a:cubicBezTo>
                  <a:pt x="1135" y="257"/>
                  <a:pt x="1136" y="255"/>
                  <a:pt x="1138" y="253"/>
                </a:cubicBezTo>
                <a:close/>
                <a:moveTo>
                  <a:pt x="1128" y="224"/>
                </a:moveTo>
                <a:cubicBezTo>
                  <a:pt x="1130" y="224"/>
                  <a:pt x="1131" y="224"/>
                  <a:pt x="1132" y="225"/>
                </a:cubicBezTo>
                <a:cubicBezTo>
                  <a:pt x="1132" y="226"/>
                  <a:pt x="1133" y="228"/>
                  <a:pt x="1133" y="229"/>
                </a:cubicBezTo>
                <a:cubicBezTo>
                  <a:pt x="1133" y="232"/>
                  <a:pt x="1132" y="234"/>
                  <a:pt x="1130" y="235"/>
                </a:cubicBezTo>
                <a:cubicBezTo>
                  <a:pt x="1129" y="237"/>
                  <a:pt x="1126" y="238"/>
                  <a:pt x="1124" y="239"/>
                </a:cubicBezTo>
                <a:cubicBezTo>
                  <a:pt x="1121" y="240"/>
                  <a:pt x="1119" y="241"/>
                  <a:pt x="1116" y="241"/>
                </a:cubicBezTo>
                <a:cubicBezTo>
                  <a:pt x="1117" y="238"/>
                  <a:pt x="1117" y="236"/>
                  <a:pt x="1118" y="233"/>
                </a:cubicBezTo>
                <a:cubicBezTo>
                  <a:pt x="1119" y="230"/>
                  <a:pt x="1121" y="228"/>
                  <a:pt x="1122" y="226"/>
                </a:cubicBezTo>
                <a:cubicBezTo>
                  <a:pt x="1124" y="225"/>
                  <a:pt x="1126" y="224"/>
                  <a:pt x="1128" y="224"/>
                </a:cubicBezTo>
                <a:close/>
                <a:moveTo>
                  <a:pt x="1175" y="254"/>
                </a:moveTo>
                <a:cubicBezTo>
                  <a:pt x="1182" y="204"/>
                  <a:pt x="1182" y="204"/>
                  <a:pt x="1182" y="204"/>
                </a:cubicBezTo>
                <a:cubicBezTo>
                  <a:pt x="1181" y="204"/>
                  <a:pt x="1181" y="204"/>
                  <a:pt x="1181" y="204"/>
                </a:cubicBezTo>
                <a:cubicBezTo>
                  <a:pt x="1171" y="205"/>
                  <a:pt x="1171" y="205"/>
                  <a:pt x="1171" y="205"/>
                </a:cubicBezTo>
                <a:cubicBezTo>
                  <a:pt x="1170" y="207"/>
                  <a:pt x="1170" y="207"/>
                  <a:pt x="1170" y="207"/>
                </a:cubicBezTo>
                <a:cubicBezTo>
                  <a:pt x="1175" y="208"/>
                  <a:pt x="1175" y="208"/>
                  <a:pt x="1175" y="208"/>
                </a:cubicBezTo>
                <a:cubicBezTo>
                  <a:pt x="1173" y="221"/>
                  <a:pt x="1173" y="221"/>
                  <a:pt x="1173" y="221"/>
                </a:cubicBezTo>
                <a:cubicBezTo>
                  <a:pt x="1171" y="220"/>
                  <a:pt x="1169" y="220"/>
                  <a:pt x="1168" y="220"/>
                </a:cubicBezTo>
                <a:cubicBezTo>
                  <a:pt x="1163" y="220"/>
                  <a:pt x="1159" y="222"/>
                  <a:pt x="1156" y="224"/>
                </a:cubicBezTo>
                <a:cubicBezTo>
                  <a:pt x="1152" y="227"/>
                  <a:pt x="1150" y="230"/>
                  <a:pt x="1148" y="234"/>
                </a:cubicBezTo>
                <a:cubicBezTo>
                  <a:pt x="1146" y="238"/>
                  <a:pt x="1145" y="242"/>
                  <a:pt x="1145" y="246"/>
                </a:cubicBezTo>
                <a:cubicBezTo>
                  <a:pt x="1145" y="250"/>
                  <a:pt x="1146" y="254"/>
                  <a:pt x="1148" y="257"/>
                </a:cubicBezTo>
                <a:cubicBezTo>
                  <a:pt x="1150" y="259"/>
                  <a:pt x="1153" y="261"/>
                  <a:pt x="1157" y="261"/>
                </a:cubicBezTo>
                <a:cubicBezTo>
                  <a:pt x="1159" y="261"/>
                  <a:pt x="1162" y="260"/>
                  <a:pt x="1163" y="259"/>
                </a:cubicBezTo>
                <a:cubicBezTo>
                  <a:pt x="1165" y="258"/>
                  <a:pt x="1167" y="256"/>
                  <a:pt x="1168" y="255"/>
                </a:cubicBezTo>
                <a:cubicBezTo>
                  <a:pt x="1168" y="256"/>
                  <a:pt x="1168" y="256"/>
                  <a:pt x="1168" y="256"/>
                </a:cubicBezTo>
                <a:cubicBezTo>
                  <a:pt x="1168" y="259"/>
                  <a:pt x="1170" y="261"/>
                  <a:pt x="1173" y="261"/>
                </a:cubicBezTo>
                <a:cubicBezTo>
                  <a:pt x="1174" y="261"/>
                  <a:pt x="1176" y="260"/>
                  <a:pt x="1177" y="259"/>
                </a:cubicBezTo>
                <a:cubicBezTo>
                  <a:pt x="1178" y="258"/>
                  <a:pt x="1179" y="257"/>
                  <a:pt x="1180" y="256"/>
                </a:cubicBezTo>
                <a:cubicBezTo>
                  <a:pt x="1179" y="255"/>
                  <a:pt x="1179" y="255"/>
                  <a:pt x="1179" y="255"/>
                </a:cubicBezTo>
                <a:cubicBezTo>
                  <a:pt x="1178" y="256"/>
                  <a:pt x="1177" y="256"/>
                  <a:pt x="1176" y="256"/>
                </a:cubicBezTo>
                <a:cubicBezTo>
                  <a:pt x="1175" y="256"/>
                  <a:pt x="1175" y="256"/>
                  <a:pt x="1175" y="255"/>
                </a:cubicBezTo>
                <a:cubicBezTo>
                  <a:pt x="1175" y="254"/>
                  <a:pt x="1175" y="254"/>
                  <a:pt x="1175" y="254"/>
                </a:cubicBezTo>
                <a:close/>
                <a:moveTo>
                  <a:pt x="1172" y="225"/>
                </a:moveTo>
                <a:cubicBezTo>
                  <a:pt x="1169" y="250"/>
                  <a:pt x="1169" y="250"/>
                  <a:pt x="1169" y="250"/>
                </a:cubicBezTo>
                <a:cubicBezTo>
                  <a:pt x="1168" y="252"/>
                  <a:pt x="1166" y="253"/>
                  <a:pt x="1164" y="254"/>
                </a:cubicBezTo>
                <a:cubicBezTo>
                  <a:pt x="1163" y="256"/>
                  <a:pt x="1161" y="256"/>
                  <a:pt x="1159" y="256"/>
                </a:cubicBezTo>
                <a:cubicBezTo>
                  <a:pt x="1157" y="256"/>
                  <a:pt x="1155" y="255"/>
                  <a:pt x="1154" y="253"/>
                </a:cubicBezTo>
                <a:cubicBezTo>
                  <a:pt x="1153" y="252"/>
                  <a:pt x="1153" y="249"/>
                  <a:pt x="1153" y="246"/>
                </a:cubicBezTo>
                <a:cubicBezTo>
                  <a:pt x="1153" y="242"/>
                  <a:pt x="1153" y="239"/>
                  <a:pt x="1154" y="236"/>
                </a:cubicBezTo>
                <a:cubicBezTo>
                  <a:pt x="1155" y="232"/>
                  <a:pt x="1157" y="230"/>
                  <a:pt x="1159" y="227"/>
                </a:cubicBezTo>
                <a:cubicBezTo>
                  <a:pt x="1161" y="225"/>
                  <a:pt x="1164" y="224"/>
                  <a:pt x="1167" y="224"/>
                </a:cubicBezTo>
                <a:cubicBezTo>
                  <a:pt x="1169" y="224"/>
                  <a:pt x="1171" y="224"/>
                  <a:pt x="1172" y="225"/>
                </a:cubicBezTo>
                <a:close/>
                <a:moveTo>
                  <a:pt x="1198" y="254"/>
                </a:moveTo>
                <a:cubicBezTo>
                  <a:pt x="1202" y="221"/>
                  <a:pt x="1202" y="221"/>
                  <a:pt x="1202" y="221"/>
                </a:cubicBezTo>
                <a:cubicBezTo>
                  <a:pt x="1201" y="220"/>
                  <a:pt x="1201" y="220"/>
                  <a:pt x="1201" y="220"/>
                </a:cubicBezTo>
                <a:cubicBezTo>
                  <a:pt x="1191" y="222"/>
                  <a:pt x="1191" y="222"/>
                  <a:pt x="1191" y="222"/>
                </a:cubicBezTo>
                <a:cubicBezTo>
                  <a:pt x="1190" y="224"/>
                  <a:pt x="1190" y="224"/>
                  <a:pt x="1190" y="224"/>
                </a:cubicBezTo>
                <a:cubicBezTo>
                  <a:pt x="1195" y="226"/>
                  <a:pt x="1195" y="226"/>
                  <a:pt x="1195" y="226"/>
                </a:cubicBezTo>
                <a:cubicBezTo>
                  <a:pt x="1194" y="233"/>
                  <a:pt x="1193" y="239"/>
                  <a:pt x="1192" y="243"/>
                </a:cubicBezTo>
                <a:cubicBezTo>
                  <a:pt x="1191" y="251"/>
                  <a:pt x="1191" y="255"/>
                  <a:pt x="1191" y="256"/>
                </a:cubicBezTo>
                <a:cubicBezTo>
                  <a:pt x="1190" y="258"/>
                  <a:pt x="1191" y="259"/>
                  <a:pt x="1192" y="260"/>
                </a:cubicBezTo>
                <a:cubicBezTo>
                  <a:pt x="1192" y="260"/>
                  <a:pt x="1194" y="261"/>
                  <a:pt x="1195" y="261"/>
                </a:cubicBezTo>
                <a:cubicBezTo>
                  <a:pt x="1197" y="261"/>
                  <a:pt x="1199" y="260"/>
                  <a:pt x="1200" y="259"/>
                </a:cubicBezTo>
                <a:cubicBezTo>
                  <a:pt x="1202" y="258"/>
                  <a:pt x="1203" y="257"/>
                  <a:pt x="1203" y="256"/>
                </a:cubicBezTo>
                <a:cubicBezTo>
                  <a:pt x="1202" y="254"/>
                  <a:pt x="1202" y="254"/>
                  <a:pt x="1202" y="254"/>
                </a:cubicBezTo>
                <a:cubicBezTo>
                  <a:pt x="1202" y="255"/>
                  <a:pt x="1201" y="256"/>
                  <a:pt x="1200" y="256"/>
                </a:cubicBezTo>
                <a:cubicBezTo>
                  <a:pt x="1200" y="256"/>
                  <a:pt x="1199" y="256"/>
                  <a:pt x="1199" y="256"/>
                </a:cubicBezTo>
                <a:cubicBezTo>
                  <a:pt x="1198" y="256"/>
                  <a:pt x="1198" y="256"/>
                  <a:pt x="1198" y="256"/>
                </a:cubicBezTo>
                <a:cubicBezTo>
                  <a:pt x="1198" y="256"/>
                  <a:pt x="1198" y="255"/>
                  <a:pt x="1198" y="255"/>
                </a:cubicBezTo>
                <a:lnTo>
                  <a:pt x="1198" y="254"/>
                </a:lnTo>
                <a:close/>
                <a:moveTo>
                  <a:pt x="1200" y="213"/>
                </a:moveTo>
                <a:cubicBezTo>
                  <a:pt x="1201" y="213"/>
                  <a:pt x="1202" y="212"/>
                  <a:pt x="1203" y="211"/>
                </a:cubicBezTo>
                <a:cubicBezTo>
                  <a:pt x="1204" y="210"/>
                  <a:pt x="1205" y="209"/>
                  <a:pt x="1205" y="207"/>
                </a:cubicBezTo>
                <a:cubicBezTo>
                  <a:pt x="1205" y="206"/>
                  <a:pt x="1204" y="206"/>
                  <a:pt x="1204" y="205"/>
                </a:cubicBezTo>
                <a:cubicBezTo>
                  <a:pt x="1203" y="204"/>
                  <a:pt x="1202" y="204"/>
                  <a:pt x="1201" y="204"/>
                </a:cubicBezTo>
                <a:cubicBezTo>
                  <a:pt x="1200" y="204"/>
                  <a:pt x="1198" y="204"/>
                  <a:pt x="1198" y="205"/>
                </a:cubicBezTo>
                <a:cubicBezTo>
                  <a:pt x="1197" y="206"/>
                  <a:pt x="1196" y="207"/>
                  <a:pt x="1196" y="209"/>
                </a:cubicBezTo>
                <a:cubicBezTo>
                  <a:pt x="1196" y="210"/>
                  <a:pt x="1197" y="211"/>
                  <a:pt x="1197" y="212"/>
                </a:cubicBezTo>
                <a:cubicBezTo>
                  <a:pt x="1198" y="212"/>
                  <a:pt x="1199" y="213"/>
                  <a:pt x="1200" y="213"/>
                </a:cubicBezTo>
                <a:close/>
                <a:moveTo>
                  <a:pt x="1237" y="228"/>
                </a:moveTo>
                <a:cubicBezTo>
                  <a:pt x="1238" y="229"/>
                  <a:pt x="1238" y="229"/>
                  <a:pt x="1238" y="229"/>
                </a:cubicBezTo>
                <a:cubicBezTo>
                  <a:pt x="1240" y="222"/>
                  <a:pt x="1240" y="222"/>
                  <a:pt x="1240" y="222"/>
                </a:cubicBezTo>
                <a:cubicBezTo>
                  <a:pt x="1239" y="221"/>
                  <a:pt x="1238" y="221"/>
                  <a:pt x="1237" y="221"/>
                </a:cubicBezTo>
                <a:cubicBezTo>
                  <a:pt x="1235" y="220"/>
                  <a:pt x="1234" y="220"/>
                  <a:pt x="1232" y="220"/>
                </a:cubicBezTo>
                <a:cubicBezTo>
                  <a:pt x="1228" y="220"/>
                  <a:pt x="1224" y="221"/>
                  <a:pt x="1221" y="224"/>
                </a:cubicBezTo>
                <a:cubicBezTo>
                  <a:pt x="1218" y="227"/>
                  <a:pt x="1216" y="230"/>
                  <a:pt x="1214" y="234"/>
                </a:cubicBezTo>
                <a:cubicBezTo>
                  <a:pt x="1213" y="237"/>
                  <a:pt x="1212" y="241"/>
                  <a:pt x="1212" y="245"/>
                </a:cubicBezTo>
                <a:cubicBezTo>
                  <a:pt x="1212" y="250"/>
                  <a:pt x="1213" y="254"/>
                  <a:pt x="1215" y="257"/>
                </a:cubicBezTo>
                <a:cubicBezTo>
                  <a:pt x="1217" y="259"/>
                  <a:pt x="1220" y="261"/>
                  <a:pt x="1224" y="261"/>
                </a:cubicBezTo>
                <a:cubicBezTo>
                  <a:pt x="1227" y="261"/>
                  <a:pt x="1230" y="260"/>
                  <a:pt x="1232" y="259"/>
                </a:cubicBezTo>
                <a:cubicBezTo>
                  <a:pt x="1235" y="257"/>
                  <a:pt x="1236" y="256"/>
                  <a:pt x="1238" y="254"/>
                </a:cubicBezTo>
                <a:cubicBezTo>
                  <a:pt x="1236" y="252"/>
                  <a:pt x="1236" y="252"/>
                  <a:pt x="1236" y="252"/>
                </a:cubicBezTo>
                <a:cubicBezTo>
                  <a:pt x="1235" y="253"/>
                  <a:pt x="1233" y="254"/>
                  <a:pt x="1232" y="255"/>
                </a:cubicBezTo>
                <a:cubicBezTo>
                  <a:pt x="1230" y="256"/>
                  <a:pt x="1229" y="256"/>
                  <a:pt x="1227" y="256"/>
                </a:cubicBezTo>
                <a:cubicBezTo>
                  <a:pt x="1224" y="256"/>
                  <a:pt x="1222" y="255"/>
                  <a:pt x="1221" y="253"/>
                </a:cubicBezTo>
                <a:cubicBezTo>
                  <a:pt x="1220" y="251"/>
                  <a:pt x="1219" y="248"/>
                  <a:pt x="1219" y="244"/>
                </a:cubicBezTo>
                <a:cubicBezTo>
                  <a:pt x="1219" y="240"/>
                  <a:pt x="1219" y="237"/>
                  <a:pt x="1221" y="234"/>
                </a:cubicBezTo>
                <a:cubicBezTo>
                  <a:pt x="1222" y="231"/>
                  <a:pt x="1223" y="229"/>
                  <a:pt x="1225" y="227"/>
                </a:cubicBezTo>
                <a:cubicBezTo>
                  <a:pt x="1227" y="225"/>
                  <a:pt x="1229" y="225"/>
                  <a:pt x="1231" y="225"/>
                </a:cubicBezTo>
                <a:cubicBezTo>
                  <a:pt x="1232" y="225"/>
                  <a:pt x="1235" y="226"/>
                  <a:pt x="1237" y="228"/>
                </a:cubicBezTo>
                <a:close/>
                <a:moveTo>
                  <a:pt x="1255" y="254"/>
                </a:moveTo>
                <a:cubicBezTo>
                  <a:pt x="1260" y="221"/>
                  <a:pt x="1260" y="221"/>
                  <a:pt x="1260" y="221"/>
                </a:cubicBezTo>
                <a:cubicBezTo>
                  <a:pt x="1259" y="220"/>
                  <a:pt x="1259" y="220"/>
                  <a:pt x="1259" y="220"/>
                </a:cubicBezTo>
                <a:cubicBezTo>
                  <a:pt x="1249" y="222"/>
                  <a:pt x="1249" y="222"/>
                  <a:pt x="1249" y="222"/>
                </a:cubicBezTo>
                <a:cubicBezTo>
                  <a:pt x="1248" y="224"/>
                  <a:pt x="1248" y="224"/>
                  <a:pt x="1248" y="224"/>
                </a:cubicBezTo>
                <a:cubicBezTo>
                  <a:pt x="1253" y="226"/>
                  <a:pt x="1253" y="226"/>
                  <a:pt x="1253" y="226"/>
                </a:cubicBezTo>
                <a:cubicBezTo>
                  <a:pt x="1252" y="233"/>
                  <a:pt x="1251" y="239"/>
                  <a:pt x="1250" y="243"/>
                </a:cubicBezTo>
                <a:cubicBezTo>
                  <a:pt x="1249" y="251"/>
                  <a:pt x="1248" y="255"/>
                  <a:pt x="1248" y="256"/>
                </a:cubicBezTo>
                <a:cubicBezTo>
                  <a:pt x="1248" y="258"/>
                  <a:pt x="1249" y="259"/>
                  <a:pt x="1249" y="260"/>
                </a:cubicBezTo>
                <a:cubicBezTo>
                  <a:pt x="1250" y="260"/>
                  <a:pt x="1251" y="261"/>
                  <a:pt x="1253" y="261"/>
                </a:cubicBezTo>
                <a:cubicBezTo>
                  <a:pt x="1255" y="261"/>
                  <a:pt x="1256" y="260"/>
                  <a:pt x="1258" y="259"/>
                </a:cubicBezTo>
                <a:cubicBezTo>
                  <a:pt x="1259" y="258"/>
                  <a:pt x="1260" y="257"/>
                  <a:pt x="1261" y="256"/>
                </a:cubicBezTo>
                <a:cubicBezTo>
                  <a:pt x="1260" y="254"/>
                  <a:pt x="1260" y="254"/>
                  <a:pt x="1260" y="254"/>
                </a:cubicBezTo>
                <a:cubicBezTo>
                  <a:pt x="1259" y="255"/>
                  <a:pt x="1259" y="256"/>
                  <a:pt x="1258" y="256"/>
                </a:cubicBezTo>
                <a:cubicBezTo>
                  <a:pt x="1258" y="256"/>
                  <a:pt x="1257" y="256"/>
                  <a:pt x="1256" y="256"/>
                </a:cubicBezTo>
                <a:cubicBezTo>
                  <a:pt x="1256" y="256"/>
                  <a:pt x="1256" y="256"/>
                  <a:pt x="1256" y="256"/>
                </a:cubicBezTo>
                <a:cubicBezTo>
                  <a:pt x="1255" y="256"/>
                  <a:pt x="1255" y="255"/>
                  <a:pt x="1255" y="255"/>
                </a:cubicBezTo>
                <a:lnTo>
                  <a:pt x="1255" y="254"/>
                </a:lnTo>
                <a:close/>
                <a:moveTo>
                  <a:pt x="1258" y="213"/>
                </a:moveTo>
                <a:cubicBezTo>
                  <a:pt x="1259" y="213"/>
                  <a:pt x="1260" y="212"/>
                  <a:pt x="1261" y="211"/>
                </a:cubicBezTo>
                <a:cubicBezTo>
                  <a:pt x="1262" y="210"/>
                  <a:pt x="1262" y="209"/>
                  <a:pt x="1262" y="207"/>
                </a:cubicBezTo>
                <a:cubicBezTo>
                  <a:pt x="1262" y="206"/>
                  <a:pt x="1262" y="206"/>
                  <a:pt x="1261" y="205"/>
                </a:cubicBezTo>
                <a:cubicBezTo>
                  <a:pt x="1261" y="204"/>
                  <a:pt x="1260" y="204"/>
                  <a:pt x="1259" y="204"/>
                </a:cubicBezTo>
                <a:cubicBezTo>
                  <a:pt x="1257" y="204"/>
                  <a:pt x="1256" y="204"/>
                  <a:pt x="1255" y="205"/>
                </a:cubicBezTo>
                <a:cubicBezTo>
                  <a:pt x="1254" y="206"/>
                  <a:pt x="1254" y="207"/>
                  <a:pt x="1254" y="209"/>
                </a:cubicBezTo>
                <a:cubicBezTo>
                  <a:pt x="1254" y="210"/>
                  <a:pt x="1254" y="211"/>
                  <a:pt x="1255" y="212"/>
                </a:cubicBezTo>
                <a:cubicBezTo>
                  <a:pt x="1256" y="212"/>
                  <a:pt x="1257" y="213"/>
                  <a:pt x="1258" y="213"/>
                </a:cubicBezTo>
                <a:close/>
                <a:moveTo>
                  <a:pt x="1282" y="229"/>
                </a:moveTo>
                <a:cubicBezTo>
                  <a:pt x="1283" y="221"/>
                  <a:pt x="1283" y="221"/>
                  <a:pt x="1283" y="221"/>
                </a:cubicBezTo>
                <a:cubicBezTo>
                  <a:pt x="1281" y="220"/>
                  <a:pt x="1281" y="220"/>
                  <a:pt x="1281" y="220"/>
                </a:cubicBezTo>
                <a:cubicBezTo>
                  <a:pt x="1273" y="222"/>
                  <a:pt x="1273" y="222"/>
                  <a:pt x="1273" y="222"/>
                </a:cubicBezTo>
                <a:cubicBezTo>
                  <a:pt x="1272" y="224"/>
                  <a:pt x="1272" y="224"/>
                  <a:pt x="1272" y="224"/>
                </a:cubicBezTo>
                <a:cubicBezTo>
                  <a:pt x="1275" y="226"/>
                  <a:pt x="1275" y="226"/>
                  <a:pt x="1275" y="226"/>
                </a:cubicBezTo>
                <a:cubicBezTo>
                  <a:pt x="1271" y="260"/>
                  <a:pt x="1271" y="260"/>
                  <a:pt x="1271" y="260"/>
                </a:cubicBezTo>
                <a:cubicBezTo>
                  <a:pt x="1278" y="260"/>
                  <a:pt x="1278" y="260"/>
                  <a:pt x="1278" y="260"/>
                </a:cubicBezTo>
                <a:cubicBezTo>
                  <a:pt x="1281" y="235"/>
                  <a:pt x="1281" y="235"/>
                  <a:pt x="1281" y="235"/>
                </a:cubicBezTo>
                <a:cubicBezTo>
                  <a:pt x="1283" y="232"/>
                  <a:pt x="1285" y="230"/>
                  <a:pt x="1287" y="228"/>
                </a:cubicBezTo>
                <a:cubicBezTo>
                  <a:pt x="1289" y="226"/>
                  <a:pt x="1291" y="225"/>
                  <a:pt x="1293" y="225"/>
                </a:cubicBezTo>
                <a:cubicBezTo>
                  <a:pt x="1295" y="225"/>
                  <a:pt x="1296" y="226"/>
                  <a:pt x="1297" y="226"/>
                </a:cubicBezTo>
                <a:cubicBezTo>
                  <a:pt x="1297" y="227"/>
                  <a:pt x="1298" y="229"/>
                  <a:pt x="1298" y="231"/>
                </a:cubicBezTo>
                <a:cubicBezTo>
                  <a:pt x="1298" y="233"/>
                  <a:pt x="1297" y="234"/>
                  <a:pt x="1297" y="236"/>
                </a:cubicBezTo>
                <a:cubicBezTo>
                  <a:pt x="1297" y="238"/>
                  <a:pt x="1297" y="240"/>
                  <a:pt x="1296" y="243"/>
                </a:cubicBezTo>
                <a:cubicBezTo>
                  <a:pt x="1296" y="245"/>
                  <a:pt x="1296" y="245"/>
                  <a:pt x="1296" y="245"/>
                </a:cubicBezTo>
                <a:cubicBezTo>
                  <a:pt x="1295" y="248"/>
                  <a:pt x="1295" y="248"/>
                  <a:pt x="1295" y="248"/>
                </a:cubicBezTo>
                <a:cubicBezTo>
                  <a:pt x="1294" y="252"/>
                  <a:pt x="1294" y="255"/>
                  <a:pt x="1294" y="256"/>
                </a:cubicBezTo>
                <a:cubicBezTo>
                  <a:pt x="1294" y="259"/>
                  <a:pt x="1295" y="261"/>
                  <a:pt x="1298" y="261"/>
                </a:cubicBezTo>
                <a:cubicBezTo>
                  <a:pt x="1300" y="261"/>
                  <a:pt x="1301" y="260"/>
                  <a:pt x="1302" y="260"/>
                </a:cubicBezTo>
                <a:cubicBezTo>
                  <a:pt x="1303" y="259"/>
                  <a:pt x="1304" y="259"/>
                  <a:pt x="1305" y="258"/>
                </a:cubicBezTo>
                <a:cubicBezTo>
                  <a:pt x="1305" y="258"/>
                  <a:pt x="1306" y="257"/>
                  <a:pt x="1306" y="257"/>
                </a:cubicBezTo>
                <a:cubicBezTo>
                  <a:pt x="1305" y="255"/>
                  <a:pt x="1305" y="255"/>
                  <a:pt x="1305" y="255"/>
                </a:cubicBezTo>
                <a:cubicBezTo>
                  <a:pt x="1304" y="256"/>
                  <a:pt x="1303" y="256"/>
                  <a:pt x="1302" y="256"/>
                </a:cubicBezTo>
                <a:cubicBezTo>
                  <a:pt x="1301" y="256"/>
                  <a:pt x="1301" y="256"/>
                  <a:pt x="1301" y="255"/>
                </a:cubicBezTo>
                <a:cubicBezTo>
                  <a:pt x="1301" y="253"/>
                  <a:pt x="1301" y="250"/>
                  <a:pt x="1302" y="246"/>
                </a:cubicBezTo>
                <a:cubicBezTo>
                  <a:pt x="1303" y="243"/>
                  <a:pt x="1303" y="243"/>
                  <a:pt x="1303" y="243"/>
                </a:cubicBezTo>
                <a:cubicBezTo>
                  <a:pt x="1303" y="241"/>
                  <a:pt x="1303" y="241"/>
                  <a:pt x="1303" y="241"/>
                </a:cubicBezTo>
                <a:cubicBezTo>
                  <a:pt x="1304" y="236"/>
                  <a:pt x="1305" y="232"/>
                  <a:pt x="1305" y="230"/>
                </a:cubicBezTo>
                <a:cubicBezTo>
                  <a:pt x="1305" y="227"/>
                  <a:pt x="1304" y="224"/>
                  <a:pt x="1302" y="223"/>
                </a:cubicBezTo>
                <a:cubicBezTo>
                  <a:pt x="1301" y="221"/>
                  <a:pt x="1299" y="220"/>
                  <a:pt x="1296" y="220"/>
                </a:cubicBezTo>
                <a:cubicBezTo>
                  <a:pt x="1294" y="220"/>
                  <a:pt x="1291" y="221"/>
                  <a:pt x="1289" y="223"/>
                </a:cubicBezTo>
                <a:cubicBezTo>
                  <a:pt x="1286" y="224"/>
                  <a:pt x="1284" y="227"/>
                  <a:pt x="1282" y="229"/>
                </a:cubicBezTo>
                <a:close/>
                <a:moveTo>
                  <a:pt x="1342" y="253"/>
                </a:moveTo>
                <a:cubicBezTo>
                  <a:pt x="1340" y="251"/>
                  <a:pt x="1340" y="251"/>
                  <a:pt x="1340" y="251"/>
                </a:cubicBezTo>
                <a:cubicBezTo>
                  <a:pt x="1339" y="253"/>
                  <a:pt x="1337" y="254"/>
                  <a:pt x="1335" y="255"/>
                </a:cubicBezTo>
                <a:cubicBezTo>
                  <a:pt x="1333" y="256"/>
                  <a:pt x="1331" y="256"/>
                  <a:pt x="1329" y="256"/>
                </a:cubicBezTo>
                <a:cubicBezTo>
                  <a:pt x="1326" y="256"/>
                  <a:pt x="1323" y="255"/>
                  <a:pt x="1322" y="253"/>
                </a:cubicBezTo>
                <a:cubicBezTo>
                  <a:pt x="1321" y="250"/>
                  <a:pt x="1320" y="247"/>
                  <a:pt x="1320" y="244"/>
                </a:cubicBezTo>
                <a:cubicBezTo>
                  <a:pt x="1323" y="244"/>
                  <a:pt x="1327" y="244"/>
                  <a:pt x="1330" y="242"/>
                </a:cubicBezTo>
                <a:cubicBezTo>
                  <a:pt x="1334" y="241"/>
                  <a:pt x="1337" y="240"/>
                  <a:pt x="1340" y="237"/>
                </a:cubicBezTo>
                <a:cubicBezTo>
                  <a:pt x="1342" y="235"/>
                  <a:pt x="1344" y="232"/>
                  <a:pt x="1344" y="229"/>
                </a:cubicBezTo>
                <a:cubicBezTo>
                  <a:pt x="1344" y="226"/>
                  <a:pt x="1343" y="224"/>
                  <a:pt x="1341" y="223"/>
                </a:cubicBezTo>
                <a:cubicBezTo>
                  <a:pt x="1340" y="221"/>
                  <a:pt x="1337" y="220"/>
                  <a:pt x="1334" y="220"/>
                </a:cubicBezTo>
                <a:cubicBezTo>
                  <a:pt x="1330" y="220"/>
                  <a:pt x="1326" y="221"/>
                  <a:pt x="1323" y="224"/>
                </a:cubicBezTo>
                <a:cubicBezTo>
                  <a:pt x="1320" y="226"/>
                  <a:pt x="1318" y="229"/>
                  <a:pt x="1316" y="233"/>
                </a:cubicBezTo>
                <a:cubicBezTo>
                  <a:pt x="1314" y="237"/>
                  <a:pt x="1313" y="241"/>
                  <a:pt x="1313" y="246"/>
                </a:cubicBezTo>
                <a:cubicBezTo>
                  <a:pt x="1313" y="248"/>
                  <a:pt x="1314" y="251"/>
                  <a:pt x="1315" y="253"/>
                </a:cubicBezTo>
                <a:cubicBezTo>
                  <a:pt x="1316" y="255"/>
                  <a:pt x="1317" y="257"/>
                  <a:pt x="1319" y="259"/>
                </a:cubicBezTo>
                <a:cubicBezTo>
                  <a:pt x="1321" y="260"/>
                  <a:pt x="1324" y="261"/>
                  <a:pt x="1327" y="261"/>
                </a:cubicBezTo>
                <a:cubicBezTo>
                  <a:pt x="1330" y="261"/>
                  <a:pt x="1333" y="260"/>
                  <a:pt x="1336" y="258"/>
                </a:cubicBezTo>
                <a:cubicBezTo>
                  <a:pt x="1339" y="257"/>
                  <a:pt x="1341" y="255"/>
                  <a:pt x="1342" y="253"/>
                </a:cubicBezTo>
                <a:close/>
                <a:moveTo>
                  <a:pt x="1332" y="224"/>
                </a:moveTo>
                <a:cubicBezTo>
                  <a:pt x="1334" y="224"/>
                  <a:pt x="1335" y="224"/>
                  <a:pt x="1336" y="225"/>
                </a:cubicBezTo>
                <a:cubicBezTo>
                  <a:pt x="1337" y="226"/>
                  <a:pt x="1337" y="228"/>
                  <a:pt x="1337" y="229"/>
                </a:cubicBezTo>
                <a:cubicBezTo>
                  <a:pt x="1337" y="232"/>
                  <a:pt x="1336" y="234"/>
                  <a:pt x="1334" y="235"/>
                </a:cubicBezTo>
                <a:cubicBezTo>
                  <a:pt x="1333" y="237"/>
                  <a:pt x="1331" y="238"/>
                  <a:pt x="1328" y="239"/>
                </a:cubicBezTo>
                <a:cubicBezTo>
                  <a:pt x="1325" y="240"/>
                  <a:pt x="1323" y="241"/>
                  <a:pt x="1321" y="241"/>
                </a:cubicBezTo>
                <a:cubicBezTo>
                  <a:pt x="1321" y="238"/>
                  <a:pt x="1321" y="236"/>
                  <a:pt x="1322" y="233"/>
                </a:cubicBezTo>
                <a:cubicBezTo>
                  <a:pt x="1323" y="230"/>
                  <a:pt x="1325" y="228"/>
                  <a:pt x="1326" y="226"/>
                </a:cubicBezTo>
                <a:cubicBezTo>
                  <a:pt x="1328" y="225"/>
                  <a:pt x="1330" y="224"/>
                  <a:pt x="1332" y="224"/>
                </a:cubicBezTo>
                <a:close/>
              </a:path>
            </a:pathLst>
          </a:custGeom>
          <a:solidFill>
            <a:schemeClr val="bg1"/>
          </a:solidFill>
          <a:ln>
            <a:noFill/>
          </a:ln>
        </p:spPr>
        <p:txBody>
          <a:bodyPr vert="horz" wrap="square" lIns="121920" tIns="60960" rIns="121920" bIns="60960" numCol="1" anchor="t" anchorCtr="0" compatLnSpc="1">
            <a:prstTxWarp prst="textNoShape">
              <a:avLst/>
            </a:prstTxWarp>
          </a:bodyPr>
          <a:lstStyle/>
          <a:p>
            <a:endParaRPr lang="en-US" sz="2400"/>
          </a:p>
        </p:txBody>
      </p:sp>
      <p:sp>
        <p:nvSpPr>
          <p:cNvPr id="17" name="Text Placeholder 16">
            <a:extLst>
              <a:ext uri="{FF2B5EF4-FFF2-40B4-BE49-F238E27FC236}">
                <a16:creationId xmlns:a16="http://schemas.microsoft.com/office/drawing/2014/main" id="{FCA018DF-7EFB-4D08-89D5-E61FB47F425E}"/>
              </a:ext>
            </a:extLst>
          </p:cNvPr>
          <p:cNvSpPr>
            <a:spLocks noGrp="1"/>
          </p:cNvSpPr>
          <p:nvPr>
            <p:ph type="body" sz="quarter" idx="12" hasCustomPrompt="1"/>
          </p:nvPr>
        </p:nvSpPr>
        <p:spPr>
          <a:xfrm>
            <a:off x="7995920" y="6515586"/>
            <a:ext cx="3222413" cy="169277"/>
          </a:xfrm>
        </p:spPr>
        <p:txBody>
          <a:bodyPr wrap="square">
            <a:spAutoFit/>
          </a:bodyPr>
          <a:lstStyle>
            <a:lvl1pPr marL="0" indent="0">
              <a:buNone/>
              <a:defRPr sz="1000" cap="all" spc="147" baseline="0">
                <a:solidFill>
                  <a:schemeClr val="tx2"/>
                </a:solidFill>
              </a:defRPr>
            </a:lvl1pPr>
          </a:lstStyle>
          <a:p>
            <a:pPr lvl="0"/>
            <a:r>
              <a:rPr lang="en-US"/>
              <a:t>CLICK TO EDIT MASTER TEXT</a:t>
            </a:r>
          </a:p>
        </p:txBody>
      </p:sp>
    </p:spTree>
    <p:extLst>
      <p:ext uri="{BB962C8B-B14F-4D97-AF65-F5344CB8AC3E}">
        <p14:creationId xmlns:p14="http://schemas.microsoft.com/office/powerpoint/2010/main" val="3562656374"/>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p:cSld name="Title Slide - Dark Teal">
    <p:spTree>
      <p:nvGrpSpPr>
        <p:cNvPr id="1" name=""/>
        <p:cNvGrpSpPr/>
        <p:nvPr/>
      </p:nvGrpSpPr>
      <p:grpSpPr>
        <a:xfrm>
          <a:off x="0" y="0"/>
          <a:ext cx="0" cy="0"/>
          <a:chOff x="0" y="0"/>
          <a:chExt cx="0" cy="0"/>
        </a:xfrm>
      </p:grpSpPr>
      <p:sp>
        <p:nvSpPr>
          <p:cNvPr id="15" name="Picture Placeholder 14">
            <a:extLst>
              <a:ext uri="{FF2B5EF4-FFF2-40B4-BE49-F238E27FC236}">
                <a16:creationId xmlns:a16="http://schemas.microsoft.com/office/drawing/2014/main" id="{42927F7C-53AC-400F-8DAD-235A2AF61FB8}"/>
              </a:ext>
            </a:extLst>
          </p:cNvPr>
          <p:cNvSpPr>
            <a:spLocks noGrp="1"/>
          </p:cNvSpPr>
          <p:nvPr>
            <p:ph type="pic" sz="quarter" idx="11"/>
          </p:nvPr>
        </p:nvSpPr>
        <p:spPr>
          <a:xfrm>
            <a:off x="0" y="1"/>
            <a:ext cx="12192000" cy="6280151"/>
          </a:xfrm>
          <a:solidFill>
            <a:schemeClr val="bg2">
              <a:lumMod val="90000"/>
            </a:schemeClr>
          </a:solidFill>
        </p:spPr>
        <p:txBody>
          <a:bodyPr/>
          <a:lstStyle/>
          <a:p>
            <a:r>
              <a:rPr lang="en-US"/>
              <a:t>Click icon to add picture</a:t>
            </a:r>
          </a:p>
        </p:txBody>
      </p:sp>
      <p:sp>
        <p:nvSpPr>
          <p:cNvPr id="13" name="Text Placeholder 12">
            <a:extLst>
              <a:ext uri="{FF2B5EF4-FFF2-40B4-BE49-F238E27FC236}">
                <a16:creationId xmlns:a16="http://schemas.microsoft.com/office/drawing/2014/main" id="{D2D74F39-96DB-4808-8693-9F55A9D7DB98}"/>
              </a:ext>
            </a:extLst>
          </p:cNvPr>
          <p:cNvSpPr>
            <a:spLocks noGrp="1"/>
          </p:cNvSpPr>
          <p:nvPr>
            <p:ph type="body" sz="quarter" idx="10"/>
          </p:nvPr>
        </p:nvSpPr>
        <p:spPr>
          <a:xfrm>
            <a:off x="2" y="1563078"/>
            <a:ext cx="7737229" cy="5294921"/>
          </a:xfrm>
          <a:solidFill>
            <a:srgbClr val="315470"/>
          </a:solidFill>
        </p:spPr>
        <p:txBody>
          <a:bodyPr lIns="502920" tIns="274320" rIns="457200" bIns="457200"/>
          <a:lstStyle>
            <a:lvl1pPr marL="0" indent="0">
              <a:lnSpc>
                <a:spcPct val="100000"/>
              </a:lnSpc>
              <a:buNone/>
              <a:defRPr sz="4000">
                <a:solidFill>
                  <a:schemeClr val="bg1"/>
                </a:solidFill>
                <a:latin typeface="+mj-lt"/>
              </a:defRPr>
            </a:lvl1pPr>
            <a:lvl2pPr marL="0" indent="0">
              <a:spcBef>
                <a:spcPts val="1200"/>
              </a:spcBef>
              <a:buNone/>
              <a:defRPr sz="2000">
                <a:solidFill>
                  <a:schemeClr val="bg1"/>
                </a:solidFill>
                <a:latin typeface="+mj-lt"/>
              </a:defRPr>
            </a:lvl2pPr>
            <a:lvl3pPr marL="609585" indent="0">
              <a:buNone/>
              <a:defRPr>
                <a:solidFill>
                  <a:schemeClr val="bg1"/>
                </a:solidFill>
                <a:latin typeface="+mj-lt"/>
              </a:defRPr>
            </a:lvl3pPr>
            <a:lvl4pPr marL="922844" indent="0">
              <a:buNone/>
              <a:defRPr>
                <a:solidFill>
                  <a:schemeClr val="bg1"/>
                </a:solidFill>
                <a:latin typeface="+mj-lt"/>
              </a:defRPr>
            </a:lvl4pPr>
            <a:lvl5pPr marL="1219170" indent="0">
              <a:buNone/>
              <a:defRPr>
                <a:solidFill>
                  <a:schemeClr val="bg1"/>
                </a:solidFill>
                <a:latin typeface="+mj-lt"/>
              </a:defRPr>
            </a:lvl5pPr>
          </a:lstStyle>
          <a:p>
            <a:pPr lvl="0"/>
            <a:r>
              <a:rPr lang="en-US"/>
              <a:t>Edit Master text styles</a:t>
            </a:r>
          </a:p>
          <a:p>
            <a:pPr lvl="1"/>
            <a:r>
              <a:rPr lang="en-US"/>
              <a:t>Second level</a:t>
            </a:r>
          </a:p>
        </p:txBody>
      </p:sp>
      <p:sp>
        <p:nvSpPr>
          <p:cNvPr id="3" name="Subtitle 2"/>
          <p:cNvSpPr>
            <a:spLocks noGrp="1"/>
          </p:cNvSpPr>
          <p:nvPr>
            <p:ph type="subTitle" idx="1"/>
          </p:nvPr>
        </p:nvSpPr>
        <p:spPr>
          <a:xfrm>
            <a:off x="701040" y="4738102"/>
            <a:ext cx="6461760" cy="225639"/>
          </a:xfrm>
        </p:spPr>
        <p:txBody>
          <a:bodyPr anchor="b" anchorCtr="0">
            <a:spAutoFit/>
          </a:bodyPr>
          <a:lstStyle>
            <a:lvl1pPr marL="0" indent="0" algn="l">
              <a:buNone/>
              <a:defRPr sz="1333" i="1">
                <a:solidFill>
                  <a:schemeClr val="bg1"/>
                </a:solidFill>
                <a:latin typeface="+mj-l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
        <p:nvSpPr>
          <p:cNvPr id="9" name="Freeform 5">
            <a:extLst>
              <a:ext uri="{FF2B5EF4-FFF2-40B4-BE49-F238E27FC236}">
                <a16:creationId xmlns:a16="http://schemas.microsoft.com/office/drawing/2014/main" id="{6EF64205-A64B-4137-BA41-5E5CFE0F359E}"/>
              </a:ext>
            </a:extLst>
          </p:cNvPr>
          <p:cNvSpPr>
            <a:spLocks noEditPoints="1"/>
          </p:cNvSpPr>
          <p:nvPr/>
        </p:nvSpPr>
        <p:spPr bwMode="auto">
          <a:xfrm>
            <a:off x="643609" y="578451"/>
            <a:ext cx="2922943" cy="547357"/>
          </a:xfrm>
          <a:custGeom>
            <a:avLst/>
            <a:gdLst>
              <a:gd name="T0" fmla="*/ 225 w 1440"/>
              <a:gd name="T1" fmla="*/ 110 h 267"/>
              <a:gd name="T2" fmla="*/ 317 w 1440"/>
              <a:gd name="T3" fmla="*/ 7 h 267"/>
              <a:gd name="T4" fmla="*/ 475 w 1440"/>
              <a:gd name="T5" fmla="*/ 19 h 267"/>
              <a:gd name="T6" fmla="*/ 830 w 1440"/>
              <a:gd name="T7" fmla="*/ 7 h 267"/>
              <a:gd name="T8" fmla="*/ 130 w 1440"/>
              <a:gd name="T9" fmla="*/ 210 h 267"/>
              <a:gd name="T10" fmla="*/ 437 w 1440"/>
              <a:gd name="T11" fmla="*/ 209 h 267"/>
              <a:gd name="T12" fmla="*/ 493 w 1440"/>
              <a:gd name="T13" fmla="*/ 198 h 267"/>
              <a:gd name="T14" fmla="*/ 866 w 1440"/>
              <a:gd name="T15" fmla="*/ 171 h 267"/>
              <a:gd name="T16" fmla="*/ 737 w 1440"/>
              <a:gd name="T17" fmla="*/ 261 h 267"/>
              <a:gd name="T18" fmla="*/ 958 w 1440"/>
              <a:gd name="T19" fmla="*/ 172 h 267"/>
              <a:gd name="T20" fmla="*/ 906 w 1440"/>
              <a:gd name="T21" fmla="*/ 254 h 267"/>
              <a:gd name="T22" fmla="*/ 309 w 1440"/>
              <a:gd name="T23" fmla="*/ 260 h 267"/>
              <a:gd name="T24" fmla="*/ 1053 w 1440"/>
              <a:gd name="T25" fmla="*/ 31 h 267"/>
              <a:gd name="T26" fmla="*/ 1075 w 1440"/>
              <a:gd name="T27" fmla="*/ 44 h 267"/>
              <a:gd name="T28" fmla="*/ 1091 w 1440"/>
              <a:gd name="T29" fmla="*/ 22 h 267"/>
              <a:gd name="T30" fmla="*/ 1107 w 1440"/>
              <a:gd name="T31" fmla="*/ 27 h 267"/>
              <a:gd name="T32" fmla="*/ 1125 w 1440"/>
              <a:gd name="T33" fmla="*/ 55 h 267"/>
              <a:gd name="T34" fmla="*/ 1159 w 1440"/>
              <a:gd name="T35" fmla="*/ 53 h 267"/>
              <a:gd name="T36" fmla="*/ 1160 w 1440"/>
              <a:gd name="T37" fmla="*/ 57 h 267"/>
              <a:gd name="T38" fmla="*/ 1177 w 1440"/>
              <a:gd name="T39" fmla="*/ 23 h 267"/>
              <a:gd name="T40" fmla="*/ 1207 w 1440"/>
              <a:gd name="T41" fmla="*/ 58 h 267"/>
              <a:gd name="T42" fmla="*/ 1245 w 1440"/>
              <a:gd name="T43" fmla="*/ 27 h 267"/>
              <a:gd name="T44" fmla="*/ 1225 w 1440"/>
              <a:gd name="T45" fmla="*/ 43 h 267"/>
              <a:gd name="T46" fmla="*/ 1271 w 1440"/>
              <a:gd name="T47" fmla="*/ 19 h 267"/>
              <a:gd name="T48" fmla="*/ 1259 w 1440"/>
              <a:gd name="T49" fmla="*/ 32 h 267"/>
              <a:gd name="T50" fmla="*/ 1290 w 1440"/>
              <a:gd name="T51" fmla="*/ 54 h 267"/>
              <a:gd name="T52" fmla="*/ 1310 w 1440"/>
              <a:gd name="T53" fmla="*/ 25 h 267"/>
              <a:gd name="T54" fmla="*/ 1059 w 1440"/>
              <a:gd name="T55" fmla="*/ 110 h 267"/>
              <a:gd name="T56" fmla="*/ 1099 w 1440"/>
              <a:gd name="T57" fmla="*/ 134 h 267"/>
              <a:gd name="T58" fmla="*/ 1120 w 1440"/>
              <a:gd name="T59" fmla="*/ 156 h 267"/>
              <a:gd name="T60" fmla="*/ 1141 w 1440"/>
              <a:gd name="T61" fmla="*/ 123 h 267"/>
              <a:gd name="T62" fmla="*/ 1148 w 1440"/>
              <a:gd name="T63" fmla="*/ 175 h 267"/>
              <a:gd name="T64" fmla="*/ 1184 w 1440"/>
              <a:gd name="T65" fmla="*/ 119 h 267"/>
              <a:gd name="T66" fmla="*/ 1181 w 1440"/>
              <a:gd name="T67" fmla="*/ 153 h 267"/>
              <a:gd name="T68" fmla="*/ 1201 w 1440"/>
              <a:gd name="T69" fmla="*/ 125 h 267"/>
              <a:gd name="T70" fmla="*/ 1230 w 1440"/>
              <a:gd name="T71" fmla="*/ 157 h 267"/>
              <a:gd name="T72" fmla="*/ 1260 w 1440"/>
              <a:gd name="T73" fmla="*/ 154 h 267"/>
              <a:gd name="T74" fmla="*/ 1261 w 1440"/>
              <a:gd name="T75" fmla="*/ 158 h 267"/>
              <a:gd name="T76" fmla="*/ 1284 w 1440"/>
              <a:gd name="T77" fmla="*/ 152 h 267"/>
              <a:gd name="T78" fmla="*/ 1294 w 1440"/>
              <a:gd name="T79" fmla="*/ 123 h 267"/>
              <a:gd name="T80" fmla="*/ 1317 w 1440"/>
              <a:gd name="T81" fmla="*/ 125 h 267"/>
              <a:gd name="T82" fmla="*/ 1342 w 1440"/>
              <a:gd name="T83" fmla="*/ 121 h 267"/>
              <a:gd name="T84" fmla="*/ 1351 w 1440"/>
              <a:gd name="T85" fmla="*/ 112 h 267"/>
              <a:gd name="T86" fmla="*/ 1364 w 1440"/>
              <a:gd name="T87" fmla="*/ 159 h 267"/>
              <a:gd name="T88" fmla="*/ 1399 w 1440"/>
              <a:gd name="T89" fmla="*/ 156 h 267"/>
              <a:gd name="T90" fmla="*/ 1432 w 1440"/>
              <a:gd name="T91" fmla="*/ 120 h 267"/>
              <a:gd name="T92" fmla="*/ 1410 w 1440"/>
              <a:gd name="T93" fmla="*/ 176 h 267"/>
              <a:gd name="T94" fmla="*/ 1076 w 1440"/>
              <a:gd name="T95" fmla="*/ 242 h 267"/>
              <a:gd name="T96" fmla="*/ 1062 w 1440"/>
              <a:gd name="T97" fmla="*/ 225 h 267"/>
              <a:gd name="T98" fmla="*/ 1091 w 1440"/>
              <a:gd name="T99" fmla="*/ 208 h 267"/>
              <a:gd name="T100" fmla="*/ 1112 w 1440"/>
              <a:gd name="T101" fmla="*/ 233 h 267"/>
              <a:gd name="T102" fmla="*/ 1128 w 1440"/>
              <a:gd name="T103" fmla="*/ 224 h 267"/>
              <a:gd name="T104" fmla="*/ 1168 w 1440"/>
              <a:gd name="T105" fmla="*/ 255 h 267"/>
              <a:gd name="T106" fmla="*/ 1154 w 1440"/>
              <a:gd name="T107" fmla="*/ 236 h 267"/>
              <a:gd name="T108" fmla="*/ 1203 w 1440"/>
              <a:gd name="T109" fmla="*/ 256 h 267"/>
              <a:gd name="T110" fmla="*/ 1200 w 1440"/>
              <a:gd name="T111" fmla="*/ 213 h 267"/>
              <a:gd name="T112" fmla="*/ 1227 w 1440"/>
              <a:gd name="T113" fmla="*/ 256 h 267"/>
              <a:gd name="T114" fmla="*/ 1249 w 1440"/>
              <a:gd name="T115" fmla="*/ 260 h 267"/>
              <a:gd name="T116" fmla="*/ 1255 w 1440"/>
              <a:gd name="T117" fmla="*/ 205 h 267"/>
              <a:gd name="T118" fmla="*/ 1297 w 1440"/>
              <a:gd name="T119" fmla="*/ 226 h 267"/>
              <a:gd name="T120" fmla="*/ 1303 w 1440"/>
              <a:gd name="T121" fmla="*/ 243 h 267"/>
              <a:gd name="T122" fmla="*/ 1344 w 1440"/>
              <a:gd name="T123" fmla="*/ 229 h 267"/>
              <a:gd name="T124" fmla="*/ 1328 w 1440"/>
              <a:gd name="T125" fmla="*/ 239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440" h="267">
                <a:moveTo>
                  <a:pt x="17" y="110"/>
                </a:moveTo>
                <a:cubicBezTo>
                  <a:pt x="3" y="110"/>
                  <a:pt x="3" y="110"/>
                  <a:pt x="3" y="110"/>
                </a:cubicBezTo>
                <a:cubicBezTo>
                  <a:pt x="3" y="1"/>
                  <a:pt x="3" y="1"/>
                  <a:pt x="3" y="1"/>
                </a:cubicBezTo>
                <a:cubicBezTo>
                  <a:pt x="81" y="83"/>
                  <a:pt x="81" y="83"/>
                  <a:pt x="81" y="83"/>
                </a:cubicBezTo>
                <a:cubicBezTo>
                  <a:pt x="81" y="7"/>
                  <a:pt x="81" y="7"/>
                  <a:pt x="81" y="7"/>
                </a:cubicBezTo>
                <a:cubicBezTo>
                  <a:pt x="95" y="7"/>
                  <a:pt x="95" y="7"/>
                  <a:pt x="95" y="7"/>
                </a:cubicBezTo>
                <a:cubicBezTo>
                  <a:pt x="95" y="117"/>
                  <a:pt x="95" y="117"/>
                  <a:pt x="95" y="117"/>
                </a:cubicBezTo>
                <a:cubicBezTo>
                  <a:pt x="17" y="35"/>
                  <a:pt x="17" y="35"/>
                  <a:pt x="17" y="35"/>
                </a:cubicBezTo>
                <a:lnTo>
                  <a:pt x="17" y="110"/>
                </a:lnTo>
                <a:close/>
                <a:moveTo>
                  <a:pt x="130" y="110"/>
                </a:moveTo>
                <a:cubicBezTo>
                  <a:pt x="145" y="110"/>
                  <a:pt x="145" y="110"/>
                  <a:pt x="145" y="110"/>
                </a:cubicBezTo>
                <a:cubicBezTo>
                  <a:pt x="178" y="33"/>
                  <a:pt x="178" y="33"/>
                  <a:pt x="178" y="33"/>
                </a:cubicBezTo>
                <a:cubicBezTo>
                  <a:pt x="210" y="109"/>
                  <a:pt x="210" y="109"/>
                  <a:pt x="210" y="109"/>
                </a:cubicBezTo>
                <a:cubicBezTo>
                  <a:pt x="210" y="110"/>
                  <a:pt x="210" y="110"/>
                  <a:pt x="210" y="110"/>
                </a:cubicBezTo>
                <a:cubicBezTo>
                  <a:pt x="225" y="110"/>
                  <a:pt x="225" y="110"/>
                  <a:pt x="225" y="110"/>
                </a:cubicBezTo>
                <a:cubicBezTo>
                  <a:pt x="178" y="0"/>
                  <a:pt x="178" y="0"/>
                  <a:pt x="178" y="0"/>
                </a:cubicBezTo>
                <a:lnTo>
                  <a:pt x="130" y="110"/>
                </a:lnTo>
                <a:close/>
                <a:moveTo>
                  <a:pt x="700" y="110"/>
                </a:moveTo>
                <a:cubicBezTo>
                  <a:pt x="715" y="110"/>
                  <a:pt x="715" y="110"/>
                  <a:pt x="715" y="110"/>
                </a:cubicBezTo>
                <a:cubicBezTo>
                  <a:pt x="748" y="33"/>
                  <a:pt x="748" y="33"/>
                  <a:pt x="748" y="33"/>
                </a:cubicBezTo>
                <a:cubicBezTo>
                  <a:pt x="780" y="109"/>
                  <a:pt x="780" y="109"/>
                  <a:pt x="780" y="109"/>
                </a:cubicBezTo>
                <a:cubicBezTo>
                  <a:pt x="780" y="110"/>
                  <a:pt x="780" y="110"/>
                  <a:pt x="780" y="110"/>
                </a:cubicBezTo>
                <a:cubicBezTo>
                  <a:pt x="795" y="110"/>
                  <a:pt x="795" y="110"/>
                  <a:pt x="795" y="110"/>
                </a:cubicBezTo>
                <a:cubicBezTo>
                  <a:pt x="748" y="0"/>
                  <a:pt x="748" y="0"/>
                  <a:pt x="748" y="0"/>
                </a:cubicBezTo>
                <a:lnTo>
                  <a:pt x="700" y="110"/>
                </a:lnTo>
                <a:close/>
                <a:moveTo>
                  <a:pt x="273" y="110"/>
                </a:moveTo>
                <a:cubicBezTo>
                  <a:pt x="286" y="110"/>
                  <a:pt x="286" y="110"/>
                  <a:pt x="286" y="110"/>
                </a:cubicBezTo>
                <a:cubicBezTo>
                  <a:pt x="286" y="20"/>
                  <a:pt x="286" y="20"/>
                  <a:pt x="286" y="20"/>
                </a:cubicBezTo>
                <a:cubicBezTo>
                  <a:pt x="317" y="20"/>
                  <a:pt x="317" y="20"/>
                  <a:pt x="317" y="20"/>
                </a:cubicBezTo>
                <a:cubicBezTo>
                  <a:pt x="317" y="7"/>
                  <a:pt x="317" y="7"/>
                  <a:pt x="317" y="7"/>
                </a:cubicBezTo>
                <a:cubicBezTo>
                  <a:pt x="242" y="7"/>
                  <a:pt x="242" y="7"/>
                  <a:pt x="242" y="7"/>
                </a:cubicBezTo>
                <a:cubicBezTo>
                  <a:pt x="242" y="20"/>
                  <a:pt x="242" y="20"/>
                  <a:pt x="242" y="20"/>
                </a:cubicBezTo>
                <a:cubicBezTo>
                  <a:pt x="273" y="20"/>
                  <a:pt x="273" y="20"/>
                  <a:pt x="273" y="20"/>
                </a:cubicBezTo>
                <a:lnTo>
                  <a:pt x="273" y="110"/>
                </a:lnTo>
                <a:close/>
                <a:moveTo>
                  <a:pt x="374" y="7"/>
                </a:moveTo>
                <a:cubicBezTo>
                  <a:pt x="360" y="7"/>
                  <a:pt x="360" y="7"/>
                  <a:pt x="360" y="7"/>
                </a:cubicBezTo>
                <a:cubicBezTo>
                  <a:pt x="360" y="110"/>
                  <a:pt x="360" y="110"/>
                  <a:pt x="360" y="110"/>
                </a:cubicBezTo>
                <a:cubicBezTo>
                  <a:pt x="374" y="110"/>
                  <a:pt x="374" y="110"/>
                  <a:pt x="374" y="110"/>
                </a:cubicBezTo>
                <a:lnTo>
                  <a:pt x="374" y="7"/>
                </a:lnTo>
                <a:close/>
                <a:moveTo>
                  <a:pt x="475" y="112"/>
                </a:moveTo>
                <a:cubicBezTo>
                  <a:pt x="445" y="112"/>
                  <a:pt x="421" y="88"/>
                  <a:pt x="421" y="59"/>
                </a:cubicBezTo>
                <a:cubicBezTo>
                  <a:pt x="421" y="29"/>
                  <a:pt x="445" y="5"/>
                  <a:pt x="475" y="5"/>
                </a:cubicBezTo>
                <a:cubicBezTo>
                  <a:pt x="505" y="5"/>
                  <a:pt x="528" y="29"/>
                  <a:pt x="528" y="59"/>
                </a:cubicBezTo>
                <a:cubicBezTo>
                  <a:pt x="528" y="88"/>
                  <a:pt x="505" y="112"/>
                  <a:pt x="475" y="112"/>
                </a:cubicBezTo>
                <a:close/>
                <a:moveTo>
                  <a:pt x="475" y="19"/>
                </a:moveTo>
                <a:cubicBezTo>
                  <a:pt x="453" y="19"/>
                  <a:pt x="435" y="37"/>
                  <a:pt x="435" y="59"/>
                </a:cubicBezTo>
                <a:cubicBezTo>
                  <a:pt x="435" y="81"/>
                  <a:pt x="453" y="99"/>
                  <a:pt x="475" y="99"/>
                </a:cubicBezTo>
                <a:cubicBezTo>
                  <a:pt x="497" y="99"/>
                  <a:pt x="514" y="81"/>
                  <a:pt x="514" y="59"/>
                </a:cubicBezTo>
                <a:cubicBezTo>
                  <a:pt x="514" y="37"/>
                  <a:pt x="497" y="19"/>
                  <a:pt x="475" y="19"/>
                </a:cubicBezTo>
                <a:close/>
                <a:moveTo>
                  <a:pt x="586" y="35"/>
                </a:moveTo>
                <a:cubicBezTo>
                  <a:pt x="664" y="117"/>
                  <a:pt x="664" y="117"/>
                  <a:pt x="664" y="117"/>
                </a:cubicBezTo>
                <a:cubicBezTo>
                  <a:pt x="664" y="7"/>
                  <a:pt x="664" y="7"/>
                  <a:pt x="664" y="7"/>
                </a:cubicBezTo>
                <a:cubicBezTo>
                  <a:pt x="650" y="7"/>
                  <a:pt x="650" y="7"/>
                  <a:pt x="650" y="7"/>
                </a:cubicBezTo>
                <a:cubicBezTo>
                  <a:pt x="650" y="83"/>
                  <a:pt x="650" y="83"/>
                  <a:pt x="650" y="83"/>
                </a:cubicBezTo>
                <a:cubicBezTo>
                  <a:pt x="572" y="1"/>
                  <a:pt x="572" y="1"/>
                  <a:pt x="572" y="1"/>
                </a:cubicBezTo>
                <a:cubicBezTo>
                  <a:pt x="572" y="110"/>
                  <a:pt x="572" y="110"/>
                  <a:pt x="572" y="110"/>
                </a:cubicBezTo>
                <a:cubicBezTo>
                  <a:pt x="586" y="110"/>
                  <a:pt x="586" y="110"/>
                  <a:pt x="586" y="110"/>
                </a:cubicBezTo>
                <a:lnTo>
                  <a:pt x="586" y="35"/>
                </a:lnTo>
                <a:close/>
                <a:moveTo>
                  <a:pt x="843" y="7"/>
                </a:moveTo>
                <a:cubicBezTo>
                  <a:pt x="830" y="7"/>
                  <a:pt x="830" y="7"/>
                  <a:pt x="830" y="7"/>
                </a:cubicBezTo>
                <a:cubicBezTo>
                  <a:pt x="830" y="110"/>
                  <a:pt x="830" y="110"/>
                  <a:pt x="830" y="110"/>
                </a:cubicBezTo>
                <a:cubicBezTo>
                  <a:pt x="885" y="110"/>
                  <a:pt x="885" y="110"/>
                  <a:pt x="885" y="110"/>
                </a:cubicBezTo>
                <a:cubicBezTo>
                  <a:pt x="885" y="97"/>
                  <a:pt x="885" y="97"/>
                  <a:pt x="885" y="97"/>
                </a:cubicBezTo>
                <a:cubicBezTo>
                  <a:pt x="843" y="97"/>
                  <a:pt x="843" y="97"/>
                  <a:pt x="843" y="97"/>
                </a:cubicBezTo>
                <a:lnTo>
                  <a:pt x="843" y="7"/>
                </a:lnTo>
                <a:close/>
                <a:moveTo>
                  <a:pt x="169" y="156"/>
                </a:moveTo>
                <a:cubicBezTo>
                  <a:pt x="139" y="156"/>
                  <a:pt x="116" y="179"/>
                  <a:pt x="116" y="209"/>
                </a:cubicBezTo>
                <a:cubicBezTo>
                  <a:pt x="116" y="240"/>
                  <a:pt x="139" y="262"/>
                  <a:pt x="169" y="262"/>
                </a:cubicBezTo>
                <a:cubicBezTo>
                  <a:pt x="175" y="262"/>
                  <a:pt x="188" y="261"/>
                  <a:pt x="200" y="252"/>
                </a:cubicBezTo>
                <a:cubicBezTo>
                  <a:pt x="200" y="252"/>
                  <a:pt x="200" y="252"/>
                  <a:pt x="200" y="252"/>
                </a:cubicBezTo>
                <a:cubicBezTo>
                  <a:pt x="200" y="234"/>
                  <a:pt x="200" y="234"/>
                  <a:pt x="200" y="234"/>
                </a:cubicBezTo>
                <a:cubicBezTo>
                  <a:pt x="198" y="236"/>
                  <a:pt x="198" y="236"/>
                  <a:pt x="198" y="236"/>
                </a:cubicBezTo>
                <a:cubicBezTo>
                  <a:pt x="196" y="239"/>
                  <a:pt x="192" y="242"/>
                  <a:pt x="187" y="245"/>
                </a:cubicBezTo>
                <a:cubicBezTo>
                  <a:pt x="181" y="247"/>
                  <a:pt x="175" y="249"/>
                  <a:pt x="169" y="249"/>
                </a:cubicBezTo>
                <a:cubicBezTo>
                  <a:pt x="142" y="249"/>
                  <a:pt x="130" y="226"/>
                  <a:pt x="130" y="210"/>
                </a:cubicBezTo>
                <a:cubicBezTo>
                  <a:pt x="130" y="187"/>
                  <a:pt x="147" y="169"/>
                  <a:pt x="169" y="169"/>
                </a:cubicBezTo>
                <a:cubicBezTo>
                  <a:pt x="174" y="169"/>
                  <a:pt x="180" y="170"/>
                  <a:pt x="185" y="173"/>
                </a:cubicBezTo>
                <a:cubicBezTo>
                  <a:pt x="190" y="175"/>
                  <a:pt x="194" y="178"/>
                  <a:pt x="198" y="182"/>
                </a:cubicBezTo>
                <a:cubicBezTo>
                  <a:pt x="200" y="184"/>
                  <a:pt x="200" y="184"/>
                  <a:pt x="200" y="184"/>
                </a:cubicBezTo>
                <a:cubicBezTo>
                  <a:pt x="200" y="166"/>
                  <a:pt x="200" y="166"/>
                  <a:pt x="200" y="166"/>
                </a:cubicBezTo>
                <a:cubicBezTo>
                  <a:pt x="200" y="166"/>
                  <a:pt x="200" y="166"/>
                  <a:pt x="200" y="166"/>
                </a:cubicBezTo>
                <a:cubicBezTo>
                  <a:pt x="191" y="159"/>
                  <a:pt x="181" y="156"/>
                  <a:pt x="169" y="156"/>
                </a:cubicBezTo>
                <a:close/>
                <a:moveTo>
                  <a:pt x="437" y="209"/>
                </a:moveTo>
                <a:cubicBezTo>
                  <a:pt x="437" y="225"/>
                  <a:pt x="431" y="238"/>
                  <a:pt x="419" y="249"/>
                </a:cubicBezTo>
                <a:cubicBezTo>
                  <a:pt x="409" y="257"/>
                  <a:pt x="399" y="261"/>
                  <a:pt x="382" y="261"/>
                </a:cubicBezTo>
                <a:cubicBezTo>
                  <a:pt x="360" y="261"/>
                  <a:pt x="360" y="261"/>
                  <a:pt x="360" y="261"/>
                </a:cubicBezTo>
                <a:cubicBezTo>
                  <a:pt x="360" y="157"/>
                  <a:pt x="360" y="157"/>
                  <a:pt x="360" y="157"/>
                </a:cubicBezTo>
                <a:cubicBezTo>
                  <a:pt x="382" y="157"/>
                  <a:pt x="382" y="157"/>
                  <a:pt x="382" y="157"/>
                </a:cubicBezTo>
                <a:cubicBezTo>
                  <a:pt x="393" y="157"/>
                  <a:pt x="407" y="159"/>
                  <a:pt x="420" y="170"/>
                </a:cubicBezTo>
                <a:cubicBezTo>
                  <a:pt x="426" y="175"/>
                  <a:pt x="437" y="187"/>
                  <a:pt x="437" y="209"/>
                </a:cubicBezTo>
                <a:close/>
                <a:moveTo>
                  <a:pt x="423" y="209"/>
                </a:moveTo>
                <a:cubicBezTo>
                  <a:pt x="423" y="186"/>
                  <a:pt x="407" y="171"/>
                  <a:pt x="382" y="171"/>
                </a:cubicBezTo>
                <a:cubicBezTo>
                  <a:pt x="374" y="171"/>
                  <a:pt x="374" y="171"/>
                  <a:pt x="374" y="171"/>
                </a:cubicBezTo>
                <a:cubicBezTo>
                  <a:pt x="374" y="247"/>
                  <a:pt x="374" y="247"/>
                  <a:pt x="374" y="247"/>
                </a:cubicBezTo>
                <a:cubicBezTo>
                  <a:pt x="382" y="247"/>
                  <a:pt x="382" y="247"/>
                  <a:pt x="382" y="247"/>
                </a:cubicBezTo>
                <a:cubicBezTo>
                  <a:pt x="390" y="247"/>
                  <a:pt x="401" y="246"/>
                  <a:pt x="410" y="239"/>
                </a:cubicBezTo>
                <a:cubicBezTo>
                  <a:pt x="416" y="234"/>
                  <a:pt x="423" y="224"/>
                  <a:pt x="423" y="209"/>
                </a:cubicBezTo>
                <a:close/>
                <a:moveTo>
                  <a:pt x="479" y="261"/>
                </a:moveTo>
                <a:cubicBezTo>
                  <a:pt x="541" y="261"/>
                  <a:pt x="541" y="261"/>
                  <a:pt x="541" y="261"/>
                </a:cubicBezTo>
                <a:cubicBezTo>
                  <a:pt x="541" y="247"/>
                  <a:pt x="541" y="247"/>
                  <a:pt x="541" y="247"/>
                </a:cubicBezTo>
                <a:cubicBezTo>
                  <a:pt x="493" y="247"/>
                  <a:pt x="493" y="247"/>
                  <a:pt x="493" y="247"/>
                </a:cubicBezTo>
                <a:cubicBezTo>
                  <a:pt x="493" y="211"/>
                  <a:pt x="493" y="211"/>
                  <a:pt x="493" y="211"/>
                </a:cubicBezTo>
                <a:cubicBezTo>
                  <a:pt x="535" y="211"/>
                  <a:pt x="535" y="211"/>
                  <a:pt x="535" y="211"/>
                </a:cubicBezTo>
                <a:cubicBezTo>
                  <a:pt x="535" y="198"/>
                  <a:pt x="535" y="198"/>
                  <a:pt x="535" y="198"/>
                </a:cubicBezTo>
                <a:cubicBezTo>
                  <a:pt x="493" y="198"/>
                  <a:pt x="493" y="198"/>
                  <a:pt x="493" y="198"/>
                </a:cubicBezTo>
                <a:cubicBezTo>
                  <a:pt x="493" y="171"/>
                  <a:pt x="493" y="171"/>
                  <a:pt x="493" y="171"/>
                </a:cubicBezTo>
                <a:cubicBezTo>
                  <a:pt x="541" y="171"/>
                  <a:pt x="541" y="171"/>
                  <a:pt x="541" y="171"/>
                </a:cubicBezTo>
                <a:cubicBezTo>
                  <a:pt x="541" y="157"/>
                  <a:pt x="541" y="157"/>
                  <a:pt x="541" y="157"/>
                </a:cubicBezTo>
                <a:cubicBezTo>
                  <a:pt x="479" y="157"/>
                  <a:pt x="479" y="157"/>
                  <a:pt x="479" y="157"/>
                </a:cubicBezTo>
                <a:lnTo>
                  <a:pt x="479" y="261"/>
                </a:lnTo>
                <a:close/>
                <a:moveTo>
                  <a:pt x="805" y="261"/>
                </a:moveTo>
                <a:cubicBezTo>
                  <a:pt x="866" y="261"/>
                  <a:pt x="866" y="261"/>
                  <a:pt x="866" y="261"/>
                </a:cubicBezTo>
                <a:cubicBezTo>
                  <a:pt x="866" y="247"/>
                  <a:pt x="866" y="247"/>
                  <a:pt x="866" y="247"/>
                </a:cubicBezTo>
                <a:cubicBezTo>
                  <a:pt x="819" y="247"/>
                  <a:pt x="819" y="247"/>
                  <a:pt x="819" y="247"/>
                </a:cubicBezTo>
                <a:cubicBezTo>
                  <a:pt x="819" y="211"/>
                  <a:pt x="819" y="211"/>
                  <a:pt x="819" y="211"/>
                </a:cubicBezTo>
                <a:cubicBezTo>
                  <a:pt x="860" y="211"/>
                  <a:pt x="860" y="211"/>
                  <a:pt x="860" y="211"/>
                </a:cubicBezTo>
                <a:cubicBezTo>
                  <a:pt x="860" y="198"/>
                  <a:pt x="860" y="198"/>
                  <a:pt x="860" y="198"/>
                </a:cubicBezTo>
                <a:cubicBezTo>
                  <a:pt x="819" y="198"/>
                  <a:pt x="819" y="198"/>
                  <a:pt x="819" y="198"/>
                </a:cubicBezTo>
                <a:cubicBezTo>
                  <a:pt x="819" y="171"/>
                  <a:pt x="819" y="171"/>
                  <a:pt x="819" y="171"/>
                </a:cubicBezTo>
                <a:cubicBezTo>
                  <a:pt x="866" y="171"/>
                  <a:pt x="866" y="171"/>
                  <a:pt x="866" y="171"/>
                </a:cubicBezTo>
                <a:cubicBezTo>
                  <a:pt x="866" y="157"/>
                  <a:pt x="866" y="157"/>
                  <a:pt x="866" y="157"/>
                </a:cubicBezTo>
                <a:cubicBezTo>
                  <a:pt x="805" y="157"/>
                  <a:pt x="805" y="157"/>
                  <a:pt x="805" y="157"/>
                </a:cubicBezTo>
                <a:lnTo>
                  <a:pt x="805" y="261"/>
                </a:lnTo>
                <a:close/>
                <a:moveTo>
                  <a:pt x="634" y="235"/>
                </a:moveTo>
                <a:cubicBezTo>
                  <a:pt x="595" y="149"/>
                  <a:pt x="595" y="149"/>
                  <a:pt x="595" y="149"/>
                </a:cubicBezTo>
                <a:cubicBezTo>
                  <a:pt x="578" y="261"/>
                  <a:pt x="578" y="261"/>
                  <a:pt x="578" y="261"/>
                </a:cubicBezTo>
                <a:cubicBezTo>
                  <a:pt x="592" y="261"/>
                  <a:pt x="592" y="261"/>
                  <a:pt x="592" y="261"/>
                </a:cubicBezTo>
                <a:cubicBezTo>
                  <a:pt x="601" y="194"/>
                  <a:pt x="601" y="194"/>
                  <a:pt x="601" y="194"/>
                </a:cubicBezTo>
                <a:cubicBezTo>
                  <a:pt x="634" y="267"/>
                  <a:pt x="634" y="267"/>
                  <a:pt x="634" y="267"/>
                </a:cubicBezTo>
                <a:cubicBezTo>
                  <a:pt x="668" y="194"/>
                  <a:pt x="668" y="194"/>
                  <a:pt x="668" y="194"/>
                </a:cubicBezTo>
                <a:cubicBezTo>
                  <a:pt x="677" y="261"/>
                  <a:pt x="677" y="261"/>
                  <a:pt x="677" y="261"/>
                </a:cubicBezTo>
                <a:cubicBezTo>
                  <a:pt x="691" y="261"/>
                  <a:pt x="691" y="261"/>
                  <a:pt x="691" y="261"/>
                </a:cubicBezTo>
                <a:cubicBezTo>
                  <a:pt x="674" y="148"/>
                  <a:pt x="674" y="148"/>
                  <a:pt x="674" y="148"/>
                </a:cubicBezTo>
                <a:lnTo>
                  <a:pt x="634" y="235"/>
                </a:lnTo>
                <a:close/>
                <a:moveTo>
                  <a:pt x="737" y="261"/>
                </a:moveTo>
                <a:cubicBezTo>
                  <a:pt x="751" y="261"/>
                  <a:pt x="751" y="261"/>
                  <a:pt x="751" y="261"/>
                </a:cubicBezTo>
                <a:cubicBezTo>
                  <a:pt x="751" y="157"/>
                  <a:pt x="751" y="157"/>
                  <a:pt x="751" y="157"/>
                </a:cubicBezTo>
                <a:cubicBezTo>
                  <a:pt x="737" y="157"/>
                  <a:pt x="737" y="157"/>
                  <a:pt x="737" y="157"/>
                </a:cubicBezTo>
                <a:lnTo>
                  <a:pt x="737" y="261"/>
                </a:lnTo>
                <a:close/>
                <a:moveTo>
                  <a:pt x="955" y="211"/>
                </a:moveTo>
                <a:cubicBezTo>
                  <a:pt x="950" y="207"/>
                  <a:pt x="945" y="204"/>
                  <a:pt x="939" y="201"/>
                </a:cubicBezTo>
                <a:cubicBezTo>
                  <a:pt x="929" y="197"/>
                  <a:pt x="929" y="197"/>
                  <a:pt x="929" y="197"/>
                </a:cubicBezTo>
                <a:cubicBezTo>
                  <a:pt x="925" y="195"/>
                  <a:pt x="922" y="194"/>
                  <a:pt x="919" y="191"/>
                </a:cubicBezTo>
                <a:cubicBezTo>
                  <a:pt x="916" y="189"/>
                  <a:pt x="916" y="187"/>
                  <a:pt x="916" y="183"/>
                </a:cubicBezTo>
                <a:cubicBezTo>
                  <a:pt x="916" y="175"/>
                  <a:pt x="922" y="169"/>
                  <a:pt x="931" y="169"/>
                </a:cubicBezTo>
                <a:cubicBezTo>
                  <a:pt x="936" y="169"/>
                  <a:pt x="940" y="171"/>
                  <a:pt x="942" y="172"/>
                </a:cubicBezTo>
                <a:cubicBezTo>
                  <a:pt x="944" y="174"/>
                  <a:pt x="946" y="177"/>
                  <a:pt x="947" y="179"/>
                </a:cubicBezTo>
                <a:cubicBezTo>
                  <a:pt x="948" y="181"/>
                  <a:pt x="948" y="181"/>
                  <a:pt x="948" y="181"/>
                </a:cubicBezTo>
                <a:cubicBezTo>
                  <a:pt x="959" y="173"/>
                  <a:pt x="959" y="173"/>
                  <a:pt x="959" y="173"/>
                </a:cubicBezTo>
                <a:cubicBezTo>
                  <a:pt x="958" y="172"/>
                  <a:pt x="958" y="172"/>
                  <a:pt x="958" y="172"/>
                </a:cubicBezTo>
                <a:cubicBezTo>
                  <a:pt x="956" y="167"/>
                  <a:pt x="952" y="163"/>
                  <a:pt x="948" y="161"/>
                </a:cubicBezTo>
                <a:cubicBezTo>
                  <a:pt x="943" y="157"/>
                  <a:pt x="938" y="156"/>
                  <a:pt x="931" y="156"/>
                </a:cubicBezTo>
                <a:cubicBezTo>
                  <a:pt x="914" y="156"/>
                  <a:pt x="902" y="167"/>
                  <a:pt x="902" y="183"/>
                </a:cubicBezTo>
                <a:cubicBezTo>
                  <a:pt x="902" y="190"/>
                  <a:pt x="904" y="195"/>
                  <a:pt x="909" y="200"/>
                </a:cubicBezTo>
                <a:cubicBezTo>
                  <a:pt x="913" y="205"/>
                  <a:pt x="918" y="207"/>
                  <a:pt x="922" y="209"/>
                </a:cubicBezTo>
                <a:cubicBezTo>
                  <a:pt x="932" y="213"/>
                  <a:pt x="932" y="213"/>
                  <a:pt x="932" y="213"/>
                </a:cubicBezTo>
                <a:cubicBezTo>
                  <a:pt x="937" y="215"/>
                  <a:pt x="941" y="217"/>
                  <a:pt x="944" y="220"/>
                </a:cubicBezTo>
                <a:cubicBezTo>
                  <a:pt x="947" y="223"/>
                  <a:pt x="948" y="226"/>
                  <a:pt x="948" y="231"/>
                </a:cubicBezTo>
                <a:cubicBezTo>
                  <a:pt x="948" y="240"/>
                  <a:pt x="942" y="249"/>
                  <a:pt x="929" y="249"/>
                </a:cubicBezTo>
                <a:cubicBezTo>
                  <a:pt x="924" y="249"/>
                  <a:pt x="919" y="247"/>
                  <a:pt x="916" y="244"/>
                </a:cubicBezTo>
                <a:cubicBezTo>
                  <a:pt x="913" y="241"/>
                  <a:pt x="911" y="236"/>
                  <a:pt x="910" y="232"/>
                </a:cubicBezTo>
                <a:cubicBezTo>
                  <a:pt x="910" y="230"/>
                  <a:pt x="910" y="230"/>
                  <a:pt x="910" y="230"/>
                </a:cubicBezTo>
                <a:cubicBezTo>
                  <a:pt x="896" y="234"/>
                  <a:pt x="896" y="234"/>
                  <a:pt x="896" y="234"/>
                </a:cubicBezTo>
                <a:cubicBezTo>
                  <a:pt x="897" y="235"/>
                  <a:pt x="897" y="235"/>
                  <a:pt x="897" y="235"/>
                </a:cubicBezTo>
                <a:cubicBezTo>
                  <a:pt x="898" y="243"/>
                  <a:pt x="902" y="249"/>
                  <a:pt x="906" y="254"/>
                </a:cubicBezTo>
                <a:cubicBezTo>
                  <a:pt x="912" y="260"/>
                  <a:pt x="920" y="262"/>
                  <a:pt x="929" y="262"/>
                </a:cubicBezTo>
                <a:cubicBezTo>
                  <a:pt x="948" y="262"/>
                  <a:pt x="962" y="249"/>
                  <a:pt x="962" y="230"/>
                </a:cubicBezTo>
                <a:cubicBezTo>
                  <a:pt x="962" y="222"/>
                  <a:pt x="960" y="216"/>
                  <a:pt x="955" y="211"/>
                </a:cubicBezTo>
                <a:close/>
                <a:moveTo>
                  <a:pt x="0" y="261"/>
                </a:moveTo>
                <a:cubicBezTo>
                  <a:pt x="15" y="261"/>
                  <a:pt x="15" y="261"/>
                  <a:pt x="15" y="261"/>
                </a:cubicBezTo>
                <a:cubicBezTo>
                  <a:pt x="48" y="184"/>
                  <a:pt x="48" y="184"/>
                  <a:pt x="48" y="184"/>
                </a:cubicBezTo>
                <a:cubicBezTo>
                  <a:pt x="79" y="260"/>
                  <a:pt x="79" y="260"/>
                  <a:pt x="79" y="260"/>
                </a:cubicBezTo>
                <a:cubicBezTo>
                  <a:pt x="80" y="261"/>
                  <a:pt x="80" y="261"/>
                  <a:pt x="80" y="261"/>
                </a:cubicBezTo>
                <a:cubicBezTo>
                  <a:pt x="95" y="261"/>
                  <a:pt x="95" y="261"/>
                  <a:pt x="95" y="261"/>
                </a:cubicBezTo>
                <a:cubicBezTo>
                  <a:pt x="48" y="151"/>
                  <a:pt x="48" y="151"/>
                  <a:pt x="48" y="151"/>
                </a:cubicBezTo>
                <a:lnTo>
                  <a:pt x="0" y="261"/>
                </a:lnTo>
                <a:close/>
                <a:moveTo>
                  <a:pt x="229" y="261"/>
                </a:moveTo>
                <a:cubicBezTo>
                  <a:pt x="244" y="261"/>
                  <a:pt x="244" y="261"/>
                  <a:pt x="244" y="261"/>
                </a:cubicBezTo>
                <a:cubicBezTo>
                  <a:pt x="277" y="184"/>
                  <a:pt x="277" y="184"/>
                  <a:pt x="277" y="184"/>
                </a:cubicBezTo>
                <a:cubicBezTo>
                  <a:pt x="309" y="260"/>
                  <a:pt x="309" y="260"/>
                  <a:pt x="309" y="260"/>
                </a:cubicBezTo>
                <a:cubicBezTo>
                  <a:pt x="309" y="261"/>
                  <a:pt x="309" y="261"/>
                  <a:pt x="309" y="261"/>
                </a:cubicBezTo>
                <a:cubicBezTo>
                  <a:pt x="324" y="261"/>
                  <a:pt x="324" y="261"/>
                  <a:pt x="324" y="261"/>
                </a:cubicBezTo>
                <a:cubicBezTo>
                  <a:pt x="277" y="151"/>
                  <a:pt x="277" y="151"/>
                  <a:pt x="277" y="151"/>
                </a:cubicBezTo>
                <a:lnTo>
                  <a:pt x="229" y="261"/>
                </a:lnTo>
                <a:close/>
                <a:moveTo>
                  <a:pt x="1071" y="11"/>
                </a:moveTo>
                <a:cubicBezTo>
                  <a:pt x="1071" y="18"/>
                  <a:pt x="1071" y="18"/>
                  <a:pt x="1071" y="18"/>
                </a:cubicBezTo>
                <a:cubicBezTo>
                  <a:pt x="1075" y="18"/>
                  <a:pt x="1075" y="18"/>
                  <a:pt x="1075" y="18"/>
                </a:cubicBezTo>
                <a:cubicBezTo>
                  <a:pt x="1077" y="9"/>
                  <a:pt x="1077" y="9"/>
                  <a:pt x="1077" y="9"/>
                </a:cubicBezTo>
                <a:cubicBezTo>
                  <a:pt x="1076" y="8"/>
                  <a:pt x="1074" y="7"/>
                  <a:pt x="1072" y="6"/>
                </a:cubicBezTo>
                <a:cubicBezTo>
                  <a:pt x="1070" y="6"/>
                  <a:pt x="1067" y="6"/>
                  <a:pt x="1064" y="6"/>
                </a:cubicBezTo>
                <a:cubicBezTo>
                  <a:pt x="1061" y="6"/>
                  <a:pt x="1058" y="6"/>
                  <a:pt x="1056" y="7"/>
                </a:cubicBezTo>
                <a:cubicBezTo>
                  <a:pt x="1053" y="9"/>
                  <a:pt x="1051" y="10"/>
                  <a:pt x="1049" y="12"/>
                </a:cubicBezTo>
                <a:cubicBezTo>
                  <a:pt x="1048" y="14"/>
                  <a:pt x="1047" y="17"/>
                  <a:pt x="1047" y="20"/>
                </a:cubicBezTo>
                <a:cubicBezTo>
                  <a:pt x="1047" y="22"/>
                  <a:pt x="1048" y="24"/>
                  <a:pt x="1049" y="26"/>
                </a:cubicBezTo>
                <a:cubicBezTo>
                  <a:pt x="1050" y="28"/>
                  <a:pt x="1051" y="30"/>
                  <a:pt x="1053" y="31"/>
                </a:cubicBezTo>
                <a:cubicBezTo>
                  <a:pt x="1055" y="32"/>
                  <a:pt x="1057" y="34"/>
                  <a:pt x="1059" y="35"/>
                </a:cubicBezTo>
                <a:cubicBezTo>
                  <a:pt x="1062" y="37"/>
                  <a:pt x="1064" y="39"/>
                  <a:pt x="1066" y="40"/>
                </a:cubicBezTo>
                <a:cubicBezTo>
                  <a:pt x="1067" y="42"/>
                  <a:pt x="1068" y="44"/>
                  <a:pt x="1068" y="47"/>
                </a:cubicBezTo>
                <a:cubicBezTo>
                  <a:pt x="1068" y="49"/>
                  <a:pt x="1067" y="52"/>
                  <a:pt x="1065" y="53"/>
                </a:cubicBezTo>
                <a:cubicBezTo>
                  <a:pt x="1062" y="55"/>
                  <a:pt x="1060" y="56"/>
                  <a:pt x="1057" y="56"/>
                </a:cubicBezTo>
                <a:cubicBezTo>
                  <a:pt x="1055" y="56"/>
                  <a:pt x="1053" y="56"/>
                  <a:pt x="1052" y="55"/>
                </a:cubicBezTo>
                <a:cubicBezTo>
                  <a:pt x="1050" y="55"/>
                  <a:pt x="1049" y="54"/>
                  <a:pt x="1048" y="54"/>
                </a:cubicBezTo>
                <a:cubicBezTo>
                  <a:pt x="1048" y="46"/>
                  <a:pt x="1048" y="46"/>
                  <a:pt x="1048" y="46"/>
                </a:cubicBezTo>
                <a:cubicBezTo>
                  <a:pt x="1044" y="46"/>
                  <a:pt x="1044" y="46"/>
                  <a:pt x="1044" y="46"/>
                </a:cubicBezTo>
                <a:cubicBezTo>
                  <a:pt x="1042" y="56"/>
                  <a:pt x="1042" y="56"/>
                  <a:pt x="1042" y="56"/>
                </a:cubicBezTo>
                <a:cubicBezTo>
                  <a:pt x="1043" y="57"/>
                  <a:pt x="1045" y="58"/>
                  <a:pt x="1048" y="58"/>
                </a:cubicBezTo>
                <a:cubicBezTo>
                  <a:pt x="1051" y="59"/>
                  <a:pt x="1054" y="59"/>
                  <a:pt x="1057" y="59"/>
                </a:cubicBezTo>
                <a:cubicBezTo>
                  <a:pt x="1060" y="59"/>
                  <a:pt x="1063" y="59"/>
                  <a:pt x="1066" y="57"/>
                </a:cubicBezTo>
                <a:cubicBezTo>
                  <a:pt x="1069" y="56"/>
                  <a:pt x="1071" y="54"/>
                  <a:pt x="1073" y="52"/>
                </a:cubicBezTo>
                <a:cubicBezTo>
                  <a:pt x="1074" y="50"/>
                  <a:pt x="1075" y="47"/>
                  <a:pt x="1075" y="44"/>
                </a:cubicBezTo>
                <a:cubicBezTo>
                  <a:pt x="1075" y="42"/>
                  <a:pt x="1074" y="40"/>
                  <a:pt x="1073" y="38"/>
                </a:cubicBezTo>
                <a:cubicBezTo>
                  <a:pt x="1072" y="36"/>
                  <a:pt x="1071" y="35"/>
                  <a:pt x="1069" y="34"/>
                </a:cubicBezTo>
                <a:cubicBezTo>
                  <a:pt x="1068" y="32"/>
                  <a:pt x="1066" y="31"/>
                  <a:pt x="1064" y="29"/>
                </a:cubicBezTo>
                <a:cubicBezTo>
                  <a:pt x="1060" y="27"/>
                  <a:pt x="1058" y="25"/>
                  <a:pt x="1056" y="24"/>
                </a:cubicBezTo>
                <a:cubicBezTo>
                  <a:pt x="1055" y="22"/>
                  <a:pt x="1054" y="20"/>
                  <a:pt x="1054" y="17"/>
                </a:cubicBezTo>
                <a:cubicBezTo>
                  <a:pt x="1054" y="15"/>
                  <a:pt x="1055" y="13"/>
                  <a:pt x="1057" y="11"/>
                </a:cubicBezTo>
                <a:cubicBezTo>
                  <a:pt x="1059" y="10"/>
                  <a:pt x="1061" y="9"/>
                  <a:pt x="1064" y="9"/>
                </a:cubicBezTo>
                <a:cubicBezTo>
                  <a:pt x="1065" y="9"/>
                  <a:pt x="1067" y="9"/>
                  <a:pt x="1068" y="10"/>
                </a:cubicBezTo>
                <a:cubicBezTo>
                  <a:pt x="1069" y="10"/>
                  <a:pt x="1070" y="10"/>
                  <a:pt x="1071" y="11"/>
                </a:cubicBezTo>
                <a:close/>
                <a:moveTo>
                  <a:pt x="1107" y="27"/>
                </a:moveTo>
                <a:cubicBezTo>
                  <a:pt x="1108" y="27"/>
                  <a:pt x="1108" y="27"/>
                  <a:pt x="1108" y="27"/>
                </a:cubicBezTo>
                <a:cubicBezTo>
                  <a:pt x="1110" y="20"/>
                  <a:pt x="1110" y="20"/>
                  <a:pt x="1110" y="20"/>
                </a:cubicBezTo>
                <a:cubicBezTo>
                  <a:pt x="1109" y="20"/>
                  <a:pt x="1108" y="19"/>
                  <a:pt x="1107" y="19"/>
                </a:cubicBezTo>
                <a:cubicBezTo>
                  <a:pt x="1105" y="19"/>
                  <a:pt x="1104" y="19"/>
                  <a:pt x="1102" y="19"/>
                </a:cubicBezTo>
                <a:cubicBezTo>
                  <a:pt x="1098" y="19"/>
                  <a:pt x="1094" y="20"/>
                  <a:pt x="1091" y="22"/>
                </a:cubicBezTo>
                <a:cubicBezTo>
                  <a:pt x="1088" y="25"/>
                  <a:pt x="1086" y="28"/>
                  <a:pt x="1084" y="32"/>
                </a:cubicBezTo>
                <a:cubicBezTo>
                  <a:pt x="1083" y="36"/>
                  <a:pt x="1082" y="40"/>
                  <a:pt x="1082" y="43"/>
                </a:cubicBezTo>
                <a:cubicBezTo>
                  <a:pt x="1082" y="48"/>
                  <a:pt x="1083" y="52"/>
                  <a:pt x="1085" y="55"/>
                </a:cubicBezTo>
                <a:cubicBezTo>
                  <a:pt x="1087" y="58"/>
                  <a:pt x="1091" y="59"/>
                  <a:pt x="1094" y="59"/>
                </a:cubicBezTo>
                <a:cubicBezTo>
                  <a:pt x="1098" y="59"/>
                  <a:pt x="1100" y="59"/>
                  <a:pt x="1102" y="57"/>
                </a:cubicBezTo>
                <a:cubicBezTo>
                  <a:pt x="1105" y="56"/>
                  <a:pt x="1106" y="54"/>
                  <a:pt x="1108" y="53"/>
                </a:cubicBezTo>
                <a:cubicBezTo>
                  <a:pt x="1106" y="50"/>
                  <a:pt x="1106" y="50"/>
                  <a:pt x="1106" y="50"/>
                </a:cubicBezTo>
                <a:cubicBezTo>
                  <a:pt x="1105" y="52"/>
                  <a:pt x="1103" y="53"/>
                  <a:pt x="1102" y="54"/>
                </a:cubicBezTo>
                <a:cubicBezTo>
                  <a:pt x="1100" y="54"/>
                  <a:pt x="1099" y="55"/>
                  <a:pt x="1097" y="55"/>
                </a:cubicBezTo>
                <a:cubicBezTo>
                  <a:pt x="1094" y="55"/>
                  <a:pt x="1092" y="54"/>
                  <a:pt x="1091" y="52"/>
                </a:cubicBezTo>
                <a:cubicBezTo>
                  <a:pt x="1090" y="50"/>
                  <a:pt x="1089" y="47"/>
                  <a:pt x="1089" y="43"/>
                </a:cubicBezTo>
                <a:cubicBezTo>
                  <a:pt x="1089" y="39"/>
                  <a:pt x="1090" y="35"/>
                  <a:pt x="1091" y="32"/>
                </a:cubicBezTo>
                <a:cubicBezTo>
                  <a:pt x="1092" y="30"/>
                  <a:pt x="1093" y="27"/>
                  <a:pt x="1095" y="26"/>
                </a:cubicBezTo>
                <a:cubicBezTo>
                  <a:pt x="1097" y="24"/>
                  <a:pt x="1099" y="23"/>
                  <a:pt x="1101" y="23"/>
                </a:cubicBezTo>
                <a:cubicBezTo>
                  <a:pt x="1102" y="23"/>
                  <a:pt x="1105" y="24"/>
                  <a:pt x="1107" y="27"/>
                </a:cubicBezTo>
                <a:close/>
                <a:moveTo>
                  <a:pt x="1124" y="52"/>
                </a:moveTo>
                <a:cubicBezTo>
                  <a:pt x="1129" y="19"/>
                  <a:pt x="1129" y="19"/>
                  <a:pt x="1129" y="19"/>
                </a:cubicBezTo>
                <a:cubicBezTo>
                  <a:pt x="1128" y="19"/>
                  <a:pt x="1128" y="19"/>
                  <a:pt x="1128" y="19"/>
                </a:cubicBezTo>
                <a:cubicBezTo>
                  <a:pt x="1118" y="20"/>
                  <a:pt x="1118" y="20"/>
                  <a:pt x="1118" y="20"/>
                </a:cubicBezTo>
                <a:cubicBezTo>
                  <a:pt x="1117" y="23"/>
                  <a:pt x="1117" y="23"/>
                  <a:pt x="1117" y="23"/>
                </a:cubicBezTo>
                <a:cubicBezTo>
                  <a:pt x="1122" y="24"/>
                  <a:pt x="1122" y="24"/>
                  <a:pt x="1122" y="24"/>
                </a:cubicBezTo>
                <a:cubicBezTo>
                  <a:pt x="1121" y="31"/>
                  <a:pt x="1120" y="37"/>
                  <a:pt x="1119" y="41"/>
                </a:cubicBezTo>
                <a:cubicBezTo>
                  <a:pt x="1118" y="49"/>
                  <a:pt x="1117" y="54"/>
                  <a:pt x="1117" y="55"/>
                </a:cubicBezTo>
                <a:cubicBezTo>
                  <a:pt x="1117" y="56"/>
                  <a:pt x="1118" y="57"/>
                  <a:pt x="1118" y="58"/>
                </a:cubicBezTo>
                <a:cubicBezTo>
                  <a:pt x="1119" y="59"/>
                  <a:pt x="1120" y="59"/>
                  <a:pt x="1122" y="59"/>
                </a:cubicBezTo>
                <a:cubicBezTo>
                  <a:pt x="1124" y="59"/>
                  <a:pt x="1125" y="59"/>
                  <a:pt x="1127" y="58"/>
                </a:cubicBezTo>
                <a:cubicBezTo>
                  <a:pt x="1128" y="57"/>
                  <a:pt x="1129" y="55"/>
                  <a:pt x="1130" y="54"/>
                </a:cubicBezTo>
                <a:cubicBezTo>
                  <a:pt x="1129" y="53"/>
                  <a:pt x="1129" y="53"/>
                  <a:pt x="1129" y="53"/>
                </a:cubicBezTo>
                <a:cubicBezTo>
                  <a:pt x="1128" y="54"/>
                  <a:pt x="1128" y="54"/>
                  <a:pt x="1127" y="54"/>
                </a:cubicBezTo>
                <a:cubicBezTo>
                  <a:pt x="1126" y="55"/>
                  <a:pt x="1126" y="55"/>
                  <a:pt x="1125" y="55"/>
                </a:cubicBezTo>
                <a:cubicBezTo>
                  <a:pt x="1125" y="55"/>
                  <a:pt x="1125" y="55"/>
                  <a:pt x="1125" y="54"/>
                </a:cubicBezTo>
                <a:cubicBezTo>
                  <a:pt x="1124" y="54"/>
                  <a:pt x="1124" y="54"/>
                  <a:pt x="1124" y="53"/>
                </a:cubicBezTo>
                <a:lnTo>
                  <a:pt x="1124" y="52"/>
                </a:lnTo>
                <a:close/>
                <a:moveTo>
                  <a:pt x="1127" y="11"/>
                </a:moveTo>
                <a:cubicBezTo>
                  <a:pt x="1128" y="11"/>
                  <a:pt x="1129" y="11"/>
                  <a:pt x="1130" y="10"/>
                </a:cubicBezTo>
                <a:cubicBezTo>
                  <a:pt x="1131" y="9"/>
                  <a:pt x="1131" y="7"/>
                  <a:pt x="1131" y="6"/>
                </a:cubicBezTo>
                <a:cubicBezTo>
                  <a:pt x="1131" y="5"/>
                  <a:pt x="1131" y="4"/>
                  <a:pt x="1130" y="3"/>
                </a:cubicBezTo>
                <a:cubicBezTo>
                  <a:pt x="1130" y="3"/>
                  <a:pt x="1129" y="2"/>
                  <a:pt x="1128" y="2"/>
                </a:cubicBezTo>
                <a:cubicBezTo>
                  <a:pt x="1126" y="2"/>
                  <a:pt x="1125" y="3"/>
                  <a:pt x="1124" y="4"/>
                </a:cubicBezTo>
                <a:cubicBezTo>
                  <a:pt x="1123" y="5"/>
                  <a:pt x="1123" y="6"/>
                  <a:pt x="1123" y="7"/>
                </a:cubicBezTo>
                <a:cubicBezTo>
                  <a:pt x="1123" y="8"/>
                  <a:pt x="1123" y="9"/>
                  <a:pt x="1124" y="10"/>
                </a:cubicBezTo>
                <a:cubicBezTo>
                  <a:pt x="1125" y="11"/>
                  <a:pt x="1126" y="11"/>
                  <a:pt x="1127" y="11"/>
                </a:cubicBezTo>
                <a:close/>
                <a:moveTo>
                  <a:pt x="1166" y="52"/>
                </a:moveTo>
                <a:cubicBezTo>
                  <a:pt x="1165" y="49"/>
                  <a:pt x="1165" y="49"/>
                  <a:pt x="1165" y="49"/>
                </a:cubicBezTo>
                <a:cubicBezTo>
                  <a:pt x="1163" y="51"/>
                  <a:pt x="1161" y="52"/>
                  <a:pt x="1159" y="53"/>
                </a:cubicBezTo>
                <a:cubicBezTo>
                  <a:pt x="1157" y="54"/>
                  <a:pt x="1155" y="55"/>
                  <a:pt x="1153" y="55"/>
                </a:cubicBezTo>
                <a:cubicBezTo>
                  <a:pt x="1150" y="55"/>
                  <a:pt x="1148" y="54"/>
                  <a:pt x="1147" y="51"/>
                </a:cubicBezTo>
                <a:cubicBezTo>
                  <a:pt x="1145" y="49"/>
                  <a:pt x="1145" y="46"/>
                  <a:pt x="1145" y="43"/>
                </a:cubicBezTo>
                <a:cubicBezTo>
                  <a:pt x="1148" y="43"/>
                  <a:pt x="1151" y="42"/>
                  <a:pt x="1155" y="41"/>
                </a:cubicBezTo>
                <a:cubicBezTo>
                  <a:pt x="1158" y="40"/>
                  <a:pt x="1162" y="38"/>
                  <a:pt x="1164" y="36"/>
                </a:cubicBezTo>
                <a:cubicBezTo>
                  <a:pt x="1167" y="33"/>
                  <a:pt x="1168" y="31"/>
                  <a:pt x="1168" y="27"/>
                </a:cubicBezTo>
                <a:cubicBezTo>
                  <a:pt x="1168" y="25"/>
                  <a:pt x="1167" y="23"/>
                  <a:pt x="1166" y="21"/>
                </a:cubicBezTo>
                <a:cubicBezTo>
                  <a:pt x="1164" y="19"/>
                  <a:pt x="1162" y="19"/>
                  <a:pt x="1158" y="19"/>
                </a:cubicBezTo>
                <a:cubicBezTo>
                  <a:pt x="1154" y="19"/>
                  <a:pt x="1151" y="20"/>
                  <a:pt x="1148" y="22"/>
                </a:cubicBezTo>
                <a:cubicBezTo>
                  <a:pt x="1145" y="24"/>
                  <a:pt x="1142" y="28"/>
                  <a:pt x="1140" y="31"/>
                </a:cubicBezTo>
                <a:cubicBezTo>
                  <a:pt x="1138" y="35"/>
                  <a:pt x="1138" y="40"/>
                  <a:pt x="1138" y="44"/>
                </a:cubicBezTo>
                <a:cubicBezTo>
                  <a:pt x="1138" y="47"/>
                  <a:pt x="1138" y="49"/>
                  <a:pt x="1139" y="52"/>
                </a:cubicBezTo>
                <a:cubicBezTo>
                  <a:pt x="1140" y="54"/>
                  <a:pt x="1142" y="56"/>
                  <a:pt x="1144" y="57"/>
                </a:cubicBezTo>
                <a:cubicBezTo>
                  <a:pt x="1146" y="59"/>
                  <a:pt x="1148" y="59"/>
                  <a:pt x="1151" y="59"/>
                </a:cubicBezTo>
                <a:cubicBezTo>
                  <a:pt x="1155" y="59"/>
                  <a:pt x="1158" y="58"/>
                  <a:pt x="1160" y="57"/>
                </a:cubicBezTo>
                <a:cubicBezTo>
                  <a:pt x="1163" y="55"/>
                  <a:pt x="1165" y="54"/>
                  <a:pt x="1166" y="52"/>
                </a:cubicBezTo>
                <a:close/>
                <a:moveTo>
                  <a:pt x="1157" y="22"/>
                </a:moveTo>
                <a:cubicBezTo>
                  <a:pt x="1158" y="22"/>
                  <a:pt x="1159" y="23"/>
                  <a:pt x="1160" y="24"/>
                </a:cubicBezTo>
                <a:cubicBezTo>
                  <a:pt x="1161" y="25"/>
                  <a:pt x="1161" y="26"/>
                  <a:pt x="1161" y="28"/>
                </a:cubicBezTo>
                <a:cubicBezTo>
                  <a:pt x="1161" y="30"/>
                  <a:pt x="1161" y="32"/>
                  <a:pt x="1159" y="34"/>
                </a:cubicBezTo>
                <a:cubicBezTo>
                  <a:pt x="1157" y="35"/>
                  <a:pt x="1155" y="37"/>
                  <a:pt x="1152" y="38"/>
                </a:cubicBezTo>
                <a:cubicBezTo>
                  <a:pt x="1150" y="39"/>
                  <a:pt x="1147" y="39"/>
                  <a:pt x="1145" y="39"/>
                </a:cubicBezTo>
                <a:cubicBezTo>
                  <a:pt x="1145" y="37"/>
                  <a:pt x="1146" y="34"/>
                  <a:pt x="1147" y="32"/>
                </a:cubicBezTo>
                <a:cubicBezTo>
                  <a:pt x="1148" y="29"/>
                  <a:pt x="1149" y="27"/>
                  <a:pt x="1151" y="25"/>
                </a:cubicBezTo>
                <a:cubicBezTo>
                  <a:pt x="1152" y="23"/>
                  <a:pt x="1154" y="22"/>
                  <a:pt x="1157" y="22"/>
                </a:cubicBezTo>
                <a:close/>
                <a:moveTo>
                  <a:pt x="1187" y="28"/>
                </a:moveTo>
                <a:cubicBezTo>
                  <a:pt x="1188" y="19"/>
                  <a:pt x="1188" y="19"/>
                  <a:pt x="1188" y="19"/>
                </a:cubicBezTo>
                <a:cubicBezTo>
                  <a:pt x="1186" y="19"/>
                  <a:pt x="1186" y="19"/>
                  <a:pt x="1186" y="19"/>
                </a:cubicBezTo>
                <a:cubicBezTo>
                  <a:pt x="1178" y="20"/>
                  <a:pt x="1178" y="20"/>
                  <a:pt x="1178" y="20"/>
                </a:cubicBezTo>
                <a:cubicBezTo>
                  <a:pt x="1177" y="23"/>
                  <a:pt x="1177" y="23"/>
                  <a:pt x="1177" y="23"/>
                </a:cubicBezTo>
                <a:cubicBezTo>
                  <a:pt x="1180" y="25"/>
                  <a:pt x="1180" y="25"/>
                  <a:pt x="1180" y="25"/>
                </a:cubicBezTo>
                <a:cubicBezTo>
                  <a:pt x="1176" y="58"/>
                  <a:pt x="1176" y="58"/>
                  <a:pt x="1176" y="58"/>
                </a:cubicBezTo>
                <a:cubicBezTo>
                  <a:pt x="1183" y="58"/>
                  <a:pt x="1183" y="58"/>
                  <a:pt x="1183" y="58"/>
                </a:cubicBezTo>
                <a:cubicBezTo>
                  <a:pt x="1186" y="33"/>
                  <a:pt x="1186" y="33"/>
                  <a:pt x="1186" y="33"/>
                </a:cubicBezTo>
                <a:cubicBezTo>
                  <a:pt x="1188" y="31"/>
                  <a:pt x="1190" y="28"/>
                  <a:pt x="1192" y="26"/>
                </a:cubicBezTo>
                <a:cubicBezTo>
                  <a:pt x="1194" y="25"/>
                  <a:pt x="1196" y="24"/>
                  <a:pt x="1198" y="24"/>
                </a:cubicBezTo>
                <a:cubicBezTo>
                  <a:pt x="1200" y="24"/>
                  <a:pt x="1201" y="24"/>
                  <a:pt x="1202" y="25"/>
                </a:cubicBezTo>
                <a:cubicBezTo>
                  <a:pt x="1202" y="26"/>
                  <a:pt x="1203" y="27"/>
                  <a:pt x="1203" y="29"/>
                </a:cubicBezTo>
                <a:cubicBezTo>
                  <a:pt x="1203" y="31"/>
                  <a:pt x="1202" y="33"/>
                  <a:pt x="1202" y="35"/>
                </a:cubicBezTo>
                <a:cubicBezTo>
                  <a:pt x="1202" y="37"/>
                  <a:pt x="1201" y="39"/>
                  <a:pt x="1201" y="41"/>
                </a:cubicBezTo>
                <a:cubicBezTo>
                  <a:pt x="1201" y="43"/>
                  <a:pt x="1201" y="43"/>
                  <a:pt x="1201" y="43"/>
                </a:cubicBezTo>
                <a:cubicBezTo>
                  <a:pt x="1200" y="46"/>
                  <a:pt x="1200" y="46"/>
                  <a:pt x="1200" y="46"/>
                </a:cubicBezTo>
                <a:cubicBezTo>
                  <a:pt x="1199" y="51"/>
                  <a:pt x="1199" y="54"/>
                  <a:pt x="1199" y="55"/>
                </a:cubicBezTo>
                <a:cubicBezTo>
                  <a:pt x="1199" y="58"/>
                  <a:pt x="1200" y="59"/>
                  <a:pt x="1203" y="59"/>
                </a:cubicBezTo>
                <a:cubicBezTo>
                  <a:pt x="1205" y="59"/>
                  <a:pt x="1206" y="59"/>
                  <a:pt x="1207" y="58"/>
                </a:cubicBezTo>
                <a:cubicBezTo>
                  <a:pt x="1208" y="58"/>
                  <a:pt x="1209" y="57"/>
                  <a:pt x="1210" y="57"/>
                </a:cubicBezTo>
                <a:cubicBezTo>
                  <a:pt x="1210" y="56"/>
                  <a:pt x="1211" y="55"/>
                  <a:pt x="1211" y="55"/>
                </a:cubicBezTo>
                <a:cubicBezTo>
                  <a:pt x="1210" y="53"/>
                  <a:pt x="1210" y="53"/>
                  <a:pt x="1210" y="53"/>
                </a:cubicBezTo>
                <a:cubicBezTo>
                  <a:pt x="1209" y="54"/>
                  <a:pt x="1208" y="55"/>
                  <a:pt x="1207" y="55"/>
                </a:cubicBezTo>
                <a:cubicBezTo>
                  <a:pt x="1206" y="55"/>
                  <a:pt x="1206" y="54"/>
                  <a:pt x="1206" y="53"/>
                </a:cubicBezTo>
                <a:cubicBezTo>
                  <a:pt x="1206" y="51"/>
                  <a:pt x="1206" y="48"/>
                  <a:pt x="1207" y="45"/>
                </a:cubicBezTo>
                <a:cubicBezTo>
                  <a:pt x="1208" y="41"/>
                  <a:pt x="1208" y="41"/>
                  <a:pt x="1208" y="41"/>
                </a:cubicBezTo>
                <a:cubicBezTo>
                  <a:pt x="1208" y="40"/>
                  <a:pt x="1208" y="40"/>
                  <a:pt x="1208" y="40"/>
                </a:cubicBezTo>
                <a:cubicBezTo>
                  <a:pt x="1209" y="34"/>
                  <a:pt x="1210" y="31"/>
                  <a:pt x="1210" y="29"/>
                </a:cubicBezTo>
                <a:cubicBezTo>
                  <a:pt x="1210" y="25"/>
                  <a:pt x="1209" y="23"/>
                  <a:pt x="1207" y="21"/>
                </a:cubicBezTo>
                <a:cubicBezTo>
                  <a:pt x="1206" y="19"/>
                  <a:pt x="1204" y="19"/>
                  <a:pt x="1201" y="19"/>
                </a:cubicBezTo>
                <a:cubicBezTo>
                  <a:pt x="1199" y="19"/>
                  <a:pt x="1196" y="19"/>
                  <a:pt x="1193" y="21"/>
                </a:cubicBezTo>
                <a:cubicBezTo>
                  <a:pt x="1191" y="23"/>
                  <a:pt x="1189" y="25"/>
                  <a:pt x="1187" y="28"/>
                </a:cubicBezTo>
                <a:close/>
                <a:moveTo>
                  <a:pt x="1243" y="27"/>
                </a:moveTo>
                <a:cubicBezTo>
                  <a:pt x="1245" y="27"/>
                  <a:pt x="1245" y="27"/>
                  <a:pt x="1245" y="27"/>
                </a:cubicBezTo>
                <a:cubicBezTo>
                  <a:pt x="1247" y="20"/>
                  <a:pt x="1247" y="20"/>
                  <a:pt x="1247" y="20"/>
                </a:cubicBezTo>
                <a:cubicBezTo>
                  <a:pt x="1246" y="20"/>
                  <a:pt x="1244" y="19"/>
                  <a:pt x="1243" y="19"/>
                </a:cubicBezTo>
                <a:cubicBezTo>
                  <a:pt x="1241" y="19"/>
                  <a:pt x="1240" y="19"/>
                  <a:pt x="1239" y="19"/>
                </a:cubicBezTo>
                <a:cubicBezTo>
                  <a:pt x="1234" y="19"/>
                  <a:pt x="1231" y="20"/>
                  <a:pt x="1228" y="22"/>
                </a:cubicBezTo>
                <a:cubicBezTo>
                  <a:pt x="1224" y="25"/>
                  <a:pt x="1222" y="28"/>
                  <a:pt x="1220" y="32"/>
                </a:cubicBezTo>
                <a:cubicBezTo>
                  <a:pt x="1219" y="36"/>
                  <a:pt x="1218" y="40"/>
                  <a:pt x="1218" y="43"/>
                </a:cubicBezTo>
                <a:cubicBezTo>
                  <a:pt x="1218" y="48"/>
                  <a:pt x="1219" y="52"/>
                  <a:pt x="1221" y="55"/>
                </a:cubicBezTo>
                <a:cubicBezTo>
                  <a:pt x="1224" y="58"/>
                  <a:pt x="1227" y="59"/>
                  <a:pt x="1231" y="59"/>
                </a:cubicBezTo>
                <a:cubicBezTo>
                  <a:pt x="1234" y="59"/>
                  <a:pt x="1236" y="59"/>
                  <a:pt x="1239" y="57"/>
                </a:cubicBezTo>
                <a:cubicBezTo>
                  <a:pt x="1241" y="56"/>
                  <a:pt x="1243" y="54"/>
                  <a:pt x="1244" y="53"/>
                </a:cubicBezTo>
                <a:cubicBezTo>
                  <a:pt x="1242" y="50"/>
                  <a:pt x="1242" y="50"/>
                  <a:pt x="1242" y="50"/>
                </a:cubicBezTo>
                <a:cubicBezTo>
                  <a:pt x="1241" y="52"/>
                  <a:pt x="1239" y="53"/>
                  <a:pt x="1238" y="54"/>
                </a:cubicBezTo>
                <a:cubicBezTo>
                  <a:pt x="1236" y="54"/>
                  <a:pt x="1235" y="55"/>
                  <a:pt x="1233" y="55"/>
                </a:cubicBezTo>
                <a:cubicBezTo>
                  <a:pt x="1230" y="55"/>
                  <a:pt x="1228" y="54"/>
                  <a:pt x="1227" y="52"/>
                </a:cubicBezTo>
                <a:cubicBezTo>
                  <a:pt x="1226" y="50"/>
                  <a:pt x="1225" y="47"/>
                  <a:pt x="1225" y="43"/>
                </a:cubicBezTo>
                <a:cubicBezTo>
                  <a:pt x="1225" y="39"/>
                  <a:pt x="1226" y="35"/>
                  <a:pt x="1227" y="32"/>
                </a:cubicBezTo>
                <a:cubicBezTo>
                  <a:pt x="1228" y="30"/>
                  <a:pt x="1229" y="27"/>
                  <a:pt x="1231" y="26"/>
                </a:cubicBezTo>
                <a:cubicBezTo>
                  <a:pt x="1233" y="24"/>
                  <a:pt x="1235" y="23"/>
                  <a:pt x="1237" y="23"/>
                </a:cubicBezTo>
                <a:cubicBezTo>
                  <a:pt x="1239" y="23"/>
                  <a:pt x="1241" y="24"/>
                  <a:pt x="1243" y="27"/>
                </a:cubicBezTo>
                <a:close/>
                <a:moveTo>
                  <a:pt x="1279" y="52"/>
                </a:moveTo>
                <a:cubicBezTo>
                  <a:pt x="1277" y="49"/>
                  <a:pt x="1277" y="49"/>
                  <a:pt x="1277" y="49"/>
                </a:cubicBezTo>
                <a:cubicBezTo>
                  <a:pt x="1276" y="51"/>
                  <a:pt x="1274" y="52"/>
                  <a:pt x="1272" y="53"/>
                </a:cubicBezTo>
                <a:cubicBezTo>
                  <a:pt x="1270" y="54"/>
                  <a:pt x="1268" y="55"/>
                  <a:pt x="1266" y="55"/>
                </a:cubicBezTo>
                <a:cubicBezTo>
                  <a:pt x="1263" y="55"/>
                  <a:pt x="1261" y="54"/>
                  <a:pt x="1259" y="51"/>
                </a:cubicBezTo>
                <a:cubicBezTo>
                  <a:pt x="1258" y="49"/>
                  <a:pt x="1257" y="46"/>
                  <a:pt x="1258" y="43"/>
                </a:cubicBezTo>
                <a:cubicBezTo>
                  <a:pt x="1260" y="43"/>
                  <a:pt x="1264" y="42"/>
                  <a:pt x="1267" y="41"/>
                </a:cubicBezTo>
                <a:cubicBezTo>
                  <a:pt x="1271" y="40"/>
                  <a:pt x="1274" y="38"/>
                  <a:pt x="1277" y="36"/>
                </a:cubicBezTo>
                <a:cubicBezTo>
                  <a:pt x="1280" y="33"/>
                  <a:pt x="1281" y="31"/>
                  <a:pt x="1281" y="27"/>
                </a:cubicBezTo>
                <a:cubicBezTo>
                  <a:pt x="1281" y="25"/>
                  <a:pt x="1280" y="23"/>
                  <a:pt x="1278" y="21"/>
                </a:cubicBezTo>
                <a:cubicBezTo>
                  <a:pt x="1277" y="19"/>
                  <a:pt x="1274" y="19"/>
                  <a:pt x="1271" y="19"/>
                </a:cubicBezTo>
                <a:cubicBezTo>
                  <a:pt x="1267" y="19"/>
                  <a:pt x="1264" y="20"/>
                  <a:pt x="1260" y="22"/>
                </a:cubicBezTo>
                <a:cubicBezTo>
                  <a:pt x="1257" y="24"/>
                  <a:pt x="1255" y="28"/>
                  <a:pt x="1253" y="31"/>
                </a:cubicBezTo>
                <a:cubicBezTo>
                  <a:pt x="1251" y="35"/>
                  <a:pt x="1250" y="40"/>
                  <a:pt x="1250" y="44"/>
                </a:cubicBezTo>
                <a:cubicBezTo>
                  <a:pt x="1250" y="47"/>
                  <a:pt x="1251" y="49"/>
                  <a:pt x="1252" y="52"/>
                </a:cubicBezTo>
                <a:cubicBezTo>
                  <a:pt x="1253" y="54"/>
                  <a:pt x="1254" y="56"/>
                  <a:pt x="1256" y="57"/>
                </a:cubicBezTo>
                <a:cubicBezTo>
                  <a:pt x="1258" y="59"/>
                  <a:pt x="1261" y="59"/>
                  <a:pt x="1264" y="59"/>
                </a:cubicBezTo>
                <a:cubicBezTo>
                  <a:pt x="1267" y="59"/>
                  <a:pt x="1270" y="58"/>
                  <a:pt x="1273" y="57"/>
                </a:cubicBezTo>
                <a:cubicBezTo>
                  <a:pt x="1276" y="55"/>
                  <a:pt x="1278" y="54"/>
                  <a:pt x="1279" y="52"/>
                </a:cubicBezTo>
                <a:close/>
                <a:moveTo>
                  <a:pt x="1269" y="22"/>
                </a:moveTo>
                <a:cubicBezTo>
                  <a:pt x="1271" y="22"/>
                  <a:pt x="1272" y="23"/>
                  <a:pt x="1273" y="24"/>
                </a:cubicBezTo>
                <a:cubicBezTo>
                  <a:pt x="1274" y="25"/>
                  <a:pt x="1274" y="26"/>
                  <a:pt x="1274" y="28"/>
                </a:cubicBezTo>
                <a:cubicBezTo>
                  <a:pt x="1274" y="30"/>
                  <a:pt x="1273" y="32"/>
                  <a:pt x="1272" y="34"/>
                </a:cubicBezTo>
                <a:cubicBezTo>
                  <a:pt x="1270" y="35"/>
                  <a:pt x="1268" y="37"/>
                  <a:pt x="1265" y="38"/>
                </a:cubicBezTo>
                <a:cubicBezTo>
                  <a:pt x="1263" y="39"/>
                  <a:pt x="1260" y="39"/>
                  <a:pt x="1258" y="39"/>
                </a:cubicBezTo>
                <a:cubicBezTo>
                  <a:pt x="1258" y="37"/>
                  <a:pt x="1259" y="34"/>
                  <a:pt x="1259" y="32"/>
                </a:cubicBezTo>
                <a:cubicBezTo>
                  <a:pt x="1260" y="29"/>
                  <a:pt x="1262" y="27"/>
                  <a:pt x="1263" y="25"/>
                </a:cubicBezTo>
                <a:cubicBezTo>
                  <a:pt x="1265" y="23"/>
                  <a:pt x="1267" y="22"/>
                  <a:pt x="1269" y="22"/>
                </a:cubicBezTo>
                <a:close/>
                <a:moveTo>
                  <a:pt x="1310" y="25"/>
                </a:moveTo>
                <a:cubicBezTo>
                  <a:pt x="1311" y="20"/>
                  <a:pt x="1311" y="20"/>
                  <a:pt x="1311" y="20"/>
                </a:cubicBezTo>
                <a:cubicBezTo>
                  <a:pt x="1311" y="20"/>
                  <a:pt x="1309" y="19"/>
                  <a:pt x="1308" y="19"/>
                </a:cubicBezTo>
                <a:cubicBezTo>
                  <a:pt x="1306" y="19"/>
                  <a:pt x="1304" y="19"/>
                  <a:pt x="1303" y="19"/>
                </a:cubicBezTo>
                <a:cubicBezTo>
                  <a:pt x="1300" y="19"/>
                  <a:pt x="1298" y="19"/>
                  <a:pt x="1296" y="20"/>
                </a:cubicBezTo>
                <a:cubicBezTo>
                  <a:pt x="1293" y="21"/>
                  <a:pt x="1292" y="22"/>
                  <a:pt x="1291" y="24"/>
                </a:cubicBezTo>
                <a:cubicBezTo>
                  <a:pt x="1289" y="26"/>
                  <a:pt x="1289" y="27"/>
                  <a:pt x="1289" y="30"/>
                </a:cubicBezTo>
                <a:cubicBezTo>
                  <a:pt x="1289" y="34"/>
                  <a:pt x="1291" y="38"/>
                  <a:pt x="1296" y="41"/>
                </a:cubicBezTo>
                <a:cubicBezTo>
                  <a:pt x="1298" y="43"/>
                  <a:pt x="1300" y="44"/>
                  <a:pt x="1301" y="45"/>
                </a:cubicBezTo>
                <a:cubicBezTo>
                  <a:pt x="1302" y="46"/>
                  <a:pt x="1303" y="48"/>
                  <a:pt x="1303" y="50"/>
                </a:cubicBezTo>
                <a:cubicBezTo>
                  <a:pt x="1303" y="51"/>
                  <a:pt x="1302" y="53"/>
                  <a:pt x="1301" y="54"/>
                </a:cubicBezTo>
                <a:cubicBezTo>
                  <a:pt x="1299" y="55"/>
                  <a:pt x="1297" y="55"/>
                  <a:pt x="1295" y="55"/>
                </a:cubicBezTo>
                <a:cubicBezTo>
                  <a:pt x="1293" y="55"/>
                  <a:pt x="1292" y="55"/>
                  <a:pt x="1290" y="54"/>
                </a:cubicBezTo>
                <a:cubicBezTo>
                  <a:pt x="1288" y="53"/>
                  <a:pt x="1287" y="53"/>
                  <a:pt x="1286" y="52"/>
                </a:cubicBezTo>
                <a:cubicBezTo>
                  <a:pt x="1285" y="57"/>
                  <a:pt x="1285" y="57"/>
                  <a:pt x="1285" y="57"/>
                </a:cubicBezTo>
                <a:cubicBezTo>
                  <a:pt x="1285" y="58"/>
                  <a:pt x="1287" y="58"/>
                  <a:pt x="1289" y="58"/>
                </a:cubicBezTo>
                <a:cubicBezTo>
                  <a:pt x="1291" y="59"/>
                  <a:pt x="1293" y="59"/>
                  <a:pt x="1295" y="59"/>
                </a:cubicBezTo>
                <a:cubicBezTo>
                  <a:pt x="1299" y="59"/>
                  <a:pt x="1303" y="58"/>
                  <a:pt x="1305" y="56"/>
                </a:cubicBezTo>
                <a:cubicBezTo>
                  <a:pt x="1308" y="54"/>
                  <a:pt x="1309" y="52"/>
                  <a:pt x="1309" y="48"/>
                </a:cubicBezTo>
                <a:cubicBezTo>
                  <a:pt x="1309" y="46"/>
                  <a:pt x="1309" y="45"/>
                  <a:pt x="1308" y="43"/>
                </a:cubicBezTo>
                <a:cubicBezTo>
                  <a:pt x="1307" y="42"/>
                  <a:pt x="1306" y="41"/>
                  <a:pt x="1305" y="40"/>
                </a:cubicBezTo>
                <a:cubicBezTo>
                  <a:pt x="1304" y="39"/>
                  <a:pt x="1303" y="38"/>
                  <a:pt x="1301" y="36"/>
                </a:cubicBezTo>
                <a:cubicBezTo>
                  <a:pt x="1299" y="35"/>
                  <a:pt x="1298" y="34"/>
                  <a:pt x="1297" y="32"/>
                </a:cubicBezTo>
                <a:cubicBezTo>
                  <a:pt x="1296" y="31"/>
                  <a:pt x="1295" y="30"/>
                  <a:pt x="1295" y="28"/>
                </a:cubicBezTo>
                <a:cubicBezTo>
                  <a:pt x="1295" y="26"/>
                  <a:pt x="1296" y="25"/>
                  <a:pt x="1297" y="24"/>
                </a:cubicBezTo>
                <a:cubicBezTo>
                  <a:pt x="1299" y="23"/>
                  <a:pt x="1300" y="23"/>
                  <a:pt x="1303" y="23"/>
                </a:cubicBezTo>
                <a:cubicBezTo>
                  <a:pt x="1304" y="23"/>
                  <a:pt x="1306" y="23"/>
                  <a:pt x="1307" y="24"/>
                </a:cubicBezTo>
                <a:cubicBezTo>
                  <a:pt x="1309" y="24"/>
                  <a:pt x="1310" y="25"/>
                  <a:pt x="1310" y="25"/>
                </a:cubicBezTo>
                <a:close/>
                <a:moveTo>
                  <a:pt x="1047" y="110"/>
                </a:moveTo>
                <a:cubicBezTo>
                  <a:pt x="1052" y="111"/>
                  <a:pt x="1052" y="111"/>
                  <a:pt x="1052" y="111"/>
                </a:cubicBezTo>
                <a:cubicBezTo>
                  <a:pt x="1046" y="156"/>
                  <a:pt x="1046" y="156"/>
                  <a:pt x="1046" y="156"/>
                </a:cubicBezTo>
                <a:cubicBezTo>
                  <a:pt x="1041" y="157"/>
                  <a:pt x="1041" y="157"/>
                  <a:pt x="1041" y="157"/>
                </a:cubicBezTo>
                <a:cubicBezTo>
                  <a:pt x="1041" y="159"/>
                  <a:pt x="1041" y="159"/>
                  <a:pt x="1041" y="159"/>
                </a:cubicBezTo>
                <a:cubicBezTo>
                  <a:pt x="1078" y="159"/>
                  <a:pt x="1078" y="159"/>
                  <a:pt x="1078" y="159"/>
                </a:cubicBezTo>
                <a:cubicBezTo>
                  <a:pt x="1081" y="147"/>
                  <a:pt x="1081" y="147"/>
                  <a:pt x="1081" y="147"/>
                </a:cubicBezTo>
                <a:cubicBezTo>
                  <a:pt x="1077" y="146"/>
                  <a:pt x="1077" y="146"/>
                  <a:pt x="1077" y="146"/>
                </a:cubicBezTo>
                <a:cubicBezTo>
                  <a:pt x="1073" y="155"/>
                  <a:pt x="1073" y="155"/>
                  <a:pt x="1073" y="155"/>
                </a:cubicBezTo>
                <a:cubicBezTo>
                  <a:pt x="1053" y="156"/>
                  <a:pt x="1053" y="156"/>
                  <a:pt x="1053" y="156"/>
                </a:cubicBezTo>
                <a:cubicBezTo>
                  <a:pt x="1056" y="134"/>
                  <a:pt x="1056" y="134"/>
                  <a:pt x="1056" y="134"/>
                </a:cubicBezTo>
                <a:cubicBezTo>
                  <a:pt x="1072" y="135"/>
                  <a:pt x="1072" y="135"/>
                  <a:pt x="1072" y="135"/>
                </a:cubicBezTo>
                <a:cubicBezTo>
                  <a:pt x="1073" y="130"/>
                  <a:pt x="1073" y="130"/>
                  <a:pt x="1073" y="130"/>
                </a:cubicBezTo>
                <a:cubicBezTo>
                  <a:pt x="1057" y="130"/>
                  <a:pt x="1057" y="130"/>
                  <a:pt x="1057" y="130"/>
                </a:cubicBezTo>
                <a:cubicBezTo>
                  <a:pt x="1059" y="110"/>
                  <a:pt x="1059" y="110"/>
                  <a:pt x="1059" y="110"/>
                </a:cubicBezTo>
                <a:cubicBezTo>
                  <a:pt x="1075" y="111"/>
                  <a:pt x="1075" y="111"/>
                  <a:pt x="1075" y="111"/>
                </a:cubicBezTo>
                <a:cubicBezTo>
                  <a:pt x="1076" y="118"/>
                  <a:pt x="1076" y="118"/>
                  <a:pt x="1076" y="118"/>
                </a:cubicBezTo>
                <a:cubicBezTo>
                  <a:pt x="1080" y="118"/>
                  <a:pt x="1080" y="118"/>
                  <a:pt x="1080" y="118"/>
                </a:cubicBezTo>
                <a:cubicBezTo>
                  <a:pt x="1081" y="107"/>
                  <a:pt x="1081" y="107"/>
                  <a:pt x="1081" y="107"/>
                </a:cubicBezTo>
                <a:cubicBezTo>
                  <a:pt x="1048" y="107"/>
                  <a:pt x="1048" y="107"/>
                  <a:pt x="1048" y="107"/>
                </a:cubicBezTo>
                <a:lnTo>
                  <a:pt x="1047" y="110"/>
                </a:lnTo>
                <a:close/>
                <a:moveTo>
                  <a:pt x="1100" y="129"/>
                </a:moveTo>
                <a:cubicBezTo>
                  <a:pt x="1100" y="120"/>
                  <a:pt x="1100" y="120"/>
                  <a:pt x="1100" y="120"/>
                </a:cubicBezTo>
                <a:cubicBezTo>
                  <a:pt x="1099" y="119"/>
                  <a:pt x="1099" y="119"/>
                  <a:pt x="1099" y="119"/>
                </a:cubicBezTo>
                <a:cubicBezTo>
                  <a:pt x="1090" y="121"/>
                  <a:pt x="1090" y="121"/>
                  <a:pt x="1090" y="121"/>
                </a:cubicBezTo>
                <a:cubicBezTo>
                  <a:pt x="1090" y="124"/>
                  <a:pt x="1090" y="124"/>
                  <a:pt x="1090" y="124"/>
                </a:cubicBezTo>
                <a:cubicBezTo>
                  <a:pt x="1093" y="125"/>
                  <a:pt x="1093" y="125"/>
                  <a:pt x="1093" y="125"/>
                </a:cubicBezTo>
                <a:cubicBezTo>
                  <a:pt x="1089" y="159"/>
                  <a:pt x="1089" y="159"/>
                  <a:pt x="1089" y="159"/>
                </a:cubicBezTo>
                <a:cubicBezTo>
                  <a:pt x="1095" y="159"/>
                  <a:pt x="1095" y="159"/>
                  <a:pt x="1095" y="159"/>
                </a:cubicBezTo>
                <a:cubicBezTo>
                  <a:pt x="1099" y="134"/>
                  <a:pt x="1099" y="134"/>
                  <a:pt x="1099" y="134"/>
                </a:cubicBezTo>
                <a:cubicBezTo>
                  <a:pt x="1101" y="131"/>
                  <a:pt x="1103" y="129"/>
                  <a:pt x="1105" y="127"/>
                </a:cubicBezTo>
                <a:cubicBezTo>
                  <a:pt x="1107" y="125"/>
                  <a:pt x="1109" y="124"/>
                  <a:pt x="1111" y="124"/>
                </a:cubicBezTo>
                <a:cubicBezTo>
                  <a:pt x="1113" y="124"/>
                  <a:pt x="1114" y="125"/>
                  <a:pt x="1114" y="126"/>
                </a:cubicBezTo>
                <a:cubicBezTo>
                  <a:pt x="1115" y="127"/>
                  <a:pt x="1115" y="128"/>
                  <a:pt x="1115" y="130"/>
                </a:cubicBezTo>
                <a:cubicBezTo>
                  <a:pt x="1115" y="132"/>
                  <a:pt x="1115" y="134"/>
                  <a:pt x="1115" y="135"/>
                </a:cubicBezTo>
                <a:cubicBezTo>
                  <a:pt x="1115" y="137"/>
                  <a:pt x="1114" y="140"/>
                  <a:pt x="1114" y="142"/>
                </a:cubicBezTo>
                <a:cubicBezTo>
                  <a:pt x="1114" y="144"/>
                  <a:pt x="1114" y="144"/>
                  <a:pt x="1114" y="144"/>
                </a:cubicBezTo>
                <a:cubicBezTo>
                  <a:pt x="1113" y="147"/>
                  <a:pt x="1113" y="147"/>
                  <a:pt x="1113" y="147"/>
                </a:cubicBezTo>
                <a:cubicBezTo>
                  <a:pt x="1112" y="151"/>
                  <a:pt x="1112" y="154"/>
                  <a:pt x="1112" y="156"/>
                </a:cubicBezTo>
                <a:cubicBezTo>
                  <a:pt x="1112" y="159"/>
                  <a:pt x="1113" y="160"/>
                  <a:pt x="1116" y="160"/>
                </a:cubicBezTo>
                <a:cubicBezTo>
                  <a:pt x="1117" y="160"/>
                  <a:pt x="1119" y="160"/>
                  <a:pt x="1120" y="159"/>
                </a:cubicBezTo>
                <a:cubicBezTo>
                  <a:pt x="1121" y="159"/>
                  <a:pt x="1122" y="158"/>
                  <a:pt x="1123" y="157"/>
                </a:cubicBezTo>
                <a:cubicBezTo>
                  <a:pt x="1123" y="157"/>
                  <a:pt x="1124" y="156"/>
                  <a:pt x="1124" y="156"/>
                </a:cubicBezTo>
                <a:cubicBezTo>
                  <a:pt x="1123" y="154"/>
                  <a:pt x="1123" y="154"/>
                  <a:pt x="1123" y="154"/>
                </a:cubicBezTo>
                <a:cubicBezTo>
                  <a:pt x="1122" y="155"/>
                  <a:pt x="1121" y="156"/>
                  <a:pt x="1120" y="156"/>
                </a:cubicBezTo>
                <a:cubicBezTo>
                  <a:pt x="1119" y="156"/>
                  <a:pt x="1119" y="155"/>
                  <a:pt x="1119" y="154"/>
                </a:cubicBezTo>
                <a:cubicBezTo>
                  <a:pt x="1119" y="152"/>
                  <a:pt x="1119" y="149"/>
                  <a:pt x="1120" y="145"/>
                </a:cubicBezTo>
                <a:cubicBezTo>
                  <a:pt x="1121" y="142"/>
                  <a:pt x="1121" y="142"/>
                  <a:pt x="1121" y="142"/>
                </a:cubicBezTo>
                <a:cubicBezTo>
                  <a:pt x="1121" y="140"/>
                  <a:pt x="1121" y="140"/>
                  <a:pt x="1121" y="140"/>
                </a:cubicBezTo>
                <a:cubicBezTo>
                  <a:pt x="1122" y="135"/>
                  <a:pt x="1122" y="132"/>
                  <a:pt x="1122" y="130"/>
                </a:cubicBezTo>
                <a:cubicBezTo>
                  <a:pt x="1122" y="126"/>
                  <a:pt x="1122" y="123"/>
                  <a:pt x="1120" y="122"/>
                </a:cubicBezTo>
                <a:cubicBezTo>
                  <a:pt x="1119" y="120"/>
                  <a:pt x="1117" y="119"/>
                  <a:pt x="1114" y="119"/>
                </a:cubicBezTo>
                <a:cubicBezTo>
                  <a:pt x="1112" y="119"/>
                  <a:pt x="1109" y="120"/>
                  <a:pt x="1106" y="122"/>
                </a:cubicBezTo>
                <a:cubicBezTo>
                  <a:pt x="1104" y="124"/>
                  <a:pt x="1102" y="126"/>
                  <a:pt x="1100" y="129"/>
                </a:cubicBezTo>
                <a:close/>
                <a:moveTo>
                  <a:pt x="1159" y="162"/>
                </a:moveTo>
                <a:cubicBezTo>
                  <a:pt x="1165" y="119"/>
                  <a:pt x="1165" y="119"/>
                  <a:pt x="1165" y="119"/>
                </a:cubicBezTo>
                <a:cubicBezTo>
                  <a:pt x="1160" y="121"/>
                  <a:pt x="1160" y="121"/>
                  <a:pt x="1160" y="121"/>
                </a:cubicBezTo>
                <a:cubicBezTo>
                  <a:pt x="1159" y="121"/>
                  <a:pt x="1158" y="120"/>
                  <a:pt x="1157" y="120"/>
                </a:cubicBezTo>
                <a:cubicBezTo>
                  <a:pt x="1155" y="120"/>
                  <a:pt x="1154" y="119"/>
                  <a:pt x="1153" y="119"/>
                </a:cubicBezTo>
                <a:cubicBezTo>
                  <a:pt x="1148" y="119"/>
                  <a:pt x="1144" y="121"/>
                  <a:pt x="1141" y="123"/>
                </a:cubicBezTo>
                <a:cubicBezTo>
                  <a:pt x="1137" y="126"/>
                  <a:pt x="1135" y="129"/>
                  <a:pt x="1133" y="133"/>
                </a:cubicBezTo>
                <a:cubicBezTo>
                  <a:pt x="1131" y="137"/>
                  <a:pt x="1130" y="141"/>
                  <a:pt x="1130" y="145"/>
                </a:cubicBezTo>
                <a:cubicBezTo>
                  <a:pt x="1130" y="150"/>
                  <a:pt x="1131" y="153"/>
                  <a:pt x="1133" y="156"/>
                </a:cubicBezTo>
                <a:cubicBezTo>
                  <a:pt x="1135" y="159"/>
                  <a:pt x="1138" y="160"/>
                  <a:pt x="1142" y="160"/>
                </a:cubicBezTo>
                <a:cubicBezTo>
                  <a:pt x="1144" y="160"/>
                  <a:pt x="1146" y="159"/>
                  <a:pt x="1148" y="158"/>
                </a:cubicBezTo>
                <a:cubicBezTo>
                  <a:pt x="1150" y="157"/>
                  <a:pt x="1152" y="156"/>
                  <a:pt x="1153" y="155"/>
                </a:cubicBezTo>
                <a:cubicBezTo>
                  <a:pt x="1151" y="164"/>
                  <a:pt x="1151" y="164"/>
                  <a:pt x="1151" y="164"/>
                </a:cubicBezTo>
                <a:cubicBezTo>
                  <a:pt x="1151" y="167"/>
                  <a:pt x="1150" y="169"/>
                  <a:pt x="1149" y="170"/>
                </a:cubicBezTo>
                <a:cubicBezTo>
                  <a:pt x="1147" y="172"/>
                  <a:pt x="1145" y="172"/>
                  <a:pt x="1142" y="172"/>
                </a:cubicBezTo>
                <a:cubicBezTo>
                  <a:pt x="1140" y="172"/>
                  <a:pt x="1139" y="172"/>
                  <a:pt x="1137" y="171"/>
                </a:cubicBezTo>
                <a:cubicBezTo>
                  <a:pt x="1136" y="171"/>
                  <a:pt x="1134" y="170"/>
                  <a:pt x="1133" y="170"/>
                </a:cubicBezTo>
                <a:cubicBezTo>
                  <a:pt x="1132" y="175"/>
                  <a:pt x="1132" y="175"/>
                  <a:pt x="1132" y="175"/>
                </a:cubicBezTo>
                <a:cubicBezTo>
                  <a:pt x="1132" y="176"/>
                  <a:pt x="1134" y="176"/>
                  <a:pt x="1135" y="176"/>
                </a:cubicBezTo>
                <a:cubicBezTo>
                  <a:pt x="1137" y="177"/>
                  <a:pt x="1138" y="177"/>
                  <a:pt x="1140" y="177"/>
                </a:cubicBezTo>
                <a:cubicBezTo>
                  <a:pt x="1142" y="177"/>
                  <a:pt x="1145" y="176"/>
                  <a:pt x="1148" y="175"/>
                </a:cubicBezTo>
                <a:cubicBezTo>
                  <a:pt x="1150" y="174"/>
                  <a:pt x="1153" y="173"/>
                  <a:pt x="1155" y="170"/>
                </a:cubicBezTo>
                <a:cubicBezTo>
                  <a:pt x="1157" y="168"/>
                  <a:pt x="1158" y="165"/>
                  <a:pt x="1159" y="162"/>
                </a:cubicBezTo>
                <a:close/>
                <a:moveTo>
                  <a:pt x="1157" y="125"/>
                </a:moveTo>
                <a:cubicBezTo>
                  <a:pt x="1154" y="150"/>
                  <a:pt x="1154" y="150"/>
                  <a:pt x="1154" y="150"/>
                </a:cubicBezTo>
                <a:cubicBezTo>
                  <a:pt x="1152" y="151"/>
                  <a:pt x="1151" y="153"/>
                  <a:pt x="1149" y="154"/>
                </a:cubicBezTo>
                <a:cubicBezTo>
                  <a:pt x="1148" y="155"/>
                  <a:pt x="1146" y="155"/>
                  <a:pt x="1144" y="155"/>
                </a:cubicBezTo>
                <a:cubicBezTo>
                  <a:pt x="1142" y="155"/>
                  <a:pt x="1140" y="155"/>
                  <a:pt x="1139" y="153"/>
                </a:cubicBezTo>
                <a:cubicBezTo>
                  <a:pt x="1138" y="151"/>
                  <a:pt x="1138" y="148"/>
                  <a:pt x="1138" y="145"/>
                </a:cubicBezTo>
                <a:cubicBezTo>
                  <a:pt x="1138" y="142"/>
                  <a:pt x="1138" y="138"/>
                  <a:pt x="1139" y="135"/>
                </a:cubicBezTo>
                <a:cubicBezTo>
                  <a:pt x="1140" y="132"/>
                  <a:pt x="1142" y="129"/>
                  <a:pt x="1144" y="127"/>
                </a:cubicBezTo>
                <a:cubicBezTo>
                  <a:pt x="1146" y="124"/>
                  <a:pt x="1149" y="123"/>
                  <a:pt x="1152" y="123"/>
                </a:cubicBezTo>
                <a:cubicBezTo>
                  <a:pt x="1154" y="123"/>
                  <a:pt x="1156" y="124"/>
                  <a:pt x="1157" y="125"/>
                </a:cubicBezTo>
                <a:close/>
                <a:moveTo>
                  <a:pt x="1181" y="153"/>
                </a:moveTo>
                <a:cubicBezTo>
                  <a:pt x="1185" y="120"/>
                  <a:pt x="1185" y="120"/>
                  <a:pt x="1185" y="120"/>
                </a:cubicBezTo>
                <a:cubicBezTo>
                  <a:pt x="1184" y="119"/>
                  <a:pt x="1184" y="119"/>
                  <a:pt x="1184" y="119"/>
                </a:cubicBezTo>
                <a:cubicBezTo>
                  <a:pt x="1174" y="121"/>
                  <a:pt x="1174" y="121"/>
                  <a:pt x="1174" y="121"/>
                </a:cubicBezTo>
                <a:cubicBezTo>
                  <a:pt x="1173" y="123"/>
                  <a:pt x="1173" y="123"/>
                  <a:pt x="1173" y="123"/>
                </a:cubicBezTo>
                <a:cubicBezTo>
                  <a:pt x="1178" y="125"/>
                  <a:pt x="1178" y="125"/>
                  <a:pt x="1178" y="125"/>
                </a:cubicBezTo>
                <a:cubicBezTo>
                  <a:pt x="1177" y="132"/>
                  <a:pt x="1176" y="138"/>
                  <a:pt x="1175" y="142"/>
                </a:cubicBezTo>
                <a:cubicBezTo>
                  <a:pt x="1174" y="150"/>
                  <a:pt x="1174" y="154"/>
                  <a:pt x="1173" y="156"/>
                </a:cubicBezTo>
                <a:cubicBezTo>
                  <a:pt x="1173" y="157"/>
                  <a:pt x="1174" y="158"/>
                  <a:pt x="1174" y="159"/>
                </a:cubicBezTo>
                <a:cubicBezTo>
                  <a:pt x="1175" y="160"/>
                  <a:pt x="1176" y="160"/>
                  <a:pt x="1178" y="160"/>
                </a:cubicBezTo>
                <a:cubicBezTo>
                  <a:pt x="1180" y="160"/>
                  <a:pt x="1182" y="159"/>
                  <a:pt x="1183" y="158"/>
                </a:cubicBezTo>
                <a:cubicBezTo>
                  <a:pt x="1184" y="157"/>
                  <a:pt x="1185" y="156"/>
                  <a:pt x="1186" y="155"/>
                </a:cubicBezTo>
                <a:cubicBezTo>
                  <a:pt x="1185" y="154"/>
                  <a:pt x="1185" y="154"/>
                  <a:pt x="1185" y="154"/>
                </a:cubicBezTo>
                <a:cubicBezTo>
                  <a:pt x="1184" y="154"/>
                  <a:pt x="1184" y="155"/>
                  <a:pt x="1183" y="155"/>
                </a:cubicBezTo>
                <a:cubicBezTo>
                  <a:pt x="1183" y="156"/>
                  <a:pt x="1182" y="156"/>
                  <a:pt x="1182" y="156"/>
                </a:cubicBezTo>
                <a:cubicBezTo>
                  <a:pt x="1181" y="156"/>
                  <a:pt x="1181" y="156"/>
                  <a:pt x="1181" y="155"/>
                </a:cubicBezTo>
                <a:cubicBezTo>
                  <a:pt x="1181" y="155"/>
                  <a:pt x="1180" y="155"/>
                  <a:pt x="1180" y="154"/>
                </a:cubicBezTo>
                <a:lnTo>
                  <a:pt x="1181" y="153"/>
                </a:lnTo>
                <a:close/>
                <a:moveTo>
                  <a:pt x="1183" y="112"/>
                </a:moveTo>
                <a:cubicBezTo>
                  <a:pt x="1184" y="112"/>
                  <a:pt x="1185" y="111"/>
                  <a:pt x="1186" y="110"/>
                </a:cubicBezTo>
                <a:cubicBezTo>
                  <a:pt x="1187" y="109"/>
                  <a:pt x="1188" y="108"/>
                  <a:pt x="1188" y="107"/>
                </a:cubicBezTo>
                <a:cubicBezTo>
                  <a:pt x="1188" y="106"/>
                  <a:pt x="1187" y="105"/>
                  <a:pt x="1187" y="104"/>
                </a:cubicBezTo>
                <a:cubicBezTo>
                  <a:pt x="1186" y="103"/>
                  <a:pt x="1185" y="103"/>
                  <a:pt x="1184" y="103"/>
                </a:cubicBezTo>
                <a:cubicBezTo>
                  <a:pt x="1182" y="103"/>
                  <a:pt x="1181" y="103"/>
                  <a:pt x="1180" y="104"/>
                </a:cubicBezTo>
                <a:cubicBezTo>
                  <a:pt x="1180" y="105"/>
                  <a:pt x="1179" y="107"/>
                  <a:pt x="1179" y="108"/>
                </a:cubicBezTo>
                <a:cubicBezTo>
                  <a:pt x="1179" y="109"/>
                  <a:pt x="1179" y="110"/>
                  <a:pt x="1180" y="111"/>
                </a:cubicBezTo>
                <a:cubicBezTo>
                  <a:pt x="1181" y="111"/>
                  <a:pt x="1182" y="112"/>
                  <a:pt x="1183" y="112"/>
                </a:cubicBezTo>
                <a:close/>
                <a:moveTo>
                  <a:pt x="1207" y="129"/>
                </a:moveTo>
                <a:cubicBezTo>
                  <a:pt x="1208" y="120"/>
                  <a:pt x="1208" y="120"/>
                  <a:pt x="1208" y="120"/>
                </a:cubicBezTo>
                <a:cubicBezTo>
                  <a:pt x="1207" y="119"/>
                  <a:pt x="1207" y="119"/>
                  <a:pt x="1207" y="119"/>
                </a:cubicBezTo>
                <a:cubicBezTo>
                  <a:pt x="1198" y="121"/>
                  <a:pt x="1198" y="121"/>
                  <a:pt x="1198" y="121"/>
                </a:cubicBezTo>
                <a:cubicBezTo>
                  <a:pt x="1198" y="124"/>
                  <a:pt x="1198" y="124"/>
                  <a:pt x="1198" y="124"/>
                </a:cubicBezTo>
                <a:cubicBezTo>
                  <a:pt x="1201" y="125"/>
                  <a:pt x="1201" y="125"/>
                  <a:pt x="1201" y="125"/>
                </a:cubicBezTo>
                <a:cubicBezTo>
                  <a:pt x="1196" y="159"/>
                  <a:pt x="1196" y="159"/>
                  <a:pt x="1196" y="159"/>
                </a:cubicBezTo>
                <a:cubicBezTo>
                  <a:pt x="1203" y="159"/>
                  <a:pt x="1203" y="159"/>
                  <a:pt x="1203" y="159"/>
                </a:cubicBezTo>
                <a:cubicBezTo>
                  <a:pt x="1207" y="134"/>
                  <a:pt x="1207" y="134"/>
                  <a:pt x="1207" y="134"/>
                </a:cubicBezTo>
                <a:cubicBezTo>
                  <a:pt x="1208" y="131"/>
                  <a:pt x="1210" y="129"/>
                  <a:pt x="1213" y="127"/>
                </a:cubicBezTo>
                <a:cubicBezTo>
                  <a:pt x="1215" y="125"/>
                  <a:pt x="1217" y="124"/>
                  <a:pt x="1219" y="124"/>
                </a:cubicBezTo>
                <a:cubicBezTo>
                  <a:pt x="1220" y="124"/>
                  <a:pt x="1221" y="125"/>
                  <a:pt x="1222" y="126"/>
                </a:cubicBezTo>
                <a:cubicBezTo>
                  <a:pt x="1223" y="127"/>
                  <a:pt x="1223" y="128"/>
                  <a:pt x="1223" y="130"/>
                </a:cubicBezTo>
                <a:cubicBezTo>
                  <a:pt x="1223" y="132"/>
                  <a:pt x="1223" y="134"/>
                  <a:pt x="1223" y="135"/>
                </a:cubicBezTo>
                <a:cubicBezTo>
                  <a:pt x="1222" y="137"/>
                  <a:pt x="1222" y="140"/>
                  <a:pt x="1222" y="142"/>
                </a:cubicBezTo>
                <a:cubicBezTo>
                  <a:pt x="1221" y="144"/>
                  <a:pt x="1221" y="144"/>
                  <a:pt x="1221" y="144"/>
                </a:cubicBezTo>
                <a:cubicBezTo>
                  <a:pt x="1221" y="147"/>
                  <a:pt x="1221" y="147"/>
                  <a:pt x="1221" y="147"/>
                </a:cubicBezTo>
                <a:cubicBezTo>
                  <a:pt x="1220" y="151"/>
                  <a:pt x="1219" y="154"/>
                  <a:pt x="1219" y="156"/>
                </a:cubicBezTo>
                <a:cubicBezTo>
                  <a:pt x="1219" y="159"/>
                  <a:pt x="1221" y="160"/>
                  <a:pt x="1224" y="160"/>
                </a:cubicBezTo>
                <a:cubicBezTo>
                  <a:pt x="1225" y="160"/>
                  <a:pt x="1226" y="160"/>
                  <a:pt x="1227" y="159"/>
                </a:cubicBezTo>
                <a:cubicBezTo>
                  <a:pt x="1228" y="159"/>
                  <a:pt x="1229" y="158"/>
                  <a:pt x="1230" y="157"/>
                </a:cubicBezTo>
                <a:cubicBezTo>
                  <a:pt x="1231" y="157"/>
                  <a:pt x="1231" y="156"/>
                  <a:pt x="1232" y="156"/>
                </a:cubicBezTo>
                <a:cubicBezTo>
                  <a:pt x="1231" y="154"/>
                  <a:pt x="1231" y="154"/>
                  <a:pt x="1231" y="154"/>
                </a:cubicBezTo>
                <a:cubicBezTo>
                  <a:pt x="1229" y="155"/>
                  <a:pt x="1228" y="156"/>
                  <a:pt x="1227" y="156"/>
                </a:cubicBezTo>
                <a:cubicBezTo>
                  <a:pt x="1227" y="156"/>
                  <a:pt x="1227" y="155"/>
                  <a:pt x="1227" y="154"/>
                </a:cubicBezTo>
                <a:cubicBezTo>
                  <a:pt x="1227" y="152"/>
                  <a:pt x="1227" y="149"/>
                  <a:pt x="1228" y="145"/>
                </a:cubicBezTo>
                <a:cubicBezTo>
                  <a:pt x="1228" y="142"/>
                  <a:pt x="1228" y="142"/>
                  <a:pt x="1228" y="142"/>
                </a:cubicBezTo>
                <a:cubicBezTo>
                  <a:pt x="1229" y="140"/>
                  <a:pt x="1229" y="140"/>
                  <a:pt x="1229" y="140"/>
                </a:cubicBezTo>
                <a:cubicBezTo>
                  <a:pt x="1230" y="135"/>
                  <a:pt x="1230" y="132"/>
                  <a:pt x="1230" y="130"/>
                </a:cubicBezTo>
                <a:cubicBezTo>
                  <a:pt x="1230" y="126"/>
                  <a:pt x="1229" y="123"/>
                  <a:pt x="1228" y="122"/>
                </a:cubicBezTo>
                <a:cubicBezTo>
                  <a:pt x="1227" y="120"/>
                  <a:pt x="1225" y="119"/>
                  <a:pt x="1222" y="119"/>
                </a:cubicBezTo>
                <a:cubicBezTo>
                  <a:pt x="1219" y="119"/>
                  <a:pt x="1217" y="120"/>
                  <a:pt x="1214" y="122"/>
                </a:cubicBezTo>
                <a:cubicBezTo>
                  <a:pt x="1211" y="124"/>
                  <a:pt x="1209" y="126"/>
                  <a:pt x="1207" y="129"/>
                </a:cubicBezTo>
                <a:close/>
                <a:moveTo>
                  <a:pt x="1267" y="153"/>
                </a:moveTo>
                <a:cubicBezTo>
                  <a:pt x="1266" y="150"/>
                  <a:pt x="1266" y="150"/>
                  <a:pt x="1266" y="150"/>
                </a:cubicBezTo>
                <a:cubicBezTo>
                  <a:pt x="1264" y="152"/>
                  <a:pt x="1262" y="153"/>
                  <a:pt x="1260" y="154"/>
                </a:cubicBezTo>
                <a:cubicBezTo>
                  <a:pt x="1258" y="155"/>
                  <a:pt x="1256" y="156"/>
                  <a:pt x="1254" y="156"/>
                </a:cubicBezTo>
                <a:cubicBezTo>
                  <a:pt x="1251" y="156"/>
                  <a:pt x="1249" y="154"/>
                  <a:pt x="1248" y="152"/>
                </a:cubicBezTo>
                <a:cubicBezTo>
                  <a:pt x="1246" y="150"/>
                  <a:pt x="1246" y="147"/>
                  <a:pt x="1246" y="143"/>
                </a:cubicBezTo>
                <a:cubicBezTo>
                  <a:pt x="1249" y="143"/>
                  <a:pt x="1252" y="143"/>
                  <a:pt x="1256" y="142"/>
                </a:cubicBezTo>
                <a:cubicBezTo>
                  <a:pt x="1259" y="140"/>
                  <a:pt x="1263" y="139"/>
                  <a:pt x="1265" y="136"/>
                </a:cubicBezTo>
                <a:cubicBezTo>
                  <a:pt x="1268" y="134"/>
                  <a:pt x="1269" y="131"/>
                  <a:pt x="1269" y="128"/>
                </a:cubicBezTo>
                <a:cubicBezTo>
                  <a:pt x="1269" y="125"/>
                  <a:pt x="1268" y="123"/>
                  <a:pt x="1267" y="122"/>
                </a:cubicBezTo>
                <a:cubicBezTo>
                  <a:pt x="1265" y="120"/>
                  <a:pt x="1263" y="119"/>
                  <a:pt x="1259" y="119"/>
                </a:cubicBezTo>
                <a:cubicBezTo>
                  <a:pt x="1255" y="119"/>
                  <a:pt x="1252" y="121"/>
                  <a:pt x="1249" y="123"/>
                </a:cubicBezTo>
                <a:cubicBezTo>
                  <a:pt x="1246" y="125"/>
                  <a:pt x="1243" y="128"/>
                  <a:pt x="1241" y="132"/>
                </a:cubicBezTo>
                <a:cubicBezTo>
                  <a:pt x="1240" y="136"/>
                  <a:pt x="1239" y="140"/>
                  <a:pt x="1239" y="145"/>
                </a:cubicBezTo>
                <a:cubicBezTo>
                  <a:pt x="1239" y="147"/>
                  <a:pt x="1239" y="150"/>
                  <a:pt x="1240" y="152"/>
                </a:cubicBezTo>
                <a:cubicBezTo>
                  <a:pt x="1241" y="155"/>
                  <a:pt x="1243" y="156"/>
                  <a:pt x="1245" y="158"/>
                </a:cubicBezTo>
                <a:cubicBezTo>
                  <a:pt x="1247" y="159"/>
                  <a:pt x="1249" y="160"/>
                  <a:pt x="1253" y="160"/>
                </a:cubicBezTo>
                <a:cubicBezTo>
                  <a:pt x="1256" y="160"/>
                  <a:pt x="1259" y="159"/>
                  <a:pt x="1261" y="158"/>
                </a:cubicBezTo>
                <a:cubicBezTo>
                  <a:pt x="1264" y="156"/>
                  <a:pt x="1266" y="154"/>
                  <a:pt x="1267" y="153"/>
                </a:cubicBezTo>
                <a:close/>
                <a:moveTo>
                  <a:pt x="1258" y="123"/>
                </a:moveTo>
                <a:cubicBezTo>
                  <a:pt x="1259" y="123"/>
                  <a:pt x="1260" y="124"/>
                  <a:pt x="1261" y="125"/>
                </a:cubicBezTo>
                <a:cubicBezTo>
                  <a:pt x="1262" y="125"/>
                  <a:pt x="1263" y="127"/>
                  <a:pt x="1263" y="129"/>
                </a:cubicBezTo>
                <a:cubicBezTo>
                  <a:pt x="1263" y="131"/>
                  <a:pt x="1262" y="133"/>
                  <a:pt x="1260" y="135"/>
                </a:cubicBezTo>
                <a:cubicBezTo>
                  <a:pt x="1258" y="136"/>
                  <a:pt x="1256" y="138"/>
                  <a:pt x="1253" y="139"/>
                </a:cubicBezTo>
                <a:cubicBezTo>
                  <a:pt x="1251" y="139"/>
                  <a:pt x="1248" y="140"/>
                  <a:pt x="1246" y="140"/>
                </a:cubicBezTo>
                <a:cubicBezTo>
                  <a:pt x="1246" y="138"/>
                  <a:pt x="1247" y="135"/>
                  <a:pt x="1248" y="132"/>
                </a:cubicBezTo>
                <a:cubicBezTo>
                  <a:pt x="1249" y="130"/>
                  <a:pt x="1250" y="127"/>
                  <a:pt x="1252" y="126"/>
                </a:cubicBezTo>
                <a:cubicBezTo>
                  <a:pt x="1254" y="124"/>
                  <a:pt x="1255" y="123"/>
                  <a:pt x="1258" y="123"/>
                </a:cubicBezTo>
                <a:close/>
                <a:moveTo>
                  <a:pt x="1303" y="153"/>
                </a:moveTo>
                <a:cubicBezTo>
                  <a:pt x="1302" y="150"/>
                  <a:pt x="1302" y="150"/>
                  <a:pt x="1302" y="150"/>
                </a:cubicBezTo>
                <a:cubicBezTo>
                  <a:pt x="1300" y="152"/>
                  <a:pt x="1298" y="153"/>
                  <a:pt x="1296" y="154"/>
                </a:cubicBezTo>
                <a:cubicBezTo>
                  <a:pt x="1294" y="155"/>
                  <a:pt x="1292" y="156"/>
                  <a:pt x="1290" y="156"/>
                </a:cubicBezTo>
                <a:cubicBezTo>
                  <a:pt x="1287" y="156"/>
                  <a:pt x="1285" y="154"/>
                  <a:pt x="1284" y="152"/>
                </a:cubicBezTo>
                <a:cubicBezTo>
                  <a:pt x="1282" y="150"/>
                  <a:pt x="1282" y="147"/>
                  <a:pt x="1282" y="143"/>
                </a:cubicBezTo>
                <a:cubicBezTo>
                  <a:pt x="1285" y="143"/>
                  <a:pt x="1288" y="143"/>
                  <a:pt x="1292" y="142"/>
                </a:cubicBezTo>
                <a:cubicBezTo>
                  <a:pt x="1295" y="140"/>
                  <a:pt x="1299" y="139"/>
                  <a:pt x="1301" y="136"/>
                </a:cubicBezTo>
                <a:cubicBezTo>
                  <a:pt x="1304" y="134"/>
                  <a:pt x="1305" y="131"/>
                  <a:pt x="1305" y="128"/>
                </a:cubicBezTo>
                <a:cubicBezTo>
                  <a:pt x="1305" y="125"/>
                  <a:pt x="1304" y="123"/>
                  <a:pt x="1303" y="122"/>
                </a:cubicBezTo>
                <a:cubicBezTo>
                  <a:pt x="1301" y="120"/>
                  <a:pt x="1299" y="119"/>
                  <a:pt x="1295" y="119"/>
                </a:cubicBezTo>
                <a:cubicBezTo>
                  <a:pt x="1291" y="119"/>
                  <a:pt x="1288" y="121"/>
                  <a:pt x="1285" y="123"/>
                </a:cubicBezTo>
                <a:cubicBezTo>
                  <a:pt x="1282" y="125"/>
                  <a:pt x="1279" y="128"/>
                  <a:pt x="1277" y="132"/>
                </a:cubicBezTo>
                <a:cubicBezTo>
                  <a:pt x="1275" y="136"/>
                  <a:pt x="1275" y="140"/>
                  <a:pt x="1275" y="145"/>
                </a:cubicBezTo>
                <a:cubicBezTo>
                  <a:pt x="1275" y="147"/>
                  <a:pt x="1275" y="150"/>
                  <a:pt x="1276" y="152"/>
                </a:cubicBezTo>
                <a:cubicBezTo>
                  <a:pt x="1277" y="155"/>
                  <a:pt x="1279" y="156"/>
                  <a:pt x="1281" y="158"/>
                </a:cubicBezTo>
                <a:cubicBezTo>
                  <a:pt x="1283" y="159"/>
                  <a:pt x="1285" y="160"/>
                  <a:pt x="1288" y="160"/>
                </a:cubicBezTo>
                <a:cubicBezTo>
                  <a:pt x="1292" y="160"/>
                  <a:pt x="1295" y="159"/>
                  <a:pt x="1297" y="158"/>
                </a:cubicBezTo>
                <a:cubicBezTo>
                  <a:pt x="1300" y="156"/>
                  <a:pt x="1302" y="154"/>
                  <a:pt x="1303" y="153"/>
                </a:cubicBezTo>
                <a:close/>
                <a:moveTo>
                  <a:pt x="1294" y="123"/>
                </a:moveTo>
                <a:cubicBezTo>
                  <a:pt x="1295" y="123"/>
                  <a:pt x="1296" y="124"/>
                  <a:pt x="1297" y="125"/>
                </a:cubicBezTo>
                <a:cubicBezTo>
                  <a:pt x="1298" y="125"/>
                  <a:pt x="1298" y="127"/>
                  <a:pt x="1298" y="129"/>
                </a:cubicBezTo>
                <a:cubicBezTo>
                  <a:pt x="1298" y="131"/>
                  <a:pt x="1298" y="133"/>
                  <a:pt x="1296" y="135"/>
                </a:cubicBezTo>
                <a:cubicBezTo>
                  <a:pt x="1294" y="136"/>
                  <a:pt x="1292" y="138"/>
                  <a:pt x="1289" y="139"/>
                </a:cubicBezTo>
                <a:cubicBezTo>
                  <a:pt x="1287" y="139"/>
                  <a:pt x="1284" y="140"/>
                  <a:pt x="1282" y="140"/>
                </a:cubicBezTo>
                <a:cubicBezTo>
                  <a:pt x="1282" y="138"/>
                  <a:pt x="1283" y="135"/>
                  <a:pt x="1284" y="132"/>
                </a:cubicBezTo>
                <a:cubicBezTo>
                  <a:pt x="1285" y="130"/>
                  <a:pt x="1286" y="127"/>
                  <a:pt x="1288" y="126"/>
                </a:cubicBezTo>
                <a:cubicBezTo>
                  <a:pt x="1289" y="124"/>
                  <a:pt x="1291" y="123"/>
                  <a:pt x="1294" y="123"/>
                </a:cubicBezTo>
                <a:close/>
                <a:moveTo>
                  <a:pt x="1322" y="129"/>
                </a:moveTo>
                <a:cubicBezTo>
                  <a:pt x="1323" y="127"/>
                  <a:pt x="1323" y="127"/>
                  <a:pt x="1323" y="127"/>
                </a:cubicBezTo>
                <a:cubicBezTo>
                  <a:pt x="1323" y="120"/>
                  <a:pt x="1323" y="120"/>
                  <a:pt x="1323" y="120"/>
                </a:cubicBezTo>
                <a:cubicBezTo>
                  <a:pt x="1322" y="119"/>
                  <a:pt x="1322" y="119"/>
                  <a:pt x="1322" y="119"/>
                </a:cubicBezTo>
                <a:cubicBezTo>
                  <a:pt x="1314" y="121"/>
                  <a:pt x="1314" y="121"/>
                  <a:pt x="1314" y="121"/>
                </a:cubicBezTo>
                <a:cubicBezTo>
                  <a:pt x="1313" y="124"/>
                  <a:pt x="1313" y="124"/>
                  <a:pt x="1313" y="124"/>
                </a:cubicBezTo>
                <a:cubicBezTo>
                  <a:pt x="1317" y="125"/>
                  <a:pt x="1317" y="125"/>
                  <a:pt x="1317" y="125"/>
                </a:cubicBezTo>
                <a:cubicBezTo>
                  <a:pt x="1312" y="159"/>
                  <a:pt x="1312" y="159"/>
                  <a:pt x="1312" y="159"/>
                </a:cubicBezTo>
                <a:cubicBezTo>
                  <a:pt x="1319" y="159"/>
                  <a:pt x="1319" y="159"/>
                  <a:pt x="1319" y="159"/>
                </a:cubicBezTo>
                <a:cubicBezTo>
                  <a:pt x="1322" y="134"/>
                  <a:pt x="1322" y="134"/>
                  <a:pt x="1322" y="134"/>
                </a:cubicBezTo>
                <a:cubicBezTo>
                  <a:pt x="1323" y="132"/>
                  <a:pt x="1325" y="130"/>
                  <a:pt x="1327" y="129"/>
                </a:cubicBezTo>
                <a:cubicBezTo>
                  <a:pt x="1329" y="127"/>
                  <a:pt x="1331" y="127"/>
                  <a:pt x="1333" y="127"/>
                </a:cubicBezTo>
                <a:cubicBezTo>
                  <a:pt x="1334" y="127"/>
                  <a:pt x="1335" y="127"/>
                  <a:pt x="1336" y="127"/>
                </a:cubicBezTo>
                <a:cubicBezTo>
                  <a:pt x="1338" y="120"/>
                  <a:pt x="1338" y="120"/>
                  <a:pt x="1338" y="120"/>
                </a:cubicBezTo>
                <a:cubicBezTo>
                  <a:pt x="1337" y="120"/>
                  <a:pt x="1336" y="119"/>
                  <a:pt x="1335" y="119"/>
                </a:cubicBezTo>
                <a:cubicBezTo>
                  <a:pt x="1333" y="119"/>
                  <a:pt x="1331" y="120"/>
                  <a:pt x="1330" y="121"/>
                </a:cubicBezTo>
                <a:cubicBezTo>
                  <a:pt x="1328" y="122"/>
                  <a:pt x="1326" y="123"/>
                  <a:pt x="1325" y="125"/>
                </a:cubicBezTo>
                <a:cubicBezTo>
                  <a:pt x="1324" y="126"/>
                  <a:pt x="1323" y="128"/>
                  <a:pt x="1322" y="129"/>
                </a:cubicBezTo>
                <a:close/>
                <a:moveTo>
                  <a:pt x="1349" y="153"/>
                </a:moveTo>
                <a:cubicBezTo>
                  <a:pt x="1354" y="120"/>
                  <a:pt x="1354" y="120"/>
                  <a:pt x="1354" y="120"/>
                </a:cubicBezTo>
                <a:cubicBezTo>
                  <a:pt x="1352" y="119"/>
                  <a:pt x="1352" y="119"/>
                  <a:pt x="1352" y="119"/>
                </a:cubicBezTo>
                <a:cubicBezTo>
                  <a:pt x="1342" y="121"/>
                  <a:pt x="1342" y="121"/>
                  <a:pt x="1342" y="121"/>
                </a:cubicBezTo>
                <a:cubicBezTo>
                  <a:pt x="1342" y="123"/>
                  <a:pt x="1342" y="123"/>
                  <a:pt x="1342" y="123"/>
                </a:cubicBezTo>
                <a:cubicBezTo>
                  <a:pt x="1346" y="125"/>
                  <a:pt x="1346" y="125"/>
                  <a:pt x="1346" y="125"/>
                </a:cubicBezTo>
                <a:cubicBezTo>
                  <a:pt x="1345" y="132"/>
                  <a:pt x="1345" y="138"/>
                  <a:pt x="1344" y="142"/>
                </a:cubicBezTo>
                <a:cubicBezTo>
                  <a:pt x="1343" y="150"/>
                  <a:pt x="1342" y="154"/>
                  <a:pt x="1342" y="156"/>
                </a:cubicBezTo>
                <a:cubicBezTo>
                  <a:pt x="1342" y="157"/>
                  <a:pt x="1342" y="158"/>
                  <a:pt x="1343" y="159"/>
                </a:cubicBezTo>
                <a:cubicBezTo>
                  <a:pt x="1344" y="160"/>
                  <a:pt x="1345" y="160"/>
                  <a:pt x="1347" y="160"/>
                </a:cubicBezTo>
                <a:cubicBezTo>
                  <a:pt x="1349" y="160"/>
                  <a:pt x="1350" y="159"/>
                  <a:pt x="1352" y="158"/>
                </a:cubicBezTo>
                <a:cubicBezTo>
                  <a:pt x="1353" y="157"/>
                  <a:pt x="1354" y="156"/>
                  <a:pt x="1355" y="155"/>
                </a:cubicBezTo>
                <a:cubicBezTo>
                  <a:pt x="1354" y="154"/>
                  <a:pt x="1354" y="154"/>
                  <a:pt x="1354" y="154"/>
                </a:cubicBezTo>
                <a:cubicBezTo>
                  <a:pt x="1353" y="154"/>
                  <a:pt x="1352" y="155"/>
                  <a:pt x="1352" y="155"/>
                </a:cubicBezTo>
                <a:cubicBezTo>
                  <a:pt x="1351" y="156"/>
                  <a:pt x="1351" y="156"/>
                  <a:pt x="1350" y="156"/>
                </a:cubicBezTo>
                <a:cubicBezTo>
                  <a:pt x="1350" y="156"/>
                  <a:pt x="1350" y="156"/>
                  <a:pt x="1349" y="155"/>
                </a:cubicBezTo>
                <a:cubicBezTo>
                  <a:pt x="1349" y="155"/>
                  <a:pt x="1349" y="155"/>
                  <a:pt x="1349" y="154"/>
                </a:cubicBezTo>
                <a:lnTo>
                  <a:pt x="1349" y="153"/>
                </a:lnTo>
                <a:close/>
                <a:moveTo>
                  <a:pt x="1351" y="112"/>
                </a:moveTo>
                <a:cubicBezTo>
                  <a:pt x="1353" y="112"/>
                  <a:pt x="1354" y="111"/>
                  <a:pt x="1355" y="110"/>
                </a:cubicBezTo>
                <a:cubicBezTo>
                  <a:pt x="1356" y="109"/>
                  <a:pt x="1356" y="108"/>
                  <a:pt x="1356" y="107"/>
                </a:cubicBezTo>
                <a:cubicBezTo>
                  <a:pt x="1356" y="106"/>
                  <a:pt x="1356" y="105"/>
                  <a:pt x="1355" y="104"/>
                </a:cubicBezTo>
                <a:cubicBezTo>
                  <a:pt x="1354" y="103"/>
                  <a:pt x="1353" y="103"/>
                  <a:pt x="1352" y="103"/>
                </a:cubicBezTo>
                <a:cubicBezTo>
                  <a:pt x="1351" y="103"/>
                  <a:pt x="1350" y="103"/>
                  <a:pt x="1349" y="104"/>
                </a:cubicBezTo>
                <a:cubicBezTo>
                  <a:pt x="1348" y="105"/>
                  <a:pt x="1348" y="107"/>
                  <a:pt x="1348" y="108"/>
                </a:cubicBezTo>
                <a:cubicBezTo>
                  <a:pt x="1348" y="109"/>
                  <a:pt x="1348" y="110"/>
                  <a:pt x="1349" y="111"/>
                </a:cubicBezTo>
                <a:cubicBezTo>
                  <a:pt x="1350" y="111"/>
                  <a:pt x="1350" y="112"/>
                  <a:pt x="1351" y="112"/>
                </a:cubicBezTo>
                <a:close/>
                <a:moveTo>
                  <a:pt x="1374" y="129"/>
                </a:moveTo>
                <a:cubicBezTo>
                  <a:pt x="1375" y="120"/>
                  <a:pt x="1375" y="120"/>
                  <a:pt x="1375" y="120"/>
                </a:cubicBezTo>
                <a:cubicBezTo>
                  <a:pt x="1374" y="119"/>
                  <a:pt x="1374" y="119"/>
                  <a:pt x="1374" y="119"/>
                </a:cubicBezTo>
                <a:cubicBezTo>
                  <a:pt x="1365" y="121"/>
                  <a:pt x="1365" y="121"/>
                  <a:pt x="1365" y="121"/>
                </a:cubicBezTo>
                <a:cubicBezTo>
                  <a:pt x="1365" y="124"/>
                  <a:pt x="1365" y="124"/>
                  <a:pt x="1365" y="124"/>
                </a:cubicBezTo>
                <a:cubicBezTo>
                  <a:pt x="1368" y="125"/>
                  <a:pt x="1368" y="125"/>
                  <a:pt x="1368" y="125"/>
                </a:cubicBezTo>
                <a:cubicBezTo>
                  <a:pt x="1364" y="159"/>
                  <a:pt x="1364" y="159"/>
                  <a:pt x="1364" y="159"/>
                </a:cubicBezTo>
                <a:cubicBezTo>
                  <a:pt x="1370" y="159"/>
                  <a:pt x="1370" y="159"/>
                  <a:pt x="1370" y="159"/>
                </a:cubicBezTo>
                <a:cubicBezTo>
                  <a:pt x="1374" y="134"/>
                  <a:pt x="1374" y="134"/>
                  <a:pt x="1374" y="134"/>
                </a:cubicBezTo>
                <a:cubicBezTo>
                  <a:pt x="1375" y="131"/>
                  <a:pt x="1377" y="129"/>
                  <a:pt x="1380" y="127"/>
                </a:cubicBezTo>
                <a:cubicBezTo>
                  <a:pt x="1382" y="125"/>
                  <a:pt x="1384" y="124"/>
                  <a:pt x="1386" y="124"/>
                </a:cubicBezTo>
                <a:cubicBezTo>
                  <a:pt x="1388" y="124"/>
                  <a:pt x="1389" y="125"/>
                  <a:pt x="1389" y="126"/>
                </a:cubicBezTo>
                <a:cubicBezTo>
                  <a:pt x="1390" y="127"/>
                  <a:pt x="1390" y="128"/>
                  <a:pt x="1390" y="130"/>
                </a:cubicBezTo>
                <a:cubicBezTo>
                  <a:pt x="1390" y="132"/>
                  <a:pt x="1390" y="134"/>
                  <a:pt x="1390" y="135"/>
                </a:cubicBezTo>
                <a:cubicBezTo>
                  <a:pt x="1390" y="137"/>
                  <a:pt x="1389" y="140"/>
                  <a:pt x="1389" y="142"/>
                </a:cubicBezTo>
                <a:cubicBezTo>
                  <a:pt x="1388" y="144"/>
                  <a:pt x="1388" y="144"/>
                  <a:pt x="1388" y="144"/>
                </a:cubicBezTo>
                <a:cubicBezTo>
                  <a:pt x="1388" y="147"/>
                  <a:pt x="1388" y="147"/>
                  <a:pt x="1388" y="147"/>
                </a:cubicBezTo>
                <a:cubicBezTo>
                  <a:pt x="1387" y="151"/>
                  <a:pt x="1387" y="154"/>
                  <a:pt x="1387" y="156"/>
                </a:cubicBezTo>
                <a:cubicBezTo>
                  <a:pt x="1387" y="159"/>
                  <a:pt x="1388" y="160"/>
                  <a:pt x="1391" y="160"/>
                </a:cubicBezTo>
                <a:cubicBezTo>
                  <a:pt x="1392" y="160"/>
                  <a:pt x="1394" y="160"/>
                  <a:pt x="1395" y="159"/>
                </a:cubicBezTo>
                <a:cubicBezTo>
                  <a:pt x="1396" y="159"/>
                  <a:pt x="1397" y="158"/>
                  <a:pt x="1397" y="157"/>
                </a:cubicBezTo>
                <a:cubicBezTo>
                  <a:pt x="1398" y="157"/>
                  <a:pt x="1399" y="156"/>
                  <a:pt x="1399" y="156"/>
                </a:cubicBezTo>
                <a:cubicBezTo>
                  <a:pt x="1398" y="154"/>
                  <a:pt x="1398" y="154"/>
                  <a:pt x="1398" y="154"/>
                </a:cubicBezTo>
                <a:cubicBezTo>
                  <a:pt x="1397" y="155"/>
                  <a:pt x="1396" y="156"/>
                  <a:pt x="1395" y="156"/>
                </a:cubicBezTo>
                <a:cubicBezTo>
                  <a:pt x="1394" y="156"/>
                  <a:pt x="1394" y="155"/>
                  <a:pt x="1394" y="154"/>
                </a:cubicBezTo>
                <a:cubicBezTo>
                  <a:pt x="1394" y="152"/>
                  <a:pt x="1394" y="149"/>
                  <a:pt x="1395" y="145"/>
                </a:cubicBezTo>
                <a:cubicBezTo>
                  <a:pt x="1395" y="142"/>
                  <a:pt x="1395" y="142"/>
                  <a:pt x="1395" y="142"/>
                </a:cubicBezTo>
                <a:cubicBezTo>
                  <a:pt x="1396" y="140"/>
                  <a:pt x="1396" y="140"/>
                  <a:pt x="1396" y="140"/>
                </a:cubicBezTo>
                <a:cubicBezTo>
                  <a:pt x="1397" y="135"/>
                  <a:pt x="1397" y="132"/>
                  <a:pt x="1397" y="130"/>
                </a:cubicBezTo>
                <a:cubicBezTo>
                  <a:pt x="1397" y="126"/>
                  <a:pt x="1397" y="123"/>
                  <a:pt x="1395" y="122"/>
                </a:cubicBezTo>
                <a:cubicBezTo>
                  <a:pt x="1394" y="120"/>
                  <a:pt x="1392" y="119"/>
                  <a:pt x="1389" y="119"/>
                </a:cubicBezTo>
                <a:cubicBezTo>
                  <a:pt x="1386" y="119"/>
                  <a:pt x="1384" y="120"/>
                  <a:pt x="1381" y="122"/>
                </a:cubicBezTo>
                <a:cubicBezTo>
                  <a:pt x="1379" y="124"/>
                  <a:pt x="1376" y="126"/>
                  <a:pt x="1374" y="129"/>
                </a:cubicBezTo>
                <a:close/>
                <a:moveTo>
                  <a:pt x="1433" y="162"/>
                </a:moveTo>
                <a:cubicBezTo>
                  <a:pt x="1440" y="119"/>
                  <a:pt x="1440" y="119"/>
                  <a:pt x="1440" y="119"/>
                </a:cubicBezTo>
                <a:cubicBezTo>
                  <a:pt x="1435" y="121"/>
                  <a:pt x="1435" y="121"/>
                  <a:pt x="1435" y="121"/>
                </a:cubicBezTo>
                <a:cubicBezTo>
                  <a:pt x="1434" y="121"/>
                  <a:pt x="1433" y="120"/>
                  <a:pt x="1432" y="120"/>
                </a:cubicBezTo>
                <a:cubicBezTo>
                  <a:pt x="1430" y="120"/>
                  <a:pt x="1429" y="119"/>
                  <a:pt x="1428" y="119"/>
                </a:cubicBezTo>
                <a:cubicBezTo>
                  <a:pt x="1423" y="119"/>
                  <a:pt x="1419" y="121"/>
                  <a:pt x="1416" y="123"/>
                </a:cubicBezTo>
                <a:cubicBezTo>
                  <a:pt x="1412" y="126"/>
                  <a:pt x="1410" y="129"/>
                  <a:pt x="1408" y="133"/>
                </a:cubicBezTo>
                <a:cubicBezTo>
                  <a:pt x="1406" y="137"/>
                  <a:pt x="1405" y="141"/>
                  <a:pt x="1405" y="145"/>
                </a:cubicBezTo>
                <a:cubicBezTo>
                  <a:pt x="1405" y="150"/>
                  <a:pt x="1406" y="153"/>
                  <a:pt x="1408" y="156"/>
                </a:cubicBezTo>
                <a:cubicBezTo>
                  <a:pt x="1410" y="159"/>
                  <a:pt x="1413" y="160"/>
                  <a:pt x="1417" y="160"/>
                </a:cubicBezTo>
                <a:cubicBezTo>
                  <a:pt x="1419" y="160"/>
                  <a:pt x="1421" y="159"/>
                  <a:pt x="1423" y="158"/>
                </a:cubicBezTo>
                <a:cubicBezTo>
                  <a:pt x="1425" y="157"/>
                  <a:pt x="1426" y="156"/>
                  <a:pt x="1428" y="155"/>
                </a:cubicBezTo>
                <a:cubicBezTo>
                  <a:pt x="1426" y="164"/>
                  <a:pt x="1426" y="164"/>
                  <a:pt x="1426" y="164"/>
                </a:cubicBezTo>
                <a:cubicBezTo>
                  <a:pt x="1426" y="167"/>
                  <a:pt x="1425" y="169"/>
                  <a:pt x="1424" y="170"/>
                </a:cubicBezTo>
                <a:cubicBezTo>
                  <a:pt x="1422" y="172"/>
                  <a:pt x="1420" y="172"/>
                  <a:pt x="1417" y="172"/>
                </a:cubicBezTo>
                <a:cubicBezTo>
                  <a:pt x="1415" y="172"/>
                  <a:pt x="1414" y="172"/>
                  <a:pt x="1412" y="171"/>
                </a:cubicBezTo>
                <a:cubicBezTo>
                  <a:pt x="1410" y="171"/>
                  <a:pt x="1409" y="170"/>
                  <a:pt x="1408" y="170"/>
                </a:cubicBezTo>
                <a:cubicBezTo>
                  <a:pt x="1406" y="175"/>
                  <a:pt x="1406" y="175"/>
                  <a:pt x="1406" y="175"/>
                </a:cubicBezTo>
                <a:cubicBezTo>
                  <a:pt x="1407" y="176"/>
                  <a:pt x="1408" y="176"/>
                  <a:pt x="1410" y="176"/>
                </a:cubicBezTo>
                <a:cubicBezTo>
                  <a:pt x="1411" y="177"/>
                  <a:pt x="1413" y="177"/>
                  <a:pt x="1414" y="177"/>
                </a:cubicBezTo>
                <a:cubicBezTo>
                  <a:pt x="1417" y="177"/>
                  <a:pt x="1420" y="176"/>
                  <a:pt x="1423" y="175"/>
                </a:cubicBezTo>
                <a:cubicBezTo>
                  <a:pt x="1425" y="174"/>
                  <a:pt x="1428" y="173"/>
                  <a:pt x="1430" y="170"/>
                </a:cubicBezTo>
                <a:cubicBezTo>
                  <a:pt x="1432" y="168"/>
                  <a:pt x="1433" y="165"/>
                  <a:pt x="1433" y="162"/>
                </a:cubicBezTo>
                <a:close/>
                <a:moveTo>
                  <a:pt x="1432" y="125"/>
                </a:moveTo>
                <a:cubicBezTo>
                  <a:pt x="1428" y="150"/>
                  <a:pt x="1428" y="150"/>
                  <a:pt x="1428" y="150"/>
                </a:cubicBezTo>
                <a:cubicBezTo>
                  <a:pt x="1427" y="151"/>
                  <a:pt x="1426" y="153"/>
                  <a:pt x="1424" y="154"/>
                </a:cubicBezTo>
                <a:cubicBezTo>
                  <a:pt x="1423" y="155"/>
                  <a:pt x="1421" y="155"/>
                  <a:pt x="1419" y="155"/>
                </a:cubicBezTo>
                <a:cubicBezTo>
                  <a:pt x="1417" y="155"/>
                  <a:pt x="1415" y="155"/>
                  <a:pt x="1414" y="153"/>
                </a:cubicBezTo>
                <a:cubicBezTo>
                  <a:pt x="1413" y="151"/>
                  <a:pt x="1412" y="148"/>
                  <a:pt x="1412" y="145"/>
                </a:cubicBezTo>
                <a:cubicBezTo>
                  <a:pt x="1412" y="142"/>
                  <a:pt x="1413" y="138"/>
                  <a:pt x="1414" y="135"/>
                </a:cubicBezTo>
                <a:cubicBezTo>
                  <a:pt x="1415" y="132"/>
                  <a:pt x="1417" y="129"/>
                  <a:pt x="1419" y="127"/>
                </a:cubicBezTo>
                <a:cubicBezTo>
                  <a:pt x="1421" y="124"/>
                  <a:pt x="1424" y="123"/>
                  <a:pt x="1427" y="123"/>
                </a:cubicBezTo>
                <a:cubicBezTo>
                  <a:pt x="1429" y="123"/>
                  <a:pt x="1431" y="124"/>
                  <a:pt x="1432" y="125"/>
                </a:cubicBezTo>
                <a:close/>
                <a:moveTo>
                  <a:pt x="1076" y="242"/>
                </a:moveTo>
                <a:cubicBezTo>
                  <a:pt x="1072" y="249"/>
                  <a:pt x="1072" y="249"/>
                  <a:pt x="1072" y="249"/>
                </a:cubicBezTo>
                <a:cubicBezTo>
                  <a:pt x="1072" y="242"/>
                  <a:pt x="1072" y="242"/>
                  <a:pt x="1072" y="242"/>
                </a:cubicBezTo>
                <a:cubicBezTo>
                  <a:pt x="1066" y="208"/>
                  <a:pt x="1066" y="208"/>
                  <a:pt x="1066" y="208"/>
                </a:cubicBezTo>
                <a:cubicBezTo>
                  <a:pt x="1050" y="208"/>
                  <a:pt x="1050" y="208"/>
                  <a:pt x="1050" y="208"/>
                </a:cubicBezTo>
                <a:cubicBezTo>
                  <a:pt x="1049" y="211"/>
                  <a:pt x="1049" y="211"/>
                  <a:pt x="1049" y="211"/>
                </a:cubicBezTo>
                <a:cubicBezTo>
                  <a:pt x="1056" y="212"/>
                  <a:pt x="1056" y="212"/>
                  <a:pt x="1056" y="212"/>
                </a:cubicBezTo>
                <a:cubicBezTo>
                  <a:pt x="1045" y="256"/>
                  <a:pt x="1045" y="256"/>
                  <a:pt x="1045" y="256"/>
                </a:cubicBezTo>
                <a:cubicBezTo>
                  <a:pt x="1039" y="257"/>
                  <a:pt x="1039" y="257"/>
                  <a:pt x="1039" y="257"/>
                </a:cubicBezTo>
                <a:cubicBezTo>
                  <a:pt x="1039" y="260"/>
                  <a:pt x="1039" y="260"/>
                  <a:pt x="1039" y="260"/>
                </a:cubicBezTo>
                <a:cubicBezTo>
                  <a:pt x="1057" y="260"/>
                  <a:pt x="1057" y="260"/>
                  <a:pt x="1057" y="260"/>
                </a:cubicBezTo>
                <a:cubicBezTo>
                  <a:pt x="1057" y="257"/>
                  <a:pt x="1057" y="257"/>
                  <a:pt x="1057" y="257"/>
                </a:cubicBezTo>
                <a:cubicBezTo>
                  <a:pt x="1050" y="256"/>
                  <a:pt x="1050" y="256"/>
                  <a:pt x="1050" y="256"/>
                </a:cubicBezTo>
                <a:cubicBezTo>
                  <a:pt x="1057" y="225"/>
                  <a:pt x="1057" y="225"/>
                  <a:pt x="1057" y="225"/>
                </a:cubicBezTo>
                <a:cubicBezTo>
                  <a:pt x="1060" y="211"/>
                  <a:pt x="1060" y="211"/>
                  <a:pt x="1060" y="211"/>
                </a:cubicBezTo>
                <a:cubicBezTo>
                  <a:pt x="1062" y="225"/>
                  <a:pt x="1062" y="225"/>
                  <a:pt x="1062" y="225"/>
                </a:cubicBezTo>
                <a:cubicBezTo>
                  <a:pt x="1068" y="261"/>
                  <a:pt x="1068" y="261"/>
                  <a:pt x="1068" y="261"/>
                </a:cubicBezTo>
                <a:cubicBezTo>
                  <a:pt x="1072" y="260"/>
                  <a:pt x="1072" y="260"/>
                  <a:pt x="1072" y="260"/>
                </a:cubicBezTo>
                <a:cubicBezTo>
                  <a:pt x="1088" y="224"/>
                  <a:pt x="1088" y="224"/>
                  <a:pt x="1088" y="224"/>
                </a:cubicBezTo>
                <a:cubicBezTo>
                  <a:pt x="1094" y="211"/>
                  <a:pt x="1094" y="211"/>
                  <a:pt x="1094" y="211"/>
                </a:cubicBezTo>
                <a:cubicBezTo>
                  <a:pt x="1093" y="225"/>
                  <a:pt x="1093" y="225"/>
                  <a:pt x="1093" y="225"/>
                </a:cubicBezTo>
                <a:cubicBezTo>
                  <a:pt x="1091" y="256"/>
                  <a:pt x="1091" y="256"/>
                  <a:pt x="1091" y="256"/>
                </a:cubicBezTo>
                <a:cubicBezTo>
                  <a:pt x="1085" y="257"/>
                  <a:pt x="1085" y="257"/>
                  <a:pt x="1085" y="257"/>
                </a:cubicBezTo>
                <a:cubicBezTo>
                  <a:pt x="1084" y="260"/>
                  <a:pt x="1084" y="260"/>
                  <a:pt x="1084" y="260"/>
                </a:cubicBezTo>
                <a:cubicBezTo>
                  <a:pt x="1104" y="260"/>
                  <a:pt x="1104" y="260"/>
                  <a:pt x="1104" y="260"/>
                </a:cubicBezTo>
                <a:cubicBezTo>
                  <a:pt x="1104" y="257"/>
                  <a:pt x="1104" y="257"/>
                  <a:pt x="1104" y="257"/>
                </a:cubicBezTo>
                <a:cubicBezTo>
                  <a:pt x="1098" y="256"/>
                  <a:pt x="1098" y="256"/>
                  <a:pt x="1098" y="256"/>
                </a:cubicBezTo>
                <a:cubicBezTo>
                  <a:pt x="1099" y="212"/>
                  <a:pt x="1099" y="212"/>
                  <a:pt x="1099" y="212"/>
                </a:cubicBezTo>
                <a:cubicBezTo>
                  <a:pt x="1106" y="211"/>
                  <a:pt x="1106" y="211"/>
                  <a:pt x="1106" y="211"/>
                </a:cubicBezTo>
                <a:cubicBezTo>
                  <a:pt x="1106" y="208"/>
                  <a:pt x="1106" y="208"/>
                  <a:pt x="1106" y="208"/>
                </a:cubicBezTo>
                <a:cubicBezTo>
                  <a:pt x="1091" y="208"/>
                  <a:pt x="1091" y="208"/>
                  <a:pt x="1091" y="208"/>
                </a:cubicBezTo>
                <a:cubicBezTo>
                  <a:pt x="1090" y="211"/>
                  <a:pt x="1087" y="217"/>
                  <a:pt x="1083" y="225"/>
                </a:cubicBezTo>
                <a:cubicBezTo>
                  <a:pt x="1079" y="233"/>
                  <a:pt x="1077" y="239"/>
                  <a:pt x="1076" y="242"/>
                </a:cubicBezTo>
                <a:close/>
                <a:moveTo>
                  <a:pt x="1138" y="253"/>
                </a:moveTo>
                <a:cubicBezTo>
                  <a:pt x="1136" y="251"/>
                  <a:pt x="1136" y="251"/>
                  <a:pt x="1136" y="251"/>
                </a:cubicBezTo>
                <a:cubicBezTo>
                  <a:pt x="1134" y="253"/>
                  <a:pt x="1133" y="254"/>
                  <a:pt x="1131" y="255"/>
                </a:cubicBezTo>
                <a:cubicBezTo>
                  <a:pt x="1129" y="256"/>
                  <a:pt x="1126" y="256"/>
                  <a:pt x="1124" y="256"/>
                </a:cubicBezTo>
                <a:cubicBezTo>
                  <a:pt x="1121" y="256"/>
                  <a:pt x="1119" y="255"/>
                  <a:pt x="1118" y="253"/>
                </a:cubicBezTo>
                <a:cubicBezTo>
                  <a:pt x="1117" y="250"/>
                  <a:pt x="1116" y="247"/>
                  <a:pt x="1116" y="244"/>
                </a:cubicBezTo>
                <a:cubicBezTo>
                  <a:pt x="1119" y="244"/>
                  <a:pt x="1123" y="244"/>
                  <a:pt x="1126" y="242"/>
                </a:cubicBezTo>
                <a:cubicBezTo>
                  <a:pt x="1130" y="241"/>
                  <a:pt x="1133" y="240"/>
                  <a:pt x="1136" y="237"/>
                </a:cubicBezTo>
                <a:cubicBezTo>
                  <a:pt x="1138" y="235"/>
                  <a:pt x="1140" y="232"/>
                  <a:pt x="1140" y="229"/>
                </a:cubicBezTo>
                <a:cubicBezTo>
                  <a:pt x="1140" y="226"/>
                  <a:pt x="1139" y="224"/>
                  <a:pt x="1137" y="223"/>
                </a:cubicBezTo>
                <a:cubicBezTo>
                  <a:pt x="1135" y="221"/>
                  <a:pt x="1133" y="220"/>
                  <a:pt x="1130" y="220"/>
                </a:cubicBezTo>
                <a:cubicBezTo>
                  <a:pt x="1126" y="220"/>
                  <a:pt x="1122" y="221"/>
                  <a:pt x="1119" y="224"/>
                </a:cubicBezTo>
                <a:cubicBezTo>
                  <a:pt x="1116" y="226"/>
                  <a:pt x="1114" y="229"/>
                  <a:pt x="1112" y="233"/>
                </a:cubicBezTo>
                <a:cubicBezTo>
                  <a:pt x="1110" y="237"/>
                  <a:pt x="1109" y="241"/>
                  <a:pt x="1109" y="246"/>
                </a:cubicBezTo>
                <a:cubicBezTo>
                  <a:pt x="1109" y="248"/>
                  <a:pt x="1110" y="251"/>
                  <a:pt x="1111" y="253"/>
                </a:cubicBezTo>
                <a:cubicBezTo>
                  <a:pt x="1111" y="255"/>
                  <a:pt x="1113" y="257"/>
                  <a:pt x="1115" y="259"/>
                </a:cubicBezTo>
                <a:cubicBezTo>
                  <a:pt x="1117" y="260"/>
                  <a:pt x="1120" y="261"/>
                  <a:pt x="1123" y="261"/>
                </a:cubicBezTo>
                <a:cubicBezTo>
                  <a:pt x="1126" y="261"/>
                  <a:pt x="1129" y="260"/>
                  <a:pt x="1132" y="258"/>
                </a:cubicBezTo>
                <a:cubicBezTo>
                  <a:pt x="1135" y="257"/>
                  <a:pt x="1136" y="255"/>
                  <a:pt x="1138" y="253"/>
                </a:cubicBezTo>
                <a:close/>
                <a:moveTo>
                  <a:pt x="1128" y="224"/>
                </a:moveTo>
                <a:cubicBezTo>
                  <a:pt x="1130" y="224"/>
                  <a:pt x="1131" y="224"/>
                  <a:pt x="1132" y="225"/>
                </a:cubicBezTo>
                <a:cubicBezTo>
                  <a:pt x="1132" y="226"/>
                  <a:pt x="1133" y="228"/>
                  <a:pt x="1133" y="229"/>
                </a:cubicBezTo>
                <a:cubicBezTo>
                  <a:pt x="1133" y="232"/>
                  <a:pt x="1132" y="234"/>
                  <a:pt x="1130" y="235"/>
                </a:cubicBezTo>
                <a:cubicBezTo>
                  <a:pt x="1129" y="237"/>
                  <a:pt x="1126" y="238"/>
                  <a:pt x="1124" y="239"/>
                </a:cubicBezTo>
                <a:cubicBezTo>
                  <a:pt x="1121" y="240"/>
                  <a:pt x="1119" y="241"/>
                  <a:pt x="1116" y="241"/>
                </a:cubicBezTo>
                <a:cubicBezTo>
                  <a:pt x="1117" y="238"/>
                  <a:pt x="1117" y="236"/>
                  <a:pt x="1118" y="233"/>
                </a:cubicBezTo>
                <a:cubicBezTo>
                  <a:pt x="1119" y="230"/>
                  <a:pt x="1121" y="228"/>
                  <a:pt x="1122" y="226"/>
                </a:cubicBezTo>
                <a:cubicBezTo>
                  <a:pt x="1124" y="225"/>
                  <a:pt x="1126" y="224"/>
                  <a:pt x="1128" y="224"/>
                </a:cubicBezTo>
                <a:close/>
                <a:moveTo>
                  <a:pt x="1175" y="254"/>
                </a:moveTo>
                <a:cubicBezTo>
                  <a:pt x="1182" y="204"/>
                  <a:pt x="1182" y="204"/>
                  <a:pt x="1182" y="204"/>
                </a:cubicBezTo>
                <a:cubicBezTo>
                  <a:pt x="1181" y="204"/>
                  <a:pt x="1181" y="204"/>
                  <a:pt x="1181" y="204"/>
                </a:cubicBezTo>
                <a:cubicBezTo>
                  <a:pt x="1171" y="205"/>
                  <a:pt x="1171" y="205"/>
                  <a:pt x="1171" y="205"/>
                </a:cubicBezTo>
                <a:cubicBezTo>
                  <a:pt x="1170" y="207"/>
                  <a:pt x="1170" y="207"/>
                  <a:pt x="1170" y="207"/>
                </a:cubicBezTo>
                <a:cubicBezTo>
                  <a:pt x="1175" y="208"/>
                  <a:pt x="1175" y="208"/>
                  <a:pt x="1175" y="208"/>
                </a:cubicBezTo>
                <a:cubicBezTo>
                  <a:pt x="1173" y="221"/>
                  <a:pt x="1173" y="221"/>
                  <a:pt x="1173" y="221"/>
                </a:cubicBezTo>
                <a:cubicBezTo>
                  <a:pt x="1171" y="220"/>
                  <a:pt x="1169" y="220"/>
                  <a:pt x="1168" y="220"/>
                </a:cubicBezTo>
                <a:cubicBezTo>
                  <a:pt x="1163" y="220"/>
                  <a:pt x="1159" y="222"/>
                  <a:pt x="1156" y="224"/>
                </a:cubicBezTo>
                <a:cubicBezTo>
                  <a:pt x="1152" y="227"/>
                  <a:pt x="1150" y="230"/>
                  <a:pt x="1148" y="234"/>
                </a:cubicBezTo>
                <a:cubicBezTo>
                  <a:pt x="1146" y="238"/>
                  <a:pt x="1145" y="242"/>
                  <a:pt x="1145" y="246"/>
                </a:cubicBezTo>
                <a:cubicBezTo>
                  <a:pt x="1145" y="250"/>
                  <a:pt x="1146" y="254"/>
                  <a:pt x="1148" y="257"/>
                </a:cubicBezTo>
                <a:cubicBezTo>
                  <a:pt x="1150" y="259"/>
                  <a:pt x="1153" y="261"/>
                  <a:pt x="1157" y="261"/>
                </a:cubicBezTo>
                <a:cubicBezTo>
                  <a:pt x="1159" y="261"/>
                  <a:pt x="1162" y="260"/>
                  <a:pt x="1163" y="259"/>
                </a:cubicBezTo>
                <a:cubicBezTo>
                  <a:pt x="1165" y="258"/>
                  <a:pt x="1167" y="256"/>
                  <a:pt x="1168" y="255"/>
                </a:cubicBezTo>
                <a:cubicBezTo>
                  <a:pt x="1168" y="256"/>
                  <a:pt x="1168" y="256"/>
                  <a:pt x="1168" y="256"/>
                </a:cubicBezTo>
                <a:cubicBezTo>
                  <a:pt x="1168" y="259"/>
                  <a:pt x="1170" y="261"/>
                  <a:pt x="1173" y="261"/>
                </a:cubicBezTo>
                <a:cubicBezTo>
                  <a:pt x="1174" y="261"/>
                  <a:pt x="1176" y="260"/>
                  <a:pt x="1177" y="259"/>
                </a:cubicBezTo>
                <a:cubicBezTo>
                  <a:pt x="1178" y="258"/>
                  <a:pt x="1179" y="257"/>
                  <a:pt x="1180" y="256"/>
                </a:cubicBezTo>
                <a:cubicBezTo>
                  <a:pt x="1179" y="255"/>
                  <a:pt x="1179" y="255"/>
                  <a:pt x="1179" y="255"/>
                </a:cubicBezTo>
                <a:cubicBezTo>
                  <a:pt x="1178" y="256"/>
                  <a:pt x="1177" y="256"/>
                  <a:pt x="1176" y="256"/>
                </a:cubicBezTo>
                <a:cubicBezTo>
                  <a:pt x="1175" y="256"/>
                  <a:pt x="1175" y="256"/>
                  <a:pt x="1175" y="255"/>
                </a:cubicBezTo>
                <a:cubicBezTo>
                  <a:pt x="1175" y="254"/>
                  <a:pt x="1175" y="254"/>
                  <a:pt x="1175" y="254"/>
                </a:cubicBezTo>
                <a:close/>
                <a:moveTo>
                  <a:pt x="1172" y="225"/>
                </a:moveTo>
                <a:cubicBezTo>
                  <a:pt x="1169" y="250"/>
                  <a:pt x="1169" y="250"/>
                  <a:pt x="1169" y="250"/>
                </a:cubicBezTo>
                <a:cubicBezTo>
                  <a:pt x="1168" y="252"/>
                  <a:pt x="1166" y="253"/>
                  <a:pt x="1164" y="254"/>
                </a:cubicBezTo>
                <a:cubicBezTo>
                  <a:pt x="1163" y="256"/>
                  <a:pt x="1161" y="256"/>
                  <a:pt x="1159" y="256"/>
                </a:cubicBezTo>
                <a:cubicBezTo>
                  <a:pt x="1157" y="256"/>
                  <a:pt x="1155" y="255"/>
                  <a:pt x="1154" y="253"/>
                </a:cubicBezTo>
                <a:cubicBezTo>
                  <a:pt x="1153" y="252"/>
                  <a:pt x="1153" y="249"/>
                  <a:pt x="1153" y="246"/>
                </a:cubicBezTo>
                <a:cubicBezTo>
                  <a:pt x="1153" y="242"/>
                  <a:pt x="1153" y="239"/>
                  <a:pt x="1154" y="236"/>
                </a:cubicBezTo>
                <a:cubicBezTo>
                  <a:pt x="1155" y="232"/>
                  <a:pt x="1157" y="230"/>
                  <a:pt x="1159" y="227"/>
                </a:cubicBezTo>
                <a:cubicBezTo>
                  <a:pt x="1161" y="225"/>
                  <a:pt x="1164" y="224"/>
                  <a:pt x="1167" y="224"/>
                </a:cubicBezTo>
                <a:cubicBezTo>
                  <a:pt x="1169" y="224"/>
                  <a:pt x="1171" y="224"/>
                  <a:pt x="1172" y="225"/>
                </a:cubicBezTo>
                <a:close/>
                <a:moveTo>
                  <a:pt x="1198" y="254"/>
                </a:moveTo>
                <a:cubicBezTo>
                  <a:pt x="1202" y="221"/>
                  <a:pt x="1202" y="221"/>
                  <a:pt x="1202" y="221"/>
                </a:cubicBezTo>
                <a:cubicBezTo>
                  <a:pt x="1201" y="220"/>
                  <a:pt x="1201" y="220"/>
                  <a:pt x="1201" y="220"/>
                </a:cubicBezTo>
                <a:cubicBezTo>
                  <a:pt x="1191" y="222"/>
                  <a:pt x="1191" y="222"/>
                  <a:pt x="1191" y="222"/>
                </a:cubicBezTo>
                <a:cubicBezTo>
                  <a:pt x="1190" y="224"/>
                  <a:pt x="1190" y="224"/>
                  <a:pt x="1190" y="224"/>
                </a:cubicBezTo>
                <a:cubicBezTo>
                  <a:pt x="1195" y="226"/>
                  <a:pt x="1195" y="226"/>
                  <a:pt x="1195" y="226"/>
                </a:cubicBezTo>
                <a:cubicBezTo>
                  <a:pt x="1194" y="233"/>
                  <a:pt x="1193" y="239"/>
                  <a:pt x="1192" y="243"/>
                </a:cubicBezTo>
                <a:cubicBezTo>
                  <a:pt x="1191" y="251"/>
                  <a:pt x="1191" y="255"/>
                  <a:pt x="1191" y="256"/>
                </a:cubicBezTo>
                <a:cubicBezTo>
                  <a:pt x="1190" y="258"/>
                  <a:pt x="1191" y="259"/>
                  <a:pt x="1192" y="260"/>
                </a:cubicBezTo>
                <a:cubicBezTo>
                  <a:pt x="1192" y="260"/>
                  <a:pt x="1194" y="261"/>
                  <a:pt x="1195" y="261"/>
                </a:cubicBezTo>
                <a:cubicBezTo>
                  <a:pt x="1197" y="261"/>
                  <a:pt x="1199" y="260"/>
                  <a:pt x="1200" y="259"/>
                </a:cubicBezTo>
                <a:cubicBezTo>
                  <a:pt x="1202" y="258"/>
                  <a:pt x="1203" y="257"/>
                  <a:pt x="1203" y="256"/>
                </a:cubicBezTo>
                <a:cubicBezTo>
                  <a:pt x="1202" y="254"/>
                  <a:pt x="1202" y="254"/>
                  <a:pt x="1202" y="254"/>
                </a:cubicBezTo>
                <a:cubicBezTo>
                  <a:pt x="1202" y="255"/>
                  <a:pt x="1201" y="256"/>
                  <a:pt x="1200" y="256"/>
                </a:cubicBezTo>
                <a:cubicBezTo>
                  <a:pt x="1200" y="256"/>
                  <a:pt x="1199" y="256"/>
                  <a:pt x="1199" y="256"/>
                </a:cubicBezTo>
                <a:cubicBezTo>
                  <a:pt x="1198" y="256"/>
                  <a:pt x="1198" y="256"/>
                  <a:pt x="1198" y="256"/>
                </a:cubicBezTo>
                <a:cubicBezTo>
                  <a:pt x="1198" y="256"/>
                  <a:pt x="1198" y="255"/>
                  <a:pt x="1198" y="255"/>
                </a:cubicBezTo>
                <a:lnTo>
                  <a:pt x="1198" y="254"/>
                </a:lnTo>
                <a:close/>
                <a:moveTo>
                  <a:pt x="1200" y="213"/>
                </a:moveTo>
                <a:cubicBezTo>
                  <a:pt x="1201" y="213"/>
                  <a:pt x="1202" y="212"/>
                  <a:pt x="1203" y="211"/>
                </a:cubicBezTo>
                <a:cubicBezTo>
                  <a:pt x="1204" y="210"/>
                  <a:pt x="1205" y="209"/>
                  <a:pt x="1205" y="207"/>
                </a:cubicBezTo>
                <a:cubicBezTo>
                  <a:pt x="1205" y="206"/>
                  <a:pt x="1204" y="206"/>
                  <a:pt x="1204" y="205"/>
                </a:cubicBezTo>
                <a:cubicBezTo>
                  <a:pt x="1203" y="204"/>
                  <a:pt x="1202" y="204"/>
                  <a:pt x="1201" y="204"/>
                </a:cubicBezTo>
                <a:cubicBezTo>
                  <a:pt x="1200" y="204"/>
                  <a:pt x="1198" y="204"/>
                  <a:pt x="1198" y="205"/>
                </a:cubicBezTo>
                <a:cubicBezTo>
                  <a:pt x="1197" y="206"/>
                  <a:pt x="1196" y="207"/>
                  <a:pt x="1196" y="209"/>
                </a:cubicBezTo>
                <a:cubicBezTo>
                  <a:pt x="1196" y="210"/>
                  <a:pt x="1197" y="211"/>
                  <a:pt x="1197" y="212"/>
                </a:cubicBezTo>
                <a:cubicBezTo>
                  <a:pt x="1198" y="212"/>
                  <a:pt x="1199" y="213"/>
                  <a:pt x="1200" y="213"/>
                </a:cubicBezTo>
                <a:close/>
                <a:moveTo>
                  <a:pt x="1237" y="228"/>
                </a:moveTo>
                <a:cubicBezTo>
                  <a:pt x="1238" y="229"/>
                  <a:pt x="1238" y="229"/>
                  <a:pt x="1238" y="229"/>
                </a:cubicBezTo>
                <a:cubicBezTo>
                  <a:pt x="1240" y="222"/>
                  <a:pt x="1240" y="222"/>
                  <a:pt x="1240" y="222"/>
                </a:cubicBezTo>
                <a:cubicBezTo>
                  <a:pt x="1239" y="221"/>
                  <a:pt x="1238" y="221"/>
                  <a:pt x="1237" y="221"/>
                </a:cubicBezTo>
                <a:cubicBezTo>
                  <a:pt x="1235" y="220"/>
                  <a:pt x="1234" y="220"/>
                  <a:pt x="1232" y="220"/>
                </a:cubicBezTo>
                <a:cubicBezTo>
                  <a:pt x="1228" y="220"/>
                  <a:pt x="1224" y="221"/>
                  <a:pt x="1221" y="224"/>
                </a:cubicBezTo>
                <a:cubicBezTo>
                  <a:pt x="1218" y="227"/>
                  <a:pt x="1216" y="230"/>
                  <a:pt x="1214" y="234"/>
                </a:cubicBezTo>
                <a:cubicBezTo>
                  <a:pt x="1213" y="237"/>
                  <a:pt x="1212" y="241"/>
                  <a:pt x="1212" y="245"/>
                </a:cubicBezTo>
                <a:cubicBezTo>
                  <a:pt x="1212" y="250"/>
                  <a:pt x="1213" y="254"/>
                  <a:pt x="1215" y="257"/>
                </a:cubicBezTo>
                <a:cubicBezTo>
                  <a:pt x="1217" y="259"/>
                  <a:pt x="1220" y="261"/>
                  <a:pt x="1224" y="261"/>
                </a:cubicBezTo>
                <a:cubicBezTo>
                  <a:pt x="1227" y="261"/>
                  <a:pt x="1230" y="260"/>
                  <a:pt x="1232" y="259"/>
                </a:cubicBezTo>
                <a:cubicBezTo>
                  <a:pt x="1235" y="257"/>
                  <a:pt x="1236" y="256"/>
                  <a:pt x="1238" y="254"/>
                </a:cubicBezTo>
                <a:cubicBezTo>
                  <a:pt x="1236" y="252"/>
                  <a:pt x="1236" y="252"/>
                  <a:pt x="1236" y="252"/>
                </a:cubicBezTo>
                <a:cubicBezTo>
                  <a:pt x="1235" y="253"/>
                  <a:pt x="1233" y="254"/>
                  <a:pt x="1232" y="255"/>
                </a:cubicBezTo>
                <a:cubicBezTo>
                  <a:pt x="1230" y="256"/>
                  <a:pt x="1229" y="256"/>
                  <a:pt x="1227" y="256"/>
                </a:cubicBezTo>
                <a:cubicBezTo>
                  <a:pt x="1224" y="256"/>
                  <a:pt x="1222" y="255"/>
                  <a:pt x="1221" y="253"/>
                </a:cubicBezTo>
                <a:cubicBezTo>
                  <a:pt x="1220" y="251"/>
                  <a:pt x="1219" y="248"/>
                  <a:pt x="1219" y="244"/>
                </a:cubicBezTo>
                <a:cubicBezTo>
                  <a:pt x="1219" y="240"/>
                  <a:pt x="1219" y="237"/>
                  <a:pt x="1221" y="234"/>
                </a:cubicBezTo>
                <a:cubicBezTo>
                  <a:pt x="1222" y="231"/>
                  <a:pt x="1223" y="229"/>
                  <a:pt x="1225" y="227"/>
                </a:cubicBezTo>
                <a:cubicBezTo>
                  <a:pt x="1227" y="225"/>
                  <a:pt x="1229" y="225"/>
                  <a:pt x="1231" y="225"/>
                </a:cubicBezTo>
                <a:cubicBezTo>
                  <a:pt x="1232" y="225"/>
                  <a:pt x="1235" y="226"/>
                  <a:pt x="1237" y="228"/>
                </a:cubicBezTo>
                <a:close/>
                <a:moveTo>
                  <a:pt x="1255" y="254"/>
                </a:moveTo>
                <a:cubicBezTo>
                  <a:pt x="1260" y="221"/>
                  <a:pt x="1260" y="221"/>
                  <a:pt x="1260" y="221"/>
                </a:cubicBezTo>
                <a:cubicBezTo>
                  <a:pt x="1259" y="220"/>
                  <a:pt x="1259" y="220"/>
                  <a:pt x="1259" y="220"/>
                </a:cubicBezTo>
                <a:cubicBezTo>
                  <a:pt x="1249" y="222"/>
                  <a:pt x="1249" y="222"/>
                  <a:pt x="1249" y="222"/>
                </a:cubicBezTo>
                <a:cubicBezTo>
                  <a:pt x="1248" y="224"/>
                  <a:pt x="1248" y="224"/>
                  <a:pt x="1248" y="224"/>
                </a:cubicBezTo>
                <a:cubicBezTo>
                  <a:pt x="1253" y="226"/>
                  <a:pt x="1253" y="226"/>
                  <a:pt x="1253" y="226"/>
                </a:cubicBezTo>
                <a:cubicBezTo>
                  <a:pt x="1252" y="233"/>
                  <a:pt x="1251" y="239"/>
                  <a:pt x="1250" y="243"/>
                </a:cubicBezTo>
                <a:cubicBezTo>
                  <a:pt x="1249" y="251"/>
                  <a:pt x="1248" y="255"/>
                  <a:pt x="1248" y="256"/>
                </a:cubicBezTo>
                <a:cubicBezTo>
                  <a:pt x="1248" y="258"/>
                  <a:pt x="1249" y="259"/>
                  <a:pt x="1249" y="260"/>
                </a:cubicBezTo>
                <a:cubicBezTo>
                  <a:pt x="1250" y="260"/>
                  <a:pt x="1251" y="261"/>
                  <a:pt x="1253" y="261"/>
                </a:cubicBezTo>
                <a:cubicBezTo>
                  <a:pt x="1255" y="261"/>
                  <a:pt x="1256" y="260"/>
                  <a:pt x="1258" y="259"/>
                </a:cubicBezTo>
                <a:cubicBezTo>
                  <a:pt x="1259" y="258"/>
                  <a:pt x="1260" y="257"/>
                  <a:pt x="1261" y="256"/>
                </a:cubicBezTo>
                <a:cubicBezTo>
                  <a:pt x="1260" y="254"/>
                  <a:pt x="1260" y="254"/>
                  <a:pt x="1260" y="254"/>
                </a:cubicBezTo>
                <a:cubicBezTo>
                  <a:pt x="1259" y="255"/>
                  <a:pt x="1259" y="256"/>
                  <a:pt x="1258" y="256"/>
                </a:cubicBezTo>
                <a:cubicBezTo>
                  <a:pt x="1258" y="256"/>
                  <a:pt x="1257" y="256"/>
                  <a:pt x="1256" y="256"/>
                </a:cubicBezTo>
                <a:cubicBezTo>
                  <a:pt x="1256" y="256"/>
                  <a:pt x="1256" y="256"/>
                  <a:pt x="1256" y="256"/>
                </a:cubicBezTo>
                <a:cubicBezTo>
                  <a:pt x="1255" y="256"/>
                  <a:pt x="1255" y="255"/>
                  <a:pt x="1255" y="255"/>
                </a:cubicBezTo>
                <a:lnTo>
                  <a:pt x="1255" y="254"/>
                </a:lnTo>
                <a:close/>
                <a:moveTo>
                  <a:pt x="1258" y="213"/>
                </a:moveTo>
                <a:cubicBezTo>
                  <a:pt x="1259" y="213"/>
                  <a:pt x="1260" y="212"/>
                  <a:pt x="1261" y="211"/>
                </a:cubicBezTo>
                <a:cubicBezTo>
                  <a:pt x="1262" y="210"/>
                  <a:pt x="1262" y="209"/>
                  <a:pt x="1262" y="207"/>
                </a:cubicBezTo>
                <a:cubicBezTo>
                  <a:pt x="1262" y="206"/>
                  <a:pt x="1262" y="206"/>
                  <a:pt x="1261" y="205"/>
                </a:cubicBezTo>
                <a:cubicBezTo>
                  <a:pt x="1261" y="204"/>
                  <a:pt x="1260" y="204"/>
                  <a:pt x="1259" y="204"/>
                </a:cubicBezTo>
                <a:cubicBezTo>
                  <a:pt x="1257" y="204"/>
                  <a:pt x="1256" y="204"/>
                  <a:pt x="1255" y="205"/>
                </a:cubicBezTo>
                <a:cubicBezTo>
                  <a:pt x="1254" y="206"/>
                  <a:pt x="1254" y="207"/>
                  <a:pt x="1254" y="209"/>
                </a:cubicBezTo>
                <a:cubicBezTo>
                  <a:pt x="1254" y="210"/>
                  <a:pt x="1254" y="211"/>
                  <a:pt x="1255" y="212"/>
                </a:cubicBezTo>
                <a:cubicBezTo>
                  <a:pt x="1256" y="212"/>
                  <a:pt x="1257" y="213"/>
                  <a:pt x="1258" y="213"/>
                </a:cubicBezTo>
                <a:close/>
                <a:moveTo>
                  <a:pt x="1282" y="229"/>
                </a:moveTo>
                <a:cubicBezTo>
                  <a:pt x="1283" y="221"/>
                  <a:pt x="1283" y="221"/>
                  <a:pt x="1283" y="221"/>
                </a:cubicBezTo>
                <a:cubicBezTo>
                  <a:pt x="1281" y="220"/>
                  <a:pt x="1281" y="220"/>
                  <a:pt x="1281" y="220"/>
                </a:cubicBezTo>
                <a:cubicBezTo>
                  <a:pt x="1273" y="222"/>
                  <a:pt x="1273" y="222"/>
                  <a:pt x="1273" y="222"/>
                </a:cubicBezTo>
                <a:cubicBezTo>
                  <a:pt x="1272" y="224"/>
                  <a:pt x="1272" y="224"/>
                  <a:pt x="1272" y="224"/>
                </a:cubicBezTo>
                <a:cubicBezTo>
                  <a:pt x="1275" y="226"/>
                  <a:pt x="1275" y="226"/>
                  <a:pt x="1275" y="226"/>
                </a:cubicBezTo>
                <a:cubicBezTo>
                  <a:pt x="1271" y="260"/>
                  <a:pt x="1271" y="260"/>
                  <a:pt x="1271" y="260"/>
                </a:cubicBezTo>
                <a:cubicBezTo>
                  <a:pt x="1278" y="260"/>
                  <a:pt x="1278" y="260"/>
                  <a:pt x="1278" y="260"/>
                </a:cubicBezTo>
                <a:cubicBezTo>
                  <a:pt x="1281" y="235"/>
                  <a:pt x="1281" y="235"/>
                  <a:pt x="1281" y="235"/>
                </a:cubicBezTo>
                <a:cubicBezTo>
                  <a:pt x="1283" y="232"/>
                  <a:pt x="1285" y="230"/>
                  <a:pt x="1287" y="228"/>
                </a:cubicBezTo>
                <a:cubicBezTo>
                  <a:pt x="1289" y="226"/>
                  <a:pt x="1291" y="225"/>
                  <a:pt x="1293" y="225"/>
                </a:cubicBezTo>
                <a:cubicBezTo>
                  <a:pt x="1295" y="225"/>
                  <a:pt x="1296" y="226"/>
                  <a:pt x="1297" y="226"/>
                </a:cubicBezTo>
                <a:cubicBezTo>
                  <a:pt x="1297" y="227"/>
                  <a:pt x="1298" y="229"/>
                  <a:pt x="1298" y="231"/>
                </a:cubicBezTo>
                <a:cubicBezTo>
                  <a:pt x="1298" y="233"/>
                  <a:pt x="1297" y="234"/>
                  <a:pt x="1297" y="236"/>
                </a:cubicBezTo>
                <a:cubicBezTo>
                  <a:pt x="1297" y="238"/>
                  <a:pt x="1297" y="240"/>
                  <a:pt x="1296" y="243"/>
                </a:cubicBezTo>
                <a:cubicBezTo>
                  <a:pt x="1296" y="245"/>
                  <a:pt x="1296" y="245"/>
                  <a:pt x="1296" y="245"/>
                </a:cubicBezTo>
                <a:cubicBezTo>
                  <a:pt x="1295" y="248"/>
                  <a:pt x="1295" y="248"/>
                  <a:pt x="1295" y="248"/>
                </a:cubicBezTo>
                <a:cubicBezTo>
                  <a:pt x="1294" y="252"/>
                  <a:pt x="1294" y="255"/>
                  <a:pt x="1294" y="256"/>
                </a:cubicBezTo>
                <a:cubicBezTo>
                  <a:pt x="1294" y="259"/>
                  <a:pt x="1295" y="261"/>
                  <a:pt x="1298" y="261"/>
                </a:cubicBezTo>
                <a:cubicBezTo>
                  <a:pt x="1300" y="261"/>
                  <a:pt x="1301" y="260"/>
                  <a:pt x="1302" y="260"/>
                </a:cubicBezTo>
                <a:cubicBezTo>
                  <a:pt x="1303" y="259"/>
                  <a:pt x="1304" y="259"/>
                  <a:pt x="1305" y="258"/>
                </a:cubicBezTo>
                <a:cubicBezTo>
                  <a:pt x="1305" y="258"/>
                  <a:pt x="1306" y="257"/>
                  <a:pt x="1306" y="257"/>
                </a:cubicBezTo>
                <a:cubicBezTo>
                  <a:pt x="1305" y="255"/>
                  <a:pt x="1305" y="255"/>
                  <a:pt x="1305" y="255"/>
                </a:cubicBezTo>
                <a:cubicBezTo>
                  <a:pt x="1304" y="256"/>
                  <a:pt x="1303" y="256"/>
                  <a:pt x="1302" y="256"/>
                </a:cubicBezTo>
                <a:cubicBezTo>
                  <a:pt x="1301" y="256"/>
                  <a:pt x="1301" y="256"/>
                  <a:pt x="1301" y="255"/>
                </a:cubicBezTo>
                <a:cubicBezTo>
                  <a:pt x="1301" y="253"/>
                  <a:pt x="1301" y="250"/>
                  <a:pt x="1302" y="246"/>
                </a:cubicBezTo>
                <a:cubicBezTo>
                  <a:pt x="1303" y="243"/>
                  <a:pt x="1303" y="243"/>
                  <a:pt x="1303" y="243"/>
                </a:cubicBezTo>
                <a:cubicBezTo>
                  <a:pt x="1303" y="241"/>
                  <a:pt x="1303" y="241"/>
                  <a:pt x="1303" y="241"/>
                </a:cubicBezTo>
                <a:cubicBezTo>
                  <a:pt x="1304" y="236"/>
                  <a:pt x="1305" y="232"/>
                  <a:pt x="1305" y="230"/>
                </a:cubicBezTo>
                <a:cubicBezTo>
                  <a:pt x="1305" y="227"/>
                  <a:pt x="1304" y="224"/>
                  <a:pt x="1302" y="223"/>
                </a:cubicBezTo>
                <a:cubicBezTo>
                  <a:pt x="1301" y="221"/>
                  <a:pt x="1299" y="220"/>
                  <a:pt x="1296" y="220"/>
                </a:cubicBezTo>
                <a:cubicBezTo>
                  <a:pt x="1294" y="220"/>
                  <a:pt x="1291" y="221"/>
                  <a:pt x="1289" y="223"/>
                </a:cubicBezTo>
                <a:cubicBezTo>
                  <a:pt x="1286" y="224"/>
                  <a:pt x="1284" y="227"/>
                  <a:pt x="1282" y="229"/>
                </a:cubicBezTo>
                <a:close/>
                <a:moveTo>
                  <a:pt x="1342" y="253"/>
                </a:moveTo>
                <a:cubicBezTo>
                  <a:pt x="1340" y="251"/>
                  <a:pt x="1340" y="251"/>
                  <a:pt x="1340" y="251"/>
                </a:cubicBezTo>
                <a:cubicBezTo>
                  <a:pt x="1339" y="253"/>
                  <a:pt x="1337" y="254"/>
                  <a:pt x="1335" y="255"/>
                </a:cubicBezTo>
                <a:cubicBezTo>
                  <a:pt x="1333" y="256"/>
                  <a:pt x="1331" y="256"/>
                  <a:pt x="1329" y="256"/>
                </a:cubicBezTo>
                <a:cubicBezTo>
                  <a:pt x="1326" y="256"/>
                  <a:pt x="1323" y="255"/>
                  <a:pt x="1322" y="253"/>
                </a:cubicBezTo>
                <a:cubicBezTo>
                  <a:pt x="1321" y="250"/>
                  <a:pt x="1320" y="247"/>
                  <a:pt x="1320" y="244"/>
                </a:cubicBezTo>
                <a:cubicBezTo>
                  <a:pt x="1323" y="244"/>
                  <a:pt x="1327" y="244"/>
                  <a:pt x="1330" y="242"/>
                </a:cubicBezTo>
                <a:cubicBezTo>
                  <a:pt x="1334" y="241"/>
                  <a:pt x="1337" y="240"/>
                  <a:pt x="1340" y="237"/>
                </a:cubicBezTo>
                <a:cubicBezTo>
                  <a:pt x="1342" y="235"/>
                  <a:pt x="1344" y="232"/>
                  <a:pt x="1344" y="229"/>
                </a:cubicBezTo>
                <a:cubicBezTo>
                  <a:pt x="1344" y="226"/>
                  <a:pt x="1343" y="224"/>
                  <a:pt x="1341" y="223"/>
                </a:cubicBezTo>
                <a:cubicBezTo>
                  <a:pt x="1340" y="221"/>
                  <a:pt x="1337" y="220"/>
                  <a:pt x="1334" y="220"/>
                </a:cubicBezTo>
                <a:cubicBezTo>
                  <a:pt x="1330" y="220"/>
                  <a:pt x="1326" y="221"/>
                  <a:pt x="1323" y="224"/>
                </a:cubicBezTo>
                <a:cubicBezTo>
                  <a:pt x="1320" y="226"/>
                  <a:pt x="1318" y="229"/>
                  <a:pt x="1316" y="233"/>
                </a:cubicBezTo>
                <a:cubicBezTo>
                  <a:pt x="1314" y="237"/>
                  <a:pt x="1313" y="241"/>
                  <a:pt x="1313" y="246"/>
                </a:cubicBezTo>
                <a:cubicBezTo>
                  <a:pt x="1313" y="248"/>
                  <a:pt x="1314" y="251"/>
                  <a:pt x="1315" y="253"/>
                </a:cubicBezTo>
                <a:cubicBezTo>
                  <a:pt x="1316" y="255"/>
                  <a:pt x="1317" y="257"/>
                  <a:pt x="1319" y="259"/>
                </a:cubicBezTo>
                <a:cubicBezTo>
                  <a:pt x="1321" y="260"/>
                  <a:pt x="1324" y="261"/>
                  <a:pt x="1327" y="261"/>
                </a:cubicBezTo>
                <a:cubicBezTo>
                  <a:pt x="1330" y="261"/>
                  <a:pt x="1333" y="260"/>
                  <a:pt x="1336" y="258"/>
                </a:cubicBezTo>
                <a:cubicBezTo>
                  <a:pt x="1339" y="257"/>
                  <a:pt x="1341" y="255"/>
                  <a:pt x="1342" y="253"/>
                </a:cubicBezTo>
                <a:close/>
                <a:moveTo>
                  <a:pt x="1332" y="224"/>
                </a:moveTo>
                <a:cubicBezTo>
                  <a:pt x="1334" y="224"/>
                  <a:pt x="1335" y="224"/>
                  <a:pt x="1336" y="225"/>
                </a:cubicBezTo>
                <a:cubicBezTo>
                  <a:pt x="1337" y="226"/>
                  <a:pt x="1337" y="228"/>
                  <a:pt x="1337" y="229"/>
                </a:cubicBezTo>
                <a:cubicBezTo>
                  <a:pt x="1337" y="232"/>
                  <a:pt x="1336" y="234"/>
                  <a:pt x="1334" y="235"/>
                </a:cubicBezTo>
                <a:cubicBezTo>
                  <a:pt x="1333" y="237"/>
                  <a:pt x="1331" y="238"/>
                  <a:pt x="1328" y="239"/>
                </a:cubicBezTo>
                <a:cubicBezTo>
                  <a:pt x="1325" y="240"/>
                  <a:pt x="1323" y="241"/>
                  <a:pt x="1321" y="241"/>
                </a:cubicBezTo>
                <a:cubicBezTo>
                  <a:pt x="1321" y="238"/>
                  <a:pt x="1321" y="236"/>
                  <a:pt x="1322" y="233"/>
                </a:cubicBezTo>
                <a:cubicBezTo>
                  <a:pt x="1323" y="230"/>
                  <a:pt x="1325" y="228"/>
                  <a:pt x="1326" y="226"/>
                </a:cubicBezTo>
                <a:cubicBezTo>
                  <a:pt x="1328" y="225"/>
                  <a:pt x="1330" y="224"/>
                  <a:pt x="1332" y="224"/>
                </a:cubicBezTo>
                <a:close/>
              </a:path>
            </a:pathLst>
          </a:custGeom>
          <a:solidFill>
            <a:schemeClr val="bg1"/>
          </a:solidFill>
          <a:ln>
            <a:noFill/>
          </a:ln>
        </p:spPr>
        <p:txBody>
          <a:bodyPr vert="horz" wrap="square" lIns="121920" tIns="60960" rIns="121920" bIns="60960" numCol="1" anchor="t" anchorCtr="0" compatLnSpc="1">
            <a:prstTxWarp prst="textNoShape">
              <a:avLst/>
            </a:prstTxWarp>
          </a:bodyPr>
          <a:lstStyle/>
          <a:p>
            <a:endParaRPr lang="en-US" sz="2400"/>
          </a:p>
        </p:txBody>
      </p:sp>
      <p:sp>
        <p:nvSpPr>
          <p:cNvPr id="17" name="Text Placeholder 16">
            <a:extLst>
              <a:ext uri="{FF2B5EF4-FFF2-40B4-BE49-F238E27FC236}">
                <a16:creationId xmlns:a16="http://schemas.microsoft.com/office/drawing/2014/main" id="{FCA018DF-7EFB-4D08-89D5-E61FB47F425E}"/>
              </a:ext>
            </a:extLst>
          </p:cNvPr>
          <p:cNvSpPr>
            <a:spLocks noGrp="1"/>
          </p:cNvSpPr>
          <p:nvPr>
            <p:ph type="body" sz="quarter" idx="12" hasCustomPrompt="1"/>
          </p:nvPr>
        </p:nvSpPr>
        <p:spPr>
          <a:xfrm>
            <a:off x="7995920" y="6515586"/>
            <a:ext cx="3222413" cy="169277"/>
          </a:xfrm>
        </p:spPr>
        <p:txBody>
          <a:bodyPr wrap="square">
            <a:spAutoFit/>
          </a:bodyPr>
          <a:lstStyle>
            <a:lvl1pPr marL="0" indent="0">
              <a:buNone/>
              <a:defRPr sz="1000" cap="all" spc="147" baseline="0">
                <a:solidFill>
                  <a:schemeClr val="tx2"/>
                </a:solidFill>
              </a:defRPr>
            </a:lvl1pPr>
          </a:lstStyle>
          <a:p>
            <a:pPr lvl="0"/>
            <a:r>
              <a:rPr lang="en-US"/>
              <a:t>CLICK TO EDIT MASTER TEXT</a:t>
            </a:r>
          </a:p>
        </p:txBody>
      </p:sp>
    </p:spTree>
    <p:extLst>
      <p:ext uri="{BB962C8B-B14F-4D97-AF65-F5344CB8AC3E}">
        <p14:creationId xmlns:p14="http://schemas.microsoft.com/office/powerpoint/2010/main" val="754555405"/>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p:cSld name="Title Slide - Dark Ruby">
    <p:spTree>
      <p:nvGrpSpPr>
        <p:cNvPr id="1" name=""/>
        <p:cNvGrpSpPr/>
        <p:nvPr/>
      </p:nvGrpSpPr>
      <p:grpSpPr>
        <a:xfrm>
          <a:off x="0" y="0"/>
          <a:ext cx="0" cy="0"/>
          <a:chOff x="0" y="0"/>
          <a:chExt cx="0" cy="0"/>
        </a:xfrm>
      </p:grpSpPr>
      <p:sp>
        <p:nvSpPr>
          <p:cNvPr id="15" name="Picture Placeholder 14">
            <a:extLst>
              <a:ext uri="{FF2B5EF4-FFF2-40B4-BE49-F238E27FC236}">
                <a16:creationId xmlns:a16="http://schemas.microsoft.com/office/drawing/2014/main" id="{42927F7C-53AC-400F-8DAD-235A2AF61FB8}"/>
              </a:ext>
            </a:extLst>
          </p:cNvPr>
          <p:cNvSpPr>
            <a:spLocks noGrp="1"/>
          </p:cNvSpPr>
          <p:nvPr>
            <p:ph type="pic" sz="quarter" idx="11"/>
          </p:nvPr>
        </p:nvSpPr>
        <p:spPr>
          <a:xfrm>
            <a:off x="0" y="1"/>
            <a:ext cx="12192000" cy="6280151"/>
          </a:xfrm>
          <a:solidFill>
            <a:schemeClr val="bg2">
              <a:lumMod val="90000"/>
            </a:schemeClr>
          </a:solidFill>
        </p:spPr>
        <p:txBody>
          <a:bodyPr/>
          <a:lstStyle/>
          <a:p>
            <a:r>
              <a:rPr lang="en-US"/>
              <a:t>Click icon to add picture</a:t>
            </a:r>
          </a:p>
        </p:txBody>
      </p:sp>
      <p:sp>
        <p:nvSpPr>
          <p:cNvPr id="13" name="Text Placeholder 12">
            <a:extLst>
              <a:ext uri="{FF2B5EF4-FFF2-40B4-BE49-F238E27FC236}">
                <a16:creationId xmlns:a16="http://schemas.microsoft.com/office/drawing/2014/main" id="{D2D74F39-96DB-4808-8693-9F55A9D7DB98}"/>
              </a:ext>
            </a:extLst>
          </p:cNvPr>
          <p:cNvSpPr>
            <a:spLocks noGrp="1"/>
          </p:cNvSpPr>
          <p:nvPr>
            <p:ph type="body" sz="quarter" idx="10"/>
          </p:nvPr>
        </p:nvSpPr>
        <p:spPr>
          <a:xfrm>
            <a:off x="2" y="1563078"/>
            <a:ext cx="7737229" cy="5294921"/>
          </a:xfrm>
          <a:solidFill>
            <a:srgbClr val="7C2629"/>
          </a:solidFill>
        </p:spPr>
        <p:txBody>
          <a:bodyPr lIns="502920" tIns="274320" rIns="457200" bIns="457200"/>
          <a:lstStyle>
            <a:lvl1pPr marL="0" indent="0">
              <a:lnSpc>
                <a:spcPct val="100000"/>
              </a:lnSpc>
              <a:buNone/>
              <a:defRPr sz="4000">
                <a:solidFill>
                  <a:schemeClr val="bg1"/>
                </a:solidFill>
                <a:latin typeface="+mj-lt"/>
              </a:defRPr>
            </a:lvl1pPr>
            <a:lvl2pPr marL="0" indent="0">
              <a:spcBef>
                <a:spcPts val="1200"/>
              </a:spcBef>
              <a:buNone/>
              <a:defRPr sz="2000">
                <a:solidFill>
                  <a:schemeClr val="bg1"/>
                </a:solidFill>
                <a:latin typeface="+mj-lt"/>
              </a:defRPr>
            </a:lvl2pPr>
            <a:lvl3pPr marL="609585" indent="0">
              <a:buNone/>
              <a:defRPr>
                <a:solidFill>
                  <a:schemeClr val="bg1"/>
                </a:solidFill>
                <a:latin typeface="+mj-lt"/>
              </a:defRPr>
            </a:lvl3pPr>
            <a:lvl4pPr marL="922844" indent="0">
              <a:buNone/>
              <a:defRPr>
                <a:solidFill>
                  <a:schemeClr val="bg1"/>
                </a:solidFill>
                <a:latin typeface="+mj-lt"/>
              </a:defRPr>
            </a:lvl4pPr>
            <a:lvl5pPr marL="1219170" indent="0">
              <a:buNone/>
              <a:defRPr>
                <a:solidFill>
                  <a:schemeClr val="bg1"/>
                </a:solidFill>
                <a:latin typeface="+mj-lt"/>
              </a:defRPr>
            </a:lvl5pPr>
          </a:lstStyle>
          <a:p>
            <a:pPr lvl="0"/>
            <a:r>
              <a:rPr lang="en-US"/>
              <a:t>Edit Master text styles</a:t>
            </a:r>
          </a:p>
          <a:p>
            <a:pPr lvl="1"/>
            <a:r>
              <a:rPr lang="en-US"/>
              <a:t>Second level</a:t>
            </a:r>
          </a:p>
        </p:txBody>
      </p:sp>
      <p:sp>
        <p:nvSpPr>
          <p:cNvPr id="3" name="Subtitle 2"/>
          <p:cNvSpPr>
            <a:spLocks noGrp="1"/>
          </p:cNvSpPr>
          <p:nvPr>
            <p:ph type="subTitle" idx="1"/>
          </p:nvPr>
        </p:nvSpPr>
        <p:spPr>
          <a:xfrm>
            <a:off x="701040" y="4738102"/>
            <a:ext cx="6461760" cy="225639"/>
          </a:xfrm>
        </p:spPr>
        <p:txBody>
          <a:bodyPr anchor="b" anchorCtr="0">
            <a:spAutoFit/>
          </a:bodyPr>
          <a:lstStyle>
            <a:lvl1pPr marL="0" indent="0" algn="l">
              <a:buNone/>
              <a:defRPr sz="1333" i="1">
                <a:solidFill>
                  <a:schemeClr val="bg1"/>
                </a:solidFill>
                <a:latin typeface="+mj-l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
        <p:nvSpPr>
          <p:cNvPr id="9" name="Freeform 5">
            <a:extLst>
              <a:ext uri="{FF2B5EF4-FFF2-40B4-BE49-F238E27FC236}">
                <a16:creationId xmlns:a16="http://schemas.microsoft.com/office/drawing/2014/main" id="{6EF64205-A64B-4137-BA41-5E5CFE0F359E}"/>
              </a:ext>
            </a:extLst>
          </p:cNvPr>
          <p:cNvSpPr>
            <a:spLocks noEditPoints="1"/>
          </p:cNvSpPr>
          <p:nvPr/>
        </p:nvSpPr>
        <p:spPr bwMode="auto">
          <a:xfrm>
            <a:off x="643609" y="578451"/>
            <a:ext cx="2922943" cy="547357"/>
          </a:xfrm>
          <a:custGeom>
            <a:avLst/>
            <a:gdLst>
              <a:gd name="T0" fmla="*/ 225 w 1440"/>
              <a:gd name="T1" fmla="*/ 110 h 267"/>
              <a:gd name="T2" fmla="*/ 317 w 1440"/>
              <a:gd name="T3" fmla="*/ 7 h 267"/>
              <a:gd name="T4" fmla="*/ 475 w 1440"/>
              <a:gd name="T5" fmla="*/ 19 h 267"/>
              <a:gd name="T6" fmla="*/ 830 w 1440"/>
              <a:gd name="T7" fmla="*/ 7 h 267"/>
              <a:gd name="T8" fmla="*/ 130 w 1440"/>
              <a:gd name="T9" fmla="*/ 210 h 267"/>
              <a:gd name="T10" fmla="*/ 437 w 1440"/>
              <a:gd name="T11" fmla="*/ 209 h 267"/>
              <a:gd name="T12" fmla="*/ 493 w 1440"/>
              <a:gd name="T13" fmla="*/ 198 h 267"/>
              <a:gd name="T14" fmla="*/ 866 w 1440"/>
              <a:gd name="T15" fmla="*/ 171 h 267"/>
              <a:gd name="T16" fmla="*/ 737 w 1440"/>
              <a:gd name="T17" fmla="*/ 261 h 267"/>
              <a:gd name="T18" fmla="*/ 958 w 1440"/>
              <a:gd name="T19" fmla="*/ 172 h 267"/>
              <a:gd name="T20" fmla="*/ 906 w 1440"/>
              <a:gd name="T21" fmla="*/ 254 h 267"/>
              <a:gd name="T22" fmla="*/ 309 w 1440"/>
              <a:gd name="T23" fmla="*/ 260 h 267"/>
              <a:gd name="T24" fmla="*/ 1053 w 1440"/>
              <a:gd name="T25" fmla="*/ 31 h 267"/>
              <a:gd name="T26" fmla="*/ 1075 w 1440"/>
              <a:gd name="T27" fmla="*/ 44 h 267"/>
              <a:gd name="T28" fmla="*/ 1091 w 1440"/>
              <a:gd name="T29" fmla="*/ 22 h 267"/>
              <a:gd name="T30" fmla="*/ 1107 w 1440"/>
              <a:gd name="T31" fmla="*/ 27 h 267"/>
              <a:gd name="T32" fmla="*/ 1125 w 1440"/>
              <a:gd name="T33" fmla="*/ 55 h 267"/>
              <a:gd name="T34" fmla="*/ 1159 w 1440"/>
              <a:gd name="T35" fmla="*/ 53 h 267"/>
              <a:gd name="T36" fmla="*/ 1160 w 1440"/>
              <a:gd name="T37" fmla="*/ 57 h 267"/>
              <a:gd name="T38" fmla="*/ 1177 w 1440"/>
              <a:gd name="T39" fmla="*/ 23 h 267"/>
              <a:gd name="T40" fmla="*/ 1207 w 1440"/>
              <a:gd name="T41" fmla="*/ 58 h 267"/>
              <a:gd name="T42" fmla="*/ 1245 w 1440"/>
              <a:gd name="T43" fmla="*/ 27 h 267"/>
              <a:gd name="T44" fmla="*/ 1225 w 1440"/>
              <a:gd name="T45" fmla="*/ 43 h 267"/>
              <a:gd name="T46" fmla="*/ 1271 w 1440"/>
              <a:gd name="T47" fmla="*/ 19 h 267"/>
              <a:gd name="T48" fmla="*/ 1259 w 1440"/>
              <a:gd name="T49" fmla="*/ 32 h 267"/>
              <a:gd name="T50" fmla="*/ 1290 w 1440"/>
              <a:gd name="T51" fmla="*/ 54 h 267"/>
              <a:gd name="T52" fmla="*/ 1310 w 1440"/>
              <a:gd name="T53" fmla="*/ 25 h 267"/>
              <a:gd name="T54" fmla="*/ 1059 w 1440"/>
              <a:gd name="T55" fmla="*/ 110 h 267"/>
              <a:gd name="T56" fmla="*/ 1099 w 1440"/>
              <a:gd name="T57" fmla="*/ 134 h 267"/>
              <a:gd name="T58" fmla="*/ 1120 w 1440"/>
              <a:gd name="T59" fmla="*/ 156 h 267"/>
              <a:gd name="T60" fmla="*/ 1141 w 1440"/>
              <a:gd name="T61" fmla="*/ 123 h 267"/>
              <a:gd name="T62" fmla="*/ 1148 w 1440"/>
              <a:gd name="T63" fmla="*/ 175 h 267"/>
              <a:gd name="T64" fmla="*/ 1184 w 1440"/>
              <a:gd name="T65" fmla="*/ 119 h 267"/>
              <a:gd name="T66" fmla="*/ 1181 w 1440"/>
              <a:gd name="T67" fmla="*/ 153 h 267"/>
              <a:gd name="T68" fmla="*/ 1201 w 1440"/>
              <a:gd name="T69" fmla="*/ 125 h 267"/>
              <a:gd name="T70" fmla="*/ 1230 w 1440"/>
              <a:gd name="T71" fmla="*/ 157 h 267"/>
              <a:gd name="T72" fmla="*/ 1260 w 1440"/>
              <a:gd name="T73" fmla="*/ 154 h 267"/>
              <a:gd name="T74" fmla="*/ 1261 w 1440"/>
              <a:gd name="T75" fmla="*/ 158 h 267"/>
              <a:gd name="T76" fmla="*/ 1284 w 1440"/>
              <a:gd name="T77" fmla="*/ 152 h 267"/>
              <a:gd name="T78" fmla="*/ 1294 w 1440"/>
              <a:gd name="T79" fmla="*/ 123 h 267"/>
              <a:gd name="T80" fmla="*/ 1317 w 1440"/>
              <a:gd name="T81" fmla="*/ 125 h 267"/>
              <a:gd name="T82" fmla="*/ 1342 w 1440"/>
              <a:gd name="T83" fmla="*/ 121 h 267"/>
              <a:gd name="T84" fmla="*/ 1351 w 1440"/>
              <a:gd name="T85" fmla="*/ 112 h 267"/>
              <a:gd name="T86" fmla="*/ 1364 w 1440"/>
              <a:gd name="T87" fmla="*/ 159 h 267"/>
              <a:gd name="T88" fmla="*/ 1399 w 1440"/>
              <a:gd name="T89" fmla="*/ 156 h 267"/>
              <a:gd name="T90" fmla="*/ 1432 w 1440"/>
              <a:gd name="T91" fmla="*/ 120 h 267"/>
              <a:gd name="T92" fmla="*/ 1410 w 1440"/>
              <a:gd name="T93" fmla="*/ 176 h 267"/>
              <a:gd name="T94" fmla="*/ 1076 w 1440"/>
              <a:gd name="T95" fmla="*/ 242 h 267"/>
              <a:gd name="T96" fmla="*/ 1062 w 1440"/>
              <a:gd name="T97" fmla="*/ 225 h 267"/>
              <a:gd name="T98" fmla="*/ 1091 w 1440"/>
              <a:gd name="T99" fmla="*/ 208 h 267"/>
              <a:gd name="T100" fmla="*/ 1112 w 1440"/>
              <a:gd name="T101" fmla="*/ 233 h 267"/>
              <a:gd name="T102" fmla="*/ 1128 w 1440"/>
              <a:gd name="T103" fmla="*/ 224 h 267"/>
              <a:gd name="T104" fmla="*/ 1168 w 1440"/>
              <a:gd name="T105" fmla="*/ 255 h 267"/>
              <a:gd name="T106" fmla="*/ 1154 w 1440"/>
              <a:gd name="T107" fmla="*/ 236 h 267"/>
              <a:gd name="T108" fmla="*/ 1203 w 1440"/>
              <a:gd name="T109" fmla="*/ 256 h 267"/>
              <a:gd name="T110" fmla="*/ 1200 w 1440"/>
              <a:gd name="T111" fmla="*/ 213 h 267"/>
              <a:gd name="T112" fmla="*/ 1227 w 1440"/>
              <a:gd name="T113" fmla="*/ 256 h 267"/>
              <a:gd name="T114" fmla="*/ 1249 w 1440"/>
              <a:gd name="T115" fmla="*/ 260 h 267"/>
              <a:gd name="T116" fmla="*/ 1255 w 1440"/>
              <a:gd name="T117" fmla="*/ 205 h 267"/>
              <a:gd name="T118" fmla="*/ 1297 w 1440"/>
              <a:gd name="T119" fmla="*/ 226 h 267"/>
              <a:gd name="T120" fmla="*/ 1303 w 1440"/>
              <a:gd name="T121" fmla="*/ 243 h 267"/>
              <a:gd name="T122" fmla="*/ 1344 w 1440"/>
              <a:gd name="T123" fmla="*/ 229 h 267"/>
              <a:gd name="T124" fmla="*/ 1328 w 1440"/>
              <a:gd name="T125" fmla="*/ 239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440" h="267">
                <a:moveTo>
                  <a:pt x="17" y="110"/>
                </a:moveTo>
                <a:cubicBezTo>
                  <a:pt x="3" y="110"/>
                  <a:pt x="3" y="110"/>
                  <a:pt x="3" y="110"/>
                </a:cubicBezTo>
                <a:cubicBezTo>
                  <a:pt x="3" y="1"/>
                  <a:pt x="3" y="1"/>
                  <a:pt x="3" y="1"/>
                </a:cubicBezTo>
                <a:cubicBezTo>
                  <a:pt x="81" y="83"/>
                  <a:pt x="81" y="83"/>
                  <a:pt x="81" y="83"/>
                </a:cubicBezTo>
                <a:cubicBezTo>
                  <a:pt x="81" y="7"/>
                  <a:pt x="81" y="7"/>
                  <a:pt x="81" y="7"/>
                </a:cubicBezTo>
                <a:cubicBezTo>
                  <a:pt x="95" y="7"/>
                  <a:pt x="95" y="7"/>
                  <a:pt x="95" y="7"/>
                </a:cubicBezTo>
                <a:cubicBezTo>
                  <a:pt x="95" y="117"/>
                  <a:pt x="95" y="117"/>
                  <a:pt x="95" y="117"/>
                </a:cubicBezTo>
                <a:cubicBezTo>
                  <a:pt x="17" y="35"/>
                  <a:pt x="17" y="35"/>
                  <a:pt x="17" y="35"/>
                </a:cubicBezTo>
                <a:lnTo>
                  <a:pt x="17" y="110"/>
                </a:lnTo>
                <a:close/>
                <a:moveTo>
                  <a:pt x="130" y="110"/>
                </a:moveTo>
                <a:cubicBezTo>
                  <a:pt x="145" y="110"/>
                  <a:pt x="145" y="110"/>
                  <a:pt x="145" y="110"/>
                </a:cubicBezTo>
                <a:cubicBezTo>
                  <a:pt x="178" y="33"/>
                  <a:pt x="178" y="33"/>
                  <a:pt x="178" y="33"/>
                </a:cubicBezTo>
                <a:cubicBezTo>
                  <a:pt x="210" y="109"/>
                  <a:pt x="210" y="109"/>
                  <a:pt x="210" y="109"/>
                </a:cubicBezTo>
                <a:cubicBezTo>
                  <a:pt x="210" y="110"/>
                  <a:pt x="210" y="110"/>
                  <a:pt x="210" y="110"/>
                </a:cubicBezTo>
                <a:cubicBezTo>
                  <a:pt x="225" y="110"/>
                  <a:pt x="225" y="110"/>
                  <a:pt x="225" y="110"/>
                </a:cubicBezTo>
                <a:cubicBezTo>
                  <a:pt x="178" y="0"/>
                  <a:pt x="178" y="0"/>
                  <a:pt x="178" y="0"/>
                </a:cubicBezTo>
                <a:lnTo>
                  <a:pt x="130" y="110"/>
                </a:lnTo>
                <a:close/>
                <a:moveTo>
                  <a:pt x="700" y="110"/>
                </a:moveTo>
                <a:cubicBezTo>
                  <a:pt x="715" y="110"/>
                  <a:pt x="715" y="110"/>
                  <a:pt x="715" y="110"/>
                </a:cubicBezTo>
                <a:cubicBezTo>
                  <a:pt x="748" y="33"/>
                  <a:pt x="748" y="33"/>
                  <a:pt x="748" y="33"/>
                </a:cubicBezTo>
                <a:cubicBezTo>
                  <a:pt x="780" y="109"/>
                  <a:pt x="780" y="109"/>
                  <a:pt x="780" y="109"/>
                </a:cubicBezTo>
                <a:cubicBezTo>
                  <a:pt x="780" y="110"/>
                  <a:pt x="780" y="110"/>
                  <a:pt x="780" y="110"/>
                </a:cubicBezTo>
                <a:cubicBezTo>
                  <a:pt x="795" y="110"/>
                  <a:pt x="795" y="110"/>
                  <a:pt x="795" y="110"/>
                </a:cubicBezTo>
                <a:cubicBezTo>
                  <a:pt x="748" y="0"/>
                  <a:pt x="748" y="0"/>
                  <a:pt x="748" y="0"/>
                </a:cubicBezTo>
                <a:lnTo>
                  <a:pt x="700" y="110"/>
                </a:lnTo>
                <a:close/>
                <a:moveTo>
                  <a:pt x="273" y="110"/>
                </a:moveTo>
                <a:cubicBezTo>
                  <a:pt x="286" y="110"/>
                  <a:pt x="286" y="110"/>
                  <a:pt x="286" y="110"/>
                </a:cubicBezTo>
                <a:cubicBezTo>
                  <a:pt x="286" y="20"/>
                  <a:pt x="286" y="20"/>
                  <a:pt x="286" y="20"/>
                </a:cubicBezTo>
                <a:cubicBezTo>
                  <a:pt x="317" y="20"/>
                  <a:pt x="317" y="20"/>
                  <a:pt x="317" y="20"/>
                </a:cubicBezTo>
                <a:cubicBezTo>
                  <a:pt x="317" y="7"/>
                  <a:pt x="317" y="7"/>
                  <a:pt x="317" y="7"/>
                </a:cubicBezTo>
                <a:cubicBezTo>
                  <a:pt x="242" y="7"/>
                  <a:pt x="242" y="7"/>
                  <a:pt x="242" y="7"/>
                </a:cubicBezTo>
                <a:cubicBezTo>
                  <a:pt x="242" y="20"/>
                  <a:pt x="242" y="20"/>
                  <a:pt x="242" y="20"/>
                </a:cubicBezTo>
                <a:cubicBezTo>
                  <a:pt x="273" y="20"/>
                  <a:pt x="273" y="20"/>
                  <a:pt x="273" y="20"/>
                </a:cubicBezTo>
                <a:lnTo>
                  <a:pt x="273" y="110"/>
                </a:lnTo>
                <a:close/>
                <a:moveTo>
                  <a:pt x="374" y="7"/>
                </a:moveTo>
                <a:cubicBezTo>
                  <a:pt x="360" y="7"/>
                  <a:pt x="360" y="7"/>
                  <a:pt x="360" y="7"/>
                </a:cubicBezTo>
                <a:cubicBezTo>
                  <a:pt x="360" y="110"/>
                  <a:pt x="360" y="110"/>
                  <a:pt x="360" y="110"/>
                </a:cubicBezTo>
                <a:cubicBezTo>
                  <a:pt x="374" y="110"/>
                  <a:pt x="374" y="110"/>
                  <a:pt x="374" y="110"/>
                </a:cubicBezTo>
                <a:lnTo>
                  <a:pt x="374" y="7"/>
                </a:lnTo>
                <a:close/>
                <a:moveTo>
                  <a:pt x="475" y="112"/>
                </a:moveTo>
                <a:cubicBezTo>
                  <a:pt x="445" y="112"/>
                  <a:pt x="421" y="88"/>
                  <a:pt x="421" y="59"/>
                </a:cubicBezTo>
                <a:cubicBezTo>
                  <a:pt x="421" y="29"/>
                  <a:pt x="445" y="5"/>
                  <a:pt x="475" y="5"/>
                </a:cubicBezTo>
                <a:cubicBezTo>
                  <a:pt x="505" y="5"/>
                  <a:pt x="528" y="29"/>
                  <a:pt x="528" y="59"/>
                </a:cubicBezTo>
                <a:cubicBezTo>
                  <a:pt x="528" y="88"/>
                  <a:pt x="505" y="112"/>
                  <a:pt x="475" y="112"/>
                </a:cubicBezTo>
                <a:close/>
                <a:moveTo>
                  <a:pt x="475" y="19"/>
                </a:moveTo>
                <a:cubicBezTo>
                  <a:pt x="453" y="19"/>
                  <a:pt x="435" y="37"/>
                  <a:pt x="435" y="59"/>
                </a:cubicBezTo>
                <a:cubicBezTo>
                  <a:pt x="435" y="81"/>
                  <a:pt x="453" y="99"/>
                  <a:pt x="475" y="99"/>
                </a:cubicBezTo>
                <a:cubicBezTo>
                  <a:pt x="497" y="99"/>
                  <a:pt x="514" y="81"/>
                  <a:pt x="514" y="59"/>
                </a:cubicBezTo>
                <a:cubicBezTo>
                  <a:pt x="514" y="37"/>
                  <a:pt x="497" y="19"/>
                  <a:pt x="475" y="19"/>
                </a:cubicBezTo>
                <a:close/>
                <a:moveTo>
                  <a:pt x="586" y="35"/>
                </a:moveTo>
                <a:cubicBezTo>
                  <a:pt x="664" y="117"/>
                  <a:pt x="664" y="117"/>
                  <a:pt x="664" y="117"/>
                </a:cubicBezTo>
                <a:cubicBezTo>
                  <a:pt x="664" y="7"/>
                  <a:pt x="664" y="7"/>
                  <a:pt x="664" y="7"/>
                </a:cubicBezTo>
                <a:cubicBezTo>
                  <a:pt x="650" y="7"/>
                  <a:pt x="650" y="7"/>
                  <a:pt x="650" y="7"/>
                </a:cubicBezTo>
                <a:cubicBezTo>
                  <a:pt x="650" y="83"/>
                  <a:pt x="650" y="83"/>
                  <a:pt x="650" y="83"/>
                </a:cubicBezTo>
                <a:cubicBezTo>
                  <a:pt x="572" y="1"/>
                  <a:pt x="572" y="1"/>
                  <a:pt x="572" y="1"/>
                </a:cubicBezTo>
                <a:cubicBezTo>
                  <a:pt x="572" y="110"/>
                  <a:pt x="572" y="110"/>
                  <a:pt x="572" y="110"/>
                </a:cubicBezTo>
                <a:cubicBezTo>
                  <a:pt x="586" y="110"/>
                  <a:pt x="586" y="110"/>
                  <a:pt x="586" y="110"/>
                </a:cubicBezTo>
                <a:lnTo>
                  <a:pt x="586" y="35"/>
                </a:lnTo>
                <a:close/>
                <a:moveTo>
                  <a:pt x="843" y="7"/>
                </a:moveTo>
                <a:cubicBezTo>
                  <a:pt x="830" y="7"/>
                  <a:pt x="830" y="7"/>
                  <a:pt x="830" y="7"/>
                </a:cubicBezTo>
                <a:cubicBezTo>
                  <a:pt x="830" y="110"/>
                  <a:pt x="830" y="110"/>
                  <a:pt x="830" y="110"/>
                </a:cubicBezTo>
                <a:cubicBezTo>
                  <a:pt x="885" y="110"/>
                  <a:pt x="885" y="110"/>
                  <a:pt x="885" y="110"/>
                </a:cubicBezTo>
                <a:cubicBezTo>
                  <a:pt x="885" y="97"/>
                  <a:pt x="885" y="97"/>
                  <a:pt x="885" y="97"/>
                </a:cubicBezTo>
                <a:cubicBezTo>
                  <a:pt x="843" y="97"/>
                  <a:pt x="843" y="97"/>
                  <a:pt x="843" y="97"/>
                </a:cubicBezTo>
                <a:lnTo>
                  <a:pt x="843" y="7"/>
                </a:lnTo>
                <a:close/>
                <a:moveTo>
                  <a:pt x="169" y="156"/>
                </a:moveTo>
                <a:cubicBezTo>
                  <a:pt x="139" y="156"/>
                  <a:pt x="116" y="179"/>
                  <a:pt x="116" y="209"/>
                </a:cubicBezTo>
                <a:cubicBezTo>
                  <a:pt x="116" y="240"/>
                  <a:pt x="139" y="262"/>
                  <a:pt x="169" y="262"/>
                </a:cubicBezTo>
                <a:cubicBezTo>
                  <a:pt x="175" y="262"/>
                  <a:pt x="188" y="261"/>
                  <a:pt x="200" y="252"/>
                </a:cubicBezTo>
                <a:cubicBezTo>
                  <a:pt x="200" y="252"/>
                  <a:pt x="200" y="252"/>
                  <a:pt x="200" y="252"/>
                </a:cubicBezTo>
                <a:cubicBezTo>
                  <a:pt x="200" y="234"/>
                  <a:pt x="200" y="234"/>
                  <a:pt x="200" y="234"/>
                </a:cubicBezTo>
                <a:cubicBezTo>
                  <a:pt x="198" y="236"/>
                  <a:pt x="198" y="236"/>
                  <a:pt x="198" y="236"/>
                </a:cubicBezTo>
                <a:cubicBezTo>
                  <a:pt x="196" y="239"/>
                  <a:pt x="192" y="242"/>
                  <a:pt x="187" y="245"/>
                </a:cubicBezTo>
                <a:cubicBezTo>
                  <a:pt x="181" y="247"/>
                  <a:pt x="175" y="249"/>
                  <a:pt x="169" y="249"/>
                </a:cubicBezTo>
                <a:cubicBezTo>
                  <a:pt x="142" y="249"/>
                  <a:pt x="130" y="226"/>
                  <a:pt x="130" y="210"/>
                </a:cubicBezTo>
                <a:cubicBezTo>
                  <a:pt x="130" y="187"/>
                  <a:pt x="147" y="169"/>
                  <a:pt x="169" y="169"/>
                </a:cubicBezTo>
                <a:cubicBezTo>
                  <a:pt x="174" y="169"/>
                  <a:pt x="180" y="170"/>
                  <a:pt x="185" y="173"/>
                </a:cubicBezTo>
                <a:cubicBezTo>
                  <a:pt x="190" y="175"/>
                  <a:pt x="194" y="178"/>
                  <a:pt x="198" y="182"/>
                </a:cubicBezTo>
                <a:cubicBezTo>
                  <a:pt x="200" y="184"/>
                  <a:pt x="200" y="184"/>
                  <a:pt x="200" y="184"/>
                </a:cubicBezTo>
                <a:cubicBezTo>
                  <a:pt x="200" y="166"/>
                  <a:pt x="200" y="166"/>
                  <a:pt x="200" y="166"/>
                </a:cubicBezTo>
                <a:cubicBezTo>
                  <a:pt x="200" y="166"/>
                  <a:pt x="200" y="166"/>
                  <a:pt x="200" y="166"/>
                </a:cubicBezTo>
                <a:cubicBezTo>
                  <a:pt x="191" y="159"/>
                  <a:pt x="181" y="156"/>
                  <a:pt x="169" y="156"/>
                </a:cubicBezTo>
                <a:close/>
                <a:moveTo>
                  <a:pt x="437" y="209"/>
                </a:moveTo>
                <a:cubicBezTo>
                  <a:pt x="437" y="225"/>
                  <a:pt x="431" y="238"/>
                  <a:pt x="419" y="249"/>
                </a:cubicBezTo>
                <a:cubicBezTo>
                  <a:pt x="409" y="257"/>
                  <a:pt x="399" y="261"/>
                  <a:pt x="382" y="261"/>
                </a:cubicBezTo>
                <a:cubicBezTo>
                  <a:pt x="360" y="261"/>
                  <a:pt x="360" y="261"/>
                  <a:pt x="360" y="261"/>
                </a:cubicBezTo>
                <a:cubicBezTo>
                  <a:pt x="360" y="157"/>
                  <a:pt x="360" y="157"/>
                  <a:pt x="360" y="157"/>
                </a:cubicBezTo>
                <a:cubicBezTo>
                  <a:pt x="382" y="157"/>
                  <a:pt x="382" y="157"/>
                  <a:pt x="382" y="157"/>
                </a:cubicBezTo>
                <a:cubicBezTo>
                  <a:pt x="393" y="157"/>
                  <a:pt x="407" y="159"/>
                  <a:pt x="420" y="170"/>
                </a:cubicBezTo>
                <a:cubicBezTo>
                  <a:pt x="426" y="175"/>
                  <a:pt x="437" y="187"/>
                  <a:pt x="437" y="209"/>
                </a:cubicBezTo>
                <a:close/>
                <a:moveTo>
                  <a:pt x="423" y="209"/>
                </a:moveTo>
                <a:cubicBezTo>
                  <a:pt x="423" y="186"/>
                  <a:pt x="407" y="171"/>
                  <a:pt x="382" y="171"/>
                </a:cubicBezTo>
                <a:cubicBezTo>
                  <a:pt x="374" y="171"/>
                  <a:pt x="374" y="171"/>
                  <a:pt x="374" y="171"/>
                </a:cubicBezTo>
                <a:cubicBezTo>
                  <a:pt x="374" y="247"/>
                  <a:pt x="374" y="247"/>
                  <a:pt x="374" y="247"/>
                </a:cubicBezTo>
                <a:cubicBezTo>
                  <a:pt x="382" y="247"/>
                  <a:pt x="382" y="247"/>
                  <a:pt x="382" y="247"/>
                </a:cubicBezTo>
                <a:cubicBezTo>
                  <a:pt x="390" y="247"/>
                  <a:pt x="401" y="246"/>
                  <a:pt x="410" y="239"/>
                </a:cubicBezTo>
                <a:cubicBezTo>
                  <a:pt x="416" y="234"/>
                  <a:pt x="423" y="224"/>
                  <a:pt x="423" y="209"/>
                </a:cubicBezTo>
                <a:close/>
                <a:moveTo>
                  <a:pt x="479" y="261"/>
                </a:moveTo>
                <a:cubicBezTo>
                  <a:pt x="541" y="261"/>
                  <a:pt x="541" y="261"/>
                  <a:pt x="541" y="261"/>
                </a:cubicBezTo>
                <a:cubicBezTo>
                  <a:pt x="541" y="247"/>
                  <a:pt x="541" y="247"/>
                  <a:pt x="541" y="247"/>
                </a:cubicBezTo>
                <a:cubicBezTo>
                  <a:pt x="493" y="247"/>
                  <a:pt x="493" y="247"/>
                  <a:pt x="493" y="247"/>
                </a:cubicBezTo>
                <a:cubicBezTo>
                  <a:pt x="493" y="211"/>
                  <a:pt x="493" y="211"/>
                  <a:pt x="493" y="211"/>
                </a:cubicBezTo>
                <a:cubicBezTo>
                  <a:pt x="535" y="211"/>
                  <a:pt x="535" y="211"/>
                  <a:pt x="535" y="211"/>
                </a:cubicBezTo>
                <a:cubicBezTo>
                  <a:pt x="535" y="198"/>
                  <a:pt x="535" y="198"/>
                  <a:pt x="535" y="198"/>
                </a:cubicBezTo>
                <a:cubicBezTo>
                  <a:pt x="493" y="198"/>
                  <a:pt x="493" y="198"/>
                  <a:pt x="493" y="198"/>
                </a:cubicBezTo>
                <a:cubicBezTo>
                  <a:pt x="493" y="171"/>
                  <a:pt x="493" y="171"/>
                  <a:pt x="493" y="171"/>
                </a:cubicBezTo>
                <a:cubicBezTo>
                  <a:pt x="541" y="171"/>
                  <a:pt x="541" y="171"/>
                  <a:pt x="541" y="171"/>
                </a:cubicBezTo>
                <a:cubicBezTo>
                  <a:pt x="541" y="157"/>
                  <a:pt x="541" y="157"/>
                  <a:pt x="541" y="157"/>
                </a:cubicBezTo>
                <a:cubicBezTo>
                  <a:pt x="479" y="157"/>
                  <a:pt x="479" y="157"/>
                  <a:pt x="479" y="157"/>
                </a:cubicBezTo>
                <a:lnTo>
                  <a:pt x="479" y="261"/>
                </a:lnTo>
                <a:close/>
                <a:moveTo>
                  <a:pt x="805" y="261"/>
                </a:moveTo>
                <a:cubicBezTo>
                  <a:pt x="866" y="261"/>
                  <a:pt x="866" y="261"/>
                  <a:pt x="866" y="261"/>
                </a:cubicBezTo>
                <a:cubicBezTo>
                  <a:pt x="866" y="247"/>
                  <a:pt x="866" y="247"/>
                  <a:pt x="866" y="247"/>
                </a:cubicBezTo>
                <a:cubicBezTo>
                  <a:pt x="819" y="247"/>
                  <a:pt x="819" y="247"/>
                  <a:pt x="819" y="247"/>
                </a:cubicBezTo>
                <a:cubicBezTo>
                  <a:pt x="819" y="211"/>
                  <a:pt x="819" y="211"/>
                  <a:pt x="819" y="211"/>
                </a:cubicBezTo>
                <a:cubicBezTo>
                  <a:pt x="860" y="211"/>
                  <a:pt x="860" y="211"/>
                  <a:pt x="860" y="211"/>
                </a:cubicBezTo>
                <a:cubicBezTo>
                  <a:pt x="860" y="198"/>
                  <a:pt x="860" y="198"/>
                  <a:pt x="860" y="198"/>
                </a:cubicBezTo>
                <a:cubicBezTo>
                  <a:pt x="819" y="198"/>
                  <a:pt x="819" y="198"/>
                  <a:pt x="819" y="198"/>
                </a:cubicBezTo>
                <a:cubicBezTo>
                  <a:pt x="819" y="171"/>
                  <a:pt x="819" y="171"/>
                  <a:pt x="819" y="171"/>
                </a:cubicBezTo>
                <a:cubicBezTo>
                  <a:pt x="866" y="171"/>
                  <a:pt x="866" y="171"/>
                  <a:pt x="866" y="171"/>
                </a:cubicBezTo>
                <a:cubicBezTo>
                  <a:pt x="866" y="157"/>
                  <a:pt x="866" y="157"/>
                  <a:pt x="866" y="157"/>
                </a:cubicBezTo>
                <a:cubicBezTo>
                  <a:pt x="805" y="157"/>
                  <a:pt x="805" y="157"/>
                  <a:pt x="805" y="157"/>
                </a:cubicBezTo>
                <a:lnTo>
                  <a:pt x="805" y="261"/>
                </a:lnTo>
                <a:close/>
                <a:moveTo>
                  <a:pt x="634" y="235"/>
                </a:moveTo>
                <a:cubicBezTo>
                  <a:pt x="595" y="149"/>
                  <a:pt x="595" y="149"/>
                  <a:pt x="595" y="149"/>
                </a:cubicBezTo>
                <a:cubicBezTo>
                  <a:pt x="578" y="261"/>
                  <a:pt x="578" y="261"/>
                  <a:pt x="578" y="261"/>
                </a:cubicBezTo>
                <a:cubicBezTo>
                  <a:pt x="592" y="261"/>
                  <a:pt x="592" y="261"/>
                  <a:pt x="592" y="261"/>
                </a:cubicBezTo>
                <a:cubicBezTo>
                  <a:pt x="601" y="194"/>
                  <a:pt x="601" y="194"/>
                  <a:pt x="601" y="194"/>
                </a:cubicBezTo>
                <a:cubicBezTo>
                  <a:pt x="634" y="267"/>
                  <a:pt x="634" y="267"/>
                  <a:pt x="634" y="267"/>
                </a:cubicBezTo>
                <a:cubicBezTo>
                  <a:pt x="668" y="194"/>
                  <a:pt x="668" y="194"/>
                  <a:pt x="668" y="194"/>
                </a:cubicBezTo>
                <a:cubicBezTo>
                  <a:pt x="677" y="261"/>
                  <a:pt x="677" y="261"/>
                  <a:pt x="677" y="261"/>
                </a:cubicBezTo>
                <a:cubicBezTo>
                  <a:pt x="691" y="261"/>
                  <a:pt x="691" y="261"/>
                  <a:pt x="691" y="261"/>
                </a:cubicBezTo>
                <a:cubicBezTo>
                  <a:pt x="674" y="148"/>
                  <a:pt x="674" y="148"/>
                  <a:pt x="674" y="148"/>
                </a:cubicBezTo>
                <a:lnTo>
                  <a:pt x="634" y="235"/>
                </a:lnTo>
                <a:close/>
                <a:moveTo>
                  <a:pt x="737" y="261"/>
                </a:moveTo>
                <a:cubicBezTo>
                  <a:pt x="751" y="261"/>
                  <a:pt x="751" y="261"/>
                  <a:pt x="751" y="261"/>
                </a:cubicBezTo>
                <a:cubicBezTo>
                  <a:pt x="751" y="157"/>
                  <a:pt x="751" y="157"/>
                  <a:pt x="751" y="157"/>
                </a:cubicBezTo>
                <a:cubicBezTo>
                  <a:pt x="737" y="157"/>
                  <a:pt x="737" y="157"/>
                  <a:pt x="737" y="157"/>
                </a:cubicBezTo>
                <a:lnTo>
                  <a:pt x="737" y="261"/>
                </a:lnTo>
                <a:close/>
                <a:moveTo>
                  <a:pt x="955" y="211"/>
                </a:moveTo>
                <a:cubicBezTo>
                  <a:pt x="950" y="207"/>
                  <a:pt x="945" y="204"/>
                  <a:pt x="939" y="201"/>
                </a:cubicBezTo>
                <a:cubicBezTo>
                  <a:pt x="929" y="197"/>
                  <a:pt x="929" y="197"/>
                  <a:pt x="929" y="197"/>
                </a:cubicBezTo>
                <a:cubicBezTo>
                  <a:pt x="925" y="195"/>
                  <a:pt x="922" y="194"/>
                  <a:pt x="919" y="191"/>
                </a:cubicBezTo>
                <a:cubicBezTo>
                  <a:pt x="916" y="189"/>
                  <a:pt x="916" y="187"/>
                  <a:pt x="916" y="183"/>
                </a:cubicBezTo>
                <a:cubicBezTo>
                  <a:pt x="916" y="175"/>
                  <a:pt x="922" y="169"/>
                  <a:pt x="931" y="169"/>
                </a:cubicBezTo>
                <a:cubicBezTo>
                  <a:pt x="936" y="169"/>
                  <a:pt x="940" y="171"/>
                  <a:pt x="942" y="172"/>
                </a:cubicBezTo>
                <a:cubicBezTo>
                  <a:pt x="944" y="174"/>
                  <a:pt x="946" y="177"/>
                  <a:pt x="947" y="179"/>
                </a:cubicBezTo>
                <a:cubicBezTo>
                  <a:pt x="948" y="181"/>
                  <a:pt x="948" y="181"/>
                  <a:pt x="948" y="181"/>
                </a:cubicBezTo>
                <a:cubicBezTo>
                  <a:pt x="959" y="173"/>
                  <a:pt x="959" y="173"/>
                  <a:pt x="959" y="173"/>
                </a:cubicBezTo>
                <a:cubicBezTo>
                  <a:pt x="958" y="172"/>
                  <a:pt x="958" y="172"/>
                  <a:pt x="958" y="172"/>
                </a:cubicBezTo>
                <a:cubicBezTo>
                  <a:pt x="956" y="167"/>
                  <a:pt x="952" y="163"/>
                  <a:pt x="948" y="161"/>
                </a:cubicBezTo>
                <a:cubicBezTo>
                  <a:pt x="943" y="157"/>
                  <a:pt x="938" y="156"/>
                  <a:pt x="931" y="156"/>
                </a:cubicBezTo>
                <a:cubicBezTo>
                  <a:pt x="914" y="156"/>
                  <a:pt x="902" y="167"/>
                  <a:pt x="902" y="183"/>
                </a:cubicBezTo>
                <a:cubicBezTo>
                  <a:pt x="902" y="190"/>
                  <a:pt x="904" y="195"/>
                  <a:pt x="909" y="200"/>
                </a:cubicBezTo>
                <a:cubicBezTo>
                  <a:pt x="913" y="205"/>
                  <a:pt x="918" y="207"/>
                  <a:pt x="922" y="209"/>
                </a:cubicBezTo>
                <a:cubicBezTo>
                  <a:pt x="932" y="213"/>
                  <a:pt x="932" y="213"/>
                  <a:pt x="932" y="213"/>
                </a:cubicBezTo>
                <a:cubicBezTo>
                  <a:pt x="937" y="215"/>
                  <a:pt x="941" y="217"/>
                  <a:pt x="944" y="220"/>
                </a:cubicBezTo>
                <a:cubicBezTo>
                  <a:pt x="947" y="223"/>
                  <a:pt x="948" y="226"/>
                  <a:pt x="948" y="231"/>
                </a:cubicBezTo>
                <a:cubicBezTo>
                  <a:pt x="948" y="240"/>
                  <a:pt x="942" y="249"/>
                  <a:pt x="929" y="249"/>
                </a:cubicBezTo>
                <a:cubicBezTo>
                  <a:pt x="924" y="249"/>
                  <a:pt x="919" y="247"/>
                  <a:pt x="916" y="244"/>
                </a:cubicBezTo>
                <a:cubicBezTo>
                  <a:pt x="913" y="241"/>
                  <a:pt x="911" y="236"/>
                  <a:pt x="910" y="232"/>
                </a:cubicBezTo>
                <a:cubicBezTo>
                  <a:pt x="910" y="230"/>
                  <a:pt x="910" y="230"/>
                  <a:pt x="910" y="230"/>
                </a:cubicBezTo>
                <a:cubicBezTo>
                  <a:pt x="896" y="234"/>
                  <a:pt x="896" y="234"/>
                  <a:pt x="896" y="234"/>
                </a:cubicBezTo>
                <a:cubicBezTo>
                  <a:pt x="897" y="235"/>
                  <a:pt x="897" y="235"/>
                  <a:pt x="897" y="235"/>
                </a:cubicBezTo>
                <a:cubicBezTo>
                  <a:pt x="898" y="243"/>
                  <a:pt x="902" y="249"/>
                  <a:pt x="906" y="254"/>
                </a:cubicBezTo>
                <a:cubicBezTo>
                  <a:pt x="912" y="260"/>
                  <a:pt x="920" y="262"/>
                  <a:pt x="929" y="262"/>
                </a:cubicBezTo>
                <a:cubicBezTo>
                  <a:pt x="948" y="262"/>
                  <a:pt x="962" y="249"/>
                  <a:pt x="962" y="230"/>
                </a:cubicBezTo>
                <a:cubicBezTo>
                  <a:pt x="962" y="222"/>
                  <a:pt x="960" y="216"/>
                  <a:pt x="955" y="211"/>
                </a:cubicBezTo>
                <a:close/>
                <a:moveTo>
                  <a:pt x="0" y="261"/>
                </a:moveTo>
                <a:cubicBezTo>
                  <a:pt x="15" y="261"/>
                  <a:pt x="15" y="261"/>
                  <a:pt x="15" y="261"/>
                </a:cubicBezTo>
                <a:cubicBezTo>
                  <a:pt x="48" y="184"/>
                  <a:pt x="48" y="184"/>
                  <a:pt x="48" y="184"/>
                </a:cubicBezTo>
                <a:cubicBezTo>
                  <a:pt x="79" y="260"/>
                  <a:pt x="79" y="260"/>
                  <a:pt x="79" y="260"/>
                </a:cubicBezTo>
                <a:cubicBezTo>
                  <a:pt x="80" y="261"/>
                  <a:pt x="80" y="261"/>
                  <a:pt x="80" y="261"/>
                </a:cubicBezTo>
                <a:cubicBezTo>
                  <a:pt x="95" y="261"/>
                  <a:pt x="95" y="261"/>
                  <a:pt x="95" y="261"/>
                </a:cubicBezTo>
                <a:cubicBezTo>
                  <a:pt x="48" y="151"/>
                  <a:pt x="48" y="151"/>
                  <a:pt x="48" y="151"/>
                </a:cubicBezTo>
                <a:lnTo>
                  <a:pt x="0" y="261"/>
                </a:lnTo>
                <a:close/>
                <a:moveTo>
                  <a:pt x="229" y="261"/>
                </a:moveTo>
                <a:cubicBezTo>
                  <a:pt x="244" y="261"/>
                  <a:pt x="244" y="261"/>
                  <a:pt x="244" y="261"/>
                </a:cubicBezTo>
                <a:cubicBezTo>
                  <a:pt x="277" y="184"/>
                  <a:pt x="277" y="184"/>
                  <a:pt x="277" y="184"/>
                </a:cubicBezTo>
                <a:cubicBezTo>
                  <a:pt x="309" y="260"/>
                  <a:pt x="309" y="260"/>
                  <a:pt x="309" y="260"/>
                </a:cubicBezTo>
                <a:cubicBezTo>
                  <a:pt x="309" y="261"/>
                  <a:pt x="309" y="261"/>
                  <a:pt x="309" y="261"/>
                </a:cubicBezTo>
                <a:cubicBezTo>
                  <a:pt x="324" y="261"/>
                  <a:pt x="324" y="261"/>
                  <a:pt x="324" y="261"/>
                </a:cubicBezTo>
                <a:cubicBezTo>
                  <a:pt x="277" y="151"/>
                  <a:pt x="277" y="151"/>
                  <a:pt x="277" y="151"/>
                </a:cubicBezTo>
                <a:lnTo>
                  <a:pt x="229" y="261"/>
                </a:lnTo>
                <a:close/>
                <a:moveTo>
                  <a:pt x="1071" y="11"/>
                </a:moveTo>
                <a:cubicBezTo>
                  <a:pt x="1071" y="18"/>
                  <a:pt x="1071" y="18"/>
                  <a:pt x="1071" y="18"/>
                </a:cubicBezTo>
                <a:cubicBezTo>
                  <a:pt x="1075" y="18"/>
                  <a:pt x="1075" y="18"/>
                  <a:pt x="1075" y="18"/>
                </a:cubicBezTo>
                <a:cubicBezTo>
                  <a:pt x="1077" y="9"/>
                  <a:pt x="1077" y="9"/>
                  <a:pt x="1077" y="9"/>
                </a:cubicBezTo>
                <a:cubicBezTo>
                  <a:pt x="1076" y="8"/>
                  <a:pt x="1074" y="7"/>
                  <a:pt x="1072" y="6"/>
                </a:cubicBezTo>
                <a:cubicBezTo>
                  <a:pt x="1070" y="6"/>
                  <a:pt x="1067" y="6"/>
                  <a:pt x="1064" y="6"/>
                </a:cubicBezTo>
                <a:cubicBezTo>
                  <a:pt x="1061" y="6"/>
                  <a:pt x="1058" y="6"/>
                  <a:pt x="1056" y="7"/>
                </a:cubicBezTo>
                <a:cubicBezTo>
                  <a:pt x="1053" y="9"/>
                  <a:pt x="1051" y="10"/>
                  <a:pt x="1049" y="12"/>
                </a:cubicBezTo>
                <a:cubicBezTo>
                  <a:pt x="1048" y="14"/>
                  <a:pt x="1047" y="17"/>
                  <a:pt x="1047" y="20"/>
                </a:cubicBezTo>
                <a:cubicBezTo>
                  <a:pt x="1047" y="22"/>
                  <a:pt x="1048" y="24"/>
                  <a:pt x="1049" y="26"/>
                </a:cubicBezTo>
                <a:cubicBezTo>
                  <a:pt x="1050" y="28"/>
                  <a:pt x="1051" y="30"/>
                  <a:pt x="1053" y="31"/>
                </a:cubicBezTo>
                <a:cubicBezTo>
                  <a:pt x="1055" y="32"/>
                  <a:pt x="1057" y="34"/>
                  <a:pt x="1059" y="35"/>
                </a:cubicBezTo>
                <a:cubicBezTo>
                  <a:pt x="1062" y="37"/>
                  <a:pt x="1064" y="39"/>
                  <a:pt x="1066" y="40"/>
                </a:cubicBezTo>
                <a:cubicBezTo>
                  <a:pt x="1067" y="42"/>
                  <a:pt x="1068" y="44"/>
                  <a:pt x="1068" y="47"/>
                </a:cubicBezTo>
                <a:cubicBezTo>
                  <a:pt x="1068" y="49"/>
                  <a:pt x="1067" y="52"/>
                  <a:pt x="1065" y="53"/>
                </a:cubicBezTo>
                <a:cubicBezTo>
                  <a:pt x="1062" y="55"/>
                  <a:pt x="1060" y="56"/>
                  <a:pt x="1057" y="56"/>
                </a:cubicBezTo>
                <a:cubicBezTo>
                  <a:pt x="1055" y="56"/>
                  <a:pt x="1053" y="56"/>
                  <a:pt x="1052" y="55"/>
                </a:cubicBezTo>
                <a:cubicBezTo>
                  <a:pt x="1050" y="55"/>
                  <a:pt x="1049" y="54"/>
                  <a:pt x="1048" y="54"/>
                </a:cubicBezTo>
                <a:cubicBezTo>
                  <a:pt x="1048" y="46"/>
                  <a:pt x="1048" y="46"/>
                  <a:pt x="1048" y="46"/>
                </a:cubicBezTo>
                <a:cubicBezTo>
                  <a:pt x="1044" y="46"/>
                  <a:pt x="1044" y="46"/>
                  <a:pt x="1044" y="46"/>
                </a:cubicBezTo>
                <a:cubicBezTo>
                  <a:pt x="1042" y="56"/>
                  <a:pt x="1042" y="56"/>
                  <a:pt x="1042" y="56"/>
                </a:cubicBezTo>
                <a:cubicBezTo>
                  <a:pt x="1043" y="57"/>
                  <a:pt x="1045" y="58"/>
                  <a:pt x="1048" y="58"/>
                </a:cubicBezTo>
                <a:cubicBezTo>
                  <a:pt x="1051" y="59"/>
                  <a:pt x="1054" y="59"/>
                  <a:pt x="1057" y="59"/>
                </a:cubicBezTo>
                <a:cubicBezTo>
                  <a:pt x="1060" y="59"/>
                  <a:pt x="1063" y="59"/>
                  <a:pt x="1066" y="57"/>
                </a:cubicBezTo>
                <a:cubicBezTo>
                  <a:pt x="1069" y="56"/>
                  <a:pt x="1071" y="54"/>
                  <a:pt x="1073" y="52"/>
                </a:cubicBezTo>
                <a:cubicBezTo>
                  <a:pt x="1074" y="50"/>
                  <a:pt x="1075" y="47"/>
                  <a:pt x="1075" y="44"/>
                </a:cubicBezTo>
                <a:cubicBezTo>
                  <a:pt x="1075" y="42"/>
                  <a:pt x="1074" y="40"/>
                  <a:pt x="1073" y="38"/>
                </a:cubicBezTo>
                <a:cubicBezTo>
                  <a:pt x="1072" y="36"/>
                  <a:pt x="1071" y="35"/>
                  <a:pt x="1069" y="34"/>
                </a:cubicBezTo>
                <a:cubicBezTo>
                  <a:pt x="1068" y="32"/>
                  <a:pt x="1066" y="31"/>
                  <a:pt x="1064" y="29"/>
                </a:cubicBezTo>
                <a:cubicBezTo>
                  <a:pt x="1060" y="27"/>
                  <a:pt x="1058" y="25"/>
                  <a:pt x="1056" y="24"/>
                </a:cubicBezTo>
                <a:cubicBezTo>
                  <a:pt x="1055" y="22"/>
                  <a:pt x="1054" y="20"/>
                  <a:pt x="1054" y="17"/>
                </a:cubicBezTo>
                <a:cubicBezTo>
                  <a:pt x="1054" y="15"/>
                  <a:pt x="1055" y="13"/>
                  <a:pt x="1057" y="11"/>
                </a:cubicBezTo>
                <a:cubicBezTo>
                  <a:pt x="1059" y="10"/>
                  <a:pt x="1061" y="9"/>
                  <a:pt x="1064" y="9"/>
                </a:cubicBezTo>
                <a:cubicBezTo>
                  <a:pt x="1065" y="9"/>
                  <a:pt x="1067" y="9"/>
                  <a:pt x="1068" y="10"/>
                </a:cubicBezTo>
                <a:cubicBezTo>
                  <a:pt x="1069" y="10"/>
                  <a:pt x="1070" y="10"/>
                  <a:pt x="1071" y="11"/>
                </a:cubicBezTo>
                <a:close/>
                <a:moveTo>
                  <a:pt x="1107" y="27"/>
                </a:moveTo>
                <a:cubicBezTo>
                  <a:pt x="1108" y="27"/>
                  <a:pt x="1108" y="27"/>
                  <a:pt x="1108" y="27"/>
                </a:cubicBezTo>
                <a:cubicBezTo>
                  <a:pt x="1110" y="20"/>
                  <a:pt x="1110" y="20"/>
                  <a:pt x="1110" y="20"/>
                </a:cubicBezTo>
                <a:cubicBezTo>
                  <a:pt x="1109" y="20"/>
                  <a:pt x="1108" y="19"/>
                  <a:pt x="1107" y="19"/>
                </a:cubicBezTo>
                <a:cubicBezTo>
                  <a:pt x="1105" y="19"/>
                  <a:pt x="1104" y="19"/>
                  <a:pt x="1102" y="19"/>
                </a:cubicBezTo>
                <a:cubicBezTo>
                  <a:pt x="1098" y="19"/>
                  <a:pt x="1094" y="20"/>
                  <a:pt x="1091" y="22"/>
                </a:cubicBezTo>
                <a:cubicBezTo>
                  <a:pt x="1088" y="25"/>
                  <a:pt x="1086" y="28"/>
                  <a:pt x="1084" y="32"/>
                </a:cubicBezTo>
                <a:cubicBezTo>
                  <a:pt x="1083" y="36"/>
                  <a:pt x="1082" y="40"/>
                  <a:pt x="1082" y="43"/>
                </a:cubicBezTo>
                <a:cubicBezTo>
                  <a:pt x="1082" y="48"/>
                  <a:pt x="1083" y="52"/>
                  <a:pt x="1085" y="55"/>
                </a:cubicBezTo>
                <a:cubicBezTo>
                  <a:pt x="1087" y="58"/>
                  <a:pt x="1091" y="59"/>
                  <a:pt x="1094" y="59"/>
                </a:cubicBezTo>
                <a:cubicBezTo>
                  <a:pt x="1098" y="59"/>
                  <a:pt x="1100" y="59"/>
                  <a:pt x="1102" y="57"/>
                </a:cubicBezTo>
                <a:cubicBezTo>
                  <a:pt x="1105" y="56"/>
                  <a:pt x="1106" y="54"/>
                  <a:pt x="1108" y="53"/>
                </a:cubicBezTo>
                <a:cubicBezTo>
                  <a:pt x="1106" y="50"/>
                  <a:pt x="1106" y="50"/>
                  <a:pt x="1106" y="50"/>
                </a:cubicBezTo>
                <a:cubicBezTo>
                  <a:pt x="1105" y="52"/>
                  <a:pt x="1103" y="53"/>
                  <a:pt x="1102" y="54"/>
                </a:cubicBezTo>
                <a:cubicBezTo>
                  <a:pt x="1100" y="54"/>
                  <a:pt x="1099" y="55"/>
                  <a:pt x="1097" y="55"/>
                </a:cubicBezTo>
                <a:cubicBezTo>
                  <a:pt x="1094" y="55"/>
                  <a:pt x="1092" y="54"/>
                  <a:pt x="1091" y="52"/>
                </a:cubicBezTo>
                <a:cubicBezTo>
                  <a:pt x="1090" y="50"/>
                  <a:pt x="1089" y="47"/>
                  <a:pt x="1089" y="43"/>
                </a:cubicBezTo>
                <a:cubicBezTo>
                  <a:pt x="1089" y="39"/>
                  <a:pt x="1090" y="35"/>
                  <a:pt x="1091" y="32"/>
                </a:cubicBezTo>
                <a:cubicBezTo>
                  <a:pt x="1092" y="30"/>
                  <a:pt x="1093" y="27"/>
                  <a:pt x="1095" y="26"/>
                </a:cubicBezTo>
                <a:cubicBezTo>
                  <a:pt x="1097" y="24"/>
                  <a:pt x="1099" y="23"/>
                  <a:pt x="1101" y="23"/>
                </a:cubicBezTo>
                <a:cubicBezTo>
                  <a:pt x="1102" y="23"/>
                  <a:pt x="1105" y="24"/>
                  <a:pt x="1107" y="27"/>
                </a:cubicBezTo>
                <a:close/>
                <a:moveTo>
                  <a:pt x="1124" y="52"/>
                </a:moveTo>
                <a:cubicBezTo>
                  <a:pt x="1129" y="19"/>
                  <a:pt x="1129" y="19"/>
                  <a:pt x="1129" y="19"/>
                </a:cubicBezTo>
                <a:cubicBezTo>
                  <a:pt x="1128" y="19"/>
                  <a:pt x="1128" y="19"/>
                  <a:pt x="1128" y="19"/>
                </a:cubicBezTo>
                <a:cubicBezTo>
                  <a:pt x="1118" y="20"/>
                  <a:pt x="1118" y="20"/>
                  <a:pt x="1118" y="20"/>
                </a:cubicBezTo>
                <a:cubicBezTo>
                  <a:pt x="1117" y="23"/>
                  <a:pt x="1117" y="23"/>
                  <a:pt x="1117" y="23"/>
                </a:cubicBezTo>
                <a:cubicBezTo>
                  <a:pt x="1122" y="24"/>
                  <a:pt x="1122" y="24"/>
                  <a:pt x="1122" y="24"/>
                </a:cubicBezTo>
                <a:cubicBezTo>
                  <a:pt x="1121" y="31"/>
                  <a:pt x="1120" y="37"/>
                  <a:pt x="1119" y="41"/>
                </a:cubicBezTo>
                <a:cubicBezTo>
                  <a:pt x="1118" y="49"/>
                  <a:pt x="1117" y="54"/>
                  <a:pt x="1117" y="55"/>
                </a:cubicBezTo>
                <a:cubicBezTo>
                  <a:pt x="1117" y="56"/>
                  <a:pt x="1118" y="57"/>
                  <a:pt x="1118" y="58"/>
                </a:cubicBezTo>
                <a:cubicBezTo>
                  <a:pt x="1119" y="59"/>
                  <a:pt x="1120" y="59"/>
                  <a:pt x="1122" y="59"/>
                </a:cubicBezTo>
                <a:cubicBezTo>
                  <a:pt x="1124" y="59"/>
                  <a:pt x="1125" y="59"/>
                  <a:pt x="1127" y="58"/>
                </a:cubicBezTo>
                <a:cubicBezTo>
                  <a:pt x="1128" y="57"/>
                  <a:pt x="1129" y="55"/>
                  <a:pt x="1130" y="54"/>
                </a:cubicBezTo>
                <a:cubicBezTo>
                  <a:pt x="1129" y="53"/>
                  <a:pt x="1129" y="53"/>
                  <a:pt x="1129" y="53"/>
                </a:cubicBezTo>
                <a:cubicBezTo>
                  <a:pt x="1128" y="54"/>
                  <a:pt x="1128" y="54"/>
                  <a:pt x="1127" y="54"/>
                </a:cubicBezTo>
                <a:cubicBezTo>
                  <a:pt x="1126" y="55"/>
                  <a:pt x="1126" y="55"/>
                  <a:pt x="1125" y="55"/>
                </a:cubicBezTo>
                <a:cubicBezTo>
                  <a:pt x="1125" y="55"/>
                  <a:pt x="1125" y="55"/>
                  <a:pt x="1125" y="54"/>
                </a:cubicBezTo>
                <a:cubicBezTo>
                  <a:pt x="1124" y="54"/>
                  <a:pt x="1124" y="54"/>
                  <a:pt x="1124" y="53"/>
                </a:cubicBezTo>
                <a:lnTo>
                  <a:pt x="1124" y="52"/>
                </a:lnTo>
                <a:close/>
                <a:moveTo>
                  <a:pt x="1127" y="11"/>
                </a:moveTo>
                <a:cubicBezTo>
                  <a:pt x="1128" y="11"/>
                  <a:pt x="1129" y="11"/>
                  <a:pt x="1130" y="10"/>
                </a:cubicBezTo>
                <a:cubicBezTo>
                  <a:pt x="1131" y="9"/>
                  <a:pt x="1131" y="7"/>
                  <a:pt x="1131" y="6"/>
                </a:cubicBezTo>
                <a:cubicBezTo>
                  <a:pt x="1131" y="5"/>
                  <a:pt x="1131" y="4"/>
                  <a:pt x="1130" y="3"/>
                </a:cubicBezTo>
                <a:cubicBezTo>
                  <a:pt x="1130" y="3"/>
                  <a:pt x="1129" y="2"/>
                  <a:pt x="1128" y="2"/>
                </a:cubicBezTo>
                <a:cubicBezTo>
                  <a:pt x="1126" y="2"/>
                  <a:pt x="1125" y="3"/>
                  <a:pt x="1124" y="4"/>
                </a:cubicBezTo>
                <a:cubicBezTo>
                  <a:pt x="1123" y="5"/>
                  <a:pt x="1123" y="6"/>
                  <a:pt x="1123" y="7"/>
                </a:cubicBezTo>
                <a:cubicBezTo>
                  <a:pt x="1123" y="8"/>
                  <a:pt x="1123" y="9"/>
                  <a:pt x="1124" y="10"/>
                </a:cubicBezTo>
                <a:cubicBezTo>
                  <a:pt x="1125" y="11"/>
                  <a:pt x="1126" y="11"/>
                  <a:pt x="1127" y="11"/>
                </a:cubicBezTo>
                <a:close/>
                <a:moveTo>
                  <a:pt x="1166" y="52"/>
                </a:moveTo>
                <a:cubicBezTo>
                  <a:pt x="1165" y="49"/>
                  <a:pt x="1165" y="49"/>
                  <a:pt x="1165" y="49"/>
                </a:cubicBezTo>
                <a:cubicBezTo>
                  <a:pt x="1163" y="51"/>
                  <a:pt x="1161" y="52"/>
                  <a:pt x="1159" y="53"/>
                </a:cubicBezTo>
                <a:cubicBezTo>
                  <a:pt x="1157" y="54"/>
                  <a:pt x="1155" y="55"/>
                  <a:pt x="1153" y="55"/>
                </a:cubicBezTo>
                <a:cubicBezTo>
                  <a:pt x="1150" y="55"/>
                  <a:pt x="1148" y="54"/>
                  <a:pt x="1147" y="51"/>
                </a:cubicBezTo>
                <a:cubicBezTo>
                  <a:pt x="1145" y="49"/>
                  <a:pt x="1145" y="46"/>
                  <a:pt x="1145" y="43"/>
                </a:cubicBezTo>
                <a:cubicBezTo>
                  <a:pt x="1148" y="43"/>
                  <a:pt x="1151" y="42"/>
                  <a:pt x="1155" y="41"/>
                </a:cubicBezTo>
                <a:cubicBezTo>
                  <a:pt x="1158" y="40"/>
                  <a:pt x="1162" y="38"/>
                  <a:pt x="1164" y="36"/>
                </a:cubicBezTo>
                <a:cubicBezTo>
                  <a:pt x="1167" y="33"/>
                  <a:pt x="1168" y="31"/>
                  <a:pt x="1168" y="27"/>
                </a:cubicBezTo>
                <a:cubicBezTo>
                  <a:pt x="1168" y="25"/>
                  <a:pt x="1167" y="23"/>
                  <a:pt x="1166" y="21"/>
                </a:cubicBezTo>
                <a:cubicBezTo>
                  <a:pt x="1164" y="19"/>
                  <a:pt x="1162" y="19"/>
                  <a:pt x="1158" y="19"/>
                </a:cubicBezTo>
                <a:cubicBezTo>
                  <a:pt x="1154" y="19"/>
                  <a:pt x="1151" y="20"/>
                  <a:pt x="1148" y="22"/>
                </a:cubicBezTo>
                <a:cubicBezTo>
                  <a:pt x="1145" y="24"/>
                  <a:pt x="1142" y="28"/>
                  <a:pt x="1140" y="31"/>
                </a:cubicBezTo>
                <a:cubicBezTo>
                  <a:pt x="1138" y="35"/>
                  <a:pt x="1138" y="40"/>
                  <a:pt x="1138" y="44"/>
                </a:cubicBezTo>
                <a:cubicBezTo>
                  <a:pt x="1138" y="47"/>
                  <a:pt x="1138" y="49"/>
                  <a:pt x="1139" y="52"/>
                </a:cubicBezTo>
                <a:cubicBezTo>
                  <a:pt x="1140" y="54"/>
                  <a:pt x="1142" y="56"/>
                  <a:pt x="1144" y="57"/>
                </a:cubicBezTo>
                <a:cubicBezTo>
                  <a:pt x="1146" y="59"/>
                  <a:pt x="1148" y="59"/>
                  <a:pt x="1151" y="59"/>
                </a:cubicBezTo>
                <a:cubicBezTo>
                  <a:pt x="1155" y="59"/>
                  <a:pt x="1158" y="58"/>
                  <a:pt x="1160" y="57"/>
                </a:cubicBezTo>
                <a:cubicBezTo>
                  <a:pt x="1163" y="55"/>
                  <a:pt x="1165" y="54"/>
                  <a:pt x="1166" y="52"/>
                </a:cubicBezTo>
                <a:close/>
                <a:moveTo>
                  <a:pt x="1157" y="22"/>
                </a:moveTo>
                <a:cubicBezTo>
                  <a:pt x="1158" y="22"/>
                  <a:pt x="1159" y="23"/>
                  <a:pt x="1160" y="24"/>
                </a:cubicBezTo>
                <a:cubicBezTo>
                  <a:pt x="1161" y="25"/>
                  <a:pt x="1161" y="26"/>
                  <a:pt x="1161" y="28"/>
                </a:cubicBezTo>
                <a:cubicBezTo>
                  <a:pt x="1161" y="30"/>
                  <a:pt x="1161" y="32"/>
                  <a:pt x="1159" y="34"/>
                </a:cubicBezTo>
                <a:cubicBezTo>
                  <a:pt x="1157" y="35"/>
                  <a:pt x="1155" y="37"/>
                  <a:pt x="1152" y="38"/>
                </a:cubicBezTo>
                <a:cubicBezTo>
                  <a:pt x="1150" y="39"/>
                  <a:pt x="1147" y="39"/>
                  <a:pt x="1145" y="39"/>
                </a:cubicBezTo>
                <a:cubicBezTo>
                  <a:pt x="1145" y="37"/>
                  <a:pt x="1146" y="34"/>
                  <a:pt x="1147" y="32"/>
                </a:cubicBezTo>
                <a:cubicBezTo>
                  <a:pt x="1148" y="29"/>
                  <a:pt x="1149" y="27"/>
                  <a:pt x="1151" y="25"/>
                </a:cubicBezTo>
                <a:cubicBezTo>
                  <a:pt x="1152" y="23"/>
                  <a:pt x="1154" y="22"/>
                  <a:pt x="1157" y="22"/>
                </a:cubicBezTo>
                <a:close/>
                <a:moveTo>
                  <a:pt x="1187" y="28"/>
                </a:moveTo>
                <a:cubicBezTo>
                  <a:pt x="1188" y="19"/>
                  <a:pt x="1188" y="19"/>
                  <a:pt x="1188" y="19"/>
                </a:cubicBezTo>
                <a:cubicBezTo>
                  <a:pt x="1186" y="19"/>
                  <a:pt x="1186" y="19"/>
                  <a:pt x="1186" y="19"/>
                </a:cubicBezTo>
                <a:cubicBezTo>
                  <a:pt x="1178" y="20"/>
                  <a:pt x="1178" y="20"/>
                  <a:pt x="1178" y="20"/>
                </a:cubicBezTo>
                <a:cubicBezTo>
                  <a:pt x="1177" y="23"/>
                  <a:pt x="1177" y="23"/>
                  <a:pt x="1177" y="23"/>
                </a:cubicBezTo>
                <a:cubicBezTo>
                  <a:pt x="1180" y="25"/>
                  <a:pt x="1180" y="25"/>
                  <a:pt x="1180" y="25"/>
                </a:cubicBezTo>
                <a:cubicBezTo>
                  <a:pt x="1176" y="58"/>
                  <a:pt x="1176" y="58"/>
                  <a:pt x="1176" y="58"/>
                </a:cubicBezTo>
                <a:cubicBezTo>
                  <a:pt x="1183" y="58"/>
                  <a:pt x="1183" y="58"/>
                  <a:pt x="1183" y="58"/>
                </a:cubicBezTo>
                <a:cubicBezTo>
                  <a:pt x="1186" y="33"/>
                  <a:pt x="1186" y="33"/>
                  <a:pt x="1186" y="33"/>
                </a:cubicBezTo>
                <a:cubicBezTo>
                  <a:pt x="1188" y="31"/>
                  <a:pt x="1190" y="28"/>
                  <a:pt x="1192" y="26"/>
                </a:cubicBezTo>
                <a:cubicBezTo>
                  <a:pt x="1194" y="25"/>
                  <a:pt x="1196" y="24"/>
                  <a:pt x="1198" y="24"/>
                </a:cubicBezTo>
                <a:cubicBezTo>
                  <a:pt x="1200" y="24"/>
                  <a:pt x="1201" y="24"/>
                  <a:pt x="1202" y="25"/>
                </a:cubicBezTo>
                <a:cubicBezTo>
                  <a:pt x="1202" y="26"/>
                  <a:pt x="1203" y="27"/>
                  <a:pt x="1203" y="29"/>
                </a:cubicBezTo>
                <a:cubicBezTo>
                  <a:pt x="1203" y="31"/>
                  <a:pt x="1202" y="33"/>
                  <a:pt x="1202" y="35"/>
                </a:cubicBezTo>
                <a:cubicBezTo>
                  <a:pt x="1202" y="37"/>
                  <a:pt x="1201" y="39"/>
                  <a:pt x="1201" y="41"/>
                </a:cubicBezTo>
                <a:cubicBezTo>
                  <a:pt x="1201" y="43"/>
                  <a:pt x="1201" y="43"/>
                  <a:pt x="1201" y="43"/>
                </a:cubicBezTo>
                <a:cubicBezTo>
                  <a:pt x="1200" y="46"/>
                  <a:pt x="1200" y="46"/>
                  <a:pt x="1200" y="46"/>
                </a:cubicBezTo>
                <a:cubicBezTo>
                  <a:pt x="1199" y="51"/>
                  <a:pt x="1199" y="54"/>
                  <a:pt x="1199" y="55"/>
                </a:cubicBezTo>
                <a:cubicBezTo>
                  <a:pt x="1199" y="58"/>
                  <a:pt x="1200" y="59"/>
                  <a:pt x="1203" y="59"/>
                </a:cubicBezTo>
                <a:cubicBezTo>
                  <a:pt x="1205" y="59"/>
                  <a:pt x="1206" y="59"/>
                  <a:pt x="1207" y="58"/>
                </a:cubicBezTo>
                <a:cubicBezTo>
                  <a:pt x="1208" y="58"/>
                  <a:pt x="1209" y="57"/>
                  <a:pt x="1210" y="57"/>
                </a:cubicBezTo>
                <a:cubicBezTo>
                  <a:pt x="1210" y="56"/>
                  <a:pt x="1211" y="55"/>
                  <a:pt x="1211" y="55"/>
                </a:cubicBezTo>
                <a:cubicBezTo>
                  <a:pt x="1210" y="53"/>
                  <a:pt x="1210" y="53"/>
                  <a:pt x="1210" y="53"/>
                </a:cubicBezTo>
                <a:cubicBezTo>
                  <a:pt x="1209" y="54"/>
                  <a:pt x="1208" y="55"/>
                  <a:pt x="1207" y="55"/>
                </a:cubicBezTo>
                <a:cubicBezTo>
                  <a:pt x="1206" y="55"/>
                  <a:pt x="1206" y="54"/>
                  <a:pt x="1206" y="53"/>
                </a:cubicBezTo>
                <a:cubicBezTo>
                  <a:pt x="1206" y="51"/>
                  <a:pt x="1206" y="48"/>
                  <a:pt x="1207" y="45"/>
                </a:cubicBezTo>
                <a:cubicBezTo>
                  <a:pt x="1208" y="41"/>
                  <a:pt x="1208" y="41"/>
                  <a:pt x="1208" y="41"/>
                </a:cubicBezTo>
                <a:cubicBezTo>
                  <a:pt x="1208" y="40"/>
                  <a:pt x="1208" y="40"/>
                  <a:pt x="1208" y="40"/>
                </a:cubicBezTo>
                <a:cubicBezTo>
                  <a:pt x="1209" y="34"/>
                  <a:pt x="1210" y="31"/>
                  <a:pt x="1210" y="29"/>
                </a:cubicBezTo>
                <a:cubicBezTo>
                  <a:pt x="1210" y="25"/>
                  <a:pt x="1209" y="23"/>
                  <a:pt x="1207" y="21"/>
                </a:cubicBezTo>
                <a:cubicBezTo>
                  <a:pt x="1206" y="19"/>
                  <a:pt x="1204" y="19"/>
                  <a:pt x="1201" y="19"/>
                </a:cubicBezTo>
                <a:cubicBezTo>
                  <a:pt x="1199" y="19"/>
                  <a:pt x="1196" y="19"/>
                  <a:pt x="1193" y="21"/>
                </a:cubicBezTo>
                <a:cubicBezTo>
                  <a:pt x="1191" y="23"/>
                  <a:pt x="1189" y="25"/>
                  <a:pt x="1187" y="28"/>
                </a:cubicBezTo>
                <a:close/>
                <a:moveTo>
                  <a:pt x="1243" y="27"/>
                </a:moveTo>
                <a:cubicBezTo>
                  <a:pt x="1245" y="27"/>
                  <a:pt x="1245" y="27"/>
                  <a:pt x="1245" y="27"/>
                </a:cubicBezTo>
                <a:cubicBezTo>
                  <a:pt x="1247" y="20"/>
                  <a:pt x="1247" y="20"/>
                  <a:pt x="1247" y="20"/>
                </a:cubicBezTo>
                <a:cubicBezTo>
                  <a:pt x="1246" y="20"/>
                  <a:pt x="1244" y="19"/>
                  <a:pt x="1243" y="19"/>
                </a:cubicBezTo>
                <a:cubicBezTo>
                  <a:pt x="1241" y="19"/>
                  <a:pt x="1240" y="19"/>
                  <a:pt x="1239" y="19"/>
                </a:cubicBezTo>
                <a:cubicBezTo>
                  <a:pt x="1234" y="19"/>
                  <a:pt x="1231" y="20"/>
                  <a:pt x="1228" y="22"/>
                </a:cubicBezTo>
                <a:cubicBezTo>
                  <a:pt x="1224" y="25"/>
                  <a:pt x="1222" y="28"/>
                  <a:pt x="1220" y="32"/>
                </a:cubicBezTo>
                <a:cubicBezTo>
                  <a:pt x="1219" y="36"/>
                  <a:pt x="1218" y="40"/>
                  <a:pt x="1218" y="43"/>
                </a:cubicBezTo>
                <a:cubicBezTo>
                  <a:pt x="1218" y="48"/>
                  <a:pt x="1219" y="52"/>
                  <a:pt x="1221" y="55"/>
                </a:cubicBezTo>
                <a:cubicBezTo>
                  <a:pt x="1224" y="58"/>
                  <a:pt x="1227" y="59"/>
                  <a:pt x="1231" y="59"/>
                </a:cubicBezTo>
                <a:cubicBezTo>
                  <a:pt x="1234" y="59"/>
                  <a:pt x="1236" y="59"/>
                  <a:pt x="1239" y="57"/>
                </a:cubicBezTo>
                <a:cubicBezTo>
                  <a:pt x="1241" y="56"/>
                  <a:pt x="1243" y="54"/>
                  <a:pt x="1244" y="53"/>
                </a:cubicBezTo>
                <a:cubicBezTo>
                  <a:pt x="1242" y="50"/>
                  <a:pt x="1242" y="50"/>
                  <a:pt x="1242" y="50"/>
                </a:cubicBezTo>
                <a:cubicBezTo>
                  <a:pt x="1241" y="52"/>
                  <a:pt x="1239" y="53"/>
                  <a:pt x="1238" y="54"/>
                </a:cubicBezTo>
                <a:cubicBezTo>
                  <a:pt x="1236" y="54"/>
                  <a:pt x="1235" y="55"/>
                  <a:pt x="1233" y="55"/>
                </a:cubicBezTo>
                <a:cubicBezTo>
                  <a:pt x="1230" y="55"/>
                  <a:pt x="1228" y="54"/>
                  <a:pt x="1227" y="52"/>
                </a:cubicBezTo>
                <a:cubicBezTo>
                  <a:pt x="1226" y="50"/>
                  <a:pt x="1225" y="47"/>
                  <a:pt x="1225" y="43"/>
                </a:cubicBezTo>
                <a:cubicBezTo>
                  <a:pt x="1225" y="39"/>
                  <a:pt x="1226" y="35"/>
                  <a:pt x="1227" y="32"/>
                </a:cubicBezTo>
                <a:cubicBezTo>
                  <a:pt x="1228" y="30"/>
                  <a:pt x="1229" y="27"/>
                  <a:pt x="1231" y="26"/>
                </a:cubicBezTo>
                <a:cubicBezTo>
                  <a:pt x="1233" y="24"/>
                  <a:pt x="1235" y="23"/>
                  <a:pt x="1237" y="23"/>
                </a:cubicBezTo>
                <a:cubicBezTo>
                  <a:pt x="1239" y="23"/>
                  <a:pt x="1241" y="24"/>
                  <a:pt x="1243" y="27"/>
                </a:cubicBezTo>
                <a:close/>
                <a:moveTo>
                  <a:pt x="1279" y="52"/>
                </a:moveTo>
                <a:cubicBezTo>
                  <a:pt x="1277" y="49"/>
                  <a:pt x="1277" y="49"/>
                  <a:pt x="1277" y="49"/>
                </a:cubicBezTo>
                <a:cubicBezTo>
                  <a:pt x="1276" y="51"/>
                  <a:pt x="1274" y="52"/>
                  <a:pt x="1272" y="53"/>
                </a:cubicBezTo>
                <a:cubicBezTo>
                  <a:pt x="1270" y="54"/>
                  <a:pt x="1268" y="55"/>
                  <a:pt x="1266" y="55"/>
                </a:cubicBezTo>
                <a:cubicBezTo>
                  <a:pt x="1263" y="55"/>
                  <a:pt x="1261" y="54"/>
                  <a:pt x="1259" y="51"/>
                </a:cubicBezTo>
                <a:cubicBezTo>
                  <a:pt x="1258" y="49"/>
                  <a:pt x="1257" y="46"/>
                  <a:pt x="1258" y="43"/>
                </a:cubicBezTo>
                <a:cubicBezTo>
                  <a:pt x="1260" y="43"/>
                  <a:pt x="1264" y="42"/>
                  <a:pt x="1267" y="41"/>
                </a:cubicBezTo>
                <a:cubicBezTo>
                  <a:pt x="1271" y="40"/>
                  <a:pt x="1274" y="38"/>
                  <a:pt x="1277" y="36"/>
                </a:cubicBezTo>
                <a:cubicBezTo>
                  <a:pt x="1280" y="33"/>
                  <a:pt x="1281" y="31"/>
                  <a:pt x="1281" y="27"/>
                </a:cubicBezTo>
                <a:cubicBezTo>
                  <a:pt x="1281" y="25"/>
                  <a:pt x="1280" y="23"/>
                  <a:pt x="1278" y="21"/>
                </a:cubicBezTo>
                <a:cubicBezTo>
                  <a:pt x="1277" y="19"/>
                  <a:pt x="1274" y="19"/>
                  <a:pt x="1271" y="19"/>
                </a:cubicBezTo>
                <a:cubicBezTo>
                  <a:pt x="1267" y="19"/>
                  <a:pt x="1264" y="20"/>
                  <a:pt x="1260" y="22"/>
                </a:cubicBezTo>
                <a:cubicBezTo>
                  <a:pt x="1257" y="24"/>
                  <a:pt x="1255" y="28"/>
                  <a:pt x="1253" y="31"/>
                </a:cubicBezTo>
                <a:cubicBezTo>
                  <a:pt x="1251" y="35"/>
                  <a:pt x="1250" y="40"/>
                  <a:pt x="1250" y="44"/>
                </a:cubicBezTo>
                <a:cubicBezTo>
                  <a:pt x="1250" y="47"/>
                  <a:pt x="1251" y="49"/>
                  <a:pt x="1252" y="52"/>
                </a:cubicBezTo>
                <a:cubicBezTo>
                  <a:pt x="1253" y="54"/>
                  <a:pt x="1254" y="56"/>
                  <a:pt x="1256" y="57"/>
                </a:cubicBezTo>
                <a:cubicBezTo>
                  <a:pt x="1258" y="59"/>
                  <a:pt x="1261" y="59"/>
                  <a:pt x="1264" y="59"/>
                </a:cubicBezTo>
                <a:cubicBezTo>
                  <a:pt x="1267" y="59"/>
                  <a:pt x="1270" y="58"/>
                  <a:pt x="1273" y="57"/>
                </a:cubicBezTo>
                <a:cubicBezTo>
                  <a:pt x="1276" y="55"/>
                  <a:pt x="1278" y="54"/>
                  <a:pt x="1279" y="52"/>
                </a:cubicBezTo>
                <a:close/>
                <a:moveTo>
                  <a:pt x="1269" y="22"/>
                </a:moveTo>
                <a:cubicBezTo>
                  <a:pt x="1271" y="22"/>
                  <a:pt x="1272" y="23"/>
                  <a:pt x="1273" y="24"/>
                </a:cubicBezTo>
                <a:cubicBezTo>
                  <a:pt x="1274" y="25"/>
                  <a:pt x="1274" y="26"/>
                  <a:pt x="1274" y="28"/>
                </a:cubicBezTo>
                <a:cubicBezTo>
                  <a:pt x="1274" y="30"/>
                  <a:pt x="1273" y="32"/>
                  <a:pt x="1272" y="34"/>
                </a:cubicBezTo>
                <a:cubicBezTo>
                  <a:pt x="1270" y="35"/>
                  <a:pt x="1268" y="37"/>
                  <a:pt x="1265" y="38"/>
                </a:cubicBezTo>
                <a:cubicBezTo>
                  <a:pt x="1263" y="39"/>
                  <a:pt x="1260" y="39"/>
                  <a:pt x="1258" y="39"/>
                </a:cubicBezTo>
                <a:cubicBezTo>
                  <a:pt x="1258" y="37"/>
                  <a:pt x="1259" y="34"/>
                  <a:pt x="1259" y="32"/>
                </a:cubicBezTo>
                <a:cubicBezTo>
                  <a:pt x="1260" y="29"/>
                  <a:pt x="1262" y="27"/>
                  <a:pt x="1263" y="25"/>
                </a:cubicBezTo>
                <a:cubicBezTo>
                  <a:pt x="1265" y="23"/>
                  <a:pt x="1267" y="22"/>
                  <a:pt x="1269" y="22"/>
                </a:cubicBezTo>
                <a:close/>
                <a:moveTo>
                  <a:pt x="1310" y="25"/>
                </a:moveTo>
                <a:cubicBezTo>
                  <a:pt x="1311" y="20"/>
                  <a:pt x="1311" y="20"/>
                  <a:pt x="1311" y="20"/>
                </a:cubicBezTo>
                <a:cubicBezTo>
                  <a:pt x="1311" y="20"/>
                  <a:pt x="1309" y="19"/>
                  <a:pt x="1308" y="19"/>
                </a:cubicBezTo>
                <a:cubicBezTo>
                  <a:pt x="1306" y="19"/>
                  <a:pt x="1304" y="19"/>
                  <a:pt x="1303" y="19"/>
                </a:cubicBezTo>
                <a:cubicBezTo>
                  <a:pt x="1300" y="19"/>
                  <a:pt x="1298" y="19"/>
                  <a:pt x="1296" y="20"/>
                </a:cubicBezTo>
                <a:cubicBezTo>
                  <a:pt x="1293" y="21"/>
                  <a:pt x="1292" y="22"/>
                  <a:pt x="1291" y="24"/>
                </a:cubicBezTo>
                <a:cubicBezTo>
                  <a:pt x="1289" y="26"/>
                  <a:pt x="1289" y="27"/>
                  <a:pt x="1289" y="30"/>
                </a:cubicBezTo>
                <a:cubicBezTo>
                  <a:pt x="1289" y="34"/>
                  <a:pt x="1291" y="38"/>
                  <a:pt x="1296" y="41"/>
                </a:cubicBezTo>
                <a:cubicBezTo>
                  <a:pt x="1298" y="43"/>
                  <a:pt x="1300" y="44"/>
                  <a:pt x="1301" y="45"/>
                </a:cubicBezTo>
                <a:cubicBezTo>
                  <a:pt x="1302" y="46"/>
                  <a:pt x="1303" y="48"/>
                  <a:pt x="1303" y="50"/>
                </a:cubicBezTo>
                <a:cubicBezTo>
                  <a:pt x="1303" y="51"/>
                  <a:pt x="1302" y="53"/>
                  <a:pt x="1301" y="54"/>
                </a:cubicBezTo>
                <a:cubicBezTo>
                  <a:pt x="1299" y="55"/>
                  <a:pt x="1297" y="55"/>
                  <a:pt x="1295" y="55"/>
                </a:cubicBezTo>
                <a:cubicBezTo>
                  <a:pt x="1293" y="55"/>
                  <a:pt x="1292" y="55"/>
                  <a:pt x="1290" y="54"/>
                </a:cubicBezTo>
                <a:cubicBezTo>
                  <a:pt x="1288" y="53"/>
                  <a:pt x="1287" y="53"/>
                  <a:pt x="1286" y="52"/>
                </a:cubicBezTo>
                <a:cubicBezTo>
                  <a:pt x="1285" y="57"/>
                  <a:pt x="1285" y="57"/>
                  <a:pt x="1285" y="57"/>
                </a:cubicBezTo>
                <a:cubicBezTo>
                  <a:pt x="1285" y="58"/>
                  <a:pt x="1287" y="58"/>
                  <a:pt x="1289" y="58"/>
                </a:cubicBezTo>
                <a:cubicBezTo>
                  <a:pt x="1291" y="59"/>
                  <a:pt x="1293" y="59"/>
                  <a:pt x="1295" y="59"/>
                </a:cubicBezTo>
                <a:cubicBezTo>
                  <a:pt x="1299" y="59"/>
                  <a:pt x="1303" y="58"/>
                  <a:pt x="1305" y="56"/>
                </a:cubicBezTo>
                <a:cubicBezTo>
                  <a:pt x="1308" y="54"/>
                  <a:pt x="1309" y="52"/>
                  <a:pt x="1309" y="48"/>
                </a:cubicBezTo>
                <a:cubicBezTo>
                  <a:pt x="1309" y="46"/>
                  <a:pt x="1309" y="45"/>
                  <a:pt x="1308" y="43"/>
                </a:cubicBezTo>
                <a:cubicBezTo>
                  <a:pt x="1307" y="42"/>
                  <a:pt x="1306" y="41"/>
                  <a:pt x="1305" y="40"/>
                </a:cubicBezTo>
                <a:cubicBezTo>
                  <a:pt x="1304" y="39"/>
                  <a:pt x="1303" y="38"/>
                  <a:pt x="1301" y="36"/>
                </a:cubicBezTo>
                <a:cubicBezTo>
                  <a:pt x="1299" y="35"/>
                  <a:pt x="1298" y="34"/>
                  <a:pt x="1297" y="32"/>
                </a:cubicBezTo>
                <a:cubicBezTo>
                  <a:pt x="1296" y="31"/>
                  <a:pt x="1295" y="30"/>
                  <a:pt x="1295" y="28"/>
                </a:cubicBezTo>
                <a:cubicBezTo>
                  <a:pt x="1295" y="26"/>
                  <a:pt x="1296" y="25"/>
                  <a:pt x="1297" y="24"/>
                </a:cubicBezTo>
                <a:cubicBezTo>
                  <a:pt x="1299" y="23"/>
                  <a:pt x="1300" y="23"/>
                  <a:pt x="1303" y="23"/>
                </a:cubicBezTo>
                <a:cubicBezTo>
                  <a:pt x="1304" y="23"/>
                  <a:pt x="1306" y="23"/>
                  <a:pt x="1307" y="24"/>
                </a:cubicBezTo>
                <a:cubicBezTo>
                  <a:pt x="1309" y="24"/>
                  <a:pt x="1310" y="25"/>
                  <a:pt x="1310" y="25"/>
                </a:cubicBezTo>
                <a:close/>
                <a:moveTo>
                  <a:pt x="1047" y="110"/>
                </a:moveTo>
                <a:cubicBezTo>
                  <a:pt x="1052" y="111"/>
                  <a:pt x="1052" y="111"/>
                  <a:pt x="1052" y="111"/>
                </a:cubicBezTo>
                <a:cubicBezTo>
                  <a:pt x="1046" y="156"/>
                  <a:pt x="1046" y="156"/>
                  <a:pt x="1046" y="156"/>
                </a:cubicBezTo>
                <a:cubicBezTo>
                  <a:pt x="1041" y="157"/>
                  <a:pt x="1041" y="157"/>
                  <a:pt x="1041" y="157"/>
                </a:cubicBezTo>
                <a:cubicBezTo>
                  <a:pt x="1041" y="159"/>
                  <a:pt x="1041" y="159"/>
                  <a:pt x="1041" y="159"/>
                </a:cubicBezTo>
                <a:cubicBezTo>
                  <a:pt x="1078" y="159"/>
                  <a:pt x="1078" y="159"/>
                  <a:pt x="1078" y="159"/>
                </a:cubicBezTo>
                <a:cubicBezTo>
                  <a:pt x="1081" y="147"/>
                  <a:pt x="1081" y="147"/>
                  <a:pt x="1081" y="147"/>
                </a:cubicBezTo>
                <a:cubicBezTo>
                  <a:pt x="1077" y="146"/>
                  <a:pt x="1077" y="146"/>
                  <a:pt x="1077" y="146"/>
                </a:cubicBezTo>
                <a:cubicBezTo>
                  <a:pt x="1073" y="155"/>
                  <a:pt x="1073" y="155"/>
                  <a:pt x="1073" y="155"/>
                </a:cubicBezTo>
                <a:cubicBezTo>
                  <a:pt x="1053" y="156"/>
                  <a:pt x="1053" y="156"/>
                  <a:pt x="1053" y="156"/>
                </a:cubicBezTo>
                <a:cubicBezTo>
                  <a:pt x="1056" y="134"/>
                  <a:pt x="1056" y="134"/>
                  <a:pt x="1056" y="134"/>
                </a:cubicBezTo>
                <a:cubicBezTo>
                  <a:pt x="1072" y="135"/>
                  <a:pt x="1072" y="135"/>
                  <a:pt x="1072" y="135"/>
                </a:cubicBezTo>
                <a:cubicBezTo>
                  <a:pt x="1073" y="130"/>
                  <a:pt x="1073" y="130"/>
                  <a:pt x="1073" y="130"/>
                </a:cubicBezTo>
                <a:cubicBezTo>
                  <a:pt x="1057" y="130"/>
                  <a:pt x="1057" y="130"/>
                  <a:pt x="1057" y="130"/>
                </a:cubicBezTo>
                <a:cubicBezTo>
                  <a:pt x="1059" y="110"/>
                  <a:pt x="1059" y="110"/>
                  <a:pt x="1059" y="110"/>
                </a:cubicBezTo>
                <a:cubicBezTo>
                  <a:pt x="1075" y="111"/>
                  <a:pt x="1075" y="111"/>
                  <a:pt x="1075" y="111"/>
                </a:cubicBezTo>
                <a:cubicBezTo>
                  <a:pt x="1076" y="118"/>
                  <a:pt x="1076" y="118"/>
                  <a:pt x="1076" y="118"/>
                </a:cubicBezTo>
                <a:cubicBezTo>
                  <a:pt x="1080" y="118"/>
                  <a:pt x="1080" y="118"/>
                  <a:pt x="1080" y="118"/>
                </a:cubicBezTo>
                <a:cubicBezTo>
                  <a:pt x="1081" y="107"/>
                  <a:pt x="1081" y="107"/>
                  <a:pt x="1081" y="107"/>
                </a:cubicBezTo>
                <a:cubicBezTo>
                  <a:pt x="1048" y="107"/>
                  <a:pt x="1048" y="107"/>
                  <a:pt x="1048" y="107"/>
                </a:cubicBezTo>
                <a:lnTo>
                  <a:pt x="1047" y="110"/>
                </a:lnTo>
                <a:close/>
                <a:moveTo>
                  <a:pt x="1100" y="129"/>
                </a:moveTo>
                <a:cubicBezTo>
                  <a:pt x="1100" y="120"/>
                  <a:pt x="1100" y="120"/>
                  <a:pt x="1100" y="120"/>
                </a:cubicBezTo>
                <a:cubicBezTo>
                  <a:pt x="1099" y="119"/>
                  <a:pt x="1099" y="119"/>
                  <a:pt x="1099" y="119"/>
                </a:cubicBezTo>
                <a:cubicBezTo>
                  <a:pt x="1090" y="121"/>
                  <a:pt x="1090" y="121"/>
                  <a:pt x="1090" y="121"/>
                </a:cubicBezTo>
                <a:cubicBezTo>
                  <a:pt x="1090" y="124"/>
                  <a:pt x="1090" y="124"/>
                  <a:pt x="1090" y="124"/>
                </a:cubicBezTo>
                <a:cubicBezTo>
                  <a:pt x="1093" y="125"/>
                  <a:pt x="1093" y="125"/>
                  <a:pt x="1093" y="125"/>
                </a:cubicBezTo>
                <a:cubicBezTo>
                  <a:pt x="1089" y="159"/>
                  <a:pt x="1089" y="159"/>
                  <a:pt x="1089" y="159"/>
                </a:cubicBezTo>
                <a:cubicBezTo>
                  <a:pt x="1095" y="159"/>
                  <a:pt x="1095" y="159"/>
                  <a:pt x="1095" y="159"/>
                </a:cubicBezTo>
                <a:cubicBezTo>
                  <a:pt x="1099" y="134"/>
                  <a:pt x="1099" y="134"/>
                  <a:pt x="1099" y="134"/>
                </a:cubicBezTo>
                <a:cubicBezTo>
                  <a:pt x="1101" y="131"/>
                  <a:pt x="1103" y="129"/>
                  <a:pt x="1105" y="127"/>
                </a:cubicBezTo>
                <a:cubicBezTo>
                  <a:pt x="1107" y="125"/>
                  <a:pt x="1109" y="124"/>
                  <a:pt x="1111" y="124"/>
                </a:cubicBezTo>
                <a:cubicBezTo>
                  <a:pt x="1113" y="124"/>
                  <a:pt x="1114" y="125"/>
                  <a:pt x="1114" y="126"/>
                </a:cubicBezTo>
                <a:cubicBezTo>
                  <a:pt x="1115" y="127"/>
                  <a:pt x="1115" y="128"/>
                  <a:pt x="1115" y="130"/>
                </a:cubicBezTo>
                <a:cubicBezTo>
                  <a:pt x="1115" y="132"/>
                  <a:pt x="1115" y="134"/>
                  <a:pt x="1115" y="135"/>
                </a:cubicBezTo>
                <a:cubicBezTo>
                  <a:pt x="1115" y="137"/>
                  <a:pt x="1114" y="140"/>
                  <a:pt x="1114" y="142"/>
                </a:cubicBezTo>
                <a:cubicBezTo>
                  <a:pt x="1114" y="144"/>
                  <a:pt x="1114" y="144"/>
                  <a:pt x="1114" y="144"/>
                </a:cubicBezTo>
                <a:cubicBezTo>
                  <a:pt x="1113" y="147"/>
                  <a:pt x="1113" y="147"/>
                  <a:pt x="1113" y="147"/>
                </a:cubicBezTo>
                <a:cubicBezTo>
                  <a:pt x="1112" y="151"/>
                  <a:pt x="1112" y="154"/>
                  <a:pt x="1112" y="156"/>
                </a:cubicBezTo>
                <a:cubicBezTo>
                  <a:pt x="1112" y="159"/>
                  <a:pt x="1113" y="160"/>
                  <a:pt x="1116" y="160"/>
                </a:cubicBezTo>
                <a:cubicBezTo>
                  <a:pt x="1117" y="160"/>
                  <a:pt x="1119" y="160"/>
                  <a:pt x="1120" y="159"/>
                </a:cubicBezTo>
                <a:cubicBezTo>
                  <a:pt x="1121" y="159"/>
                  <a:pt x="1122" y="158"/>
                  <a:pt x="1123" y="157"/>
                </a:cubicBezTo>
                <a:cubicBezTo>
                  <a:pt x="1123" y="157"/>
                  <a:pt x="1124" y="156"/>
                  <a:pt x="1124" y="156"/>
                </a:cubicBezTo>
                <a:cubicBezTo>
                  <a:pt x="1123" y="154"/>
                  <a:pt x="1123" y="154"/>
                  <a:pt x="1123" y="154"/>
                </a:cubicBezTo>
                <a:cubicBezTo>
                  <a:pt x="1122" y="155"/>
                  <a:pt x="1121" y="156"/>
                  <a:pt x="1120" y="156"/>
                </a:cubicBezTo>
                <a:cubicBezTo>
                  <a:pt x="1119" y="156"/>
                  <a:pt x="1119" y="155"/>
                  <a:pt x="1119" y="154"/>
                </a:cubicBezTo>
                <a:cubicBezTo>
                  <a:pt x="1119" y="152"/>
                  <a:pt x="1119" y="149"/>
                  <a:pt x="1120" y="145"/>
                </a:cubicBezTo>
                <a:cubicBezTo>
                  <a:pt x="1121" y="142"/>
                  <a:pt x="1121" y="142"/>
                  <a:pt x="1121" y="142"/>
                </a:cubicBezTo>
                <a:cubicBezTo>
                  <a:pt x="1121" y="140"/>
                  <a:pt x="1121" y="140"/>
                  <a:pt x="1121" y="140"/>
                </a:cubicBezTo>
                <a:cubicBezTo>
                  <a:pt x="1122" y="135"/>
                  <a:pt x="1122" y="132"/>
                  <a:pt x="1122" y="130"/>
                </a:cubicBezTo>
                <a:cubicBezTo>
                  <a:pt x="1122" y="126"/>
                  <a:pt x="1122" y="123"/>
                  <a:pt x="1120" y="122"/>
                </a:cubicBezTo>
                <a:cubicBezTo>
                  <a:pt x="1119" y="120"/>
                  <a:pt x="1117" y="119"/>
                  <a:pt x="1114" y="119"/>
                </a:cubicBezTo>
                <a:cubicBezTo>
                  <a:pt x="1112" y="119"/>
                  <a:pt x="1109" y="120"/>
                  <a:pt x="1106" y="122"/>
                </a:cubicBezTo>
                <a:cubicBezTo>
                  <a:pt x="1104" y="124"/>
                  <a:pt x="1102" y="126"/>
                  <a:pt x="1100" y="129"/>
                </a:cubicBezTo>
                <a:close/>
                <a:moveTo>
                  <a:pt x="1159" y="162"/>
                </a:moveTo>
                <a:cubicBezTo>
                  <a:pt x="1165" y="119"/>
                  <a:pt x="1165" y="119"/>
                  <a:pt x="1165" y="119"/>
                </a:cubicBezTo>
                <a:cubicBezTo>
                  <a:pt x="1160" y="121"/>
                  <a:pt x="1160" y="121"/>
                  <a:pt x="1160" y="121"/>
                </a:cubicBezTo>
                <a:cubicBezTo>
                  <a:pt x="1159" y="121"/>
                  <a:pt x="1158" y="120"/>
                  <a:pt x="1157" y="120"/>
                </a:cubicBezTo>
                <a:cubicBezTo>
                  <a:pt x="1155" y="120"/>
                  <a:pt x="1154" y="119"/>
                  <a:pt x="1153" y="119"/>
                </a:cubicBezTo>
                <a:cubicBezTo>
                  <a:pt x="1148" y="119"/>
                  <a:pt x="1144" y="121"/>
                  <a:pt x="1141" y="123"/>
                </a:cubicBezTo>
                <a:cubicBezTo>
                  <a:pt x="1137" y="126"/>
                  <a:pt x="1135" y="129"/>
                  <a:pt x="1133" y="133"/>
                </a:cubicBezTo>
                <a:cubicBezTo>
                  <a:pt x="1131" y="137"/>
                  <a:pt x="1130" y="141"/>
                  <a:pt x="1130" y="145"/>
                </a:cubicBezTo>
                <a:cubicBezTo>
                  <a:pt x="1130" y="150"/>
                  <a:pt x="1131" y="153"/>
                  <a:pt x="1133" y="156"/>
                </a:cubicBezTo>
                <a:cubicBezTo>
                  <a:pt x="1135" y="159"/>
                  <a:pt x="1138" y="160"/>
                  <a:pt x="1142" y="160"/>
                </a:cubicBezTo>
                <a:cubicBezTo>
                  <a:pt x="1144" y="160"/>
                  <a:pt x="1146" y="159"/>
                  <a:pt x="1148" y="158"/>
                </a:cubicBezTo>
                <a:cubicBezTo>
                  <a:pt x="1150" y="157"/>
                  <a:pt x="1152" y="156"/>
                  <a:pt x="1153" y="155"/>
                </a:cubicBezTo>
                <a:cubicBezTo>
                  <a:pt x="1151" y="164"/>
                  <a:pt x="1151" y="164"/>
                  <a:pt x="1151" y="164"/>
                </a:cubicBezTo>
                <a:cubicBezTo>
                  <a:pt x="1151" y="167"/>
                  <a:pt x="1150" y="169"/>
                  <a:pt x="1149" y="170"/>
                </a:cubicBezTo>
                <a:cubicBezTo>
                  <a:pt x="1147" y="172"/>
                  <a:pt x="1145" y="172"/>
                  <a:pt x="1142" y="172"/>
                </a:cubicBezTo>
                <a:cubicBezTo>
                  <a:pt x="1140" y="172"/>
                  <a:pt x="1139" y="172"/>
                  <a:pt x="1137" y="171"/>
                </a:cubicBezTo>
                <a:cubicBezTo>
                  <a:pt x="1136" y="171"/>
                  <a:pt x="1134" y="170"/>
                  <a:pt x="1133" y="170"/>
                </a:cubicBezTo>
                <a:cubicBezTo>
                  <a:pt x="1132" y="175"/>
                  <a:pt x="1132" y="175"/>
                  <a:pt x="1132" y="175"/>
                </a:cubicBezTo>
                <a:cubicBezTo>
                  <a:pt x="1132" y="176"/>
                  <a:pt x="1134" y="176"/>
                  <a:pt x="1135" y="176"/>
                </a:cubicBezTo>
                <a:cubicBezTo>
                  <a:pt x="1137" y="177"/>
                  <a:pt x="1138" y="177"/>
                  <a:pt x="1140" y="177"/>
                </a:cubicBezTo>
                <a:cubicBezTo>
                  <a:pt x="1142" y="177"/>
                  <a:pt x="1145" y="176"/>
                  <a:pt x="1148" y="175"/>
                </a:cubicBezTo>
                <a:cubicBezTo>
                  <a:pt x="1150" y="174"/>
                  <a:pt x="1153" y="173"/>
                  <a:pt x="1155" y="170"/>
                </a:cubicBezTo>
                <a:cubicBezTo>
                  <a:pt x="1157" y="168"/>
                  <a:pt x="1158" y="165"/>
                  <a:pt x="1159" y="162"/>
                </a:cubicBezTo>
                <a:close/>
                <a:moveTo>
                  <a:pt x="1157" y="125"/>
                </a:moveTo>
                <a:cubicBezTo>
                  <a:pt x="1154" y="150"/>
                  <a:pt x="1154" y="150"/>
                  <a:pt x="1154" y="150"/>
                </a:cubicBezTo>
                <a:cubicBezTo>
                  <a:pt x="1152" y="151"/>
                  <a:pt x="1151" y="153"/>
                  <a:pt x="1149" y="154"/>
                </a:cubicBezTo>
                <a:cubicBezTo>
                  <a:pt x="1148" y="155"/>
                  <a:pt x="1146" y="155"/>
                  <a:pt x="1144" y="155"/>
                </a:cubicBezTo>
                <a:cubicBezTo>
                  <a:pt x="1142" y="155"/>
                  <a:pt x="1140" y="155"/>
                  <a:pt x="1139" y="153"/>
                </a:cubicBezTo>
                <a:cubicBezTo>
                  <a:pt x="1138" y="151"/>
                  <a:pt x="1138" y="148"/>
                  <a:pt x="1138" y="145"/>
                </a:cubicBezTo>
                <a:cubicBezTo>
                  <a:pt x="1138" y="142"/>
                  <a:pt x="1138" y="138"/>
                  <a:pt x="1139" y="135"/>
                </a:cubicBezTo>
                <a:cubicBezTo>
                  <a:pt x="1140" y="132"/>
                  <a:pt x="1142" y="129"/>
                  <a:pt x="1144" y="127"/>
                </a:cubicBezTo>
                <a:cubicBezTo>
                  <a:pt x="1146" y="124"/>
                  <a:pt x="1149" y="123"/>
                  <a:pt x="1152" y="123"/>
                </a:cubicBezTo>
                <a:cubicBezTo>
                  <a:pt x="1154" y="123"/>
                  <a:pt x="1156" y="124"/>
                  <a:pt x="1157" y="125"/>
                </a:cubicBezTo>
                <a:close/>
                <a:moveTo>
                  <a:pt x="1181" y="153"/>
                </a:moveTo>
                <a:cubicBezTo>
                  <a:pt x="1185" y="120"/>
                  <a:pt x="1185" y="120"/>
                  <a:pt x="1185" y="120"/>
                </a:cubicBezTo>
                <a:cubicBezTo>
                  <a:pt x="1184" y="119"/>
                  <a:pt x="1184" y="119"/>
                  <a:pt x="1184" y="119"/>
                </a:cubicBezTo>
                <a:cubicBezTo>
                  <a:pt x="1174" y="121"/>
                  <a:pt x="1174" y="121"/>
                  <a:pt x="1174" y="121"/>
                </a:cubicBezTo>
                <a:cubicBezTo>
                  <a:pt x="1173" y="123"/>
                  <a:pt x="1173" y="123"/>
                  <a:pt x="1173" y="123"/>
                </a:cubicBezTo>
                <a:cubicBezTo>
                  <a:pt x="1178" y="125"/>
                  <a:pt x="1178" y="125"/>
                  <a:pt x="1178" y="125"/>
                </a:cubicBezTo>
                <a:cubicBezTo>
                  <a:pt x="1177" y="132"/>
                  <a:pt x="1176" y="138"/>
                  <a:pt x="1175" y="142"/>
                </a:cubicBezTo>
                <a:cubicBezTo>
                  <a:pt x="1174" y="150"/>
                  <a:pt x="1174" y="154"/>
                  <a:pt x="1173" y="156"/>
                </a:cubicBezTo>
                <a:cubicBezTo>
                  <a:pt x="1173" y="157"/>
                  <a:pt x="1174" y="158"/>
                  <a:pt x="1174" y="159"/>
                </a:cubicBezTo>
                <a:cubicBezTo>
                  <a:pt x="1175" y="160"/>
                  <a:pt x="1176" y="160"/>
                  <a:pt x="1178" y="160"/>
                </a:cubicBezTo>
                <a:cubicBezTo>
                  <a:pt x="1180" y="160"/>
                  <a:pt x="1182" y="159"/>
                  <a:pt x="1183" y="158"/>
                </a:cubicBezTo>
                <a:cubicBezTo>
                  <a:pt x="1184" y="157"/>
                  <a:pt x="1185" y="156"/>
                  <a:pt x="1186" y="155"/>
                </a:cubicBezTo>
                <a:cubicBezTo>
                  <a:pt x="1185" y="154"/>
                  <a:pt x="1185" y="154"/>
                  <a:pt x="1185" y="154"/>
                </a:cubicBezTo>
                <a:cubicBezTo>
                  <a:pt x="1184" y="154"/>
                  <a:pt x="1184" y="155"/>
                  <a:pt x="1183" y="155"/>
                </a:cubicBezTo>
                <a:cubicBezTo>
                  <a:pt x="1183" y="156"/>
                  <a:pt x="1182" y="156"/>
                  <a:pt x="1182" y="156"/>
                </a:cubicBezTo>
                <a:cubicBezTo>
                  <a:pt x="1181" y="156"/>
                  <a:pt x="1181" y="156"/>
                  <a:pt x="1181" y="155"/>
                </a:cubicBezTo>
                <a:cubicBezTo>
                  <a:pt x="1181" y="155"/>
                  <a:pt x="1180" y="155"/>
                  <a:pt x="1180" y="154"/>
                </a:cubicBezTo>
                <a:lnTo>
                  <a:pt x="1181" y="153"/>
                </a:lnTo>
                <a:close/>
                <a:moveTo>
                  <a:pt x="1183" y="112"/>
                </a:moveTo>
                <a:cubicBezTo>
                  <a:pt x="1184" y="112"/>
                  <a:pt x="1185" y="111"/>
                  <a:pt x="1186" y="110"/>
                </a:cubicBezTo>
                <a:cubicBezTo>
                  <a:pt x="1187" y="109"/>
                  <a:pt x="1188" y="108"/>
                  <a:pt x="1188" y="107"/>
                </a:cubicBezTo>
                <a:cubicBezTo>
                  <a:pt x="1188" y="106"/>
                  <a:pt x="1187" y="105"/>
                  <a:pt x="1187" y="104"/>
                </a:cubicBezTo>
                <a:cubicBezTo>
                  <a:pt x="1186" y="103"/>
                  <a:pt x="1185" y="103"/>
                  <a:pt x="1184" y="103"/>
                </a:cubicBezTo>
                <a:cubicBezTo>
                  <a:pt x="1182" y="103"/>
                  <a:pt x="1181" y="103"/>
                  <a:pt x="1180" y="104"/>
                </a:cubicBezTo>
                <a:cubicBezTo>
                  <a:pt x="1180" y="105"/>
                  <a:pt x="1179" y="107"/>
                  <a:pt x="1179" y="108"/>
                </a:cubicBezTo>
                <a:cubicBezTo>
                  <a:pt x="1179" y="109"/>
                  <a:pt x="1179" y="110"/>
                  <a:pt x="1180" y="111"/>
                </a:cubicBezTo>
                <a:cubicBezTo>
                  <a:pt x="1181" y="111"/>
                  <a:pt x="1182" y="112"/>
                  <a:pt x="1183" y="112"/>
                </a:cubicBezTo>
                <a:close/>
                <a:moveTo>
                  <a:pt x="1207" y="129"/>
                </a:moveTo>
                <a:cubicBezTo>
                  <a:pt x="1208" y="120"/>
                  <a:pt x="1208" y="120"/>
                  <a:pt x="1208" y="120"/>
                </a:cubicBezTo>
                <a:cubicBezTo>
                  <a:pt x="1207" y="119"/>
                  <a:pt x="1207" y="119"/>
                  <a:pt x="1207" y="119"/>
                </a:cubicBezTo>
                <a:cubicBezTo>
                  <a:pt x="1198" y="121"/>
                  <a:pt x="1198" y="121"/>
                  <a:pt x="1198" y="121"/>
                </a:cubicBezTo>
                <a:cubicBezTo>
                  <a:pt x="1198" y="124"/>
                  <a:pt x="1198" y="124"/>
                  <a:pt x="1198" y="124"/>
                </a:cubicBezTo>
                <a:cubicBezTo>
                  <a:pt x="1201" y="125"/>
                  <a:pt x="1201" y="125"/>
                  <a:pt x="1201" y="125"/>
                </a:cubicBezTo>
                <a:cubicBezTo>
                  <a:pt x="1196" y="159"/>
                  <a:pt x="1196" y="159"/>
                  <a:pt x="1196" y="159"/>
                </a:cubicBezTo>
                <a:cubicBezTo>
                  <a:pt x="1203" y="159"/>
                  <a:pt x="1203" y="159"/>
                  <a:pt x="1203" y="159"/>
                </a:cubicBezTo>
                <a:cubicBezTo>
                  <a:pt x="1207" y="134"/>
                  <a:pt x="1207" y="134"/>
                  <a:pt x="1207" y="134"/>
                </a:cubicBezTo>
                <a:cubicBezTo>
                  <a:pt x="1208" y="131"/>
                  <a:pt x="1210" y="129"/>
                  <a:pt x="1213" y="127"/>
                </a:cubicBezTo>
                <a:cubicBezTo>
                  <a:pt x="1215" y="125"/>
                  <a:pt x="1217" y="124"/>
                  <a:pt x="1219" y="124"/>
                </a:cubicBezTo>
                <a:cubicBezTo>
                  <a:pt x="1220" y="124"/>
                  <a:pt x="1221" y="125"/>
                  <a:pt x="1222" y="126"/>
                </a:cubicBezTo>
                <a:cubicBezTo>
                  <a:pt x="1223" y="127"/>
                  <a:pt x="1223" y="128"/>
                  <a:pt x="1223" y="130"/>
                </a:cubicBezTo>
                <a:cubicBezTo>
                  <a:pt x="1223" y="132"/>
                  <a:pt x="1223" y="134"/>
                  <a:pt x="1223" y="135"/>
                </a:cubicBezTo>
                <a:cubicBezTo>
                  <a:pt x="1222" y="137"/>
                  <a:pt x="1222" y="140"/>
                  <a:pt x="1222" y="142"/>
                </a:cubicBezTo>
                <a:cubicBezTo>
                  <a:pt x="1221" y="144"/>
                  <a:pt x="1221" y="144"/>
                  <a:pt x="1221" y="144"/>
                </a:cubicBezTo>
                <a:cubicBezTo>
                  <a:pt x="1221" y="147"/>
                  <a:pt x="1221" y="147"/>
                  <a:pt x="1221" y="147"/>
                </a:cubicBezTo>
                <a:cubicBezTo>
                  <a:pt x="1220" y="151"/>
                  <a:pt x="1219" y="154"/>
                  <a:pt x="1219" y="156"/>
                </a:cubicBezTo>
                <a:cubicBezTo>
                  <a:pt x="1219" y="159"/>
                  <a:pt x="1221" y="160"/>
                  <a:pt x="1224" y="160"/>
                </a:cubicBezTo>
                <a:cubicBezTo>
                  <a:pt x="1225" y="160"/>
                  <a:pt x="1226" y="160"/>
                  <a:pt x="1227" y="159"/>
                </a:cubicBezTo>
                <a:cubicBezTo>
                  <a:pt x="1228" y="159"/>
                  <a:pt x="1229" y="158"/>
                  <a:pt x="1230" y="157"/>
                </a:cubicBezTo>
                <a:cubicBezTo>
                  <a:pt x="1231" y="157"/>
                  <a:pt x="1231" y="156"/>
                  <a:pt x="1232" y="156"/>
                </a:cubicBezTo>
                <a:cubicBezTo>
                  <a:pt x="1231" y="154"/>
                  <a:pt x="1231" y="154"/>
                  <a:pt x="1231" y="154"/>
                </a:cubicBezTo>
                <a:cubicBezTo>
                  <a:pt x="1229" y="155"/>
                  <a:pt x="1228" y="156"/>
                  <a:pt x="1227" y="156"/>
                </a:cubicBezTo>
                <a:cubicBezTo>
                  <a:pt x="1227" y="156"/>
                  <a:pt x="1227" y="155"/>
                  <a:pt x="1227" y="154"/>
                </a:cubicBezTo>
                <a:cubicBezTo>
                  <a:pt x="1227" y="152"/>
                  <a:pt x="1227" y="149"/>
                  <a:pt x="1228" y="145"/>
                </a:cubicBezTo>
                <a:cubicBezTo>
                  <a:pt x="1228" y="142"/>
                  <a:pt x="1228" y="142"/>
                  <a:pt x="1228" y="142"/>
                </a:cubicBezTo>
                <a:cubicBezTo>
                  <a:pt x="1229" y="140"/>
                  <a:pt x="1229" y="140"/>
                  <a:pt x="1229" y="140"/>
                </a:cubicBezTo>
                <a:cubicBezTo>
                  <a:pt x="1230" y="135"/>
                  <a:pt x="1230" y="132"/>
                  <a:pt x="1230" y="130"/>
                </a:cubicBezTo>
                <a:cubicBezTo>
                  <a:pt x="1230" y="126"/>
                  <a:pt x="1229" y="123"/>
                  <a:pt x="1228" y="122"/>
                </a:cubicBezTo>
                <a:cubicBezTo>
                  <a:pt x="1227" y="120"/>
                  <a:pt x="1225" y="119"/>
                  <a:pt x="1222" y="119"/>
                </a:cubicBezTo>
                <a:cubicBezTo>
                  <a:pt x="1219" y="119"/>
                  <a:pt x="1217" y="120"/>
                  <a:pt x="1214" y="122"/>
                </a:cubicBezTo>
                <a:cubicBezTo>
                  <a:pt x="1211" y="124"/>
                  <a:pt x="1209" y="126"/>
                  <a:pt x="1207" y="129"/>
                </a:cubicBezTo>
                <a:close/>
                <a:moveTo>
                  <a:pt x="1267" y="153"/>
                </a:moveTo>
                <a:cubicBezTo>
                  <a:pt x="1266" y="150"/>
                  <a:pt x="1266" y="150"/>
                  <a:pt x="1266" y="150"/>
                </a:cubicBezTo>
                <a:cubicBezTo>
                  <a:pt x="1264" y="152"/>
                  <a:pt x="1262" y="153"/>
                  <a:pt x="1260" y="154"/>
                </a:cubicBezTo>
                <a:cubicBezTo>
                  <a:pt x="1258" y="155"/>
                  <a:pt x="1256" y="156"/>
                  <a:pt x="1254" y="156"/>
                </a:cubicBezTo>
                <a:cubicBezTo>
                  <a:pt x="1251" y="156"/>
                  <a:pt x="1249" y="154"/>
                  <a:pt x="1248" y="152"/>
                </a:cubicBezTo>
                <a:cubicBezTo>
                  <a:pt x="1246" y="150"/>
                  <a:pt x="1246" y="147"/>
                  <a:pt x="1246" y="143"/>
                </a:cubicBezTo>
                <a:cubicBezTo>
                  <a:pt x="1249" y="143"/>
                  <a:pt x="1252" y="143"/>
                  <a:pt x="1256" y="142"/>
                </a:cubicBezTo>
                <a:cubicBezTo>
                  <a:pt x="1259" y="140"/>
                  <a:pt x="1263" y="139"/>
                  <a:pt x="1265" y="136"/>
                </a:cubicBezTo>
                <a:cubicBezTo>
                  <a:pt x="1268" y="134"/>
                  <a:pt x="1269" y="131"/>
                  <a:pt x="1269" y="128"/>
                </a:cubicBezTo>
                <a:cubicBezTo>
                  <a:pt x="1269" y="125"/>
                  <a:pt x="1268" y="123"/>
                  <a:pt x="1267" y="122"/>
                </a:cubicBezTo>
                <a:cubicBezTo>
                  <a:pt x="1265" y="120"/>
                  <a:pt x="1263" y="119"/>
                  <a:pt x="1259" y="119"/>
                </a:cubicBezTo>
                <a:cubicBezTo>
                  <a:pt x="1255" y="119"/>
                  <a:pt x="1252" y="121"/>
                  <a:pt x="1249" y="123"/>
                </a:cubicBezTo>
                <a:cubicBezTo>
                  <a:pt x="1246" y="125"/>
                  <a:pt x="1243" y="128"/>
                  <a:pt x="1241" y="132"/>
                </a:cubicBezTo>
                <a:cubicBezTo>
                  <a:pt x="1240" y="136"/>
                  <a:pt x="1239" y="140"/>
                  <a:pt x="1239" y="145"/>
                </a:cubicBezTo>
                <a:cubicBezTo>
                  <a:pt x="1239" y="147"/>
                  <a:pt x="1239" y="150"/>
                  <a:pt x="1240" y="152"/>
                </a:cubicBezTo>
                <a:cubicBezTo>
                  <a:pt x="1241" y="155"/>
                  <a:pt x="1243" y="156"/>
                  <a:pt x="1245" y="158"/>
                </a:cubicBezTo>
                <a:cubicBezTo>
                  <a:pt x="1247" y="159"/>
                  <a:pt x="1249" y="160"/>
                  <a:pt x="1253" y="160"/>
                </a:cubicBezTo>
                <a:cubicBezTo>
                  <a:pt x="1256" y="160"/>
                  <a:pt x="1259" y="159"/>
                  <a:pt x="1261" y="158"/>
                </a:cubicBezTo>
                <a:cubicBezTo>
                  <a:pt x="1264" y="156"/>
                  <a:pt x="1266" y="154"/>
                  <a:pt x="1267" y="153"/>
                </a:cubicBezTo>
                <a:close/>
                <a:moveTo>
                  <a:pt x="1258" y="123"/>
                </a:moveTo>
                <a:cubicBezTo>
                  <a:pt x="1259" y="123"/>
                  <a:pt x="1260" y="124"/>
                  <a:pt x="1261" y="125"/>
                </a:cubicBezTo>
                <a:cubicBezTo>
                  <a:pt x="1262" y="125"/>
                  <a:pt x="1263" y="127"/>
                  <a:pt x="1263" y="129"/>
                </a:cubicBezTo>
                <a:cubicBezTo>
                  <a:pt x="1263" y="131"/>
                  <a:pt x="1262" y="133"/>
                  <a:pt x="1260" y="135"/>
                </a:cubicBezTo>
                <a:cubicBezTo>
                  <a:pt x="1258" y="136"/>
                  <a:pt x="1256" y="138"/>
                  <a:pt x="1253" y="139"/>
                </a:cubicBezTo>
                <a:cubicBezTo>
                  <a:pt x="1251" y="139"/>
                  <a:pt x="1248" y="140"/>
                  <a:pt x="1246" y="140"/>
                </a:cubicBezTo>
                <a:cubicBezTo>
                  <a:pt x="1246" y="138"/>
                  <a:pt x="1247" y="135"/>
                  <a:pt x="1248" y="132"/>
                </a:cubicBezTo>
                <a:cubicBezTo>
                  <a:pt x="1249" y="130"/>
                  <a:pt x="1250" y="127"/>
                  <a:pt x="1252" y="126"/>
                </a:cubicBezTo>
                <a:cubicBezTo>
                  <a:pt x="1254" y="124"/>
                  <a:pt x="1255" y="123"/>
                  <a:pt x="1258" y="123"/>
                </a:cubicBezTo>
                <a:close/>
                <a:moveTo>
                  <a:pt x="1303" y="153"/>
                </a:moveTo>
                <a:cubicBezTo>
                  <a:pt x="1302" y="150"/>
                  <a:pt x="1302" y="150"/>
                  <a:pt x="1302" y="150"/>
                </a:cubicBezTo>
                <a:cubicBezTo>
                  <a:pt x="1300" y="152"/>
                  <a:pt x="1298" y="153"/>
                  <a:pt x="1296" y="154"/>
                </a:cubicBezTo>
                <a:cubicBezTo>
                  <a:pt x="1294" y="155"/>
                  <a:pt x="1292" y="156"/>
                  <a:pt x="1290" y="156"/>
                </a:cubicBezTo>
                <a:cubicBezTo>
                  <a:pt x="1287" y="156"/>
                  <a:pt x="1285" y="154"/>
                  <a:pt x="1284" y="152"/>
                </a:cubicBezTo>
                <a:cubicBezTo>
                  <a:pt x="1282" y="150"/>
                  <a:pt x="1282" y="147"/>
                  <a:pt x="1282" y="143"/>
                </a:cubicBezTo>
                <a:cubicBezTo>
                  <a:pt x="1285" y="143"/>
                  <a:pt x="1288" y="143"/>
                  <a:pt x="1292" y="142"/>
                </a:cubicBezTo>
                <a:cubicBezTo>
                  <a:pt x="1295" y="140"/>
                  <a:pt x="1299" y="139"/>
                  <a:pt x="1301" y="136"/>
                </a:cubicBezTo>
                <a:cubicBezTo>
                  <a:pt x="1304" y="134"/>
                  <a:pt x="1305" y="131"/>
                  <a:pt x="1305" y="128"/>
                </a:cubicBezTo>
                <a:cubicBezTo>
                  <a:pt x="1305" y="125"/>
                  <a:pt x="1304" y="123"/>
                  <a:pt x="1303" y="122"/>
                </a:cubicBezTo>
                <a:cubicBezTo>
                  <a:pt x="1301" y="120"/>
                  <a:pt x="1299" y="119"/>
                  <a:pt x="1295" y="119"/>
                </a:cubicBezTo>
                <a:cubicBezTo>
                  <a:pt x="1291" y="119"/>
                  <a:pt x="1288" y="121"/>
                  <a:pt x="1285" y="123"/>
                </a:cubicBezTo>
                <a:cubicBezTo>
                  <a:pt x="1282" y="125"/>
                  <a:pt x="1279" y="128"/>
                  <a:pt x="1277" y="132"/>
                </a:cubicBezTo>
                <a:cubicBezTo>
                  <a:pt x="1275" y="136"/>
                  <a:pt x="1275" y="140"/>
                  <a:pt x="1275" y="145"/>
                </a:cubicBezTo>
                <a:cubicBezTo>
                  <a:pt x="1275" y="147"/>
                  <a:pt x="1275" y="150"/>
                  <a:pt x="1276" y="152"/>
                </a:cubicBezTo>
                <a:cubicBezTo>
                  <a:pt x="1277" y="155"/>
                  <a:pt x="1279" y="156"/>
                  <a:pt x="1281" y="158"/>
                </a:cubicBezTo>
                <a:cubicBezTo>
                  <a:pt x="1283" y="159"/>
                  <a:pt x="1285" y="160"/>
                  <a:pt x="1288" y="160"/>
                </a:cubicBezTo>
                <a:cubicBezTo>
                  <a:pt x="1292" y="160"/>
                  <a:pt x="1295" y="159"/>
                  <a:pt x="1297" y="158"/>
                </a:cubicBezTo>
                <a:cubicBezTo>
                  <a:pt x="1300" y="156"/>
                  <a:pt x="1302" y="154"/>
                  <a:pt x="1303" y="153"/>
                </a:cubicBezTo>
                <a:close/>
                <a:moveTo>
                  <a:pt x="1294" y="123"/>
                </a:moveTo>
                <a:cubicBezTo>
                  <a:pt x="1295" y="123"/>
                  <a:pt x="1296" y="124"/>
                  <a:pt x="1297" y="125"/>
                </a:cubicBezTo>
                <a:cubicBezTo>
                  <a:pt x="1298" y="125"/>
                  <a:pt x="1298" y="127"/>
                  <a:pt x="1298" y="129"/>
                </a:cubicBezTo>
                <a:cubicBezTo>
                  <a:pt x="1298" y="131"/>
                  <a:pt x="1298" y="133"/>
                  <a:pt x="1296" y="135"/>
                </a:cubicBezTo>
                <a:cubicBezTo>
                  <a:pt x="1294" y="136"/>
                  <a:pt x="1292" y="138"/>
                  <a:pt x="1289" y="139"/>
                </a:cubicBezTo>
                <a:cubicBezTo>
                  <a:pt x="1287" y="139"/>
                  <a:pt x="1284" y="140"/>
                  <a:pt x="1282" y="140"/>
                </a:cubicBezTo>
                <a:cubicBezTo>
                  <a:pt x="1282" y="138"/>
                  <a:pt x="1283" y="135"/>
                  <a:pt x="1284" y="132"/>
                </a:cubicBezTo>
                <a:cubicBezTo>
                  <a:pt x="1285" y="130"/>
                  <a:pt x="1286" y="127"/>
                  <a:pt x="1288" y="126"/>
                </a:cubicBezTo>
                <a:cubicBezTo>
                  <a:pt x="1289" y="124"/>
                  <a:pt x="1291" y="123"/>
                  <a:pt x="1294" y="123"/>
                </a:cubicBezTo>
                <a:close/>
                <a:moveTo>
                  <a:pt x="1322" y="129"/>
                </a:moveTo>
                <a:cubicBezTo>
                  <a:pt x="1323" y="127"/>
                  <a:pt x="1323" y="127"/>
                  <a:pt x="1323" y="127"/>
                </a:cubicBezTo>
                <a:cubicBezTo>
                  <a:pt x="1323" y="120"/>
                  <a:pt x="1323" y="120"/>
                  <a:pt x="1323" y="120"/>
                </a:cubicBezTo>
                <a:cubicBezTo>
                  <a:pt x="1322" y="119"/>
                  <a:pt x="1322" y="119"/>
                  <a:pt x="1322" y="119"/>
                </a:cubicBezTo>
                <a:cubicBezTo>
                  <a:pt x="1314" y="121"/>
                  <a:pt x="1314" y="121"/>
                  <a:pt x="1314" y="121"/>
                </a:cubicBezTo>
                <a:cubicBezTo>
                  <a:pt x="1313" y="124"/>
                  <a:pt x="1313" y="124"/>
                  <a:pt x="1313" y="124"/>
                </a:cubicBezTo>
                <a:cubicBezTo>
                  <a:pt x="1317" y="125"/>
                  <a:pt x="1317" y="125"/>
                  <a:pt x="1317" y="125"/>
                </a:cubicBezTo>
                <a:cubicBezTo>
                  <a:pt x="1312" y="159"/>
                  <a:pt x="1312" y="159"/>
                  <a:pt x="1312" y="159"/>
                </a:cubicBezTo>
                <a:cubicBezTo>
                  <a:pt x="1319" y="159"/>
                  <a:pt x="1319" y="159"/>
                  <a:pt x="1319" y="159"/>
                </a:cubicBezTo>
                <a:cubicBezTo>
                  <a:pt x="1322" y="134"/>
                  <a:pt x="1322" y="134"/>
                  <a:pt x="1322" y="134"/>
                </a:cubicBezTo>
                <a:cubicBezTo>
                  <a:pt x="1323" y="132"/>
                  <a:pt x="1325" y="130"/>
                  <a:pt x="1327" y="129"/>
                </a:cubicBezTo>
                <a:cubicBezTo>
                  <a:pt x="1329" y="127"/>
                  <a:pt x="1331" y="127"/>
                  <a:pt x="1333" y="127"/>
                </a:cubicBezTo>
                <a:cubicBezTo>
                  <a:pt x="1334" y="127"/>
                  <a:pt x="1335" y="127"/>
                  <a:pt x="1336" y="127"/>
                </a:cubicBezTo>
                <a:cubicBezTo>
                  <a:pt x="1338" y="120"/>
                  <a:pt x="1338" y="120"/>
                  <a:pt x="1338" y="120"/>
                </a:cubicBezTo>
                <a:cubicBezTo>
                  <a:pt x="1337" y="120"/>
                  <a:pt x="1336" y="119"/>
                  <a:pt x="1335" y="119"/>
                </a:cubicBezTo>
                <a:cubicBezTo>
                  <a:pt x="1333" y="119"/>
                  <a:pt x="1331" y="120"/>
                  <a:pt x="1330" y="121"/>
                </a:cubicBezTo>
                <a:cubicBezTo>
                  <a:pt x="1328" y="122"/>
                  <a:pt x="1326" y="123"/>
                  <a:pt x="1325" y="125"/>
                </a:cubicBezTo>
                <a:cubicBezTo>
                  <a:pt x="1324" y="126"/>
                  <a:pt x="1323" y="128"/>
                  <a:pt x="1322" y="129"/>
                </a:cubicBezTo>
                <a:close/>
                <a:moveTo>
                  <a:pt x="1349" y="153"/>
                </a:moveTo>
                <a:cubicBezTo>
                  <a:pt x="1354" y="120"/>
                  <a:pt x="1354" y="120"/>
                  <a:pt x="1354" y="120"/>
                </a:cubicBezTo>
                <a:cubicBezTo>
                  <a:pt x="1352" y="119"/>
                  <a:pt x="1352" y="119"/>
                  <a:pt x="1352" y="119"/>
                </a:cubicBezTo>
                <a:cubicBezTo>
                  <a:pt x="1342" y="121"/>
                  <a:pt x="1342" y="121"/>
                  <a:pt x="1342" y="121"/>
                </a:cubicBezTo>
                <a:cubicBezTo>
                  <a:pt x="1342" y="123"/>
                  <a:pt x="1342" y="123"/>
                  <a:pt x="1342" y="123"/>
                </a:cubicBezTo>
                <a:cubicBezTo>
                  <a:pt x="1346" y="125"/>
                  <a:pt x="1346" y="125"/>
                  <a:pt x="1346" y="125"/>
                </a:cubicBezTo>
                <a:cubicBezTo>
                  <a:pt x="1345" y="132"/>
                  <a:pt x="1345" y="138"/>
                  <a:pt x="1344" y="142"/>
                </a:cubicBezTo>
                <a:cubicBezTo>
                  <a:pt x="1343" y="150"/>
                  <a:pt x="1342" y="154"/>
                  <a:pt x="1342" y="156"/>
                </a:cubicBezTo>
                <a:cubicBezTo>
                  <a:pt x="1342" y="157"/>
                  <a:pt x="1342" y="158"/>
                  <a:pt x="1343" y="159"/>
                </a:cubicBezTo>
                <a:cubicBezTo>
                  <a:pt x="1344" y="160"/>
                  <a:pt x="1345" y="160"/>
                  <a:pt x="1347" y="160"/>
                </a:cubicBezTo>
                <a:cubicBezTo>
                  <a:pt x="1349" y="160"/>
                  <a:pt x="1350" y="159"/>
                  <a:pt x="1352" y="158"/>
                </a:cubicBezTo>
                <a:cubicBezTo>
                  <a:pt x="1353" y="157"/>
                  <a:pt x="1354" y="156"/>
                  <a:pt x="1355" y="155"/>
                </a:cubicBezTo>
                <a:cubicBezTo>
                  <a:pt x="1354" y="154"/>
                  <a:pt x="1354" y="154"/>
                  <a:pt x="1354" y="154"/>
                </a:cubicBezTo>
                <a:cubicBezTo>
                  <a:pt x="1353" y="154"/>
                  <a:pt x="1352" y="155"/>
                  <a:pt x="1352" y="155"/>
                </a:cubicBezTo>
                <a:cubicBezTo>
                  <a:pt x="1351" y="156"/>
                  <a:pt x="1351" y="156"/>
                  <a:pt x="1350" y="156"/>
                </a:cubicBezTo>
                <a:cubicBezTo>
                  <a:pt x="1350" y="156"/>
                  <a:pt x="1350" y="156"/>
                  <a:pt x="1349" y="155"/>
                </a:cubicBezTo>
                <a:cubicBezTo>
                  <a:pt x="1349" y="155"/>
                  <a:pt x="1349" y="155"/>
                  <a:pt x="1349" y="154"/>
                </a:cubicBezTo>
                <a:lnTo>
                  <a:pt x="1349" y="153"/>
                </a:lnTo>
                <a:close/>
                <a:moveTo>
                  <a:pt x="1351" y="112"/>
                </a:moveTo>
                <a:cubicBezTo>
                  <a:pt x="1353" y="112"/>
                  <a:pt x="1354" y="111"/>
                  <a:pt x="1355" y="110"/>
                </a:cubicBezTo>
                <a:cubicBezTo>
                  <a:pt x="1356" y="109"/>
                  <a:pt x="1356" y="108"/>
                  <a:pt x="1356" y="107"/>
                </a:cubicBezTo>
                <a:cubicBezTo>
                  <a:pt x="1356" y="106"/>
                  <a:pt x="1356" y="105"/>
                  <a:pt x="1355" y="104"/>
                </a:cubicBezTo>
                <a:cubicBezTo>
                  <a:pt x="1354" y="103"/>
                  <a:pt x="1353" y="103"/>
                  <a:pt x="1352" y="103"/>
                </a:cubicBezTo>
                <a:cubicBezTo>
                  <a:pt x="1351" y="103"/>
                  <a:pt x="1350" y="103"/>
                  <a:pt x="1349" y="104"/>
                </a:cubicBezTo>
                <a:cubicBezTo>
                  <a:pt x="1348" y="105"/>
                  <a:pt x="1348" y="107"/>
                  <a:pt x="1348" y="108"/>
                </a:cubicBezTo>
                <a:cubicBezTo>
                  <a:pt x="1348" y="109"/>
                  <a:pt x="1348" y="110"/>
                  <a:pt x="1349" y="111"/>
                </a:cubicBezTo>
                <a:cubicBezTo>
                  <a:pt x="1350" y="111"/>
                  <a:pt x="1350" y="112"/>
                  <a:pt x="1351" y="112"/>
                </a:cubicBezTo>
                <a:close/>
                <a:moveTo>
                  <a:pt x="1374" y="129"/>
                </a:moveTo>
                <a:cubicBezTo>
                  <a:pt x="1375" y="120"/>
                  <a:pt x="1375" y="120"/>
                  <a:pt x="1375" y="120"/>
                </a:cubicBezTo>
                <a:cubicBezTo>
                  <a:pt x="1374" y="119"/>
                  <a:pt x="1374" y="119"/>
                  <a:pt x="1374" y="119"/>
                </a:cubicBezTo>
                <a:cubicBezTo>
                  <a:pt x="1365" y="121"/>
                  <a:pt x="1365" y="121"/>
                  <a:pt x="1365" y="121"/>
                </a:cubicBezTo>
                <a:cubicBezTo>
                  <a:pt x="1365" y="124"/>
                  <a:pt x="1365" y="124"/>
                  <a:pt x="1365" y="124"/>
                </a:cubicBezTo>
                <a:cubicBezTo>
                  <a:pt x="1368" y="125"/>
                  <a:pt x="1368" y="125"/>
                  <a:pt x="1368" y="125"/>
                </a:cubicBezTo>
                <a:cubicBezTo>
                  <a:pt x="1364" y="159"/>
                  <a:pt x="1364" y="159"/>
                  <a:pt x="1364" y="159"/>
                </a:cubicBezTo>
                <a:cubicBezTo>
                  <a:pt x="1370" y="159"/>
                  <a:pt x="1370" y="159"/>
                  <a:pt x="1370" y="159"/>
                </a:cubicBezTo>
                <a:cubicBezTo>
                  <a:pt x="1374" y="134"/>
                  <a:pt x="1374" y="134"/>
                  <a:pt x="1374" y="134"/>
                </a:cubicBezTo>
                <a:cubicBezTo>
                  <a:pt x="1375" y="131"/>
                  <a:pt x="1377" y="129"/>
                  <a:pt x="1380" y="127"/>
                </a:cubicBezTo>
                <a:cubicBezTo>
                  <a:pt x="1382" y="125"/>
                  <a:pt x="1384" y="124"/>
                  <a:pt x="1386" y="124"/>
                </a:cubicBezTo>
                <a:cubicBezTo>
                  <a:pt x="1388" y="124"/>
                  <a:pt x="1389" y="125"/>
                  <a:pt x="1389" y="126"/>
                </a:cubicBezTo>
                <a:cubicBezTo>
                  <a:pt x="1390" y="127"/>
                  <a:pt x="1390" y="128"/>
                  <a:pt x="1390" y="130"/>
                </a:cubicBezTo>
                <a:cubicBezTo>
                  <a:pt x="1390" y="132"/>
                  <a:pt x="1390" y="134"/>
                  <a:pt x="1390" y="135"/>
                </a:cubicBezTo>
                <a:cubicBezTo>
                  <a:pt x="1390" y="137"/>
                  <a:pt x="1389" y="140"/>
                  <a:pt x="1389" y="142"/>
                </a:cubicBezTo>
                <a:cubicBezTo>
                  <a:pt x="1388" y="144"/>
                  <a:pt x="1388" y="144"/>
                  <a:pt x="1388" y="144"/>
                </a:cubicBezTo>
                <a:cubicBezTo>
                  <a:pt x="1388" y="147"/>
                  <a:pt x="1388" y="147"/>
                  <a:pt x="1388" y="147"/>
                </a:cubicBezTo>
                <a:cubicBezTo>
                  <a:pt x="1387" y="151"/>
                  <a:pt x="1387" y="154"/>
                  <a:pt x="1387" y="156"/>
                </a:cubicBezTo>
                <a:cubicBezTo>
                  <a:pt x="1387" y="159"/>
                  <a:pt x="1388" y="160"/>
                  <a:pt x="1391" y="160"/>
                </a:cubicBezTo>
                <a:cubicBezTo>
                  <a:pt x="1392" y="160"/>
                  <a:pt x="1394" y="160"/>
                  <a:pt x="1395" y="159"/>
                </a:cubicBezTo>
                <a:cubicBezTo>
                  <a:pt x="1396" y="159"/>
                  <a:pt x="1397" y="158"/>
                  <a:pt x="1397" y="157"/>
                </a:cubicBezTo>
                <a:cubicBezTo>
                  <a:pt x="1398" y="157"/>
                  <a:pt x="1399" y="156"/>
                  <a:pt x="1399" y="156"/>
                </a:cubicBezTo>
                <a:cubicBezTo>
                  <a:pt x="1398" y="154"/>
                  <a:pt x="1398" y="154"/>
                  <a:pt x="1398" y="154"/>
                </a:cubicBezTo>
                <a:cubicBezTo>
                  <a:pt x="1397" y="155"/>
                  <a:pt x="1396" y="156"/>
                  <a:pt x="1395" y="156"/>
                </a:cubicBezTo>
                <a:cubicBezTo>
                  <a:pt x="1394" y="156"/>
                  <a:pt x="1394" y="155"/>
                  <a:pt x="1394" y="154"/>
                </a:cubicBezTo>
                <a:cubicBezTo>
                  <a:pt x="1394" y="152"/>
                  <a:pt x="1394" y="149"/>
                  <a:pt x="1395" y="145"/>
                </a:cubicBezTo>
                <a:cubicBezTo>
                  <a:pt x="1395" y="142"/>
                  <a:pt x="1395" y="142"/>
                  <a:pt x="1395" y="142"/>
                </a:cubicBezTo>
                <a:cubicBezTo>
                  <a:pt x="1396" y="140"/>
                  <a:pt x="1396" y="140"/>
                  <a:pt x="1396" y="140"/>
                </a:cubicBezTo>
                <a:cubicBezTo>
                  <a:pt x="1397" y="135"/>
                  <a:pt x="1397" y="132"/>
                  <a:pt x="1397" y="130"/>
                </a:cubicBezTo>
                <a:cubicBezTo>
                  <a:pt x="1397" y="126"/>
                  <a:pt x="1397" y="123"/>
                  <a:pt x="1395" y="122"/>
                </a:cubicBezTo>
                <a:cubicBezTo>
                  <a:pt x="1394" y="120"/>
                  <a:pt x="1392" y="119"/>
                  <a:pt x="1389" y="119"/>
                </a:cubicBezTo>
                <a:cubicBezTo>
                  <a:pt x="1386" y="119"/>
                  <a:pt x="1384" y="120"/>
                  <a:pt x="1381" y="122"/>
                </a:cubicBezTo>
                <a:cubicBezTo>
                  <a:pt x="1379" y="124"/>
                  <a:pt x="1376" y="126"/>
                  <a:pt x="1374" y="129"/>
                </a:cubicBezTo>
                <a:close/>
                <a:moveTo>
                  <a:pt x="1433" y="162"/>
                </a:moveTo>
                <a:cubicBezTo>
                  <a:pt x="1440" y="119"/>
                  <a:pt x="1440" y="119"/>
                  <a:pt x="1440" y="119"/>
                </a:cubicBezTo>
                <a:cubicBezTo>
                  <a:pt x="1435" y="121"/>
                  <a:pt x="1435" y="121"/>
                  <a:pt x="1435" y="121"/>
                </a:cubicBezTo>
                <a:cubicBezTo>
                  <a:pt x="1434" y="121"/>
                  <a:pt x="1433" y="120"/>
                  <a:pt x="1432" y="120"/>
                </a:cubicBezTo>
                <a:cubicBezTo>
                  <a:pt x="1430" y="120"/>
                  <a:pt x="1429" y="119"/>
                  <a:pt x="1428" y="119"/>
                </a:cubicBezTo>
                <a:cubicBezTo>
                  <a:pt x="1423" y="119"/>
                  <a:pt x="1419" y="121"/>
                  <a:pt x="1416" y="123"/>
                </a:cubicBezTo>
                <a:cubicBezTo>
                  <a:pt x="1412" y="126"/>
                  <a:pt x="1410" y="129"/>
                  <a:pt x="1408" y="133"/>
                </a:cubicBezTo>
                <a:cubicBezTo>
                  <a:pt x="1406" y="137"/>
                  <a:pt x="1405" y="141"/>
                  <a:pt x="1405" y="145"/>
                </a:cubicBezTo>
                <a:cubicBezTo>
                  <a:pt x="1405" y="150"/>
                  <a:pt x="1406" y="153"/>
                  <a:pt x="1408" y="156"/>
                </a:cubicBezTo>
                <a:cubicBezTo>
                  <a:pt x="1410" y="159"/>
                  <a:pt x="1413" y="160"/>
                  <a:pt x="1417" y="160"/>
                </a:cubicBezTo>
                <a:cubicBezTo>
                  <a:pt x="1419" y="160"/>
                  <a:pt x="1421" y="159"/>
                  <a:pt x="1423" y="158"/>
                </a:cubicBezTo>
                <a:cubicBezTo>
                  <a:pt x="1425" y="157"/>
                  <a:pt x="1426" y="156"/>
                  <a:pt x="1428" y="155"/>
                </a:cubicBezTo>
                <a:cubicBezTo>
                  <a:pt x="1426" y="164"/>
                  <a:pt x="1426" y="164"/>
                  <a:pt x="1426" y="164"/>
                </a:cubicBezTo>
                <a:cubicBezTo>
                  <a:pt x="1426" y="167"/>
                  <a:pt x="1425" y="169"/>
                  <a:pt x="1424" y="170"/>
                </a:cubicBezTo>
                <a:cubicBezTo>
                  <a:pt x="1422" y="172"/>
                  <a:pt x="1420" y="172"/>
                  <a:pt x="1417" y="172"/>
                </a:cubicBezTo>
                <a:cubicBezTo>
                  <a:pt x="1415" y="172"/>
                  <a:pt x="1414" y="172"/>
                  <a:pt x="1412" y="171"/>
                </a:cubicBezTo>
                <a:cubicBezTo>
                  <a:pt x="1410" y="171"/>
                  <a:pt x="1409" y="170"/>
                  <a:pt x="1408" y="170"/>
                </a:cubicBezTo>
                <a:cubicBezTo>
                  <a:pt x="1406" y="175"/>
                  <a:pt x="1406" y="175"/>
                  <a:pt x="1406" y="175"/>
                </a:cubicBezTo>
                <a:cubicBezTo>
                  <a:pt x="1407" y="176"/>
                  <a:pt x="1408" y="176"/>
                  <a:pt x="1410" y="176"/>
                </a:cubicBezTo>
                <a:cubicBezTo>
                  <a:pt x="1411" y="177"/>
                  <a:pt x="1413" y="177"/>
                  <a:pt x="1414" y="177"/>
                </a:cubicBezTo>
                <a:cubicBezTo>
                  <a:pt x="1417" y="177"/>
                  <a:pt x="1420" y="176"/>
                  <a:pt x="1423" y="175"/>
                </a:cubicBezTo>
                <a:cubicBezTo>
                  <a:pt x="1425" y="174"/>
                  <a:pt x="1428" y="173"/>
                  <a:pt x="1430" y="170"/>
                </a:cubicBezTo>
                <a:cubicBezTo>
                  <a:pt x="1432" y="168"/>
                  <a:pt x="1433" y="165"/>
                  <a:pt x="1433" y="162"/>
                </a:cubicBezTo>
                <a:close/>
                <a:moveTo>
                  <a:pt x="1432" y="125"/>
                </a:moveTo>
                <a:cubicBezTo>
                  <a:pt x="1428" y="150"/>
                  <a:pt x="1428" y="150"/>
                  <a:pt x="1428" y="150"/>
                </a:cubicBezTo>
                <a:cubicBezTo>
                  <a:pt x="1427" y="151"/>
                  <a:pt x="1426" y="153"/>
                  <a:pt x="1424" y="154"/>
                </a:cubicBezTo>
                <a:cubicBezTo>
                  <a:pt x="1423" y="155"/>
                  <a:pt x="1421" y="155"/>
                  <a:pt x="1419" y="155"/>
                </a:cubicBezTo>
                <a:cubicBezTo>
                  <a:pt x="1417" y="155"/>
                  <a:pt x="1415" y="155"/>
                  <a:pt x="1414" y="153"/>
                </a:cubicBezTo>
                <a:cubicBezTo>
                  <a:pt x="1413" y="151"/>
                  <a:pt x="1412" y="148"/>
                  <a:pt x="1412" y="145"/>
                </a:cubicBezTo>
                <a:cubicBezTo>
                  <a:pt x="1412" y="142"/>
                  <a:pt x="1413" y="138"/>
                  <a:pt x="1414" y="135"/>
                </a:cubicBezTo>
                <a:cubicBezTo>
                  <a:pt x="1415" y="132"/>
                  <a:pt x="1417" y="129"/>
                  <a:pt x="1419" y="127"/>
                </a:cubicBezTo>
                <a:cubicBezTo>
                  <a:pt x="1421" y="124"/>
                  <a:pt x="1424" y="123"/>
                  <a:pt x="1427" y="123"/>
                </a:cubicBezTo>
                <a:cubicBezTo>
                  <a:pt x="1429" y="123"/>
                  <a:pt x="1431" y="124"/>
                  <a:pt x="1432" y="125"/>
                </a:cubicBezTo>
                <a:close/>
                <a:moveTo>
                  <a:pt x="1076" y="242"/>
                </a:moveTo>
                <a:cubicBezTo>
                  <a:pt x="1072" y="249"/>
                  <a:pt x="1072" y="249"/>
                  <a:pt x="1072" y="249"/>
                </a:cubicBezTo>
                <a:cubicBezTo>
                  <a:pt x="1072" y="242"/>
                  <a:pt x="1072" y="242"/>
                  <a:pt x="1072" y="242"/>
                </a:cubicBezTo>
                <a:cubicBezTo>
                  <a:pt x="1066" y="208"/>
                  <a:pt x="1066" y="208"/>
                  <a:pt x="1066" y="208"/>
                </a:cubicBezTo>
                <a:cubicBezTo>
                  <a:pt x="1050" y="208"/>
                  <a:pt x="1050" y="208"/>
                  <a:pt x="1050" y="208"/>
                </a:cubicBezTo>
                <a:cubicBezTo>
                  <a:pt x="1049" y="211"/>
                  <a:pt x="1049" y="211"/>
                  <a:pt x="1049" y="211"/>
                </a:cubicBezTo>
                <a:cubicBezTo>
                  <a:pt x="1056" y="212"/>
                  <a:pt x="1056" y="212"/>
                  <a:pt x="1056" y="212"/>
                </a:cubicBezTo>
                <a:cubicBezTo>
                  <a:pt x="1045" y="256"/>
                  <a:pt x="1045" y="256"/>
                  <a:pt x="1045" y="256"/>
                </a:cubicBezTo>
                <a:cubicBezTo>
                  <a:pt x="1039" y="257"/>
                  <a:pt x="1039" y="257"/>
                  <a:pt x="1039" y="257"/>
                </a:cubicBezTo>
                <a:cubicBezTo>
                  <a:pt x="1039" y="260"/>
                  <a:pt x="1039" y="260"/>
                  <a:pt x="1039" y="260"/>
                </a:cubicBezTo>
                <a:cubicBezTo>
                  <a:pt x="1057" y="260"/>
                  <a:pt x="1057" y="260"/>
                  <a:pt x="1057" y="260"/>
                </a:cubicBezTo>
                <a:cubicBezTo>
                  <a:pt x="1057" y="257"/>
                  <a:pt x="1057" y="257"/>
                  <a:pt x="1057" y="257"/>
                </a:cubicBezTo>
                <a:cubicBezTo>
                  <a:pt x="1050" y="256"/>
                  <a:pt x="1050" y="256"/>
                  <a:pt x="1050" y="256"/>
                </a:cubicBezTo>
                <a:cubicBezTo>
                  <a:pt x="1057" y="225"/>
                  <a:pt x="1057" y="225"/>
                  <a:pt x="1057" y="225"/>
                </a:cubicBezTo>
                <a:cubicBezTo>
                  <a:pt x="1060" y="211"/>
                  <a:pt x="1060" y="211"/>
                  <a:pt x="1060" y="211"/>
                </a:cubicBezTo>
                <a:cubicBezTo>
                  <a:pt x="1062" y="225"/>
                  <a:pt x="1062" y="225"/>
                  <a:pt x="1062" y="225"/>
                </a:cubicBezTo>
                <a:cubicBezTo>
                  <a:pt x="1068" y="261"/>
                  <a:pt x="1068" y="261"/>
                  <a:pt x="1068" y="261"/>
                </a:cubicBezTo>
                <a:cubicBezTo>
                  <a:pt x="1072" y="260"/>
                  <a:pt x="1072" y="260"/>
                  <a:pt x="1072" y="260"/>
                </a:cubicBezTo>
                <a:cubicBezTo>
                  <a:pt x="1088" y="224"/>
                  <a:pt x="1088" y="224"/>
                  <a:pt x="1088" y="224"/>
                </a:cubicBezTo>
                <a:cubicBezTo>
                  <a:pt x="1094" y="211"/>
                  <a:pt x="1094" y="211"/>
                  <a:pt x="1094" y="211"/>
                </a:cubicBezTo>
                <a:cubicBezTo>
                  <a:pt x="1093" y="225"/>
                  <a:pt x="1093" y="225"/>
                  <a:pt x="1093" y="225"/>
                </a:cubicBezTo>
                <a:cubicBezTo>
                  <a:pt x="1091" y="256"/>
                  <a:pt x="1091" y="256"/>
                  <a:pt x="1091" y="256"/>
                </a:cubicBezTo>
                <a:cubicBezTo>
                  <a:pt x="1085" y="257"/>
                  <a:pt x="1085" y="257"/>
                  <a:pt x="1085" y="257"/>
                </a:cubicBezTo>
                <a:cubicBezTo>
                  <a:pt x="1084" y="260"/>
                  <a:pt x="1084" y="260"/>
                  <a:pt x="1084" y="260"/>
                </a:cubicBezTo>
                <a:cubicBezTo>
                  <a:pt x="1104" y="260"/>
                  <a:pt x="1104" y="260"/>
                  <a:pt x="1104" y="260"/>
                </a:cubicBezTo>
                <a:cubicBezTo>
                  <a:pt x="1104" y="257"/>
                  <a:pt x="1104" y="257"/>
                  <a:pt x="1104" y="257"/>
                </a:cubicBezTo>
                <a:cubicBezTo>
                  <a:pt x="1098" y="256"/>
                  <a:pt x="1098" y="256"/>
                  <a:pt x="1098" y="256"/>
                </a:cubicBezTo>
                <a:cubicBezTo>
                  <a:pt x="1099" y="212"/>
                  <a:pt x="1099" y="212"/>
                  <a:pt x="1099" y="212"/>
                </a:cubicBezTo>
                <a:cubicBezTo>
                  <a:pt x="1106" y="211"/>
                  <a:pt x="1106" y="211"/>
                  <a:pt x="1106" y="211"/>
                </a:cubicBezTo>
                <a:cubicBezTo>
                  <a:pt x="1106" y="208"/>
                  <a:pt x="1106" y="208"/>
                  <a:pt x="1106" y="208"/>
                </a:cubicBezTo>
                <a:cubicBezTo>
                  <a:pt x="1091" y="208"/>
                  <a:pt x="1091" y="208"/>
                  <a:pt x="1091" y="208"/>
                </a:cubicBezTo>
                <a:cubicBezTo>
                  <a:pt x="1090" y="211"/>
                  <a:pt x="1087" y="217"/>
                  <a:pt x="1083" y="225"/>
                </a:cubicBezTo>
                <a:cubicBezTo>
                  <a:pt x="1079" y="233"/>
                  <a:pt x="1077" y="239"/>
                  <a:pt x="1076" y="242"/>
                </a:cubicBezTo>
                <a:close/>
                <a:moveTo>
                  <a:pt x="1138" y="253"/>
                </a:moveTo>
                <a:cubicBezTo>
                  <a:pt x="1136" y="251"/>
                  <a:pt x="1136" y="251"/>
                  <a:pt x="1136" y="251"/>
                </a:cubicBezTo>
                <a:cubicBezTo>
                  <a:pt x="1134" y="253"/>
                  <a:pt x="1133" y="254"/>
                  <a:pt x="1131" y="255"/>
                </a:cubicBezTo>
                <a:cubicBezTo>
                  <a:pt x="1129" y="256"/>
                  <a:pt x="1126" y="256"/>
                  <a:pt x="1124" y="256"/>
                </a:cubicBezTo>
                <a:cubicBezTo>
                  <a:pt x="1121" y="256"/>
                  <a:pt x="1119" y="255"/>
                  <a:pt x="1118" y="253"/>
                </a:cubicBezTo>
                <a:cubicBezTo>
                  <a:pt x="1117" y="250"/>
                  <a:pt x="1116" y="247"/>
                  <a:pt x="1116" y="244"/>
                </a:cubicBezTo>
                <a:cubicBezTo>
                  <a:pt x="1119" y="244"/>
                  <a:pt x="1123" y="244"/>
                  <a:pt x="1126" y="242"/>
                </a:cubicBezTo>
                <a:cubicBezTo>
                  <a:pt x="1130" y="241"/>
                  <a:pt x="1133" y="240"/>
                  <a:pt x="1136" y="237"/>
                </a:cubicBezTo>
                <a:cubicBezTo>
                  <a:pt x="1138" y="235"/>
                  <a:pt x="1140" y="232"/>
                  <a:pt x="1140" y="229"/>
                </a:cubicBezTo>
                <a:cubicBezTo>
                  <a:pt x="1140" y="226"/>
                  <a:pt x="1139" y="224"/>
                  <a:pt x="1137" y="223"/>
                </a:cubicBezTo>
                <a:cubicBezTo>
                  <a:pt x="1135" y="221"/>
                  <a:pt x="1133" y="220"/>
                  <a:pt x="1130" y="220"/>
                </a:cubicBezTo>
                <a:cubicBezTo>
                  <a:pt x="1126" y="220"/>
                  <a:pt x="1122" y="221"/>
                  <a:pt x="1119" y="224"/>
                </a:cubicBezTo>
                <a:cubicBezTo>
                  <a:pt x="1116" y="226"/>
                  <a:pt x="1114" y="229"/>
                  <a:pt x="1112" y="233"/>
                </a:cubicBezTo>
                <a:cubicBezTo>
                  <a:pt x="1110" y="237"/>
                  <a:pt x="1109" y="241"/>
                  <a:pt x="1109" y="246"/>
                </a:cubicBezTo>
                <a:cubicBezTo>
                  <a:pt x="1109" y="248"/>
                  <a:pt x="1110" y="251"/>
                  <a:pt x="1111" y="253"/>
                </a:cubicBezTo>
                <a:cubicBezTo>
                  <a:pt x="1111" y="255"/>
                  <a:pt x="1113" y="257"/>
                  <a:pt x="1115" y="259"/>
                </a:cubicBezTo>
                <a:cubicBezTo>
                  <a:pt x="1117" y="260"/>
                  <a:pt x="1120" y="261"/>
                  <a:pt x="1123" y="261"/>
                </a:cubicBezTo>
                <a:cubicBezTo>
                  <a:pt x="1126" y="261"/>
                  <a:pt x="1129" y="260"/>
                  <a:pt x="1132" y="258"/>
                </a:cubicBezTo>
                <a:cubicBezTo>
                  <a:pt x="1135" y="257"/>
                  <a:pt x="1136" y="255"/>
                  <a:pt x="1138" y="253"/>
                </a:cubicBezTo>
                <a:close/>
                <a:moveTo>
                  <a:pt x="1128" y="224"/>
                </a:moveTo>
                <a:cubicBezTo>
                  <a:pt x="1130" y="224"/>
                  <a:pt x="1131" y="224"/>
                  <a:pt x="1132" y="225"/>
                </a:cubicBezTo>
                <a:cubicBezTo>
                  <a:pt x="1132" y="226"/>
                  <a:pt x="1133" y="228"/>
                  <a:pt x="1133" y="229"/>
                </a:cubicBezTo>
                <a:cubicBezTo>
                  <a:pt x="1133" y="232"/>
                  <a:pt x="1132" y="234"/>
                  <a:pt x="1130" y="235"/>
                </a:cubicBezTo>
                <a:cubicBezTo>
                  <a:pt x="1129" y="237"/>
                  <a:pt x="1126" y="238"/>
                  <a:pt x="1124" y="239"/>
                </a:cubicBezTo>
                <a:cubicBezTo>
                  <a:pt x="1121" y="240"/>
                  <a:pt x="1119" y="241"/>
                  <a:pt x="1116" y="241"/>
                </a:cubicBezTo>
                <a:cubicBezTo>
                  <a:pt x="1117" y="238"/>
                  <a:pt x="1117" y="236"/>
                  <a:pt x="1118" y="233"/>
                </a:cubicBezTo>
                <a:cubicBezTo>
                  <a:pt x="1119" y="230"/>
                  <a:pt x="1121" y="228"/>
                  <a:pt x="1122" y="226"/>
                </a:cubicBezTo>
                <a:cubicBezTo>
                  <a:pt x="1124" y="225"/>
                  <a:pt x="1126" y="224"/>
                  <a:pt x="1128" y="224"/>
                </a:cubicBezTo>
                <a:close/>
                <a:moveTo>
                  <a:pt x="1175" y="254"/>
                </a:moveTo>
                <a:cubicBezTo>
                  <a:pt x="1182" y="204"/>
                  <a:pt x="1182" y="204"/>
                  <a:pt x="1182" y="204"/>
                </a:cubicBezTo>
                <a:cubicBezTo>
                  <a:pt x="1181" y="204"/>
                  <a:pt x="1181" y="204"/>
                  <a:pt x="1181" y="204"/>
                </a:cubicBezTo>
                <a:cubicBezTo>
                  <a:pt x="1171" y="205"/>
                  <a:pt x="1171" y="205"/>
                  <a:pt x="1171" y="205"/>
                </a:cubicBezTo>
                <a:cubicBezTo>
                  <a:pt x="1170" y="207"/>
                  <a:pt x="1170" y="207"/>
                  <a:pt x="1170" y="207"/>
                </a:cubicBezTo>
                <a:cubicBezTo>
                  <a:pt x="1175" y="208"/>
                  <a:pt x="1175" y="208"/>
                  <a:pt x="1175" y="208"/>
                </a:cubicBezTo>
                <a:cubicBezTo>
                  <a:pt x="1173" y="221"/>
                  <a:pt x="1173" y="221"/>
                  <a:pt x="1173" y="221"/>
                </a:cubicBezTo>
                <a:cubicBezTo>
                  <a:pt x="1171" y="220"/>
                  <a:pt x="1169" y="220"/>
                  <a:pt x="1168" y="220"/>
                </a:cubicBezTo>
                <a:cubicBezTo>
                  <a:pt x="1163" y="220"/>
                  <a:pt x="1159" y="222"/>
                  <a:pt x="1156" y="224"/>
                </a:cubicBezTo>
                <a:cubicBezTo>
                  <a:pt x="1152" y="227"/>
                  <a:pt x="1150" y="230"/>
                  <a:pt x="1148" y="234"/>
                </a:cubicBezTo>
                <a:cubicBezTo>
                  <a:pt x="1146" y="238"/>
                  <a:pt x="1145" y="242"/>
                  <a:pt x="1145" y="246"/>
                </a:cubicBezTo>
                <a:cubicBezTo>
                  <a:pt x="1145" y="250"/>
                  <a:pt x="1146" y="254"/>
                  <a:pt x="1148" y="257"/>
                </a:cubicBezTo>
                <a:cubicBezTo>
                  <a:pt x="1150" y="259"/>
                  <a:pt x="1153" y="261"/>
                  <a:pt x="1157" y="261"/>
                </a:cubicBezTo>
                <a:cubicBezTo>
                  <a:pt x="1159" y="261"/>
                  <a:pt x="1162" y="260"/>
                  <a:pt x="1163" y="259"/>
                </a:cubicBezTo>
                <a:cubicBezTo>
                  <a:pt x="1165" y="258"/>
                  <a:pt x="1167" y="256"/>
                  <a:pt x="1168" y="255"/>
                </a:cubicBezTo>
                <a:cubicBezTo>
                  <a:pt x="1168" y="256"/>
                  <a:pt x="1168" y="256"/>
                  <a:pt x="1168" y="256"/>
                </a:cubicBezTo>
                <a:cubicBezTo>
                  <a:pt x="1168" y="259"/>
                  <a:pt x="1170" y="261"/>
                  <a:pt x="1173" y="261"/>
                </a:cubicBezTo>
                <a:cubicBezTo>
                  <a:pt x="1174" y="261"/>
                  <a:pt x="1176" y="260"/>
                  <a:pt x="1177" y="259"/>
                </a:cubicBezTo>
                <a:cubicBezTo>
                  <a:pt x="1178" y="258"/>
                  <a:pt x="1179" y="257"/>
                  <a:pt x="1180" y="256"/>
                </a:cubicBezTo>
                <a:cubicBezTo>
                  <a:pt x="1179" y="255"/>
                  <a:pt x="1179" y="255"/>
                  <a:pt x="1179" y="255"/>
                </a:cubicBezTo>
                <a:cubicBezTo>
                  <a:pt x="1178" y="256"/>
                  <a:pt x="1177" y="256"/>
                  <a:pt x="1176" y="256"/>
                </a:cubicBezTo>
                <a:cubicBezTo>
                  <a:pt x="1175" y="256"/>
                  <a:pt x="1175" y="256"/>
                  <a:pt x="1175" y="255"/>
                </a:cubicBezTo>
                <a:cubicBezTo>
                  <a:pt x="1175" y="254"/>
                  <a:pt x="1175" y="254"/>
                  <a:pt x="1175" y="254"/>
                </a:cubicBezTo>
                <a:close/>
                <a:moveTo>
                  <a:pt x="1172" y="225"/>
                </a:moveTo>
                <a:cubicBezTo>
                  <a:pt x="1169" y="250"/>
                  <a:pt x="1169" y="250"/>
                  <a:pt x="1169" y="250"/>
                </a:cubicBezTo>
                <a:cubicBezTo>
                  <a:pt x="1168" y="252"/>
                  <a:pt x="1166" y="253"/>
                  <a:pt x="1164" y="254"/>
                </a:cubicBezTo>
                <a:cubicBezTo>
                  <a:pt x="1163" y="256"/>
                  <a:pt x="1161" y="256"/>
                  <a:pt x="1159" y="256"/>
                </a:cubicBezTo>
                <a:cubicBezTo>
                  <a:pt x="1157" y="256"/>
                  <a:pt x="1155" y="255"/>
                  <a:pt x="1154" y="253"/>
                </a:cubicBezTo>
                <a:cubicBezTo>
                  <a:pt x="1153" y="252"/>
                  <a:pt x="1153" y="249"/>
                  <a:pt x="1153" y="246"/>
                </a:cubicBezTo>
                <a:cubicBezTo>
                  <a:pt x="1153" y="242"/>
                  <a:pt x="1153" y="239"/>
                  <a:pt x="1154" y="236"/>
                </a:cubicBezTo>
                <a:cubicBezTo>
                  <a:pt x="1155" y="232"/>
                  <a:pt x="1157" y="230"/>
                  <a:pt x="1159" y="227"/>
                </a:cubicBezTo>
                <a:cubicBezTo>
                  <a:pt x="1161" y="225"/>
                  <a:pt x="1164" y="224"/>
                  <a:pt x="1167" y="224"/>
                </a:cubicBezTo>
                <a:cubicBezTo>
                  <a:pt x="1169" y="224"/>
                  <a:pt x="1171" y="224"/>
                  <a:pt x="1172" y="225"/>
                </a:cubicBezTo>
                <a:close/>
                <a:moveTo>
                  <a:pt x="1198" y="254"/>
                </a:moveTo>
                <a:cubicBezTo>
                  <a:pt x="1202" y="221"/>
                  <a:pt x="1202" y="221"/>
                  <a:pt x="1202" y="221"/>
                </a:cubicBezTo>
                <a:cubicBezTo>
                  <a:pt x="1201" y="220"/>
                  <a:pt x="1201" y="220"/>
                  <a:pt x="1201" y="220"/>
                </a:cubicBezTo>
                <a:cubicBezTo>
                  <a:pt x="1191" y="222"/>
                  <a:pt x="1191" y="222"/>
                  <a:pt x="1191" y="222"/>
                </a:cubicBezTo>
                <a:cubicBezTo>
                  <a:pt x="1190" y="224"/>
                  <a:pt x="1190" y="224"/>
                  <a:pt x="1190" y="224"/>
                </a:cubicBezTo>
                <a:cubicBezTo>
                  <a:pt x="1195" y="226"/>
                  <a:pt x="1195" y="226"/>
                  <a:pt x="1195" y="226"/>
                </a:cubicBezTo>
                <a:cubicBezTo>
                  <a:pt x="1194" y="233"/>
                  <a:pt x="1193" y="239"/>
                  <a:pt x="1192" y="243"/>
                </a:cubicBezTo>
                <a:cubicBezTo>
                  <a:pt x="1191" y="251"/>
                  <a:pt x="1191" y="255"/>
                  <a:pt x="1191" y="256"/>
                </a:cubicBezTo>
                <a:cubicBezTo>
                  <a:pt x="1190" y="258"/>
                  <a:pt x="1191" y="259"/>
                  <a:pt x="1192" y="260"/>
                </a:cubicBezTo>
                <a:cubicBezTo>
                  <a:pt x="1192" y="260"/>
                  <a:pt x="1194" y="261"/>
                  <a:pt x="1195" y="261"/>
                </a:cubicBezTo>
                <a:cubicBezTo>
                  <a:pt x="1197" y="261"/>
                  <a:pt x="1199" y="260"/>
                  <a:pt x="1200" y="259"/>
                </a:cubicBezTo>
                <a:cubicBezTo>
                  <a:pt x="1202" y="258"/>
                  <a:pt x="1203" y="257"/>
                  <a:pt x="1203" y="256"/>
                </a:cubicBezTo>
                <a:cubicBezTo>
                  <a:pt x="1202" y="254"/>
                  <a:pt x="1202" y="254"/>
                  <a:pt x="1202" y="254"/>
                </a:cubicBezTo>
                <a:cubicBezTo>
                  <a:pt x="1202" y="255"/>
                  <a:pt x="1201" y="256"/>
                  <a:pt x="1200" y="256"/>
                </a:cubicBezTo>
                <a:cubicBezTo>
                  <a:pt x="1200" y="256"/>
                  <a:pt x="1199" y="256"/>
                  <a:pt x="1199" y="256"/>
                </a:cubicBezTo>
                <a:cubicBezTo>
                  <a:pt x="1198" y="256"/>
                  <a:pt x="1198" y="256"/>
                  <a:pt x="1198" y="256"/>
                </a:cubicBezTo>
                <a:cubicBezTo>
                  <a:pt x="1198" y="256"/>
                  <a:pt x="1198" y="255"/>
                  <a:pt x="1198" y="255"/>
                </a:cubicBezTo>
                <a:lnTo>
                  <a:pt x="1198" y="254"/>
                </a:lnTo>
                <a:close/>
                <a:moveTo>
                  <a:pt x="1200" y="213"/>
                </a:moveTo>
                <a:cubicBezTo>
                  <a:pt x="1201" y="213"/>
                  <a:pt x="1202" y="212"/>
                  <a:pt x="1203" y="211"/>
                </a:cubicBezTo>
                <a:cubicBezTo>
                  <a:pt x="1204" y="210"/>
                  <a:pt x="1205" y="209"/>
                  <a:pt x="1205" y="207"/>
                </a:cubicBezTo>
                <a:cubicBezTo>
                  <a:pt x="1205" y="206"/>
                  <a:pt x="1204" y="206"/>
                  <a:pt x="1204" y="205"/>
                </a:cubicBezTo>
                <a:cubicBezTo>
                  <a:pt x="1203" y="204"/>
                  <a:pt x="1202" y="204"/>
                  <a:pt x="1201" y="204"/>
                </a:cubicBezTo>
                <a:cubicBezTo>
                  <a:pt x="1200" y="204"/>
                  <a:pt x="1198" y="204"/>
                  <a:pt x="1198" y="205"/>
                </a:cubicBezTo>
                <a:cubicBezTo>
                  <a:pt x="1197" y="206"/>
                  <a:pt x="1196" y="207"/>
                  <a:pt x="1196" y="209"/>
                </a:cubicBezTo>
                <a:cubicBezTo>
                  <a:pt x="1196" y="210"/>
                  <a:pt x="1197" y="211"/>
                  <a:pt x="1197" y="212"/>
                </a:cubicBezTo>
                <a:cubicBezTo>
                  <a:pt x="1198" y="212"/>
                  <a:pt x="1199" y="213"/>
                  <a:pt x="1200" y="213"/>
                </a:cubicBezTo>
                <a:close/>
                <a:moveTo>
                  <a:pt x="1237" y="228"/>
                </a:moveTo>
                <a:cubicBezTo>
                  <a:pt x="1238" y="229"/>
                  <a:pt x="1238" y="229"/>
                  <a:pt x="1238" y="229"/>
                </a:cubicBezTo>
                <a:cubicBezTo>
                  <a:pt x="1240" y="222"/>
                  <a:pt x="1240" y="222"/>
                  <a:pt x="1240" y="222"/>
                </a:cubicBezTo>
                <a:cubicBezTo>
                  <a:pt x="1239" y="221"/>
                  <a:pt x="1238" y="221"/>
                  <a:pt x="1237" y="221"/>
                </a:cubicBezTo>
                <a:cubicBezTo>
                  <a:pt x="1235" y="220"/>
                  <a:pt x="1234" y="220"/>
                  <a:pt x="1232" y="220"/>
                </a:cubicBezTo>
                <a:cubicBezTo>
                  <a:pt x="1228" y="220"/>
                  <a:pt x="1224" y="221"/>
                  <a:pt x="1221" y="224"/>
                </a:cubicBezTo>
                <a:cubicBezTo>
                  <a:pt x="1218" y="227"/>
                  <a:pt x="1216" y="230"/>
                  <a:pt x="1214" y="234"/>
                </a:cubicBezTo>
                <a:cubicBezTo>
                  <a:pt x="1213" y="237"/>
                  <a:pt x="1212" y="241"/>
                  <a:pt x="1212" y="245"/>
                </a:cubicBezTo>
                <a:cubicBezTo>
                  <a:pt x="1212" y="250"/>
                  <a:pt x="1213" y="254"/>
                  <a:pt x="1215" y="257"/>
                </a:cubicBezTo>
                <a:cubicBezTo>
                  <a:pt x="1217" y="259"/>
                  <a:pt x="1220" y="261"/>
                  <a:pt x="1224" y="261"/>
                </a:cubicBezTo>
                <a:cubicBezTo>
                  <a:pt x="1227" y="261"/>
                  <a:pt x="1230" y="260"/>
                  <a:pt x="1232" y="259"/>
                </a:cubicBezTo>
                <a:cubicBezTo>
                  <a:pt x="1235" y="257"/>
                  <a:pt x="1236" y="256"/>
                  <a:pt x="1238" y="254"/>
                </a:cubicBezTo>
                <a:cubicBezTo>
                  <a:pt x="1236" y="252"/>
                  <a:pt x="1236" y="252"/>
                  <a:pt x="1236" y="252"/>
                </a:cubicBezTo>
                <a:cubicBezTo>
                  <a:pt x="1235" y="253"/>
                  <a:pt x="1233" y="254"/>
                  <a:pt x="1232" y="255"/>
                </a:cubicBezTo>
                <a:cubicBezTo>
                  <a:pt x="1230" y="256"/>
                  <a:pt x="1229" y="256"/>
                  <a:pt x="1227" y="256"/>
                </a:cubicBezTo>
                <a:cubicBezTo>
                  <a:pt x="1224" y="256"/>
                  <a:pt x="1222" y="255"/>
                  <a:pt x="1221" y="253"/>
                </a:cubicBezTo>
                <a:cubicBezTo>
                  <a:pt x="1220" y="251"/>
                  <a:pt x="1219" y="248"/>
                  <a:pt x="1219" y="244"/>
                </a:cubicBezTo>
                <a:cubicBezTo>
                  <a:pt x="1219" y="240"/>
                  <a:pt x="1219" y="237"/>
                  <a:pt x="1221" y="234"/>
                </a:cubicBezTo>
                <a:cubicBezTo>
                  <a:pt x="1222" y="231"/>
                  <a:pt x="1223" y="229"/>
                  <a:pt x="1225" y="227"/>
                </a:cubicBezTo>
                <a:cubicBezTo>
                  <a:pt x="1227" y="225"/>
                  <a:pt x="1229" y="225"/>
                  <a:pt x="1231" y="225"/>
                </a:cubicBezTo>
                <a:cubicBezTo>
                  <a:pt x="1232" y="225"/>
                  <a:pt x="1235" y="226"/>
                  <a:pt x="1237" y="228"/>
                </a:cubicBezTo>
                <a:close/>
                <a:moveTo>
                  <a:pt x="1255" y="254"/>
                </a:moveTo>
                <a:cubicBezTo>
                  <a:pt x="1260" y="221"/>
                  <a:pt x="1260" y="221"/>
                  <a:pt x="1260" y="221"/>
                </a:cubicBezTo>
                <a:cubicBezTo>
                  <a:pt x="1259" y="220"/>
                  <a:pt x="1259" y="220"/>
                  <a:pt x="1259" y="220"/>
                </a:cubicBezTo>
                <a:cubicBezTo>
                  <a:pt x="1249" y="222"/>
                  <a:pt x="1249" y="222"/>
                  <a:pt x="1249" y="222"/>
                </a:cubicBezTo>
                <a:cubicBezTo>
                  <a:pt x="1248" y="224"/>
                  <a:pt x="1248" y="224"/>
                  <a:pt x="1248" y="224"/>
                </a:cubicBezTo>
                <a:cubicBezTo>
                  <a:pt x="1253" y="226"/>
                  <a:pt x="1253" y="226"/>
                  <a:pt x="1253" y="226"/>
                </a:cubicBezTo>
                <a:cubicBezTo>
                  <a:pt x="1252" y="233"/>
                  <a:pt x="1251" y="239"/>
                  <a:pt x="1250" y="243"/>
                </a:cubicBezTo>
                <a:cubicBezTo>
                  <a:pt x="1249" y="251"/>
                  <a:pt x="1248" y="255"/>
                  <a:pt x="1248" y="256"/>
                </a:cubicBezTo>
                <a:cubicBezTo>
                  <a:pt x="1248" y="258"/>
                  <a:pt x="1249" y="259"/>
                  <a:pt x="1249" y="260"/>
                </a:cubicBezTo>
                <a:cubicBezTo>
                  <a:pt x="1250" y="260"/>
                  <a:pt x="1251" y="261"/>
                  <a:pt x="1253" y="261"/>
                </a:cubicBezTo>
                <a:cubicBezTo>
                  <a:pt x="1255" y="261"/>
                  <a:pt x="1256" y="260"/>
                  <a:pt x="1258" y="259"/>
                </a:cubicBezTo>
                <a:cubicBezTo>
                  <a:pt x="1259" y="258"/>
                  <a:pt x="1260" y="257"/>
                  <a:pt x="1261" y="256"/>
                </a:cubicBezTo>
                <a:cubicBezTo>
                  <a:pt x="1260" y="254"/>
                  <a:pt x="1260" y="254"/>
                  <a:pt x="1260" y="254"/>
                </a:cubicBezTo>
                <a:cubicBezTo>
                  <a:pt x="1259" y="255"/>
                  <a:pt x="1259" y="256"/>
                  <a:pt x="1258" y="256"/>
                </a:cubicBezTo>
                <a:cubicBezTo>
                  <a:pt x="1258" y="256"/>
                  <a:pt x="1257" y="256"/>
                  <a:pt x="1256" y="256"/>
                </a:cubicBezTo>
                <a:cubicBezTo>
                  <a:pt x="1256" y="256"/>
                  <a:pt x="1256" y="256"/>
                  <a:pt x="1256" y="256"/>
                </a:cubicBezTo>
                <a:cubicBezTo>
                  <a:pt x="1255" y="256"/>
                  <a:pt x="1255" y="255"/>
                  <a:pt x="1255" y="255"/>
                </a:cubicBezTo>
                <a:lnTo>
                  <a:pt x="1255" y="254"/>
                </a:lnTo>
                <a:close/>
                <a:moveTo>
                  <a:pt x="1258" y="213"/>
                </a:moveTo>
                <a:cubicBezTo>
                  <a:pt x="1259" y="213"/>
                  <a:pt x="1260" y="212"/>
                  <a:pt x="1261" y="211"/>
                </a:cubicBezTo>
                <a:cubicBezTo>
                  <a:pt x="1262" y="210"/>
                  <a:pt x="1262" y="209"/>
                  <a:pt x="1262" y="207"/>
                </a:cubicBezTo>
                <a:cubicBezTo>
                  <a:pt x="1262" y="206"/>
                  <a:pt x="1262" y="206"/>
                  <a:pt x="1261" y="205"/>
                </a:cubicBezTo>
                <a:cubicBezTo>
                  <a:pt x="1261" y="204"/>
                  <a:pt x="1260" y="204"/>
                  <a:pt x="1259" y="204"/>
                </a:cubicBezTo>
                <a:cubicBezTo>
                  <a:pt x="1257" y="204"/>
                  <a:pt x="1256" y="204"/>
                  <a:pt x="1255" y="205"/>
                </a:cubicBezTo>
                <a:cubicBezTo>
                  <a:pt x="1254" y="206"/>
                  <a:pt x="1254" y="207"/>
                  <a:pt x="1254" y="209"/>
                </a:cubicBezTo>
                <a:cubicBezTo>
                  <a:pt x="1254" y="210"/>
                  <a:pt x="1254" y="211"/>
                  <a:pt x="1255" y="212"/>
                </a:cubicBezTo>
                <a:cubicBezTo>
                  <a:pt x="1256" y="212"/>
                  <a:pt x="1257" y="213"/>
                  <a:pt x="1258" y="213"/>
                </a:cubicBezTo>
                <a:close/>
                <a:moveTo>
                  <a:pt x="1282" y="229"/>
                </a:moveTo>
                <a:cubicBezTo>
                  <a:pt x="1283" y="221"/>
                  <a:pt x="1283" y="221"/>
                  <a:pt x="1283" y="221"/>
                </a:cubicBezTo>
                <a:cubicBezTo>
                  <a:pt x="1281" y="220"/>
                  <a:pt x="1281" y="220"/>
                  <a:pt x="1281" y="220"/>
                </a:cubicBezTo>
                <a:cubicBezTo>
                  <a:pt x="1273" y="222"/>
                  <a:pt x="1273" y="222"/>
                  <a:pt x="1273" y="222"/>
                </a:cubicBezTo>
                <a:cubicBezTo>
                  <a:pt x="1272" y="224"/>
                  <a:pt x="1272" y="224"/>
                  <a:pt x="1272" y="224"/>
                </a:cubicBezTo>
                <a:cubicBezTo>
                  <a:pt x="1275" y="226"/>
                  <a:pt x="1275" y="226"/>
                  <a:pt x="1275" y="226"/>
                </a:cubicBezTo>
                <a:cubicBezTo>
                  <a:pt x="1271" y="260"/>
                  <a:pt x="1271" y="260"/>
                  <a:pt x="1271" y="260"/>
                </a:cubicBezTo>
                <a:cubicBezTo>
                  <a:pt x="1278" y="260"/>
                  <a:pt x="1278" y="260"/>
                  <a:pt x="1278" y="260"/>
                </a:cubicBezTo>
                <a:cubicBezTo>
                  <a:pt x="1281" y="235"/>
                  <a:pt x="1281" y="235"/>
                  <a:pt x="1281" y="235"/>
                </a:cubicBezTo>
                <a:cubicBezTo>
                  <a:pt x="1283" y="232"/>
                  <a:pt x="1285" y="230"/>
                  <a:pt x="1287" y="228"/>
                </a:cubicBezTo>
                <a:cubicBezTo>
                  <a:pt x="1289" y="226"/>
                  <a:pt x="1291" y="225"/>
                  <a:pt x="1293" y="225"/>
                </a:cubicBezTo>
                <a:cubicBezTo>
                  <a:pt x="1295" y="225"/>
                  <a:pt x="1296" y="226"/>
                  <a:pt x="1297" y="226"/>
                </a:cubicBezTo>
                <a:cubicBezTo>
                  <a:pt x="1297" y="227"/>
                  <a:pt x="1298" y="229"/>
                  <a:pt x="1298" y="231"/>
                </a:cubicBezTo>
                <a:cubicBezTo>
                  <a:pt x="1298" y="233"/>
                  <a:pt x="1297" y="234"/>
                  <a:pt x="1297" y="236"/>
                </a:cubicBezTo>
                <a:cubicBezTo>
                  <a:pt x="1297" y="238"/>
                  <a:pt x="1297" y="240"/>
                  <a:pt x="1296" y="243"/>
                </a:cubicBezTo>
                <a:cubicBezTo>
                  <a:pt x="1296" y="245"/>
                  <a:pt x="1296" y="245"/>
                  <a:pt x="1296" y="245"/>
                </a:cubicBezTo>
                <a:cubicBezTo>
                  <a:pt x="1295" y="248"/>
                  <a:pt x="1295" y="248"/>
                  <a:pt x="1295" y="248"/>
                </a:cubicBezTo>
                <a:cubicBezTo>
                  <a:pt x="1294" y="252"/>
                  <a:pt x="1294" y="255"/>
                  <a:pt x="1294" y="256"/>
                </a:cubicBezTo>
                <a:cubicBezTo>
                  <a:pt x="1294" y="259"/>
                  <a:pt x="1295" y="261"/>
                  <a:pt x="1298" y="261"/>
                </a:cubicBezTo>
                <a:cubicBezTo>
                  <a:pt x="1300" y="261"/>
                  <a:pt x="1301" y="260"/>
                  <a:pt x="1302" y="260"/>
                </a:cubicBezTo>
                <a:cubicBezTo>
                  <a:pt x="1303" y="259"/>
                  <a:pt x="1304" y="259"/>
                  <a:pt x="1305" y="258"/>
                </a:cubicBezTo>
                <a:cubicBezTo>
                  <a:pt x="1305" y="258"/>
                  <a:pt x="1306" y="257"/>
                  <a:pt x="1306" y="257"/>
                </a:cubicBezTo>
                <a:cubicBezTo>
                  <a:pt x="1305" y="255"/>
                  <a:pt x="1305" y="255"/>
                  <a:pt x="1305" y="255"/>
                </a:cubicBezTo>
                <a:cubicBezTo>
                  <a:pt x="1304" y="256"/>
                  <a:pt x="1303" y="256"/>
                  <a:pt x="1302" y="256"/>
                </a:cubicBezTo>
                <a:cubicBezTo>
                  <a:pt x="1301" y="256"/>
                  <a:pt x="1301" y="256"/>
                  <a:pt x="1301" y="255"/>
                </a:cubicBezTo>
                <a:cubicBezTo>
                  <a:pt x="1301" y="253"/>
                  <a:pt x="1301" y="250"/>
                  <a:pt x="1302" y="246"/>
                </a:cubicBezTo>
                <a:cubicBezTo>
                  <a:pt x="1303" y="243"/>
                  <a:pt x="1303" y="243"/>
                  <a:pt x="1303" y="243"/>
                </a:cubicBezTo>
                <a:cubicBezTo>
                  <a:pt x="1303" y="241"/>
                  <a:pt x="1303" y="241"/>
                  <a:pt x="1303" y="241"/>
                </a:cubicBezTo>
                <a:cubicBezTo>
                  <a:pt x="1304" y="236"/>
                  <a:pt x="1305" y="232"/>
                  <a:pt x="1305" y="230"/>
                </a:cubicBezTo>
                <a:cubicBezTo>
                  <a:pt x="1305" y="227"/>
                  <a:pt x="1304" y="224"/>
                  <a:pt x="1302" y="223"/>
                </a:cubicBezTo>
                <a:cubicBezTo>
                  <a:pt x="1301" y="221"/>
                  <a:pt x="1299" y="220"/>
                  <a:pt x="1296" y="220"/>
                </a:cubicBezTo>
                <a:cubicBezTo>
                  <a:pt x="1294" y="220"/>
                  <a:pt x="1291" y="221"/>
                  <a:pt x="1289" y="223"/>
                </a:cubicBezTo>
                <a:cubicBezTo>
                  <a:pt x="1286" y="224"/>
                  <a:pt x="1284" y="227"/>
                  <a:pt x="1282" y="229"/>
                </a:cubicBezTo>
                <a:close/>
                <a:moveTo>
                  <a:pt x="1342" y="253"/>
                </a:moveTo>
                <a:cubicBezTo>
                  <a:pt x="1340" y="251"/>
                  <a:pt x="1340" y="251"/>
                  <a:pt x="1340" y="251"/>
                </a:cubicBezTo>
                <a:cubicBezTo>
                  <a:pt x="1339" y="253"/>
                  <a:pt x="1337" y="254"/>
                  <a:pt x="1335" y="255"/>
                </a:cubicBezTo>
                <a:cubicBezTo>
                  <a:pt x="1333" y="256"/>
                  <a:pt x="1331" y="256"/>
                  <a:pt x="1329" y="256"/>
                </a:cubicBezTo>
                <a:cubicBezTo>
                  <a:pt x="1326" y="256"/>
                  <a:pt x="1323" y="255"/>
                  <a:pt x="1322" y="253"/>
                </a:cubicBezTo>
                <a:cubicBezTo>
                  <a:pt x="1321" y="250"/>
                  <a:pt x="1320" y="247"/>
                  <a:pt x="1320" y="244"/>
                </a:cubicBezTo>
                <a:cubicBezTo>
                  <a:pt x="1323" y="244"/>
                  <a:pt x="1327" y="244"/>
                  <a:pt x="1330" y="242"/>
                </a:cubicBezTo>
                <a:cubicBezTo>
                  <a:pt x="1334" y="241"/>
                  <a:pt x="1337" y="240"/>
                  <a:pt x="1340" y="237"/>
                </a:cubicBezTo>
                <a:cubicBezTo>
                  <a:pt x="1342" y="235"/>
                  <a:pt x="1344" y="232"/>
                  <a:pt x="1344" y="229"/>
                </a:cubicBezTo>
                <a:cubicBezTo>
                  <a:pt x="1344" y="226"/>
                  <a:pt x="1343" y="224"/>
                  <a:pt x="1341" y="223"/>
                </a:cubicBezTo>
                <a:cubicBezTo>
                  <a:pt x="1340" y="221"/>
                  <a:pt x="1337" y="220"/>
                  <a:pt x="1334" y="220"/>
                </a:cubicBezTo>
                <a:cubicBezTo>
                  <a:pt x="1330" y="220"/>
                  <a:pt x="1326" y="221"/>
                  <a:pt x="1323" y="224"/>
                </a:cubicBezTo>
                <a:cubicBezTo>
                  <a:pt x="1320" y="226"/>
                  <a:pt x="1318" y="229"/>
                  <a:pt x="1316" y="233"/>
                </a:cubicBezTo>
                <a:cubicBezTo>
                  <a:pt x="1314" y="237"/>
                  <a:pt x="1313" y="241"/>
                  <a:pt x="1313" y="246"/>
                </a:cubicBezTo>
                <a:cubicBezTo>
                  <a:pt x="1313" y="248"/>
                  <a:pt x="1314" y="251"/>
                  <a:pt x="1315" y="253"/>
                </a:cubicBezTo>
                <a:cubicBezTo>
                  <a:pt x="1316" y="255"/>
                  <a:pt x="1317" y="257"/>
                  <a:pt x="1319" y="259"/>
                </a:cubicBezTo>
                <a:cubicBezTo>
                  <a:pt x="1321" y="260"/>
                  <a:pt x="1324" y="261"/>
                  <a:pt x="1327" y="261"/>
                </a:cubicBezTo>
                <a:cubicBezTo>
                  <a:pt x="1330" y="261"/>
                  <a:pt x="1333" y="260"/>
                  <a:pt x="1336" y="258"/>
                </a:cubicBezTo>
                <a:cubicBezTo>
                  <a:pt x="1339" y="257"/>
                  <a:pt x="1341" y="255"/>
                  <a:pt x="1342" y="253"/>
                </a:cubicBezTo>
                <a:close/>
                <a:moveTo>
                  <a:pt x="1332" y="224"/>
                </a:moveTo>
                <a:cubicBezTo>
                  <a:pt x="1334" y="224"/>
                  <a:pt x="1335" y="224"/>
                  <a:pt x="1336" y="225"/>
                </a:cubicBezTo>
                <a:cubicBezTo>
                  <a:pt x="1337" y="226"/>
                  <a:pt x="1337" y="228"/>
                  <a:pt x="1337" y="229"/>
                </a:cubicBezTo>
                <a:cubicBezTo>
                  <a:pt x="1337" y="232"/>
                  <a:pt x="1336" y="234"/>
                  <a:pt x="1334" y="235"/>
                </a:cubicBezTo>
                <a:cubicBezTo>
                  <a:pt x="1333" y="237"/>
                  <a:pt x="1331" y="238"/>
                  <a:pt x="1328" y="239"/>
                </a:cubicBezTo>
                <a:cubicBezTo>
                  <a:pt x="1325" y="240"/>
                  <a:pt x="1323" y="241"/>
                  <a:pt x="1321" y="241"/>
                </a:cubicBezTo>
                <a:cubicBezTo>
                  <a:pt x="1321" y="238"/>
                  <a:pt x="1321" y="236"/>
                  <a:pt x="1322" y="233"/>
                </a:cubicBezTo>
                <a:cubicBezTo>
                  <a:pt x="1323" y="230"/>
                  <a:pt x="1325" y="228"/>
                  <a:pt x="1326" y="226"/>
                </a:cubicBezTo>
                <a:cubicBezTo>
                  <a:pt x="1328" y="225"/>
                  <a:pt x="1330" y="224"/>
                  <a:pt x="1332" y="224"/>
                </a:cubicBezTo>
                <a:close/>
              </a:path>
            </a:pathLst>
          </a:custGeom>
          <a:solidFill>
            <a:schemeClr val="bg1"/>
          </a:solidFill>
          <a:ln>
            <a:noFill/>
          </a:ln>
        </p:spPr>
        <p:txBody>
          <a:bodyPr vert="horz" wrap="square" lIns="121920" tIns="60960" rIns="121920" bIns="60960" numCol="1" anchor="t" anchorCtr="0" compatLnSpc="1">
            <a:prstTxWarp prst="textNoShape">
              <a:avLst/>
            </a:prstTxWarp>
          </a:bodyPr>
          <a:lstStyle/>
          <a:p>
            <a:endParaRPr lang="en-US" sz="2400"/>
          </a:p>
        </p:txBody>
      </p:sp>
      <p:sp>
        <p:nvSpPr>
          <p:cNvPr id="17" name="Text Placeholder 16">
            <a:extLst>
              <a:ext uri="{FF2B5EF4-FFF2-40B4-BE49-F238E27FC236}">
                <a16:creationId xmlns:a16="http://schemas.microsoft.com/office/drawing/2014/main" id="{FCA018DF-7EFB-4D08-89D5-E61FB47F425E}"/>
              </a:ext>
            </a:extLst>
          </p:cNvPr>
          <p:cNvSpPr>
            <a:spLocks noGrp="1"/>
          </p:cNvSpPr>
          <p:nvPr>
            <p:ph type="body" sz="quarter" idx="12" hasCustomPrompt="1"/>
          </p:nvPr>
        </p:nvSpPr>
        <p:spPr>
          <a:xfrm>
            <a:off x="7995920" y="6515586"/>
            <a:ext cx="3222413" cy="169277"/>
          </a:xfrm>
        </p:spPr>
        <p:txBody>
          <a:bodyPr wrap="square">
            <a:spAutoFit/>
          </a:bodyPr>
          <a:lstStyle>
            <a:lvl1pPr marL="0" indent="0">
              <a:buNone/>
              <a:defRPr sz="1000" cap="all" spc="147" baseline="0">
                <a:solidFill>
                  <a:schemeClr val="tx2"/>
                </a:solidFill>
              </a:defRPr>
            </a:lvl1pPr>
          </a:lstStyle>
          <a:p>
            <a:pPr lvl="0"/>
            <a:r>
              <a:rPr lang="en-US"/>
              <a:t>CLICK TO EDIT MASTER TEXT</a:t>
            </a:r>
          </a:p>
        </p:txBody>
      </p:sp>
    </p:spTree>
    <p:extLst>
      <p:ext uri="{BB962C8B-B14F-4D97-AF65-F5344CB8AC3E}">
        <p14:creationId xmlns:p14="http://schemas.microsoft.com/office/powerpoint/2010/main" val="3866823208"/>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p:cSld name="Section Header - Deep Purpl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60400" y="1874075"/>
            <a:ext cx="4794739" cy="2363591"/>
          </a:xfrm>
        </p:spPr>
        <p:txBody>
          <a:bodyPr anchor="t" anchorCtr="0">
            <a:normAutofit/>
          </a:bodyPr>
          <a:lstStyle>
            <a:lvl1pPr>
              <a:defRPr sz="3733">
                <a:solidFill>
                  <a:schemeClr val="bg1"/>
                </a:solidFill>
              </a:defRPr>
            </a:lvl1pPr>
          </a:lstStyle>
          <a:p>
            <a:r>
              <a:rPr lang="en-US"/>
              <a:t>Click to edit Master title style</a:t>
            </a:r>
          </a:p>
        </p:txBody>
      </p:sp>
      <p:sp>
        <p:nvSpPr>
          <p:cNvPr id="3" name="Text Placeholder 2"/>
          <p:cNvSpPr>
            <a:spLocks noGrp="1"/>
          </p:cNvSpPr>
          <p:nvPr>
            <p:ph type="body" idx="1" hasCustomPrompt="1"/>
          </p:nvPr>
        </p:nvSpPr>
        <p:spPr>
          <a:xfrm>
            <a:off x="9759493" y="1524037"/>
            <a:ext cx="1547447" cy="1249231"/>
          </a:xfrm>
        </p:spPr>
        <p:txBody>
          <a:bodyPr>
            <a:noAutofit/>
          </a:bodyPr>
          <a:lstStyle>
            <a:lvl1pPr marL="0" indent="0" algn="r">
              <a:buNone/>
              <a:defRPr sz="8000">
                <a:solidFill>
                  <a:srgbClr val="B6BDBD"/>
                </a:solidFill>
                <a:latin typeface="+mj-lt"/>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a:t>XX</a:t>
            </a:r>
          </a:p>
        </p:txBody>
      </p:sp>
      <p:sp>
        <p:nvSpPr>
          <p:cNvPr id="6" name="Slide Number Placeholder 5"/>
          <p:cNvSpPr>
            <a:spLocks noGrp="1"/>
          </p:cNvSpPr>
          <p:nvPr>
            <p:ph type="sldNum" sz="quarter" idx="12"/>
          </p:nvPr>
        </p:nvSpPr>
        <p:spPr/>
        <p:txBody>
          <a:bodyPr/>
          <a:lstStyle/>
          <a:p>
            <a:fld id="{46D584E9-81E4-493B-AD1D-A460B5445953}" type="slidenum">
              <a:rPr lang="en-US" smtClean="0"/>
              <a:t>‹#›</a:t>
            </a:fld>
            <a:endParaRPr lang="en-US"/>
          </a:p>
        </p:txBody>
      </p:sp>
      <p:sp>
        <p:nvSpPr>
          <p:cNvPr id="10" name="Picture Placeholder 9">
            <a:extLst>
              <a:ext uri="{FF2B5EF4-FFF2-40B4-BE49-F238E27FC236}">
                <a16:creationId xmlns:a16="http://schemas.microsoft.com/office/drawing/2014/main" id="{8113BA2E-092B-4BF2-8FB1-0AAC0955C2BB}"/>
              </a:ext>
            </a:extLst>
          </p:cNvPr>
          <p:cNvSpPr>
            <a:spLocks noGrp="1"/>
          </p:cNvSpPr>
          <p:nvPr>
            <p:ph type="pic" sz="quarter" idx="13"/>
          </p:nvPr>
        </p:nvSpPr>
        <p:spPr>
          <a:xfrm>
            <a:off x="5831418" y="1873251"/>
            <a:ext cx="4116916" cy="4984749"/>
          </a:xfrm>
          <a:solidFill>
            <a:schemeClr val="bg2">
              <a:lumMod val="90000"/>
            </a:schemeClr>
          </a:solidFill>
        </p:spPr>
        <p:txBody>
          <a:bodyPr tIns="548640"/>
          <a:lstStyle>
            <a:lvl1pPr marL="0" indent="0" algn="ctr">
              <a:buNone/>
              <a:defRPr/>
            </a:lvl1pPr>
          </a:lstStyle>
          <a:p>
            <a:r>
              <a:rPr lang="en-US"/>
              <a:t>Click icon to add picture</a:t>
            </a:r>
          </a:p>
        </p:txBody>
      </p:sp>
      <p:sp>
        <p:nvSpPr>
          <p:cNvPr id="11" name="Text Placeholder 16">
            <a:extLst>
              <a:ext uri="{FF2B5EF4-FFF2-40B4-BE49-F238E27FC236}">
                <a16:creationId xmlns:a16="http://schemas.microsoft.com/office/drawing/2014/main" id="{D8F21E1D-5F95-4EE3-B551-B64B1E8EA4BC}"/>
              </a:ext>
            </a:extLst>
          </p:cNvPr>
          <p:cNvSpPr>
            <a:spLocks noGrp="1"/>
          </p:cNvSpPr>
          <p:nvPr>
            <p:ph type="body" sz="quarter" idx="14" hasCustomPrompt="1"/>
          </p:nvPr>
        </p:nvSpPr>
        <p:spPr>
          <a:xfrm>
            <a:off x="660400" y="637244"/>
            <a:ext cx="3222413" cy="180627"/>
          </a:xfrm>
        </p:spPr>
        <p:txBody>
          <a:bodyPr wrap="square">
            <a:spAutoFit/>
          </a:bodyPr>
          <a:lstStyle>
            <a:lvl1pPr marL="0" indent="0">
              <a:buNone/>
              <a:defRPr sz="1067" cap="all" spc="147" baseline="0">
                <a:solidFill>
                  <a:schemeClr val="bg1"/>
                </a:solidFill>
              </a:defRPr>
            </a:lvl1pPr>
          </a:lstStyle>
          <a:p>
            <a:pPr lvl="0"/>
            <a:r>
              <a:rPr lang="en-US"/>
              <a:t>CLICK TO EDIT MASTER TEXT</a:t>
            </a:r>
          </a:p>
        </p:txBody>
      </p:sp>
    </p:spTree>
    <p:extLst>
      <p:ext uri="{BB962C8B-B14F-4D97-AF65-F5344CB8AC3E}">
        <p14:creationId xmlns:p14="http://schemas.microsoft.com/office/powerpoint/2010/main" val="2338797789"/>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p:cSld name="Section Header - Deep Blue">
    <p:bg>
      <p:bgPr>
        <a:solidFill>
          <a:srgbClr val="31547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60400" y="1874075"/>
            <a:ext cx="4794739" cy="2363591"/>
          </a:xfrm>
        </p:spPr>
        <p:txBody>
          <a:bodyPr anchor="t" anchorCtr="0">
            <a:normAutofit/>
          </a:bodyPr>
          <a:lstStyle>
            <a:lvl1pPr>
              <a:defRPr sz="3733">
                <a:solidFill>
                  <a:schemeClr val="bg1"/>
                </a:solidFill>
              </a:defRPr>
            </a:lvl1pPr>
          </a:lstStyle>
          <a:p>
            <a:r>
              <a:rPr lang="en-US"/>
              <a:t>Click to edit Master title style</a:t>
            </a:r>
          </a:p>
        </p:txBody>
      </p:sp>
      <p:sp>
        <p:nvSpPr>
          <p:cNvPr id="3" name="Text Placeholder 2"/>
          <p:cNvSpPr>
            <a:spLocks noGrp="1"/>
          </p:cNvSpPr>
          <p:nvPr>
            <p:ph type="body" idx="1" hasCustomPrompt="1"/>
          </p:nvPr>
        </p:nvSpPr>
        <p:spPr>
          <a:xfrm>
            <a:off x="9759493" y="1524037"/>
            <a:ext cx="1547447" cy="1249231"/>
          </a:xfrm>
        </p:spPr>
        <p:txBody>
          <a:bodyPr>
            <a:noAutofit/>
          </a:bodyPr>
          <a:lstStyle>
            <a:lvl1pPr marL="0" indent="0" algn="r">
              <a:buNone/>
              <a:defRPr sz="8000">
                <a:solidFill>
                  <a:srgbClr val="B6BDBD"/>
                </a:solidFill>
                <a:latin typeface="+mj-lt"/>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a:t>XX</a:t>
            </a:r>
          </a:p>
        </p:txBody>
      </p:sp>
      <p:sp>
        <p:nvSpPr>
          <p:cNvPr id="6" name="Slide Number Placeholder 5"/>
          <p:cNvSpPr>
            <a:spLocks noGrp="1"/>
          </p:cNvSpPr>
          <p:nvPr>
            <p:ph type="sldNum" sz="quarter" idx="12"/>
          </p:nvPr>
        </p:nvSpPr>
        <p:spPr/>
        <p:txBody>
          <a:bodyPr/>
          <a:lstStyle/>
          <a:p>
            <a:fld id="{46D584E9-81E4-493B-AD1D-A460B5445953}" type="slidenum">
              <a:rPr lang="en-US" smtClean="0"/>
              <a:t>‹#›</a:t>
            </a:fld>
            <a:endParaRPr lang="en-US"/>
          </a:p>
        </p:txBody>
      </p:sp>
      <p:sp>
        <p:nvSpPr>
          <p:cNvPr id="10" name="Picture Placeholder 9">
            <a:extLst>
              <a:ext uri="{FF2B5EF4-FFF2-40B4-BE49-F238E27FC236}">
                <a16:creationId xmlns:a16="http://schemas.microsoft.com/office/drawing/2014/main" id="{8113BA2E-092B-4BF2-8FB1-0AAC0955C2BB}"/>
              </a:ext>
            </a:extLst>
          </p:cNvPr>
          <p:cNvSpPr>
            <a:spLocks noGrp="1"/>
          </p:cNvSpPr>
          <p:nvPr>
            <p:ph type="pic" sz="quarter" idx="13"/>
          </p:nvPr>
        </p:nvSpPr>
        <p:spPr>
          <a:xfrm>
            <a:off x="5831418" y="1873251"/>
            <a:ext cx="4116916" cy="4984749"/>
          </a:xfrm>
          <a:solidFill>
            <a:schemeClr val="bg2">
              <a:lumMod val="90000"/>
            </a:schemeClr>
          </a:solidFill>
        </p:spPr>
        <p:txBody>
          <a:bodyPr tIns="548640"/>
          <a:lstStyle>
            <a:lvl1pPr marL="0" indent="0" algn="ctr">
              <a:buNone/>
              <a:defRPr/>
            </a:lvl1pPr>
          </a:lstStyle>
          <a:p>
            <a:r>
              <a:rPr lang="en-US"/>
              <a:t>Click icon to add picture</a:t>
            </a:r>
          </a:p>
        </p:txBody>
      </p:sp>
      <p:sp>
        <p:nvSpPr>
          <p:cNvPr id="11" name="Text Placeholder 16">
            <a:extLst>
              <a:ext uri="{FF2B5EF4-FFF2-40B4-BE49-F238E27FC236}">
                <a16:creationId xmlns:a16="http://schemas.microsoft.com/office/drawing/2014/main" id="{D8F21E1D-5F95-4EE3-B551-B64B1E8EA4BC}"/>
              </a:ext>
            </a:extLst>
          </p:cNvPr>
          <p:cNvSpPr>
            <a:spLocks noGrp="1"/>
          </p:cNvSpPr>
          <p:nvPr>
            <p:ph type="body" sz="quarter" idx="14" hasCustomPrompt="1"/>
          </p:nvPr>
        </p:nvSpPr>
        <p:spPr>
          <a:xfrm>
            <a:off x="660400" y="637244"/>
            <a:ext cx="3222413" cy="180627"/>
          </a:xfrm>
        </p:spPr>
        <p:txBody>
          <a:bodyPr wrap="square">
            <a:spAutoFit/>
          </a:bodyPr>
          <a:lstStyle>
            <a:lvl1pPr marL="0" indent="0">
              <a:buNone/>
              <a:defRPr sz="1067" cap="all" spc="147" baseline="0">
                <a:solidFill>
                  <a:schemeClr val="bg1"/>
                </a:solidFill>
              </a:defRPr>
            </a:lvl1pPr>
          </a:lstStyle>
          <a:p>
            <a:pPr lvl="0"/>
            <a:r>
              <a:rPr lang="en-US"/>
              <a:t>CLICK TO EDIT MASTER TEXT</a:t>
            </a:r>
          </a:p>
        </p:txBody>
      </p:sp>
    </p:spTree>
    <p:extLst>
      <p:ext uri="{BB962C8B-B14F-4D97-AF65-F5344CB8AC3E}">
        <p14:creationId xmlns:p14="http://schemas.microsoft.com/office/powerpoint/2010/main" val="3534450161"/>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p:cSld name="Section Header - Deep Violet">
    <p:bg>
      <p:bgPr>
        <a:solidFill>
          <a:srgbClr val="683B5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60400" y="1874075"/>
            <a:ext cx="4794739" cy="2363591"/>
          </a:xfrm>
        </p:spPr>
        <p:txBody>
          <a:bodyPr anchor="t" anchorCtr="0">
            <a:normAutofit/>
          </a:bodyPr>
          <a:lstStyle>
            <a:lvl1pPr>
              <a:defRPr sz="3733">
                <a:solidFill>
                  <a:schemeClr val="bg1"/>
                </a:solidFill>
              </a:defRPr>
            </a:lvl1pPr>
          </a:lstStyle>
          <a:p>
            <a:r>
              <a:rPr lang="en-US"/>
              <a:t>Click to edit Master title style</a:t>
            </a:r>
          </a:p>
        </p:txBody>
      </p:sp>
      <p:sp>
        <p:nvSpPr>
          <p:cNvPr id="3" name="Text Placeholder 2"/>
          <p:cNvSpPr>
            <a:spLocks noGrp="1"/>
          </p:cNvSpPr>
          <p:nvPr>
            <p:ph type="body" idx="1" hasCustomPrompt="1"/>
          </p:nvPr>
        </p:nvSpPr>
        <p:spPr>
          <a:xfrm>
            <a:off x="9759493" y="1524037"/>
            <a:ext cx="1547447" cy="1249231"/>
          </a:xfrm>
        </p:spPr>
        <p:txBody>
          <a:bodyPr>
            <a:noAutofit/>
          </a:bodyPr>
          <a:lstStyle>
            <a:lvl1pPr marL="0" indent="0" algn="r">
              <a:buNone/>
              <a:defRPr sz="8000">
                <a:solidFill>
                  <a:srgbClr val="B6BDBD"/>
                </a:solidFill>
                <a:latin typeface="+mj-lt"/>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a:t>XX</a:t>
            </a:r>
          </a:p>
        </p:txBody>
      </p:sp>
      <p:sp>
        <p:nvSpPr>
          <p:cNvPr id="6" name="Slide Number Placeholder 5"/>
          <p:cNvSpPr>
            <a:spLocks noGrp="1"/>
          </p:cNvSpPr>
          <p:nvPr>
            <p:ph type="sldNum" sz="quarter" idx="12"/>
          </p:nvPr>
        </p:nvSpPr>
        <p:spPr/>
        <p:txBody>
          <a:bodyPr/>
          <a:lstStyle/>
          <a:p>
            <a:fld id="{46D584E9-81E4-493B-AD1D-A460B5445953}" type="slidenum">
              <a:rPr lang="en-US" smtClean="0"/>
              <a:t>‹#›</a:t>
            </a:fld>
            <a:endParaRPr lang="en-US"/>
          </a:p>
        </p:txBody>
      </p:sp>
      <p:sp>
        <p:nvSpPr>
          <p:cNvPr id="10" name="Picture Placeholder 9">
            <a:extLst>
              <a:ext uri="{FF2B5EF4-FFF2-40B4-BE49-F238E27FC236}">
                <a16:creationId xmlns:a16="http://schemas.microsoft.com/office/drawing/2014/main" id="{8113BA2E-092B-4BF2-8FB1-0AAC0955C2BB}"/>
              </a:ext>
            </a:extLst>
          </p:cNvPr>
          <p:cNvSpPr>
            <a:spLocks noGrp="1"/>
          </p:cNvSpPr>
          <p:nvPr>
            <p:ph type="pic" sz="quarter" idx="13"/>
          </p:nvPr>
        </p:nvSpPr>
        <p:spPr>
          <a:xfrm>
            <a:off x="5831418" y="1873251"/>
            <a:ext cx="4116916" cy="4984749"/>
          </a:xfrm>
          <a:solidFill>
            <a:schemeClr val="bg2">
              <a:lumMod val="90000"/>
            </a:schemeClr>
          </a:solidFill>
        </p:spPr>
        <p:txBody>
          <a:bodyPr tIns="548640"/>
          <a:lstStyle>
            <a:lvl1pPr marL="0" indent="0" algn="ctr">
              <a:buNone/>
              <a:defRPr/>
            </a:lvl1pPr>
          </a:lstStyle>
          <a:p>
            <a:r>
              <a:rPr lang="en-US"/>
              <a:t>Click icon to add picture</a:t>
            </a:r>
          </a:p>
        </p:txBody>
      </p:sp>
      <p:sp>
        <p:nvSpPr>
          <p:cNvPr id="11" name="Text Placeholder 16">
            <a:extLst>
              <a:ext uri="{FF2B5EF4-FFF2-40B4-BE49-F238E27FC236}">
                <a16:creationId xmlns:a16="http://schemas.microsoft.com/office/drawing/2014/main" id="{D8F21E1D-5F95-4EE3-B551-B64B1E8EA4BC}"/>
              </a:ext>
            </a:extLst>
          </p:cNvPr>
          <p:cNvSpPr>
            <a:spLocks noGrp="1"/>
          </p:cNvSpPr>
          <p:nvPr>
            <p:ph type="body" sz="quarter" idx="14" hasCustomPrompt="1"/>
          </p:nvPr>
        </p:nvSpPr>
        <p:spPr>
          <a:xfrm>
            <a:off x="660400" y="637244"/>
            <a:ext cx="3222413" cy="180627"/>
          </a:xfrm>
        </p:spPr>
        <p:txBody>
          <a:bodyPr wrap="square">
            <a:spAutoFit/>
          </a:bodyPr>
          <a:lstStyle>
            <a:lvl1pPr marL="0" indent="0">
              <a:buNone/>
              <a:defRPr sz="1067" cap="all" spc="147" baseline="0">
                <a:solidFill>
                  <a:schemeClr val="bg1"/>
                </a:solidFill>
              </a:defRPr>
            </a:lvl1pPr>
          </a:lstStyle>
          <a:p>
            <a:pPr lvl="0"/>
            <a:r>
              <a:rPr lang="en-US"/>
              <a:t>CLICK TO EDIT MASTER TEXT</a:t>
            </a:r>
          </a:p>
        </p:txBody>
      </p:sp>
    </p:spTree>
    <p:extLst>
      <p:ext uri="{BB962C8B-B14F-4D97-AF65-F5344CB8AC3E}">
        <p14:creationId xmlns:p14="http://schemas.microsoft.com/office/powerpoint/2010/main" val="1637464322"/>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p:cSld name="Section Header - Deep Green">
    <p:bg>
      <p:bgPr>
        <a:solidFill>
          <a:srgbClr val="34484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60400" y="1874075"/>
            <a:ext cx="4794739" cy="2363591"/>
          </a:xfrm>
        </p:spPr>
        <p:txBody>
          <a:bodyPr anchor="t" anchorCtr="0">
            <a:normAutofit/>
          </a:bodyPr>
          <a:lstStyle>
            <a:lvl1pPr>
              <a:defRPr sz="3733">
                <a:solidFill>
                  <a:schemeClr val="bg1"/>
                </a:solidFill>
              </a:defRPr>
            </a:lvl1pPr>
          </a:lstStyle>
          <a:p>
            <a:r>
              <a:rPr lang="en-US"/>
              <a:t>Click to edit Master title style</a:t>
            </a:r>
          </a:p>
        </p:txBody>
      </p:sp>
      <p:sp>
        <p:nvSpPr>
          <p:cNvPr id="3" name="Text Placeholder 2"/>
          <p:cNvSpPr>
            <a:spLocks noGrp="1"/>
          </p:cNvSpPr>
          <p:nvPr>
            <p:ph type="body" idx="1" hasCustomPrompt="1"/>
          </p:nvPr>
        </p:nvSpPr>
        <p:spPr>
          <a:xfrm>
            <a:off x="9759493" y="1524037"/>
            <a:ext cx="1547447" cy="1249231"/>
          </a:xfrm>
        </p:spPr>
        <p:txBody>
          <a:bodyPr>
            <a:noAutofit/>
          </a:bodyPr>
          <a:lstStyle>
            <a:lvl1pPr marL="0" indent="0" algn="r">
              <a:buNone/>
              <a:defRPr sz="8000">
                <a:solidFill>
                  <a:srgbClr val="B6BDBD"/>
                </a:solidFill>
                <a:latin typeface="+mj-lt"/>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a:t>XX</a:t>
            </a:r>
          </a:p>
        </p:txBody>
      </p:sp>
      <p:sp>
        <p:nvSpPr>
          <p:cNvPr id="6" name="Slide Number Placeholder 5"/>
          <p:cNvSpPr>
            <a:spLocks noGrp="1"/>
          </p:cNvSpPr>
          <p:nvPr>
            <p:ph type="sldNum" sz="quarter" idx="12"/>
          </p:nvPr>
        </p:nvSpPr>
        <p:spPr/>
        <p:txBody>
          <a:bodyPr/>
          <a:lstStyle/>
          <a:p>
            <a:fld id="{46D584E9-81E4-493B-AD1D-A460B5445953}" type="slidenum">
              <a:rPr lang="en-US" smtClean="0"/>
              <a:t>‹#›</a:t>
            </a:fld>
            <a:endParaRPr lang="en-US"/>
          </a:p>
        </p:txBody>
      </p:sp>
      <p:sp>
        <p:nvSpPr>
          <p:cNvPr id="10" name="Picture Placeholder 9">
            <a:extLst>
              <a:ext uri="{FF2B5EF4-FFF2-40B4-BE49-F238E27FC236}">
                <a16:creationId xmlns:a16="http://schemas.microsoft.com/office/drawing/2014/main" id="{8113BA2E-092B-4BF2-8FB1-0AAC0955C2BB}"/>
              </a:ext>
            </a:extLst>
          </p:cNvPr>
          <p:cNvSpPr>
            <a:spLocks noGrp="1"/>
          </p:cNvSpPr>
          <p:nvPr>
            <p:ph type="pic" sz="quarter" idx="13"/>
          </p:nvPr>
        </p:nvSpPr>
        <p:spPr>
          <a:xfrm>
            <a:off x="5831418" y="1873251"/>
            <a:ext cx="4116916" cy="4984749"/>
          </a:xfrm>
          <a:solidFill>
            <a:schemeClr val="bg2">
              <a:lumMod val="90000"/>
            </a:schemeClr>
          </a:solidFill>
        </p:spPr>
        <p:txBody>
          <a:bodyPr tIns="548640"/>
          <a:lstStyle>
            <a:lvl1pPr marL="0" indent="0" algn="ctr">
              <a:buNone/>
              <a:defRPr/>
            </a:lvl1pPr>
          </a:lstStyle>
          <a:p>
            <a:r>
              <a:rPr lang="en-US"/>
              <a:t>Click icon to add picture</a:t>
            </a:r>
          </a:p>
        </p:txBody>
      </p:sp>
      <p:sp>
        <p:nvSpPr>
          <p:cNvPr id="11" name="Text Placeholder 16">
            <a:extLst>
              <a:ext uri="{FF2B5EF4-FFF2-40B4-BE49-F238E27FC236}">
                <a16:creationId xmlns:a16="http://schemas.microsoft.com/office/drawing/2014/main" id="{D8F21E1D-5F95-4EE3-B551-B64B1E8EA4BC}"/>
              </a:ext>
            </a:extLst>
          </p:cNvPr>
          <p:cNvSpPr>
            <a:spLocks noGrp="1"/>
          </p:cNvSpPr>
          <p:nvPr>
            <p:ph type="body" sz="quarter" idx="14" hasCustomPrompt="1"/>
          </p:nvPr>
        </p:nvSpPr>
        <p:spPr>
          <a:xfrm>
            <a:off x="660400" y="637244"/>
            <a:ext cx="3222413" cy="180627"/>
          </a:xfrm>
        </p:spPr>
        <p:txBody>
          <a:bodyPr wrap="square">
            <a:spAutoFit/>
          </a:bodyPr>
          <a:lstStyle>
            <a:lvl1pPr marL="0" indent="0">
              <a:buNone/>
              <a:defRPr sz="1067" cap="all" spc="147" baseline="0">
                <a:solidFill>
                  <a:schemeClr val="bg1"/>
                </a:solidFill>
              </a:defRPr>
            </a:lvl1pPr>
          </a:lstStyle>
          <a:p>
            <a:pPr lvl="0"/>
            <a:r>
              <a:rPr lang="en-US"/>
              <a:t>CLICK TO EDIT MASTER TEXT</a:t>
            </a:r>
          </a:p>
        </p:txBody>
      </p:sp>
    </p:spTree>
    <p:extLst>
      <p:ext uri="{BB962C8B-B14F-4D97-AF65-F5344CB8AC3E}">
        <p14:creationId xmlns:p14="http://schemas.microsoft.com/office/powerpoint/2010/main" val="1309563827"/>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p:cSld name="Section Header - Deep Red">
    <p:bg>
      <p:bgPr>
        <a:solidFill>
          <a:srgbClr val="7C2629"/>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60400" y="1874075"/>
            <a:ext cx="4794739" cy="2363591"/>
          </a:xfrm>
        </p:spPr>
        <p:txBody>
          <a:bodyPr anchor="t" anchorCtr="0">
            <a:normAutofit/>
          </a:bodyPr>
          <a:lstStyle>
            <a:lvl1pPr>
              <a:defRPr sz="3733">
                <a:solidFill>
                  <a:schemeClr val="bg1"/>
                </a:solidFill>
              </a:defRPr>
            </a:lvl1pPr>
          </a:lstStyle>
          <a:p>
            <a:r>
              <a:rPr lang="en-US"/>
              <a:t>Click to edit Master title style</a:t>
            </a:r>
          </a:p>
        </p:txBody>
      </p:sp>
      <p:sp>
        <p:nvSpPr>
          <p:cNvPr id="3" name="Text Placeholder 2"/>
          <p:cNvSpPr>
            <a:spLocks noGrp="1"/>
          </p:cNvSpPr>
          <p:nvPr>
            <p:ph type="body" idx="1" hasCustomPrompt="1"/>
          </p:nvPr>
        </p:nvSpPr>
        <p:spPr>
          <a:xfrm>
            <a:off x="9759493" y="1524037"/>
            <a:ext cx="1547447" cy="1249231"/>
          </a:xfrm>
        </p:spPr>
        <p:txBody>
          <a:bodyPr>
            <a:noAutofit/>
          </a:bodyPr>
          <a:lstStyle>
            <a:lvl1pPr marL="0" indent="0" algn="r">
              <a:buNone/>
              <a:defRPr sz="8000">
                <a:solidFill>
                  <a:srgbClr val="B6BDBD"/>
                </a:solidFill>
                <a:latin typeface="+mj-lt"/>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a:t>XX</a:t>
            </a:r>
          </a:p>
        </p:txBody>
      </p:sp>
      <p:sp>
        <p:nvSpPr>
          <p:cNvPr id="6" name="Slide Number Placeholder 5"/>
          <p:cNvSpPr>
            <a:spLocks noGrp="1"/>
          </p:cNvSpPr>
          <p:nvPr>
            <p:ph type="sldNum" sz="quarter" idx="12"/>
          </p:nvPr>
        </p:nvSpPr>
        <p:spPr/>
        <p:txBody>
          <a:bodyPr/>
          <a:lstStyle/>
          <a:p>
            <a:fld id="{46D584E9-81E4-493B-AD1D-A460B5445953}" type="slidenum">
              <a:rPr lang="en-US" smtClean="0"/>
              <a:t>‹#›</a:t>
            </a:fld>
            <a:endParaRPr lang="en-US"/>
          </a:p>
        </p:txBody>
      </p:sp>
      <p:sp>
        <p:nvSpPr>
          <p:cNvPr id="10" name="Picture Placeholder 9">
            <a:extLst>
              <a:ext uri="{FF2B5EF4-FFF2-40B4-BE49-F238E27FC236}">
                <a16:creationId xmlns:a16="http://schemas.microsoft.com/office/drawing/2014/main" id="{8113BA2E-092B-4BF2-8FB1-0AAC0955C2BB}"/>
              </a:ext>
            </a:extLst>
          </p:cNvPr>
          <p:cNvSpPr>
            <a:spLocks noGrp="1"/>
          </p:cNvSpPr>
          <p:nvPr>
            <p:ph type="pic" sz="quarter" idx="13"/>
          </p:nvPr>
        </p:nvSpPr>
        <p:spPr>
          <a:xfrm>
            <a:off x="5831418" y="1873251"/>
            <a:ext cx="4116916" cy="4984749"/>
          </a:xfrm>
          <a:solidFill>
            <a:schemeClr val="bg2">
              <a:lumMod val="90000"/>
            </a:schemeClr>
          </a:solidFill>
        </p:spPr>
        <p:txBody>
          <a:bodyPr tIns="548640"/>
          <a:lstStyle>
            <a:lvl1pPr marL="0" indent="0" algn="ctr">
              <a:buNone/>
              <a:defRPr/>
            </a:lvl1pPr>
          </a:lstStyle>
          <a:p>
            <a:r>
              <a:rPr lang="en-US"/>
              <a:t>Click icon to add picture</a:t>
            </a:r>
          </a:p>
        </p:txBody>
      </p:sp>
      <p:sp>
        <p:nvSpPr>
          <p:cNvPr id="11" name="Text Placeholder 16">
            <a:extLst>
              <a:ext uri="{FF2B5EF4-FFF2-40B4-BE49-F238E27FC236}">
                <a16:creationId xmlns:a16="http://schemas.microsoft.com/office/drawing/2014/main" id="{D8F21E1D-5F95-4EE3-B551-B64B1E8EA4BC}"/>
              </a:ext>
            </a:extLst>
          </p:cNvPr>
          <p:cNvSpPr>
            <a:spLocks noGrp="1"/>
          </p:cNvSpPr>
          <p:nvPr>
            <p:ph type="body" sz="quarter" idx="14" hasCustomPrompt="1"/>
          </p:nvPr>
        </p:nvSpPr>
        <p:spPr>
          <a:xfrm>
            <a:off x="660400" y="637244"/>
            <a:ext cx="3222413" cy="180627"/>
          </a:xfrm>
        </p:spPr>
        <p:txBody>
          <a:bodyPr wrap="square">
            <a:spAutoFit/>
          </a:bodyPr>
          <a:lstStyle>
            <a:lvl1pPr marL="0" indent="0">
              <a:buNone/>
              <a:defRPr sz="1067" cap="all" spc="147" baseline="0">
                <a:solidFill>
                  <a:schemeClr val="bg1"/>
                </a:solidFill>
              </a:defRPr>
            </a:lvl1pPr>
          </a:lstStyle>
          <a:p>
            <a:pPr lvl="0"/>
            <a:r>
              <a:rPr lang="en-US"/>
              <a:t>CLICK TO EDIT MASTER TEXT</a:t>
            </a:r>
          </a:p>
        </p:txBody>
      </p:sp>
    </p:spTree>
    <p:extLst>
      <p:ext uri="{BB962C8B-B14F-4D97-AF65-F5344CB8AC3E}">
        <p14:creationId xmlns:p14="http://schemas.microsoft.com/office/powerpoint/2010/main" val="3299119941"/>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p:cSld name="Section Header - Deep Gold">
    <p:bg>
      <p:bgPr>
        <a:solidFill>
          <a:srgbClr val="73531D"/>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60400" y="1874075"/>
            <a:ext cx="4794739" cy="2363591"/>
          </a:xfrm>
        </p:spPr>
        <p:txBody>
          <a:bodyPr anchor="t" anchorCtr="0">
            <a:normAutofit/>
          </a:bodyPr>
          <a:lstStyle>
            <a:lvl1pPr>
              <a:defRPr sz="3733">
                <a:solidFill>
                  <a:schemeClr val="bg1"/>
                </a:solidFill>
              </a:defRPr>
            </a:lvl1pPr>
          </a:lstStyle>
          <a:p>
            <a:r>
              <a:rPr lang="en-US"/>
              <a:t>Click to edit Master title style</a:t>
            </a:r>
          </a:p>
        </p:txBody>
      </p:sp>
      <p:sp>
        <p:nvSpPr>
          <p:cNvPr id="3" name="Text Placeholder 2"/>
          <p:cNvSpPr>
            <a:spLocks noGrp="1"/>
          </p:cNvSpPr>
          <p:nvPr>
            <p:ph type="body" idx="1" hasCustomPrompt="1"/>
          </p:nvPr>
        </p:nvSpPr>
        <p:spPr>
          <a:xfrm>
            <a:off x="9759493" y="1524037"/>
            <a:ext cx="1547447" cy="1249231"/>
          </a:xfrm>
        </p:spPr>
        <p:txBody>
          <a:bodyPr>
            <a:noAutofit/>
          </a:bodyPr>
          <a:lstStyle>
            <a:lvl1pPr marL="0" indent="0" algn="r">
              <a:buNone/>
              <a:defRPr sz="8000">
                <a:solidFill>
                  <a:srgbClr val="B6BDBD"/>
                </a:solidFill>
                <a:latin typeface="+mj-lt"/>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a:t>XX</a:t>
            </a:r>
          </a:p>
        </p:txBody>
      </p:sp>
      <p:sp>
        <p:nvSpPr>
          <p:cNvPr id="6" name="Slide Number Placeholder 5"/>
          <p:cNvSpPr>
            <a:spLocks noGrp="1"/>
          </p:cNvSpPr>
          <p:nvPr>
            <p:ph type="sldNum" sz="quarter" idx="12"/>
          </p:nvPr>
        </p:nvSpPr>
        <p:spPr/>
        <p:txBody>
          <a:bodyPr/>
          <a:lstStyle/>
          <a:p>
            <a:fld id="{46D584E9-81E4-493B-AD1D-A460B5445953}" type="slidenum">
              <a:rPr lang="en-US" smtClean="0"/>
              <a:t>‹#›</a:t>
            </a:fld>
            <a:endParaRPr lang="en-US"/>
          </a:p>
        </p:txBody>
      </p:sp>
      <p:sp>
        <p:nvSpPr>
          <p:cNvPr id="10" name="Picture Placeholder 9">
            <a:extLst>
              <a:ext uri="{FF2B5EF4-FFF2-40B4-BE49-F238E27FC236}">
                <a16:creationId xmlns:a16="http://schemas.microsoft.com/office/drawing/2014/main" id="{8113BA2E-092B-4BF2-8FB1-0AAC0955C2BB}"/>
              </a:ext>
            </a:extLst>
          </p:cNvPr>
          <p:cNvSpPr>
            <a:spLocks noGrp="1"/>
          </p:cNvSpPr>
          <p:nvPr>
            <p:ph type="pic" sz="quarter" idx="13"/>
          </p:nvPr>
        </p:nvSpPr>
        <p:spPr>
          <a:xfrm>
            <a:off x="5831418" y="1873251"/>
            <a:ext cx="4116916" cy="4984749"/>
          </a:xfrm>
          <a:solidFill>
            <a:schemeClr val="bg2">
              <a:lumMod val="90000"/>
            </a:schemeClr>
          </a:solidFill>
        </p:spPr>
        <p:txBody>
          <a:bodyPr tIns="548640"/>
          <a:lstStyle>
            <a:lvl1pPr marL="0" indent="0" algn="ctr">
              <a:buNone/>
              <a:defRPr/>
            </a:lvl1pPr>
          </a:lstStyle>
          <a:p>
            <a:r>
              <a:rPr lang="en-US"/>
              <a:t>Click icon to add picture</a:t>
            </a:r>
          </a:p>
        </p:txBody>
      </p:sp>
      <p:sp>
        <p:nvSpPr>
          <p:cNvPr id="11" name="Text Placeholder 16">
            <a:extLst>
              <a:ext uri="{FF2B5EF4-FFF2-40B4-BE49-F238E27FC236}">
                <a16:creationId xmlns:a16="http://schemas.microsoft.com/office/drawing/2014/main" id="{D8F21E1D-5F95-4EE3-B551-B64B1E8EA4BC}"/>
              </a:ext>
            </a:extLst>
          </p:cNvPr>
          <p:cNvSpPr>
            <a:spLocks noGrp="1"/>
          </p:cNvSpPr>
          <p:nvPr>
            <p:ph type="body" sz="quarter" idx="14" hasCustomPrompt="1"/>
          </p:nvPr>
        </p:nvSpPr>
        <p:spPr>
          <a:xfrm>
            <a:off x="660400" y="637244"/>
            <a:ext cx="3222413" cy="180627"/>
          </a:xfrm>
        </p:spPr>
        <p:txBody>
          <a:bodyPr wrap="square">
            <a:spAutoFit/>
          </a:bodyPr>
          <a:lstStyle>
            <a:lvl1pPr marL="0" indent="0">
              <a:buNone/>
              <a:defRPr sz="1067" cap="all" spc="147" baseline="0">
                <a:solidFill>
                  <a:schemeClr val="bg1"/>
                </a:solidFill>
              </a:defRPr>
            </a:lvl1pPr>
          </a:lstStyle>
          <a:p>
            <a:pPr lvl="0"/>
            <a:r>
              <a:rPr lang="en-US"/>
              <a:t>CLICK TO EDIT MASTER TEXT</a:t>
            </a:r>
          </a:p>
        </p:txBody>
      </p:sp>
    </p:spTree>
    <p:extLst>
      <p:ext uri="{BB962C8B-B14F-4D97-AF65-F5344CB8AC3E}">
        <p14:creationId xmlns:p14="http://schemas.microsoft.com/office/powerpoint/2010/main" val="140584069"/>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p:cSld name="Quote">
    <p:spTree>
      <p:nvGrpSpPr>
        <p:cNvPr id="1" name=""/>
        <p:cNvGrpSpPr/>
        <p:nvPr/>
      </p:nvGrpSpPr>
      <p:grpSpPr>
        <a:xfrm>
          <a:off x="0" y="0"/>
          <a:ext cx="0" cy="0"/>
          <a:chOff x="0" y="0"/>
          <a:chExt cx="0" cy="0"/>
        </a:xfrm>
      </p:grpSpPr>
      <p:sp>
        <p:nvSpPr>
          <p:cNvPr id="15" name="Picture Placeholder 14">
            <a:extLst>
              <a:ext uri="{FF2B5EF4-FFF2-40B4-BE49-F238E27FC236}">
                <a16:creationId xmlns:a16="http://schemas.microsoft.com/office/drawing/2014/main" id="{BB92FFCA-85D1-4CA5-A797-87F6F998E12D}"/>
              </a:ext>
            </a:extLst>
          </p:cNvPr>
          <p:cNvSpPr>
            <a:spLocks noGrp="1"/>
          </p:cNvSpPr>
          <p:nvPr>
            <p:ph type="pic" sz="quarter" idx="13"/>
          </p:nvPr>
        </p:nvSpPr>
        <p:spPr>
          <a:xfrm>
            <a:off x="0" y="1"/>
            <a:ext cx="12192000" cy="3329353"/>
          </a:xfrm>
          <a:solidFill>
            <a:schemeClr val="bg2">
              <a:lumMod val="90000"/>
            </a:schemeClr>
          </a:solidFill>
        </p:spPr>
        <p:txBody>
          <a:bodyPr lIns="274320" tIns="182880"/>
          <a:lstStyle>
            <a:lvl1pPr marL="0" indent="0">
              <a:buNone/>
              <a:defRPr/>
            </a:lvl1pPr>
          </a:lstStyle>
          <a:p>
            <a:r>
              <a:rPr lang="en-US"/>
              <a:t>Click icon to add picture</a:t>
            </a:r>
          </a:p>
        </p:txBody>
      </p:sp>
      <p:sp>
        <p:nvSpPr>
          <p:cNvPr id="21" name="Text Placeholder 20">
            <a:extLst>
              <a:ext uri="{FF2B5EF4-FFF2-40B4-BE49-F238E27FC236}">
                <a16:creationId xmlns:a16="http://schemas.microsoft.com/office/drawing/2014/main" id="{31E953C3-1002-4E09-BA10-86FC589FF3FC}"/>
              </a:ext>
            </a:extLst>
          </p:cNvPr>
          <p:cNvSpPr>
            <a:spLocks noGrp="1"/>
          </p:cNvSpPr>
          <p:nvPr>
            <p:ph type="body" sz="quarter" idx="14"/>
          </p:nvPr>
        </p:nvSpPr>
        <p:spPr>
          <a:xfrm>
            <a:off x="596900" y="569649"/>
            <a:ext cx="10996115" cy="5715000"/>
          </a:xfrm>
          <a:solidFill>
            <a:schemeClr val="bg2"/>
          </a:solidFill>
        </p:spPr>
        <p:txBody>
          <a:bodyPr lIns="1097280" tIns="1005840" rIns="1097280" bIns="457200"/>
          <a:lstStyle>
            <a:lvl1pPr marL="0" indent="0" algn="ctr">
              <a:buNone/>
              <a:defRPr sz="3200">
                <a:solidFill>
                  <a:schemeClr val="tx2"/>
                </a:solidFill>
                <a:latin typeface="+mj-lt"/>
              </a:defRPr>
            </a:lvl1pPr>
          </a:lstStyle>
          <a:p>
            <a:pPr lvl="0"/>
            <a:r>
              <a:rPr lang="en-US"/>
              <a:t>Edit Master text styles</a:t>
            </a:r>
          </a:p>
        </p:txBody>
      </p:sp>
      <p:sp>
        <p:nvSpPr>
          <p:cNvPr id="3" name="Content Placeholder 2"/>
          <p:cNvSpPr>
            <a:spLocks noGrp="1"/>
          </p:cNvSpPr>
          <p:nvPr>
            <p:ph idx="1" hasCustomPrompt="1"/>
          </p:nvPr>
        </p:nvSpPr>
        <p:spPr>
          <a:xfrm>
            <a:off x="975360" y="4407023"/>
            <a:ext cx="10557933" cy="844916"/>
          </a:xfrm>
        </p:spPr>
        <p:txBody>
          <a:bodyPr/>
          <a:lstStyle>
            <a:lvl1pPr marL="0" indent="0" algn="ctr">
              <a:buNone/>
              <a:defRPr sz="1200" cap="all" baseline="0">
                <a:solidFill>
                  <a:schemeClr val="tx1"/>
                </a:solidFill>
              </a:defRPr>
            </a:lvl1pPr>
          </a:lstStyle>
          <a:p>
            <a:pPr lvl="0"/>
            <a:r>
              <a:rPr lang="en-US"/>
              <a:t>CLICK TO EDIT MASTER TEXT STYLES</a:t>
            </a:r>
          </a:p>
        </p:txBody>
      </p:sp>
      <p:sp>
        <p:nvSpPr>
          <p:cNvPr id="6" name="Slide Number Placeholder 5"/>
          <p:cNvSpPr>
            <a:spLocks noGrp="1"/>
          </p:cNvSpPr>
          <p:nvPr>
            <p:ph type="sldNum" sz="quarter" idx="12"/>
          </p:nvPr>
        </p:nvSpPr>
        <p:spPr/>
        <p:txBody>
          <a:bodyPr/>
          <a:lstStyle/>
          <a:p>
            <a:fld id="{46D584E9-81E4-493B-AD1D-A460B5445953}" type="slidenum">
              <a:rPr lang="en-US" smtClean="0"/>
              <a:t>‹#›</a:t>
            </a:fld>
            <a:endParaRPr lang="en-US"/>
          </a:p>
        </p:txBody>
      </p:sp>
      <p:cxnSp>
        <p:nvCxnSpPr>
          <p:cNvPr id="11" name="Straight Connector 10">
            <a:extLst>
              <a:ext uri="{FF2B5EF4-FFF2-40B4-BE49-F238E27FC236}">
                <a16:creationId xmlns:a16="http://schemas.microsoft.com/office/drawing/2014/main" id="{CB4A3CA8-0675-4C7A-87AF-4DB85AF9EED9}"/>
              </a:ext>
            </a:extLst>
          </p:cNvPr>
          <p:cNvCxnSpPr>
            <a:cxnSpLocks/>
          </p:cNvCxnSpPr>
          <p:nvPr/>
        </p:nvCxnSpPr>
        <p:spPr>
          <a:xfrm>
            <a:off x="5942232" y="3940712"/>
            <a:ext cx="417928" cy="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6461817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2400"/>
            </a:lvl1pPr>
          </a:lstStyle>
          <a:p>
            <a:r>
              <a:rPr lang="en-US"/>
              <a:t>Click to edit Master title style</a:t>
            </a:r>
          </a:p>
        </p:txBody>
      </p:sp>
      <p:sp>
        <p:nvSpPr>
          <p:cNvPr id="3" name="Content Placeholder 2"/>
          <p:cNvSpPr>
            <a:spLocks noGrp="1"/>
          </p:cNvSpPr>
          <p:nvPr>
            <p:ph idx="1"/>
          </p:nvPr>
        </p:nvSpPr>
        <p:spPr>
          <a:xfrm>
            <a:off x="5183188" y="987431"/>
            <a:ext cx="6172200" cy="4873625"/>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Click to edit Master text styles</a:t>
            </a:r>
          </a:p>
        </p:txBody>
      </p:sp>
      <p:sp>
        <p:nvSpPr>
          <p:cNvPr id="5" name="Date Placeholder 3">
            <a:extLst>
              <a:ext uri="{FF2B5EF4-FFF2-40B4-BE49-F238E27FC236}">
                <a16:creationId xmlns:a16="http://schemas.microsoft.com/office/drawing/2014/main" id="{92D18056-D893-E680-CA90-013DFE121EFA}"/>
              </a:ext>
            </a:extLst>
          </p:cNvPr>
          <p:cNvSpPr>
            <a:spLocks noGrp="1"/>
          </p:cNvSpPr>
          <p:nvPr>
            <p:ph type="dt" sz="half" idx="10"/>
          </p:nvPr>
        </p:nvSpPr>
        <p:spPr/>
        <p:txBody>
          <a:bodyPr/>
          <a:lstStyle>
            <a:lvl1pPr>
              <a:defRPr/>
            </a:lvl1pPr>
          </a:lstStyle>
          <a:p>
            <a:pPr>
              <a:defRPr/>
            </a:pPr>
            <a:r>
              <a:rPr lang="en-US"/>
              <a:t>May 5 and 6, 2020</a:t>
            </a:r>
          </a:p>
        </p:txBody>
      </p:sp>
      <p:sp>
        <p:nvSpPr>
          <p:cNvPr id="6" name="Footer Placeholder 4">
            <a:extLst>
              <a:ext uri="{FF2B5EF4-FFF2-40B4-BE49-F238E27FC236}">
                <a16:creationId xmlns:a16="http://schemas.microsoft.com/office/drawing/2014/main" id="{BF5B4049-454C-698A-F9C0-313AA7209D76}"/>
              </a:ext>
            </a:extLst>
          </p:cNvPr>
          <p:cNvSpPr>
            <a:spLocks noGrp="1"/>
          </p:cNvSpPr>
          <p:nvPr>
            <p:ph type="ftr" sz="quarter" idx="11"/>
          </p:nvPr>
        </p:nvSpPr>
        <p:spPr/>
        <p:txBody>
          <a:bodyPr/>
          <a:lstStyle>
            <a:lvl1pPr>
              <a:defRPr/>
            </a:lvl1pPr>
          </a:lstStyle>
          <a:p>
            <a:pPr>
              <a:defRPr/>
            </a:pPr>
            <a:r>
              <a:rPr lang="en-US"/>
              <a:t>FY 2022 Strategy Session  [Name of Campaign] Campaign</a:t>
            </a:r>
          </a:p>
        </p:txBody>
      </p:sp>
      <p:sp>
        <p:nvSpPr>
          <p:cNvPr id="7" name="Slide Number Placeholder 5">
            <a:extLst>
              <a:ext uri="{FF2B5EF4-FFF2-40B4-BE49-F238E27FC236}">
                <a16:creationId xmlns:a16="http://schemas.microsoft.com/office/drawing/2014/main" id="{567141C7-A1CC-B458-F189-7E901032C5A5}"/>
              </a:ext>
            </a:extLst>
          </p:cNvPr>
          <p:cNvSpPr>
            <a:spLocks noGrp="1"/>
          </p:cNvSpPr>
          <p:nvPr>
            <p:ph type="sldNum" sz="quarter" idx="12"/>
          </p:nvPr>
        </p:nvSpPr>
        <p:spPr/>
        <p:txBody>
          <a:bodyPr/>
          <a:lstStyle>
            <a:lvl1pPr>
              <a:defRPr/>
            </a:lvl1pPr>
          </a:lstStyle>
          <a:p>
            <a:pPr>
              <a:defRPr/>
            </a:pPr>
            <a:fld id="{147D4586-8D9F-4468-824A-E97277C40240}" type="slidenum">
              <a:rPr lang="en-US"/>
              <a:pPr>
                <a:defRPr/>
              </a:pPr>
              <a:t>‹#›</a:t>
            </a:fld>
            <a:endParaRPr lang="en-US"/>
          </a:p>
        </p:txBody>
      </p:sp>
    </p:spTree>
    <p:extLst>
      <p:ext uri="{BB962C8B-B14F-4D97-AF65-F5344CB8AC3E}">
        <p14:creationId xmlns:p14="http://schemas.microsoft.com/office/powerpoint/2010/main" val="2868160854"/>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46D584E9-81E4-493B-AD1D-A460B5445953}" type="slidenum">
              <a:rPr lang="en-US" smtClean="0"/>
              <a:t>‹#›</a:t>
            </a:fld>
            <a:endParaRPr lang="en-US"/>
          </a:p>
        </p:txBody>
      </p:sp>
    </p:spTree>
    <p:extLst>
      <p:ext uri="{BB962C8B-B14F-4D97-AF65-F5344CB8AC3E}">
        <p14:creationId xmlns:p14="http://schemas.microsoft.com/office/powerpoint/2010/main" val="685226827"/>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type="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661052" y="2423585"/>
            <a:ext cx="4809717" cy="372211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46D584E9-81E4-493B-AD1D-A460B5445953}" type="slidenum">
              <a:rPr lang="en-US" smtClean="0"/>
              <a:t>‹#›</a:t>
            </a:fld>
            <a:endParaRPr lang="en-US"/>
          </a:p>
        </p:txBody>
      </p:sp>
      <p:sp>
        <p:nvSpPr>
          <p:cNvPr id="5" name="Content Placeholder 2">
            <a:extLst>
              <a:ext uri="{FF2B5EF4-FFF2-40B4-BE49-F238E27FC236}">
                <a16:creationId xmlns:a16="http://schemas.microsoft.com/office/drawing/2014/main" id="{BA822995-1844-4B85-89FD-F70A7096EEBE}"/>
              </a:ext>
            </a:extLst>
          </p:cNvPr>
          <p:cNvSpPr>
            <a:spLocks noGrp="1"/>
          </p:cNvSpPr>
          <p:nvPr>
            <p:ph idx="13"/>
          </p:nvPr>
        </p:nvSpPr>
        <p:spPr>
          <a:xfrm>
            <a:off x="5919007" y="2423585"/>
            <a:ext cx="4809717" cy="372211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11909286"/>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type="obj" preserve="1">
  <p:cSld name="Three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661052" y="2423585"/>
            <a:ext cx="3146072" cy="372211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46D584E9-81E4-493B-AD1D-A460B5445953}" type="slidenum">
              <a:rPr lang="en-US" smtClean="0"/>
              <a:t>‹#›</a:t>
            </a:fld>
            <a:endParaRPr lang="en-US"/>
          </a:p>
        </p:txBody>
      </p:sp>
      <p:sp>
        <p:nvSpPr>
          <p:cNvPr id="5" name="Content Placeholder 2">
            <a:extLst>
              <a:ext uri="{FF2B5EF4-FFF2-40B4-BE49-F238E27FC236}">
                <a16:creationId xmlns:a16="http://schemas.microsoft.com/office/drawing/2014/main" id="{BA822995-1844-4B85-89FD-F70A7096EEBE}"/>
              </a:ext>
            </a:extLst>
          </p:cNvPr>
          <p:cNvSpPr>
            <a:spLocks noGrp="1"/>
          </p:cNvSpPr>
          <p:nvPr>
            <p:ph idx="13"/>
          </p:nvPr>
        </p:nvSpPr>
        <p:spPr>
          <a:xfrm>
            <a:off x="4365809" y="2423585"/>
            <a:ext cx="3146072" cy="372211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2">
            <a:extLst>
              <a:ext uri="{FF2B5EF4-FFF2-40B4-BE49-F238E27FC236}">
                <a16:creationId xmlns:a16="http://schemas.microsoft.com/office/drawing/2014/main" id="{FE843150-ADE4-4964-8B5C-777665BC9CFE}"/>
              </a:ext>
            </a:extLst>
          </p:cNvPr>
          <p:cNvSpPr>
            <a:spLocks noGrp="1"/>
          </p:cNvSpPr>
          <p:nvPr>
            <p:ph idx="14"/>
          </p:nvPr>
        </p:nvSpPr>
        <p:spPr>
          <a:xfrm>
            <a:off x="8070567" y="2423585"/>
            <a:ext cx="3146072" cy="372211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09079640"/>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p:cSld name="Four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661053" y="2423585"/>
            <a:ext cx="2352443" cy="3722119"/>
          </a:xfrm>
        </p:spPr>
        <p:txBody>
          <a:bodyPr/>
          <a:lstStyle>
            <a:lvl1pPr marL="230712" indent="-230712">
              <a:defRPr sz="1733"/>
            </a:lvl1pPr>
            <a:lvl2pPr marL="459306" indent="-228594">
              <a:defRPr sz="1600"/>
            </a:lvl2pPr>
            <a:lvl3pPr marL="690016" indent="-230712">
              <a:defRPr/>
            </a:lvl3pPr>
            <a:lvl4pPr marL="920728" indent="-230712">
              <a:defRPr sz="1333"/>
            </a:lvl4pPr>
            <a:lvl5pPr marL="1138738" indent="-218012">
              <a:defRPr/>
            </a:lvl5pPr>
          </a:lstStyle>
          <a:p>
            <a:pPr lvl="0"/>
            <a:r>
              <a:rPr lang="en-US"/>
              <a:t>Edit Master text styles</a:t>
            </a:r>
          </a:p>
          <a:p>
            <a:pPr lvl="1"/>
            <a:r>
              <a:rPr lang="en-US"/>
              <a:t>Second level</a:t>
            </a:r>
          </a:p>
          <a:p>
            <a:pPr lvl="2"/>
            <a:r>
              <a:rPr lang="en-US"/>
              <a:t>Third level</a:t>
            </a:r>
          </a:p>
          <a:p>
            <a:pPr lvl="3"/>
            <a:r>
              <a:rPr lang="en-US"/>
              <a:t>Fourth level</a:t>
            </a:r>
          </a:p>
        </p:txBody>
      </p:sp>
      <p:sp>
        <p:nvSpPr>
          <p:cNvPr id="6" name="Slide Number Placeholder 5"/>
          <p:cNvSpPr>
            <a:spLocks noGrp="1"/>
          </p:cNvSpPr>
          <p:nvPr>
            <p:ph type="sldNum" sz="quarter" idx="12"/>
          </p:nvPr>
        </p:nvSpPr>
        <p:spPr/>
        <p:txBody>
          <a:bodyPr/>
          <a:lstStyle/>
          <a:p>
            <a:fld id="{46D584E9-81E4-493B-AD1D-A460B5445953}" type="slidenum">
              <a:rPr lang="en-US" smtClean="0"/>
              <a:t>‹#›</a:t>
            </a:fld>
            <a:endParaRPr lang="en-US"/>
          </a:p>
        </p:txBody>
      </p:sp>
      <p:sp>
        <p:nvSpPr>
          <p:cNvPr id="12" name="Content Placeholder 2">
            <a:extLst>
              <a:ext uri="{FF2B5EF4-FFF2-40B4-BE49-F238E27FC236}">
                <a16:creationId xmlns:a16="http://schemas.microsoft.com/office/drawing/2014/main" id="{5F7BB18F-7847-4709-B159-588F3CA5D57D}"/>
              </a:ext>
            </a:extLst>
          </p:cNvPr>
          <p:cNvSpPr>
            <a:spLocks noGrp="1"/>
          </p:cNvSpPr>
          <p:nvPr>
            <p:ph idx="13"/>
          </p:nvPr>
        </p:nvSpPr>
        <p:spPr>
          <a:xfrm>
            <a:off x="3395435" y="2423585"/>
            <a:ext cx="2352443" cy="3722119"/>
          </a:xfrm>
        </p:spPr>
        <p:txBody>
          <a:bodyPr/>
          <a:lstStyle>
            <a:lvl1pPr marL="230712" indent="-230712">
              <a:defRPr sz="1733"/>
            </a:lvl1pPr>
            <a:lvl2pPr marL="459306" indent="-228594">
              <a:defRPr sz="1600"/>
            </a:lvl2pPr>
            <a:lvl3pPr marL="690016" indent="-230712">
              <a:defRPr/>
            </a:lvl3pPr>
            <a:lvl4pPr marL="920728" indent="-230712">
              <a:defRPr sz="1333"/>
            </a:lvl4pPr>
            <a:lvl5pPr marL="1138738" indent="-218012">
              <a:defRPr/>
            </a:lvl5pPr>
          </a:lstStyle>
          <a:p>
            <a:pPr lvl="0"/>
            <a:r>
              <a:rPr lang="en-US"/>
              <a:t>Edit Master text styles</a:t>
            </a:r>
          </a:p>
          <a:p>
            <a:pPr lvl="1"/>
            <a:r>
              <a:rPr lang="en-US"/>
              <a:t>Second level</a:t>
            </a:r>
          </a:p>
          <a:p>
            <a:pPr lvl="2"/>
            <a:r>
              <a:rPr lang="en-US"/>
              <a:t>Third level</a:t>
            </a:r>
          </a:p>
          <a:p>
            <a:pPr lvl="3"/>
            <a:r>
              <a:rPr lang="en-US"/>
              <a:t>Fourth level</a:t>
            </a:r>
          </a:p>
        </p:txBody>
      </p:sp>
      <p:sp>
        <p:nvSpPr>
          <p:cNvPr id="13" name="Content Placeholder 2">
            <a:extLst>
              <a:ext uri="{FF2B5EF4-FFF2-40B4-BE49-F238E27FC236}">
                <a16:creationId xmlns:a16="http://schemas.microsoft.com/office/drawing/2014/main" id="{D974D9DD-910B-4846-A2BB-F0F43AEC4720}"/>
              </a:ext>
            </a:extLst>
          </p:cNvPr>
          <p:cNvSpPr>
            <a:spLocks noGrp="1"/>
          </p:cNvSpPr>
          <p:nvPr>
            <p:ph idx="14"/>
          </p:nvPr>
        </p:nvSpPr>
        <p:spPr>
          <a:xfrm>
            <a:off x="6129816" y="2423585"/>
            <a:ext cx="2352443" cy="3722119"/>
          </a:xfrm>
        </p:spPr>
        <p:txBody>
          <a:bodyPr/>
          <a:lstStyle>
            <a:lvl1pPr marL="230712" indent="-230712">
              <a:defRPr sz="1733"/>
            </a:lvl1pPr>
            <a:lvl2pPr marL="459306" indent="-228594">
              <a:defRPr sz="1600"/>
            </a:lvl2pPr>
            <a:lvl3pPr marL="690016" indent="-230712">
              <a:defRPr/>
            </a:lvl3pPr>
            <a:lvl4pPr marL="920728" indent="-230712">
              <a:defRPr sz="1333"/>
            </a:lvl4pPr>
            <a:lvl5pPr marL="1138738" indent="-218012">
              <a:defRPr/>
            </a:lvl5pPr>
          </a:lstStyle>
          <a:p>
            <a:pPr lvl="0"/>
            <a:r>
              <a:rPr lang="en-US"/>
              <a:t>Edit Master text styles</a:t>
            </a:r>
          </a:p>
          <a:p>
            <a:pPr lvl="1"/>
            <a:r>
              <a:rPr lang="en-US"/>
              <a:t>Second level</a:t>
            </a:r>
          </a:p>
          <a:p>
            <a:pPr lvl="2"/>
            <a:r>
              <a:rPr lang="en-US"/>
              <a:t>Third level</a:t>
            </a:r>
          </a:p>
          <a:p>
            <a:pPr lvl="3"/>
            <a:r>
              <a:rPr lang="en-US"/>
              <a:t>Fourth level</a:t>
            </a:r>
          </a:p>
        </p:txBody>
      </p:sp>
      <p:sp>
        <p:nvSpPr>
          <p:cNvPr id="14" name="Content Placeholder 2">
            <a:extLst>
              <a:ext uri="{FF2B5EF4-FFF2-40B4-BE49-F238E27FC236}">
                <a16:creationId xmlns:a16="http://schemas.microsoft.com/office/drawing/2014/main" id="{0D08DDAC-45DA-407C-952A-1A0B402D35DE}"/>
              </a:ext>
            </a:extLst>
          </p:cNvPr>
          <p:cNvSpPr>
            <a:spLocks noGrp="1"/>
          </p:cNvSpPr>
          <p:nvPr>
            <p:ph idx="15"/>
          </p:nvPr>
        </p:nvSpPr>
        <p:spPr>
          <a:xfrm>
            <a:off x="8864196" y="2423585"/>
            <a:ext cx="2352443" cy="3722119"/>
          </a:xfrm>
        </p:spPr>
        <p:txBody>
          <a:bodyPr/>
          <a:lstStyle>
            <a:lvl1pPr marL="230712" indent="-230712">
              <a:defRPr sz="1733"/>
            </a:lvl1pPr>
            <a:lvl2pPr marL="459306" indent="-228594">
              <a:defRPr sz="1600"/>
            </a:lvl2pPr>
            <a:lvl3pPr marL="690016" indent="-230712">
              <a:defRPr/>
            </a:lvl3pPr>
            <a:lvl4pPr marL="920728" indent="-230712">
              <a:defRPr sz="1333"/>
            </a:lvl4pPr>
            <a:lvl5pPr marL="1138738" indent="-218012">
              <a:defRPr/>
            </a:lvl5pPr>
          </a:lstStyle>
          <a:p>
            <a:pPr lvl="0"/>
            <a:r>
              <a:rPr lang="en-US"/>
              <a:t>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2239260032"/>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p:cSld name="Five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661054" y="2423585"/>
            <a:ext cx="1926871" cy="3722119"/>
          </a:xfrm>
        </p:spPr>
        <p:txBody>
          <a:bodyPr/>
          <a:lstStyle>
            <a:lvl1pPr marL="150280" indent="-150280">
              <a:defRPr sz="1467"/>
            </a:lvl1pPr>
            <a:lvl2pPr marL="311143" indent="-160863">
              <a:defRPr sz="1333"/>
            </a:lvl2pPr>
            <a:lvl3pPr marL="459306" indent="-148163">
              <a:defRPr sz="1200"/>
            </a:lvl3pPr>
            <a:lvl4pPr marL="609585" indent="-150280">
              <a:defRPr sz="1067"/>
            </a:lvl4pPr>
            <a:lvl5pPr marL="1138738" indent="-218012">
              <a:defRPr/>
            </a:lvl5pPr>
          </a:lstStyle>
          <a:p>
            <a:pPr lvl="0"/>
            <a:r>
              <a:rPr lang="en-US"/>
              <a:t>Edit Master text styles</a:t>
            </a:r>
          </a:p>
          <a:p>
            <a:pPr lvl="1"/>
            <a:r>
              <a:rPr lang="en-US"/>
              <a:t>Second level</a:t>
            </a:r>
          </a:p>
          <a:p>
            <a:pPr lvl="2"/>
            <a:r>
              <a:rPr lang="en-US"/>
              <a:t>Third level</a:t>
            </a:r>
          </a:p>
          <a:p>
            <a:pPr lvl="3"/>
            <a:r>
              <a:rPr lang="en-US"/>
              <a:t>Fourth level</a:t>
            </a:r>
          </a:p>
        </p:txBody>
      </p:sp>
      <p:sp>
        <p:nvSpPr>
          <p:cNvPr id="6" name="Slide Number Placeholder 5"/>
          <p:cNvSpPr>
            <a:spLocks noGrp="1"/>
          </p:cNvSpPr>
          <p:nvPr>
            <p:ph type="sldNum" sz="quarter" idx="12"/>
          </p:nvPr>
        </p:nvSpPr>
        <p:spPr/>
        <p:txBody>
          <a:bodyPr/>
          <a:lstStyle/>
          <a:p>
            <a:fld id="{46D584E9-81E4-493B-AD1D-A460B5445953}" type="slidenum">
              <a:rPr lang="en-US" smtClean="0"/>
              <a:t>‹#›</a:t>
            </a:fld>
            <a:endParaRPr lang="en-US"/>
          </a:p>
        </p:txBody>
      </p:sp>
      <p:sp>
        <p:nvSpPr>
          <p:cNvPr id="19" name="Content Placeholder 2">
            <a:extLst>
              <a:ext uri="{FF2B5EF4-FFF2-40B4-BE49-F238E27FC236}">
                <a16:creationId xmlns:a16="http://schemas.microsoft.com/office/drawing/2014/main" id="{4EB108D6-7313-4C37-8D4F-6A49FA0933B4}"/>
              </a:ext>
            </a:extLst>
          </p:cNvPr>
          <p:cNvSpPr>
            <a:spLocks noGrp="1"/>
          </p:cNvSpPr>
          <p:nvPr>
            <p:ph idx="13"/>
          </p:nvPr>
        </p:nvSpPr>
        <p:spPr>
          <a:xfrm>
            <a:off x="2817658" y="2423585"/>
            <a:ext cx="1926871" cy="3722119"/>
          </a:xfrm>
        </p:spPr>
        <p:txBody>
          <a:bodyPr/>
          <a:lstStyle>
            <a:lvl1pPr marL="150280" indent="-150280">
              <a:defRPr sz="1467"/>
            </a:lvl1pPr>
            <a:lvl2pPr marL="311143" indent="-160863">
              <a:defRPr sz="1333"/>
            </a:lvl2pPr>
            <a:lvl3pPr marL="459306" indent="-148163">
              <a:defRPr sz="1200"/>
            </a:lvl3pPr>
            <a:lvl4pPr marL="609585" indent="-150280">
              <a:defRPr sz="1067"/>
            </a:lvl4pPr>
            <a:lvl5pPr marL="1138738" indent="-218012">
              <a:defRPr/>
            </a:lvl5pPr>
          </a:lstStyle>
          <a:p>
            <a:pPr lvl="0"/>
            <a:r>
              <a:rPr lang="en-US"/>
              <a:t>Edit Master text styles</a:t>
            </a:r>
          </a:p>
          <a:p>
            <a:pPr lvl="1"/>
            <a:r>
              <a:rPr lang="en-US"/>
              <a:t>Second level</a:t>
            </a:r>
          </a:p>
          <a:p>
            <a:pPr lvl="2"/>
            <a:r>
              <a:rPr lang="en-US"/>
              <a:t>Third level</a:t>
            </a:r>
          </a:p>
          <a:p>
            <a:pPr lvl="3"/>
            <a:r>
              <a:rPr lang="en-US"/>
              <a:t>Fourth level</a:t>
            </a:r>
          </a:p>
        </p:txBody>
      </p:sp>
      <p:sp>
        <p:nvSpPr>
          <p:cNvPr id="20" name="Content Placeholder 2">
            <a:extLst>
              <a:ext uri="{FF2B5EF4-FFF2-40B4-BE49-F238E27FC236}">
                <a16:creationId xmlns:a16="http://schemas.microsoft.com/office/drawing/2014/main" id="{0B17ECF6-30D7-4B4B-B670-FEB84C8130C1}"/>
              </a:ext>
            </a:extLst>
          </p:cNvPr>
          <p:cNvSpPr>
            <a:spLocks noGrp="1"/>
          </p:cNvSpPr>
          <p:nvPr>
            <p:ph idx="14"/>
          </p:nvPr>
        </p:nvSpPr>
        <p:spPr>
          <a:xfrm>
            <a:off x="4974262" y="2423585"/>
            <a:ext cx="1926871" cy="3722119"/>
          </a:xfrm>
        </p:spPr>
        <p:txBody>
          <a:bodyPr/>
          <a:lstStyle>
            <a:lvl1pPr marL="150280" indent="-150280">
              <a:defRPr sz="1467"/>
            </a:lvl1pPr>
            <a:lvl2pPr marL="311143" indent="-160863">
              <a:defRPr sz="1333"/>
            </a:lvl2pPr>
            <a:lvl3pPr marL="459306" indent="-148163">
              <a:defRPr sz="1200"/>
            </a:lvl3pPr>
            <a:lvl4pPr marL="609585" indent="-150280">
              <a:defRPr sz="1067"/>
            </a:lvl4pPr>
            <a:lvl5pPr marL="1138738" indent="-218012">
              <a:defRPr/>
            </a:lvl5pPr>
          </a:lstStyle>
          <a:p>
            <a:pPr lvl="0"/>
            <a:r>
              <a:rPr lang="en-US"/>
              <a:t>Edit Master text styles</a:t>
            </a:r>
          </a:p>
          <a:p>
            <a:pPr lvl="1"/>
            <a:r>
              <a:rPr lang="en-US"/>
              <a:t>Second level</a:t>
            </a:r>
          </a:p>
          <a:p>
            <a:pPr lvl="2"/>
            <a:r>
              <a:rPr lang="en-US"/>
              <a:t>Third level</a:t>
            </a:r>
          </a:p>
          <a:p>
            <a:pPr lvl="3"/>
            <a:r>
              <a:rPr lang="en-US"/>
              <a:t>Fourth level</a:t>
            </a:r>
          </a:p>
        </p:txBody>
      </p:sp>
      <p:sp>
        <p:nvSpPr>
          <p:cNvPr id="21" name="Content Placeholder 2">
            <a:extLst>
              <a:ext uri="{FF2B5EF4-FFF2-40B4-BE49-F238E27FC236}">
                <a16:creationId xmlns:a16="http://schemas.microsoft.com/office/drawing/2014/main" id="{78E053DB-CB79-4834-9B82-A2B4B03B099F}"/>
              </a:ext>
            </a:extLst>
          </p:cNvPr>
          <p:cNvSpPr>
            <a:spLocks noGrp="1"/>
          </p:cNvSpPr>
          <p:nvPr>
            <p:ph idx="15"/>
          </p:nvPr>
        </p:nvSpPr>
        <p:spPr>
          <a:xfrm>
            <a:off x="7130866" y="2423585"/>
            <a:ext cx="1926871" cy="3722119"/>
          </a:xfrm>
        </p:spPr>
        <p:txBody>
          <a:bodyPr/>
          <a:lstStyle>
            <a:lvl1pPr marL="150280" indent="-150280">
              <a:defRPr sz="1467"/>
            </a:lvl1pPr>
            <a:lvl2pPr marL="311143" indent="-160863">
              <a:defRPr sz="1333"/>
            </a:lvl2pPr>
            <a:lvl3pPr marL="459306" indent="-148163">
              <a:defRPr sz="1200"/>
            </a:lvl3pPr>
            <a:lvl4pPr marL="609585" indent="-150280">
              <a:defRPr sz="1067"/>
            </a:lvl4pPr>
            <a:lvl5pPr marL="1138738" indent="-218012">
              <a:defRPr/>
            </a:lvl5pPr>
          </a:lstStyle>
          <a:p>
            <a:pPr lvl="0"/>
            <a:r>
              <a:rPr lang="en-US"/>
              <a:t>Edit Master text styles</a:t>
            </a:r>
          </a:p>
          <a:p>
            <a:pPr lvl="1"/>
            <a:r>
              <a:rPr lang="en-US"/>
              <a:t>Second level</a:t>
            </a:r>
          </a:p>
          <a:p>
            <a:pPr lvl="2"/>
            <a:r>
              <a:rPr lang="en-US"/>
              <a:t>Third level</a:t>
            </a:r>
          </a:p>
          <a:p>
            <a:pPr lvl="3"/>
            <a:r>
              <a:rPr lang="en-US"/>
              <a:t>Fourth level</a:t>
            </a:r>
          </a:p>
        </p:txBody>
      </p:sp>
      <p:sp>
        <p:nvSpPr>
          <p:cNvPr id="22" name="Content Placeholder 2">
            <a:extLst>
              <a:ext uri="{FF2B5EF4-FFF2-40B4-BE49-F238E27FC236}">
                <a16:creationId xmlns:a16="http://schemas.microsoft.com/office/drawing/2014/main" id="{042BD6AF-288E-4274-8225-4F8B273CA565}"/>
              </a:ext>
            </a:extLst>
          </p:cNvPr>
          <p:cNvSpPr>
            <a:spLocks noGrp="1"/>
          </p:cNvSpPr>
          <p:nvPr>
            <p:ph idx="16"/>
          </p:nvPr>
        </p:nvSpPr>
        <p:spPr>
          <a:xfrm>
            <a:off x="9287467" y="2423585"/>
            <a:ext cx="1926871" cy="3722119"/>
          </a:xfrm>
        </p:spPr>
        <p:txBody>
          <a:bodyPr/>
          <a:lstStyle>
            <a:lvl1pPr marL="150280" indent="-150280">
              <a:defRPr sz="1467"/>
            </a:lvl1pPr>
            <a:lvl2pPr marL="311143" indent="-160863">
              <a:defRPr sz="1333"/>
            </a:lvl2pPr>
            <a:lvl3pPr marL="459306" indent="-148163">
              <a:defRPr sz="1200"/>
            </a:lvl3pPr>
            <a:lvl4pPr marL="609585" indent="-150280">
              <a:defRPr sz="1067"/>
            </a:lvl4pPr>
            <a:lvl5pPr marL="1138738" indent="-218012">
              <a:defRPr/>
            </a:lvl5pPr>
          </a:lstStyle>
          <a:p>
            <a:pPr lvl="0"/>
            <a:r>
              <a:rPr lang="en-US"/>
              <a:t>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2335322892"/>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type="obj" preserve="1">
  <p:cSld name="Title and Content_Heavy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660400" y="2260601"/>
            <a:ext cx="9602483" cy="3885103"/>
          </a:xfrm>
        </p:spPr>
        <p:txBody>
          <a:bodyPr/>
          <a:lstStyle>
            <a:lvl1pPr marL="230712" indent="-230712">
              <a:lnSpc>
                <a:spcPct val="100000"/>
              </a:lnSpc>
              <a:spcBef>
                <a:spcPts val="800"/>
              </a:spcBef>
              <a:defRPr sz="1600"/>
            </a:lvl1pPr>
            <a:lvl2pPr marL="459306" indent="-228594">
              <a:lnSpc>
                <a:spcPct val="100000"/>
              </a:lnSpc>
              <a:spcBef>
                <a:spcPts val="400"/>
              </a:spcBef>
              <a:defRPr sz="1467"/>
            </a:lvl2pPr>
            <a:lvl3pPr marL="690016" indent="-230712">
              <a:lnSpc>
                <a:spcPct val="100000"/>
              </a:lnSpc>
              <a:spcBef>
                <a:spcPts val="400"/>
              </a:spcBef>
              <a:defRPr sz="1333"/>
            </a:lvl3pPr>
            <a:lvl4pPr marL="920728" indent="-230712">
              <a:lnSpc>
                <a:spcPct val="100000"/>
              </a:lnSpc>
              <a:spcBef>
                <a:spcPts val="400"/>
              </a:spcBef>
              <a:defRPr sz="1200"/>
            </a:lvl4pPr>
            <a:lvl5pPr marL="1138738" indent="-218012">
              <a:lnSpc>
                <a:spcPct val="100000"/>
              </a:lnSpc>
              <a:spcBef>
                <a:spcPts val="400"/>
              </a:spcBef>
              <a:defRPr sz="1067"/>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46D584E9-81E4-493B-AD1D-A460B5445953}" type="slidenum">
              <a:rPr lang="en-US" smtClean="0"/>
              <a:t>‹#›</a:t>
            </a:fld>
            <a:endParaRPr lang="en-US"/>
          </a:p>
        </p:txBody>
      </p:sp>
    </p:spTree>
    <p:extLst>
      <p:ext uri="{BB962C8B-B14F-4D97-AF65-F5344CB8AC3E}">
        <p14:creationId xmlns:p14="http://schemas.microsoft.com/office/powerpoint/2010/main" val="2568935225"/>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type="obj" preserve="1">
  <p:cSld name="Two Content_Heavy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660400" y="2260601"/>
            <a:ext cx="4815840" cy="3885103"/>
          </a:xfrm>
        </p:spPr>
        <p:txBody>
          <a:bodyPr/>
          <a:lstStyle>
            <a:lvl1pPr marL="230712" indent="-230712">
              <a:lnSpc>
                <a:spcPct val="100000"/>
              </a:lnSpc>
              <a:spcBef>
                <a:spcPts val="800"/>
              </a:spcBef>
              <a:defRPr sz="1600"/>
            </a:lvl1pPr>
            <a:lvl2pPr marL="459306" indent="-228594">
              <a:lnSpc>
                <a:spcPct val="100000"/>
              </a:lnSpc>
              <a:spcBef>
                <a:spcPts val="400"/>
              </a:spcBef>
              <a:defRPr sz="1467"/>
            </a:lvl2pPr>
            <a:lvl3pPr marL="690016" indent="-230712">
              <a:lnSpc>
                <a:spcPct val="100000"/>
              </a:lnSpc>
              <a:spcBef>
                <a:spcPts val="400"/>
              </a:spcBef>
              <a:defRPr sz="1333"/>
            </a:lvl3pPr>
            <a:lvl4pPr marL="920728" indent="-230712">
              <a:lnSpc>
                <a:spcPct val="100000"/>
              </a:lnSpc>
              <a:spcBef>
                <a:spcPts val="400"/>
              </a:spcBef>
              <a:defRPr sz="1200"/>
            </a:lvl4pPr>
            <a:lvl5pPr marL="1138738" indent="-218012">
              <a:lnSpc>
                <a:spcPct val="100000"/>
              </a:lnSpc>
              <a:spcBef>
                <a:spcPts val="400"/>
              </a:spcBef>
              <a:defRPr sz="1067"/>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46D584E9-81E4-493B-AD1D-A460B5445953}" type="slidenum">
              <a:rPr lang="en-US" smtClean="0"/>
              <a:t>‹#›</a:t>
            </a:fld>
            <a:endParaRPr lang="en-US"/>
          </a:p>
        </p:txBody>
      </p:sp>
      <p:sp>
        <p:nvSpPr>
          <p:cNvPr id="5" name="Content Placeholder 2">
            <a:extLst>
              <a:ext uri="{FF2B5EF4-FFF2-40B4-BE49-F238E27FC236}">
                <a16:creationId xmlns:a16="http://schemas.microsoft.com/office/drawing/2014/main" id="{07CECDB5-813F-44A7-A308-C2E59BAB2159}"/>
              </a:ext>
            </a:extLst>
          </p:cNvPr>
          <p:cNvSpPr>
            <a:spLocks noGrp="1"/>
          </p:cNvSpPr>
          <p:nvPr>
            <p:ph idx="13"/>
          </p:nvPr>
        </p:nvSpPr>
        <p:spPr>
          <a:xfrm>
            <a:off x="5904752" y="2260601"/>
            <a:ext cx="4815840" cy="3885103"/>
          </a:xfrm>
        </p:spPr>
        <p:txBody>
          <a:bodyPr/>
          <a:lstStyle>
            <a:lvl1pPr marL="230712" indent="-230712">
              <a:lnSpc>
                <a:spcPct val="100000"/>
              </a:lnSpc>
              <a:spcBef>
                <a:spcPts val="800"/>
              </a:spcBef>
              <a:defRPr sz="1600"/>
            </a:lvl1pPr>
            <a:lvl2pPr marL="459306" indent="-228594">
              <a:lnSpc>
                <a:spcPct val="100000"/>
              </a:lnSpc>
              <a:spcBef>
                <a:spcPts val="400"/>
              </a:spcBef>
              <a:defRPr sz="1467"/>
            </a:lvl2pPr>
            <a:lvl3pPr marL="690016" indent="-230712">
              <a:lnSpc>
                <a:spcPct val="100000"/>
              </a:lnSpc>
              <a:spcBef>
                <a:spcPts val="400"/>
              </a:spcBef>
              <a:defRPr sz="1333"/>
            </a:lvl3pPr>
            <a:lvl4pPr marL="920728" indent="-230712">
              <a:lnSpc>
                <a:spcPct val="100000"/>
              </a:lnSpc>
              <a:spcBef>
                <a:spcPts val="400"/>
              </a:spcBef>
              <a:defRPr sz="1200"/>
            </a:lvl4pPr>
            <a:lvl5pPr marL="1138738" indent="-218012">
              <a:lnSpc>
                <a:spcPct val="100000"/>
              </a:lnSpc>
              <a:spcBef>
                <a:spcPts val="400"/>
              </a:spcBef>
              <a:defRPr sz="1067"/>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16976761"/>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type="obj" preserve="1">
  <p:cSld name="Three Content_Heavy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660400" y="2260601"/>
            <a:ext cx="3145536" cy="3885103"/>
          </a:xfrm>
        </p:spPr>
        <p:txBody>
          <a:bodyPr/>
          <a:lstStyle>
            <a:lvl1pPr marL="230712" indent="-230712">
              <a:lnSpc>
                <a:spcPct val="100000"/>
              </a:lnSpc>
              <a:spcBef>
                <a:spcPts val="800"/>
              </a:spcBef>
              <a:defRPr sz="1600"/>
            </a:lvl1pPr>
            <a:lvl2pPr marL="459306" indent="-228594">
              <a:lnSpc>
                <a:spcPct val="100000"/>
              </a:lnSpc>
              <a:spcBef>
                <a:spcPts val="400"/>
              </a:spcBef>
              <a:defRPr sz="1467"/>
            </a:lvl2pPr>
            <a:lvl3pPr marL="690016" indent="-230712">
              <a:lnSpc>
                <a:spcPct val="100000"/>
              </a:lnSpc>
              <a:spcBef>
                <a:spcPts val="400"/>
              </a:spcBef>
              <a:defRPr sz="1333"/>
            </a:lvl3pPr>
            <a:lvl4pPr marL="920728" indent="-230712">
              <a:lnSpc>
                <a:spcPct val="100000"/>
              </a:lnSpc>
              <a:spcBef>
                <a:spcPts val="400"/>
              </a:spcBef>
              <a:defRPr sz="1200"/>
            </a:lvl4pPr>
            <a:lvl5pPr marL="1138738" indent="-218012">
              <a:lnSpc>
                <a:spcPct val="100000"/>
              </a:lnSpc>
              <a:spcBef>
                <a:spcPts val="400"/>
              </a:spcBef>
              <a:defRPr sz="1067"/>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46D584E9-81E4-493B-AD1D-A460B5445953}" type="slidenum">
              <a:rPr lang="en-US" smtClean="0"/>
              <a:t>‹#›</a:t>
            </a:fld>
            <a:endParaRPr lang="en-US"/>
          </a:p>
        </p:txBody>
      </p:sp>
      <p:sp>
        <p:nvSpPr>
          <p:cNvPr id="5" name="Content Placeholder 2">
            <a:extLst>
              <a:ext uri="{FF2B5EF4-FFF2-40B4-BE49-F238E27FC236}">
                <a16:creationId xmlns:a16="http://schemas.microsoft.com/office/drawing/2014/main" id="{07CECDB5-813F-44A7-A308-C2E59BAB2159}"/>
              </a:ext>
            </a:extLst>
          </p:cNvPr>
          <p:cNvSpPr>
            <a:spLocks noGrp="1"/>
          </p:cNvSpPr>
          <p:nvPr>
            <p:ph idx="13"/>
          </p:nvPr>
        </p:nvSpPr>
        <p:spPr>
          <a:xfrm>
            <a:off x="4365752" y="2260601"/>
            <a:ext cx="3145536" cy="3885103"/>
          </a:xfrm>
        </p:spPr>
        <p:txBody>
          <a:bodyPr/>
          <a:lstStyle>
            <a:lvl1pPr marL="230712" indent="-230712">
              <a:lnSpc>
                <a:spcPct val="100000"/>
              </a:lnSpc>
              <a:spcBef>
                <a:spcPts val="800"/>
              </a:spcBef>
              <a:defRPr sz="1600"/>
            </a:lvl1pPr>
            <a:lvl2pPr marL="459306" indent="-228594">
              <a:lnSpc>
                <a:spcPct val="100000"/>
              </a:lnSpc>
              <a:spcBef>
                <a:spcPts val="400"/>
              </a:spcBef>
              <a:defRPr sz="1467"/>
            </a:lvl2pPr>
            <a:lvl3pPr marL="690016" indent="-230712">
              <a:lnSpc>
                <a:spcPct val="100000"/>
              </a:lnSpc>
              <a:spcBef>
                <a:spcPts val="400"/>
              </a:spcBef>
              <a:defRPr sz="1333"/>
            </a:lvl3pPr>
            <a:lvl4pPr marL="920728" indent="-230712">
              <a:lnSpc>
                <a:spcPct val="100000"/>
              </a:lnSpc>
              <a:spcBef>
                <a:spcPts val="400"/>
              </a:spcBef>
              <a:defRPr sz="1200"/>
            </a:lvl4pPr>
            <a:lvl5pPr marL="1138738" indent="-218012">
              <a:lnSpc>
                <a:spcPct val="100000"/>
              </a:lnSpc>
              <a:spcBef>
                <a:spcPts val="400"/>
              </a:spcBef>
              <a:defRPr sz="1067"/>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2">
            <a:extLst>
              <a:ext uri="{FF2B5EF4-FFF2-40B4-BE49-F238E27FC236}">
                <a16:creationId xmlns:a16="http://schemas.microsoft.com/office/drawing/2014/main" id="{5596E2F6-FF82-441A-919C-438C1BEE4F3E}"/>
              </a:ext>
            </a:extLst>
          </p:cNvPr>
          <p:cNvSpPr>
            <a:spLocks noGrp="1"/>
          </p:cNvSpPr>
          <p:nvPr>
            <p:ph idx="14"/>
          </p:nvPr>
        </p:nvSpPr>
        <p:spPr>
          <a:xfrm>
            <a:off x="8071103" y="2260601"/>
            <a:ext cx="3145536" cy="3885103"/>
          </a:xfrm>
        </p:spPr>
        <p:txBody>
          <a:bodyPr/>
          <a:lstStyle>
            <a:lvl1pPr marL="230712" indent="-230712">
              <a:lnSpc>
                <a:spcPct val="100000"/>
              </a:lnSpc>
              <a:spcBef>
                <a:spcPts val="800"/>
              </a:spcBef>
              <a:defRPr sz="1600"/>
            </a:lvl1pPr>
            <a:lvl2pPr marL="459306" indent="-228594">
              <a:lnSpc>
                <a:spcPct val="100000"/>
              </a:lnSpc>
              <a:spcBef>
                <a:spcPts val="400"/>
              </a:spcBef>
              <a:defRPr sz="1467"/>
            </a:lvl2pPr>
            <a:lvl3pPr marL="690016" indent="-230712">
              <a:lnSpc>
                <a:spcPct val="100000"/>
              </a:lnSpc>
              <a:spcBef>
                <a:spcPts val="400"/>
              </a:spcBef>
              <a:defRPr sz="1333"/>
            </a:lvl3pPr>
            <a:lvl4pPr marL="920728" indent="-230712">
              <a:lnSpc>
                <a:spcPct val="100000"/>
              </a:lnSpc>
              <a:spcBef>
                <a:spcPts val="400"/>
              </a:spcBef>
              <a:defRPr sz="1200"/>
            </a:lvl4pPr>
            <a:lvl5pPr marL="1138738" indent="-218012">
              <a:lnSpc>
                <a:spcPct val="100000"/>
              </a:lnSpc>
              <a:spcBef>
                <a:spcPts val="400"/>
              </a:spcBef>
              <a:defRPr sz="1067"/>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2663008"/>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type="obj" preserve="1">
  <p:cSld name="Four Content_Heavy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660400" y="2260601"/>
            <a:ext cx="2353056" cy="3885103"/>
          </a:xfrm>
        </p:spPr>
        <p:txBody>
          <a:bodyPr/>
          <a:lstStyle>
            <a:lvl1pPr marL="230712" indent="-230712">
              <a:lnSpc>
                <a:spcPct val="100000"/>
              </a:lnSpc>
              <a:spcBef>
                <a:spcPts val="800"/>
              </a:spcBef>
              <a:defRPr sz="1600"/>
            </a:lvl1pPr>
            <a:lvl2pPr marL="459306" indent="-228594">
              <a:lnSpc>
                <a:spcPct val="100000"/>
              </a:lnSpc>
              <a:spcBef>
                <a:spcPts val="400"/>
              </a:spcBef>
              <a:defRPr sz="1467"/>
            </a:lvl2pPr>
            <a:lvl3pPr marL="690016" indent="-230712">
              <a:lnSpc>
                <a:spcPct val="100000"/>
              </a:lnSpc>
              <a:spcBef>
                <a:spcPts val="400"/>
              </a:spcBef>
              <a:defRPr sz="1333"/>
            </a:lvl3pPr>
            <a:lvl4pPr marL="920728" indent="-230712">
              <a:lnSpc>
                <a:spcPct val="100000"/>
              </a:lnSpc>
              <a:spcBef>
                <a:spcPts val="400"/>
              </a:spcBef>
              <a:defRPr sz="1200"/>
            </a:lvl4pPr>
            <a:lvl5pPr marL="1138738" indent="-218012">
              <a:lnSpc>
                <a:spcPct val="100000"/>
              </a:lnSpc>
              <a:spcBef>
                <a:spcPts val="400"/>
              </a:spcBef>
              <a:defRPr sz="1067"/>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46D584E9-81E4-493B-AD1D-A460B5445953}" type="slidenum">
              <a:rPr lang="en-US" smtClean="0"/>
              <a:t>‹#›</a:t>
            </a:fld>
            <a:endParaRPr lang="en-US"/>
          </a:p>
        </p:txBody>
      </p:sp>
      <p:sp>
        <p:nvSpPr>
          <p:cNvPr id="5" name="Content Placeholder 2">
            <a:extLst>
              <a:ext uri="{FF2B5EF4-FFF2-40B4-BE49-F238E27FC236}">
                <a16:creationId xmlns:a16="http://schemas.microsoft.com/office/drawing/2014/main" id="{07CECDB5-813F-44A7-A308-C2E59BAB2159}"/>
              </a:ext>
            </a:extLst>
          </p:cNvPr>
          <p:cNvSpPr>
            <a:spLocks noGrp="1"/>
          </p:cNvSpPr>
          <p:nvPr>
            <p:ph idx="13"/>
          </p:nvPr>
        </p:nvSpPr>
        <p:spPr>
          <a:xfrm>
            <a:off x="3394795" y="2260601"/>
            <a:ext cx="2353056" cy="3885103"/>
          </a:xfrm>
        </p:spPr>
        <p:txBody>
          <a:bodyPr/>
          <a:lstStyle>
            <a:lvl1pPr marL="230712" indent="-230712">
              <a:lnSpc>
                <a:spcPct val="100000"/>
              </a:lnSpc>
              <a:spcBef>
                <a:spcPts val="800"/>
              </a:spcBef>
              <a:defRPr sz="1600"/>
            </a:lvl1pPr>
            <a:lvl2pPr marL="459306" indent="-228594">
              <a:lnSpc>
                <a:spcPct val="100000"/>
              </a:lnSpc>
              <a:spcBef>
                <a:spcPts val="400"/>
              </a:spcBef>
              <a:defRPr sz="1467"/>
            </a:lvl2pPr>
            <a:lvl3pPr marL="690016" indent="-230712">
              <a:lnSpc>
                <a:spcPct val="100000"/>
              </a:lnSpc>
              <a:spcBef>
                <a:spcPts val="400"/>
              </a:spcBef>
              <a:defRPr sz="1333"/>
            </a:lvl3pPr>
            <a:lvl4pPr marL="920728" indent="-230712">
              <a:lnSpc>
                <a:spcPct val="100000"/>
              </a:lnSpc>
              <a:spcBef>
                <a:spcPts val="400"/>
              </a:spcBef>
              <a:defRPr sz="1200"/>
            </a:lvl4pPr>
            <a:lvl5pPr marL="1138738" indent="-218012">
              <a:lnSpc>
                <a:spcPct val="100000"/>
              </a:lnSpc>
              <a:spcBef>
                <a:spcPts val="400"/>
              </a:spcBef>
              <a:defRPr sz="1067"/>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2">
            <a:extLst>
              <a:ext uri="{FF2B5EF4-FFF2-40B4-BE49-F238E27FC236}">
                <a16:creationId xmlns:a16="http://schemas.microsoft.com/office/drawing/2014/main" id="{5596E2F6-FF82-441A-919C-438C1BEE4F3E}"/>
              </a:ext>
            </a:extLst>
          </p:cNvPr>
          <p:cNvSpPr>
            <a:spLocks noGrp="1"/>
          </p:cNvSpPr>
          <p:nvPr>
            <p:ph idx="14"/>
          </p:nvPr>
        </p:nvSpPr>
        <p:spPr>
          <a:xfrm>
            <a:off x="6129189" y="2260601"/>
            <a:ext cx="2353056" cy="3885103"/>
          </a:xfrm>
        </p:spPr>
        <p:txBody>
          <a:bodyPr/>
          <a:lstStyle>
            <a:lvl1pPr marL="230712" indent="-230712">
              <a:lnSpc>
                <a:spcPct val="100000"/>
              </a:lnSpc>
              <a:spcBef>
                <a:spcPts val="800"/>
              </a:spcBef>
              <a:defRPr sz="1600"/>
            </a:lvl1pPr>
            <a:lvl2pPr marL="459306" indent="-228594">
              <a:lnSpc>
                <a:spcPct val="100000"/>
              </a:lnSpc>
              <a:spcBef>
                <a:spcPts val="400"/>
              </a:spcBef>
              <a:defRPr sz="1467"/>
            </a:lvl2pPr>
            <a:lvl3pPr marL="690016" indent="-230712">
              <a:lnSpc>
                <a:spcPct val="100000"/>
              </a:lnSpc>
              <a:spcBef>
                <a:spcPts val="400"/>
              </a:spcBef>
              <a:defRPr sz="1333"/>
            </a:lvl3pPr>
            <a:lvl4pPr marL="920728" indent="-230712">
              <a:lnSpc>
                <a:spcPct val="100000"/>
              </a:lnSpc>
              <a:spcBef>
                <a:spcPts val="400"/>
              </a:spcBef>
              <a:defRPr sz="1200"/>
            </a:lvl4pPr>
            <a:lvl5pPr marL="1138738" indent="-218012">
              <a:lnSpc>
                <a:spcPct val="100000"/>
              </a:lnSpc>
              <a:spcBef>
                <a:spcPts val="400"/>
              </a:spcBef>
              <a:defRPr sz="1067"/>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Content Placeholder 2">
            <a:extLst>
              <a:ext uri="{FF2B5EF4-FFF2-40B4-BE49-F238E27FC236}">
                <a16:creationId xmlns:a16="http://schemas.microsoft.com/office/drawing/2014/main" id="{75F2E673-F52C-4F78-BAC9-56503F69B59A}"/>
              </a:ext>
            </a:extLst>
          </p:cNvPr>
          <p:cNvSpPr>
            <a:spLocks noGrp="1"/>
          </p:cNvSpPr>
          <p:nvPr>
            <p:ph idx="15"/>
          </p:nvPr>
        </p:nvSpPr>
        <p:spPr>
          <a:xfrm>
            <a:off x="8863583" y="2260601"/>
            <a:ext cx="2353056" cy="3885103"/>
          </a:xfrm>
        </p:spPr>
        <p:txBody>
          <a:bodyPr/>
          <a:lstStyle>
            <a:lvl1pPr marL="230712" indent="-230712">
              <a:lnSpc>
                <a:spcPct val="100000"/>
              </a:lnSpc>
              <a:spcBef>
                <a:spcPts val="800"/>
              </a:spcBef>
              <a:defRPr sz="1600"/>
            </a:lvl1pPr>
            <a:lvl2pPr marL="459306" indent="-228594">
              <a:lnSpc>
                <a:spcPct val="100000"/>
              </a:lnSpc>
              <a:spcBef>
                <a:spcPts val="400"/>
              </a:spcBef>
              <a:defRPr sz="1467"/>
            </a:lvl2pPr>
            <a:lvl3pPr marL="690016" indent="-230712">
              <a:lnSpc>
                <a:spcPct val="100000"/>
              </a:lnSpc>
              <a:spcBef>
                <a:spcPts val="400"/>
              </a:spcBef>
              <a:defRPr sz="1333"/>
            </a:lvl3pPr>
            <a:lvl4pPr marL="920728" indent="-230712">
              <a:lnSpc>
                <a:spcPct val="100000"/>
              </a:lnSpc>
              <a:spcBef>
                <a:spcPts val="400"/>
              </a:spcBef>
              <a:defRPr sz="1200"/>
            </a:lvl4pPr>
            <a:lvl5pPr marL="1138738" indent="-218012">
              <a:lnSpc>
                <a:spcPct val="100000"/>
              </a:lnSpc>
              <a:spcBef>
                <a:spcPts val="400"/>
              </a:spcBef>
              <a:defRPr sz="1067"/>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28118728"/>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type="obj" preserve="1">
  <p:cSld name="Department description">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B7FB1027-BCD9-449C-A98B-33364CB17664}"/>
              </a:ext>
            </a:extLst>
          </p:cNvPr>
          <p:cNvSpPr/>
          <p:nvPr/>
        </p:nvSpPr>
        <p:spPr>
          <a:xfrm>
            <a:off x="1" y="1"/>
            <a:ext cx="5767753" cy="6246524"/>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2" name="Title 1"/>
          <p:cNvSpPr>
            <a:spLocks noGrp="1"/>
          </p:cNvSpPr>
          <p:nvPr>
            <p:ph type="title"/>
          </p:nvPr>
        </p:nvSpPr>
        <p:spPr>
          <a:xfrm>
            <a:off x="662940" y="437896"/>
            <a:ext cx="4809717" cy="1217861"/>
          </a:xfrm>
        </p:spPr>
        <p:txBody>
          <a:bodyPr anchor="t" anchorCtr="0"/>
          <a:lstStyle/>
          <a:p>
            <a:r>
              <a:rPr lang="en-US"/>
              <a:t>Click to edit Master title style</a:t>
            </a:r>
          </a:p>
        </p:txBody>
      </p:sp>
      <p:sp>
        <p:nvSpPr>
          <p:cNvPr id="3" name="Content Placeholder 2"/>
          <p:cNvSpPr>
            <a:spLocks noGrp="1"/>
          </p:cNvSpPr>
          <p:nvPr>
            <p:ph idx="1"/>
          </p:nvPr>
        </p:nvSpPr>
        <p:spPr>
          <a:xfrm>
            <a:off x="661052" y="2260601"/>
            <a:ext cx="4809717" cy="3885103"/>
          </a:xfrm>
        </p:spPr>
        <p:txBody>
          <a:bodyPr/>
          <a:lstStyle>
            <a:lvl1pPr marL="0" indent="0">
              <a:lnSpc>
                <a:spcPct val="120000"/>
              </a:lnSpc>
              <a:buNone/>
              <a:defRPr sz="2133">
                <a:solidFill>
                  <a:schemeClr val="tx2"/>
                </a:solidFill>
                <a:latin typeface="+mj-lt"/>
              </a:defRPr>
            </a:lvl1pPr>
            <a:lvl2pPr marL="313259" indent="-313259">
              <a:buFont typeface="Arial" panose="020B0604020202020204" pitchFamily="34" charset="0"/>
              <a:buChar char="•"/>
              <a:defRPr sz="1867"/>
            </a:lvl2pPr>
            <a:lvl3pPr marL="609585" indent="-296326">
              <a:buFont typeface="Arial" panose="020B0604020202020204" pitchFamily="34" charset="0"/>
              <a:buChar char="–"/>
              <a:defRPr sz="1600"/>
            </a:lvl3pPr>
            <a:lvl4pPr marL="922844" indent="-313259">
              <a:buNone/>
              <a:defRPr sz="1467"/>
            </a:lvl4pPr>
            <a:lvl5pPr marL="1219170" indent="-296326">
              <a:buNone/>
              <a:defRPr sz="1333"/>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46D584E9-81E4-493B-AD1D-A460B5445953}" type="slidenum">
              <a:rPr lang="en-US" smtClean="0"/>
              <a:t>‹#›</a:t>
            </a:fld>
            <a:endParaRPr lang="en-US"/>
          </a:p>
        </p:txBody>
      </p:sp>
      <p:sp>
        <p:nvSpPr>
          <p:cNvPr id="5" name="Content Placeholder 2">
            <a:extLst>
              <a:ext uri="{FF2B5EF4-FFF2-40B4-BE49-F238E27FC236}">
                <a16:creationId xmlns:a16="http://schemas.microsoft.com/office/drawing/2014/main" id="{BA822995-1844-4B85-89FD-F70A7096EEBE}"/>
              </a:ext>
            </a:extLst>
          </p:cNvPr>
          <p:cNvSpPr>
            <a:spLocks noGrp="1"/>
          </p:cNvSpPr>
          <p:nvPr>
            <p:ph idx="13"/>
          </p:nvPr>
        </p:nvSpPr>
        <p:spPr>
          <a:xfrm>
            <a:off x="6252310" y="1047262"/>
            <a:ext cx="4809717" cy="5098441"/>
          </a:xfrm>
        </p:spPr>
        <p:txBody>
          <a:bodyPr/>
          <a:lstStyle>
            <a:lvl1pPr marL="0" indent="0">
              <a:lnSpc>
                <a:spcPct val="120000"/>
              </a:lnSpc>
              <a:spcAft>
                <a:spcPts val="2400"/>
              </a:spcAft>
              <a:buNone/>
              <a:defRPr sz="1400"/>
            </a:lvl1pPr>
            <a:lvl2pPr marL="156629" indent="-156629">
              <a:lnSpc>
                <a:spcPct val="100000"/>
              </a:lnSpc>
              <a:spcBef>
                <a:spcPts val="2000"/>
              </a:spcBef>
              <a:buFont typeface="Arial" panose="020B0604020202020204" pitchFamily="34" charset="0"/>
              <a:buChar char="•"/>
              <a:defRPr sz="1400"/>
            </a:lvl2pPr>
            <a:lvl3pPr>
              <a:defRPr sz="1200"/>
            </a:lvl3pPr>
            <a:lvl4pPr>
              <a:defRPr sz="1067"/>
            </a:lvl4pPr>
          </a:lstStyle>
          <a:p>
            <a:pPr lvl="0"/>
            <a:r>
              <a:rPr lang="en-US"/>
              <a:t>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352449376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2400"/>
            </a:lvl1pPr>
          </a:lstStyle>
          <a:p>
            <a:r>
              <a:rPr lang="en-US"/>
              <a:t>Click to edit Master title style</a:t>
            </a:r>
          </a:p>
        </p:txBody>
      </p:sp>
      <p:sp>
        <p:nvSpPr>
          <p:cNvPr id="3" name="Picture Placeholder 2"/>
          <p:cNvSpPr>
            <a:spLocks noGrp="1"/>
          </p:cNvSpPr>
          <p:nvPr>
            <p:ph type="pic" idx="1"/>
          </p:nvPr>
        </p:nvSpPr>
        <p:spPr>
          <a:xfrm>
            <a:off x="5183188" y="987431"/>
            <a:ext cx="6172200" cy="4873625"/>
          </a:xfrm>
        </p:spPr>
        <p:txBody>
          <a:bodyPr rtlCol="0">
            <a:normAutofit/>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pPr lvl="0"/>
            <a:endParaRPr lang="en-US" noProof="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Click to edit Master text styles</a:t>
            </a:r>
          </a:p>
        </p:txBody>
      </p:sp>
      <p:sp>
        <p:nvSpPr>
          <p:cNvPr id="5" name="Date Placeholder 3">
            <a:extLst>
              <a:ext uri="{FF2B5EF4-FFF2-40B4-BE49-F238E27FC236}">
                <a16:creationId xmlns:a16="http://schemas.microsoft.com/office/drawing/2014/main" id="{AF160892-2DA0-713B-19D9-A94154A380B8}"/>
              </a:ext>
            </a:extLst>
          </p:cNvPr>
          <p:cNvSpPr>
            <a:spLocks noGrp="1"/>
          </p:cNvSpPr>
          <p:nvPr>
            <p:ph type="dt" sz="half" idx="10"/>
          </p:nvPr>
        </p:nvSpPr>
        <p:spPr/>
        <p:txBody>
          <a:bodyPr/>
          <a:lstStyle>
            <a:lvl1pPr>
              <a:defRPr/>
            </a:lvl1pPr>
          </a:lstStyle>
          <a:p>
            <a:pPr>
              <a:defRPr/>
            </a:pPr>
            <a:r>
              <a:rPr lang="en-US"/>
              <a:t>May 5 and 6, 2020</a:t>
            </a:r>
          </a:p>
        </p:txBody>
      </p:sp>
      <p:sp>
        <p:nvSpPr>
          <p:cNvPr id="6" name="Footer Placeholder 4">
            <a:extLst>
              <a:ext uri="{FF2B5EF4-FFF2-40B4-BE49-F238E27FC236}">
                <a16:creationId xmlns:a16="http://schemas.microsoft.com/office/drawing/2014/main" id="{B3ED4C10-3EBC-5765-391F-2428103913A5}"/>
              </a:ext>
            </a:extLst>
          </p:cNvPr>
          <p:cNvSpPr>
            <a:spLocks noGrp="1"/>
          </p:cNvSpPr>
          <p:nvPr>
            <p:ph type="ftr" sz="quarter" idx="11"/>
          </p:nvPr>
        </p:nvSpPr>
        <p:spPr/>
        <p:txBody>
          <a:bodyPr/>
          <a:lstStyle>
            <a:lvl1pPr>
              <a:defRPr/>
            </a:lvl1pPr>
          </a:lstStyle>
          <a:p>
            <a:pPr>
              <a:defRPr/>
            </a:pPr>
            <a:r>
              <a:rPr lang="en-US"/>
              <a:t>FY 2022 Strategy Session  [Name of Campaign] Campaign</a:t>
            </a:r>
          </a:p>
        </p:txBody>
      </p:sp>
      <p:sp>
        <p:nvSpPr>
          <p:cNvPr id="7" name="Slide Number Placeholder 5">
            <a:extLst>
              <a:ext uri="{FF2B5EF4-FFF2-40B4-BE49-F238E27FC236}">
                <a16:creationId xmlns:a16="http://schemas.microsoft.com/office/drawing/2014/main" id="{6D58C67C-8BD8-BA26-012B-9313EBDE2DC4}"/>
              </a:ext>
            </a:extLst>
          </p:cNvPr>
          <p:cNvSpPr>
            <a:spLocks noGrp="1"/>
          </p:cNvSpPr>
          <p:nvPr>
            <p:ph type="sldNum" sz="quarter" idx="12"/>
          </p:nvPr>
        </p:nvSpPr>
        <p:spPr/>
        <p:txBody>
          <a:bodyPr/>
          <a:lstStyle>
            <a:lvl1pPr>
              <a:defRPr/>
            </a:lvl1pPr>
          </a:lstStyle>
          <a:p>
            <a:pPr>
              <a:defRPr/>
            </a:pPr>
            <a:fld id="{76216F19-EC4C-4534-879C-100F37129411}" type="slidenum">
              <a:rPr lang="en-US"/>
              <a:pPr>
                <a:defRPr/>
              </a:pPr>
              <a:t>‹#›</a:t>
            </a:fld>
            <a:endParaRPr lang="en-US"/>
          </a:p>
        </p:txBody>
      </p:sp>
    </p:spTree>
    <p:extLst>
      <p:ext uri="{BB962C8B-B14F-4D97-AF65-F5344CB8AC3E}">
        <p14:creationId xmlns:p14="http://schemas.microsoft.com/office/powerpoint/2010/main" val="2605203284"/>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type="obj" preserve="1">
  <p:cSld name="Department description Purple">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B7FB1027-BCD9-449C-A98B-33364CB17664}"/>
              </a:ext>
            </a:extLst>
          </p:cNvPr>
          <p:cNvSpPr/>
          <p:nvPr/>
        </p:nvSpPr>
        <p:spPr>
          <a:xfrm>
            <a:off x="1" y="1"/>
            <a:ext cx="5767753" cy="624652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2" name="Title 1"/>
          <p:cNvSpPr>
            <a:spLocks noGrp="1"/>
          </p:cNvSpPr>
          <p:nvPr>
            <p:ph type="title"/>
          </p:nvPr>
        </p:nvSpPr>
        <p:spPr>
          <a:xfrm>
            <a:off x="662940" y="437896"/>
            <a:ext cx="4809717" cy="1217861"/>
          </a:xfrm>
        </p:spPr>
        <p:txBody>
          <a:bodyPr anchor="t" anchorCtr="0"/>
          <a:lstStyle>
            <a:lvl1pPr>
              <a:defRPr>
                <a:solidFill>
                  <a:schemeClr val="bg1"/>
                </a:solidFill>
              </a:defRPr>
            </a:lvl1pPr>
          </a:lstStyle>
          <a:p>
            <a:r>
              <a:rPr lang="en-US"/>
              <a:t>Click to edit Master title style</a:t>
            </a:r>
          </a:p>
        </p:txBody>
      </p:sp>
      <p:sp>
        <p:nvSpPr>
          <p:cNvPr id="3" name="Content Placeholder 2"/>
          <p:cNvSpPr>
            <a:spLocks noGrp="1"/>
          </p:cNvSpPr>
          <p:nvPr>
            <p:ph idx="1"/>
          </p:nvPr>
        </p:nvSpPr>
        <p:spPr>
          <a:xfrm>
            <a:off x="661052" y="2260601"/>
            <a:ext cx="4809717" cy="3885103"/>
          </a:xfrm>
        </p:spPr>
        <p:txBody>
          <a:bodyPr/>
          <a:lstStyle>
            <a:lvl1pPr marL="0" indent="0">
              <a:lnSpc>
                <a:spcPct val="120000"/>
              </a:lnSpc>
              <a:buNone/>
              <a:defRPr sz="2133">
                <a:solidFill>
                  <a:schemeClr val="bg1"/>
                </a:solidFill>
                <a:latin typeface="+mj-lt"/>
              </a:defRPr>
            </a:lvl1pPr>
            <a:lvl2pPr marL="313259" indent="-313259">
              <a:buFont typeface="Arial" panose="020B0604020202020204" pitchFamily="34" charset="0"/>
              <a:buChar char="•"/>
              <a:defRPr sz="1867">
                <a:solidFill>
                  <a:schemeClr val="bg1"/>
                </a:solidFill>
              </a:defRPr>
            </a:lvl2pPr>
            <a:lvl3pPr marL="609585" indent="-296326">
              <a:buFont typeface="Arial" panose="020B0604020202020204" pitchFamily="34" charset="0"/>
              <a:buChar char="–"/>
              <a:defRPr sz="1600">
                <a:solidFill>
                  <a:schemeClr val="bg1"/>
                </a:solidFill>
              </a:defRPr>
            </a:lvl3pPr>
            <a:lvl4pPr marL="922844" indent="-313259">
              <a:buNone/>
              <a:defRPr sz="1467">
                <a:solidFill>
                  <a:schemeClr val="bg1"/>
                </a:solidFill>
              </a:defRPr>
            </a:lvl4pPr>
            <a:lvl5pPr marL="1219170" indent="-296326">
              <a:buNone/>
              <a:defRPr sz="1333">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46D584E9-81E4-493B-AD1D-A460B5445953}" type="slidenum">
              <a:rPr lang="en-US" smtClean="0"/>
              <a:t>‹#›</a:t>
            </a:fld>
            <a:endParaRPr lang="en-US"/>
          </a:p>
        </p:txBody>
      </p:sp>
      <p:sp>
        <p:nvSpPr>
          <p:cNvPr id="5" name="Content Placeholder 2">
            <a:extLst>
              <a:ext uri="{FF2B5EF4-FFF2-40B4-BE49-F238E27FC236}">
                <a16:creationId xmlns:a16="http://schemas.microsoft.com/office/drawing/2014/main" id="{BA822995-1844-4B85-89FD-F70A7096EEBE}"/>
              </a:ext>
            </a:extLst>
          </p:cNvPr>
          <p:cNvSpPr>
            <a:spLocks noGrp="1"/>
          </p:cNvSpPr>
          <p:nvPr>
            <p:ph idx="13"/>
          </p:nvPr>
        </p:nvSpPr>
        <p:spPr>
          <a:xfrm>
            <a:off x="6252310" y="1047262"/>
            <a:ext cx="4809717" cy="5098441"/>
          </a:xfrm>
        </p:spPr>
        <p:txBody>
          <a:bodyPr/>
          <a:lstStyle>
            <a:lvl1pPr marL="0" indent="0">
              <a:lnSpc>
                <a:spcPct val="120000"/>
              </a:lnSpc>
              <a:spcAft>
                <a:spcPts val="2400"/>
              </a:spcAft>
              <a:buNone/>
              <a:defRPr sz="1400"/>
            </a:lvl1pPr>
            <a:lvl2pPr marL="156629" indent="-156629">
              <a:lnSpc>
                <a:spcPct val="100000"/>
              </a:lnSpc>
              <a:spcBef>
                <a:spcPts val="2000"/>
              </a:spcBef>
              <a:buFont typeface="Arial" panose="020B0604020202020204" pitchFamily="34" charset="0"/>
              <a:buChar char="•"/>
              <a:defRPr sz="1400"/>
            </a:lvl2pPr>
            <a:lvl3pPr>
              <a:defRPr sz="1200"/>
            </a:lvl3pPr>
            <a:lvl4pPr>
              <a:defRPr sz="1067"/>
            </a:lvl4pPr>
          </a:lstStyle>
          <a:p>
            <a:pPr lvl="0"/>
            <a:r>
              <a:rPr lang="en-US"/>
              <a:t>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644251016"/>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p:cSld name="Full page image">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EDC0698F-EBDF-49FA-A73A-1B335440AF10}"/>
              </a:ext>
            </a:extLst>
          </p:cNvPr>
          <p:cNvSpPr>
            <a:spLocks noGrp="1"/>
          </p:cNvSpPr>
          <p:nvPr>
            <p:ph type="pic" sz="quarter" idx="13"/>
          </p:nvPr>
        </p:nvSpPr>
        <p:spPr>
          <a:xfrm>
            <a:off x="0" y="0"/>
            <a:ext cx="12192000" cy="6858000"/>
          </a:xfrm>
          <a:solidFill>
            <a:schemeClr val="bg2">
              <a:lumMod val="90000"/>
            </a:schemeClr>
          </a:solidFill>
        </p:spPr>
        <p:txBody>
          <a:bodyPr tIns="1554480"/>
          <a:lstStyle>
            <a:lvl1pPr marL="0" indent="0" algn="ctr">
              <a:buNone/>
              <a:defRPr/>
            </a:lvl1pPr>
          </a:lstStyle>
          <a:p>
            <a:r>
              <a:rPr lang="en-US"/>
              <a:t>Click icon to add picture</a:t>
            </a:r>
          </a:p>
        </p:txBody>
      </p:sp>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5" name="Slide Number Placeholder 4"/>
          <p:cNvSpPr>
            <a:spLocks noGrp="1"/>
          </p:cNvSpPr>
          <p:nvPr>
            <p:ph type="sldNum" sz="quarter" idx="12"/>
          </p:nvPr>
        </p:nvSpPr>
        <p:spPr/>
        <p:txBody>
          <a:bodyPr/>
          <a:lstStyle>
            <a:lvl1pPr>
              <a:defRPr>
                <a:solidFill>
                  <a:schemeClr val="bg1"/>
                </a:solidFill>
              </a:defRPr>
            </a:lvl1pPr>
          </a:lstStyle>
          <a:p>
            <a:fld id="{46D584E9-81E4-493B-AD1D-A460B5445953}" type="slidenum">
              <a:rPr lang="en-US" smtClean="0"/>
              <a:t>‹#›</a:t>
            </a:fld>
            <a:endParaRPr lang="en-US"/>
          </a:p>
        </p:txBody>
      </p:sp>
      <p:sp>
        <p:nvSpPr>
          <p:cNvPr id="6" name="Freeform 5">
            <a:extLst>
              <a:ext uri="{FF2B5EF4-FFF2-40B4-BE49-F238E27FC236}">
                <a16:creationId xmlns:a16="http://schemas.microsoft.com/office/drawing/2014/main" id="{EB0A5C7A-CAA8-43DD-B541-DCF02544DCA8}"/>
              </a:ext>
            </a:extLst>
          </p:cNvPr>
          <p:cNvSpPr>
            <a:spLocks noEditPoints="1"/>
          </p:cNvSpPr>
          <p:nvPr/>
        </p:nvSpPr>
        <p:spPr bwMode="auto">
          <a:xfrm>
            <a:off x="725855" y="6393957"/>
            <a:ext cx="1669365" cy="312609"/>
          </a:xfrm>
          <a:custGeom>
            <a:avLst/>
            <a:gdLst>
              <a:gd name="T0" fmla="*/ 225 w 1440"/>
              <a:gd name="T1" fmla="*/ 110 h 267"/>
              <a:gd name="T2" fmla="*/ 317 w 1440"/>
              <a:gd name="T3" fmla="*/ 7 h 267"/>
              <a:gd name="T4" fmla="*/ 475 w 1440"/>
              <a:gd name="T5" fmla="*/ 19 h 267"/>
              <a:gd name="T6" fmla="*/ 830 w 1440"/>
              <a:gd name="T7" fmla="*/ 7 h 267"/>
              <a:gd name="T8" fmla="*/ 130 w 1440"/>
              <a:gd name="T9" fmla="*/ 210 h 267"/>
              <a:gd name="T10" fmla="*/ 437 w 1440"/>
              <a:gd name="T11" fmla="*/ 209 h 267"/>
              <a:gd name="T12" fmla="*/ 493 w 1440"/>
              <a:gd name="T13" fmla="*/ 198 h 267"/>
              <a:gd name="T14" fmla="*/ 866 w 1440"/>
              <a:gd name="T15" fmla="*/ 171 h 267"/>
              <a:gd name="T16" fmla="*/ 737 w 1440"/>
              <a:gd name="T17" fmla="*/ 261 h 267"/>
              <a:gd name="T18" fmla="*/ 958 w 1440"/>
              <a:gd name="T19" fmla="*/ 172 h 267"/>
              <a:gd name="T20" fmla="*/ 906 w 1440"/>
              <a:gd name="T21" fmla="*/ 254 h 267"/>
              <a:gd name="T22" fmla="*/ 309 w 1440"/>
              <a:gd name="T23" fmla="*/ 260 h 267"/>
              <a:gd name="T24" fmla="*/ 1053 w 1440"/>
              <a:gd name="T25" fmla="*/ 31 h 267"/>
              <a:gd name="T26" fmla="*/ 1075 w 1440"/>
              <a:gd name="T27" fmla="*/ 44 h 267"/>
              <a:gd name="T28" fmla="*/ 1091 w 1440"/>
              <a:gd name="T29" fmla="*/ 22 h 267"/>
              <a:gd name="T30" fmla="*/ 1107 w 1440"/>
              <a:gd name="T31" fmla="*/ 27 h 267"/>
              <a:gd name="T32" fmla="*/ 1125 w 1440"/>
              <a:gd name="T33" fmla="*/ 55 h 267"/>
              <a:gd name="T34" fmla="*/ 1159 w 1440"/>
              <a:gd name="T35" fmla="*/ 53 h 267"/>
              <a:gd name="T36" fmla="*/ 1160 w 1440"/>
              <a:gd name="T37" fmla="*/ 57 h 267"/>
              <a:gd name="T38" fmla="*/ 1177 w 1440"/>
              <a:gd name="T39" fmla="*/ 23 h 267"/>
              <a:gd name="T40" fmla="*/ 1207 w 1440"/>
              <a:gd name="T41" fmla="*/ 58 h 267"/>
              <a:gd name="T42" fmla="*/ 1245 w 1440"/>
              <a:gd name="T43" fmla="*/ 27 h 267"/>
              <a:gd name="T44" fmla="*/ 1225 w 1440"/>
              <a:gd name="T45" fmla="*/ 43 h 267"/>
              <a:gd name="T46" fmla="*/ 1271 w 1440"/>
              <a:gd name="T47" fmla="*/ 19 h 267"/>
              <a:gd name="T48" fmla="*/ 1259 w 1440"/>
              <a:gd name="T49" fmla="*/ 32 h 267"/>
              <a:gd name="T50" fmla="*/ 1290 w 1440"/>
              <a:gd name="T51" fmla="*/ 54 h 267"/>
              <a:gd name="T52" fmla="*/ 1310 w 1440"/>
              <a:gd name="T53" fmla="*/ 25 h 267"/>
              <a:gd name="T54" fmla="*/ 1059 w 1440"/>
              <a:gd name="T55" fmla="*/ 110 h 267"/>
              <a:gd name="T56" fmla="*/ 1099 w 1440"/>
              <a:gd name="T57" fmla="*/ 134 h 267"/>
              <a:gd name="T58" fmla="*/ 1120 w 1440"/>
              <a:gd name="T59" fmla="*/ 156 h 267"/>
              <a:gd name="T60" fmla="*/ 1141 w 1440"/>
              <a:gd name="T61" fmla="*/ 123 h 267"/>
              <a:gd name="T62" fmla="*/ 1148 w 1440"/>
              <a:gd name="T63" fmla="*/ 175 h 267"/>
              <a:gd name="T64" fmla="*/ 1184 w 1440"/>
              <a:gd name="T65" fmla="*/ 119 h 267"/>
              <a:gd name="T66" fmla="*/ 1181 w 1440"/>
              <a:gd name="T67" fmla="*/ 153 h 267"/>
              <a:gd name="T68" fmla="*/ 1201 w 1440"/>
              <a:gd name="T69" fmla="*/ 125 h 267"/>
              <a:gd name="T70" fmla="*/ 1230 w 1440"/>
              <a:gd name="T71" fmla="*/ 157 h 267"/>
              <a:gd name="T72" fmla="*/ 1260 w 1440"/>
              <a:gd name="T73" fmla="*/ 154 h 267"/>
              <a:gd name="T74" fmla="*/ 1261 w 1440"/>
              <a:gd name="T75" fmla="*/ 158 h 267"/>
              <a:gd name="T76" fmla="*/ 1284 w 1440"/>
              <a:gd name="T77" fmla="*/ 152 h 267"/>
              <a:gd name="T78" fmla="*/ 1294 w 1440"/>
              <a:gd name="T79" fmla="*/ 123 h 267"/>
              <a:gd name="T80" fmla="*/ 1317 w 1440"/>
              <a:gd name="T81" fmla="*/ 125 h 267"/>
              <a:gd name="T82" fmla="*/ 1342 w 1440"/>
              <a:gd name="T83" fmla="*/ 121 h 267"/>
              <a:gd name="T84" fmla="*/ 1351 w 1440"/>
              <a:gd name="T85" fmla="*/ 112 h 267"/>
              <a:gd name="T86" fmla="*/ 1364 w 1440"/>
              <a:gd name="T87" fmla="*/ 159 h 267"/>
              <a:gd name="T88" fmla="*/ 1399 w 1440"/>
              <a:gd name="T89" fmla="*/ 156 h 267"/>
              <a:gd name="T90" fmla="*/ 1432 w 1440"/>
              <a:gd name="T91" fmla="*/ 120 h 267"/>
              <a:gd name="T92" fmla="*/ 1410 w 1440"/>
              <a:gd name="T93" fmla="*/ 176 h 267"/>
              <a:gd name="T94" fmla="*/ 1076 w 1440"/>
              <a:gd name="T95" fmla="*/ 242 h 267"/>
              <a:gd name="T96" fmla="*/ 1062 w 1440"/>
              <a:gd name="T97" fmla="*/ 225 h 267"/>
              <a:gd name="T98" fmla="*/ 1091 w 1440"/>
              <a:gd name="T99" fmla="*/ 208 h 267"/>
              <a:gd name="T100" fmla="*/ 1112 w 1440"/>
              <a:gd name="T101" fmla="*/ 233 h 267"/>
              <a:gd name="T102" fmla="*/ 1128 w 1440"/>
              <a:gd name="T103" fmla="*/ 224 h 267"/>
              <a:gd name="T104" fmla="*/ 1168 w 1440"/>
              <a:gd name="T105" fmla="*/ 255 h 267"/>
              <a:gd name="T106" fmla="*/ 1154 w 1440"/>
              <a:gd name="T107" fmla="*/ 236 h 267"/>
              <a:gd name="T108" fmla="*/ 1203 w 1440"/>
              <a:gd name="T109" fmla="*/ 256 h 267"/>
              <a:gd name="T110" fmla="*/ 1200 w 1440"/>
              <a:gd name="T111" fmla="*/ 213 h 267"/>
              <a:gd name="T112" fmla="*/ 1227 w 1440"/>
              <a:gd name="T113" fmla="*/ 256 h 267"/>
              <a:gd name="T114" fmla="*/ 1249 w 1440"/>
              <a:gd name="T115" fmla="*/ 260 h 267"/>
              <a:gd name="T116" fmla="*/ 1255 w 1440"/>
              <a:gd name="T117" fmla="*/ 205 h 267"/>
              <a:gd name="T118" fmla="*/ 1297 w 1440"/>
              <a:gd name="T119" fmla="*/ 226 h 267"/>
              <a:gd name="T120" fmla="*/ 1303 w 1440"/>
              <a:gd name="T121" fmla="*/ 243 h 267"/>
              <a:gd name="T122" fmla="*/ 1344 w 1440"/>
              <a:gd name="T123" fmla="*/ 229 h 267"/>
              <a:gd name="T124" fmla="*/ 1328 w 1440"/>
              <a:gd name="T125" fmla="*/ 239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440" h="267">
                <a:moveTo>
                  <a:pt x="17" y="110"/>
                </a:moveTo>
                <a:cubicBezTo>
                  <a:pt x="3" y="110"/>
                  <a:pt x="3" y="110"/>
                  <a:pt x="3" y="110"/>
                </a:cubicBezTo>
                <a:cubicBezTo>
                  <a:pt x="3" y="1"/>
                  <a:pt x="3" y="1"/>
                  <a:pt x="3" y="1"/>
                </a:cubicBezTo>
                <a:cubicBezTo>
                  <a:pt x="81" y="83"/>
                  <a:pt x="81" y="83"/>
                  <a:pt x="81" y="83"/>
                </a:cubicBezTo>
                <a:cubicBezTo>
                  <a:pt x="81" y="7"/>
                  <a:pt x="81" y="7"/>
                  <a:pt x="81" y="7"/>
                </a:cubicBezTo>
                <a:cubicBezTo>
                  <a:pt x="95" y="7"/>
                  <a:pt x="95" y="7"/>
                  <a:pt x="95" y="7"/>
                </a:cubicBezTo>
                <a:cubicBezTo>
                  <a:pt x="95" y="117"/>
                  <a:pt x="95" y="117"/>
                  <a:pt x="95" y="117"/>
                </a:cubicBezTo>
                <a:cubicBezTo>
                  <a:pt x="17" y="35"/>
                  <a:pt x="17" y="35"/>
                  <a:pt x="17" y="35"/>
                </a:cubicBezTo>
                <a:lnTo>
                  <a:pt x="17" y="110"/>
                </a:lnTo>
                <a:close/>
                <a:moveTo>
                  <a:pt x="130" y="110"/>
                </a:moveTo>
                <a:cubicBezTo>
                  <a:pt x="145" y="110"/>
                  <a:pt x="145" y="110"/>
                  <a:pt x="145" y="110"/>
                </a:cubicBezTo>
                <a:cubicBezTo>
                  <a:pt x="178" y="33"/>
                  <a:pt x="178" y="33"/>
                  <a:pt x="178" y="33"/>
                </a:cubicBezTo>
                <a:cubicBezTo>
                  <a:pt x="210" y="109"/>
                  <a:pt x="210" y="109"/>
                  <a:pt x="210" y="109"/>
                </a:cubicBezTo>
                <a:cubicBezTo>
                  <a:pt x="210" y="110"/>
                  <a:pt x="210" y="110"/>
                  <a:pt x="210" y="110"/>
                </a:cubicBezTo>
                <a:cubicBezTo>
                  <a:pt x="225" y="110"/>
                  <a:pt x="225" y="110"/>
                  <a:pt x="225" y="110"/>
                </a:cubicBezTo>
                <a:cubicBezTo>
                  <a:pt x="178" y="0"/>
                  <a:pt x="178" y="0"/>
                  <a:pt x="178" y="0"/>
                </a:cubicBezTo>
                <a:lnTo>
                  <a:pt x="130" y="110"/>
                </a:lnTo>
                <a:close/>
                <a:moveTo>
                  <a:pt x="700" y="110"/>
                </a:moveTo>
                <a:cubicBezTo>
                  <a:pt x="715" y="110"/>
                  <a:pt x="715" y="110"/>
                  <a:pt x="715" y="110"/>
                </a:cubicBezTo>
                <a:cubicBezTo>
                  <a:pt x="748" y="33"/>
                  <a:pt x="748" y="33"/>
                  <a:pt x="748" y="33"/>
                </a:cubicBezTo>
                <a:cubicBezTo>
                  <a:pt x="780" y="109"/>
                  <a:pt x="780" y="109"/>
                  <a:pt x="780" y="109"/>
                </a:cubicBezTo>
                <a:cubicBezTo>
                  <a:pt x="780" y="110"/>
                  <a:pt x="780" y="110"/>
                  <a:pt x="780" y="110"/>
                </a:cubicBezTo>
                <a:cubicBezTo>
                  <a:pt x="795" y="110"/>
                  <a:pt x="795" y="110"/>
                  <a:pt x="795" y="110"/>
                </a:cubicBezTo>
                <a:cubicBezTo>
                  <a:pt x="748" y="0"/>
                  <a:pt x="748" y="0"/>
                  <a:pt x="748" y="0"/>
                </a:cubicBezTo>
                <a:lnTo>
                  <a:pt x="700" y="110"/>
                </a:lnTo>
                <a:close/>
                <a:moveTo>
                  <a:pt x="273" y="110"/>
                </a:moveTo>
                <a:cubicBezTo>
                  <a:pt x="286" y="110"/>
                  <a:pt x="286" y="110"/>
                  <a:pt x="286" y="110"/>
                </a:cubicBezTo>
                <a:cubicBezTo>
                  <a:pt x="286" y="20"/>
                  <a:pt x="286" y="20"/>
                  <a:pt x="286" y="20"/>
                </a:cubicBezTo>
                <a:cubicBezTo>
                  <a:pt x="317" y="20"/>
                  <a:pt x="317" y="20"/>
                  <a:pt x="317" y="20"/>
                </a:cubicBezTo>
                <a:cubicBezTo>
                  <a:pt x="317" y="7"/>
                  <a:pt x="317" y="7"/>
                  <a:pt x="317" y="7"/>
                </a:cubicBezTo>
                <a:cubicBezTo>
                  <a:pt x="242" y="7"/>
                  <a:pt x="242" y="7"/>
                  <a:pt x="242" y="7"/>
                </a:cubicBezTo>
                <a:cubicBezTo>
                  <a:pt x="242" y="20"/>
                  <a:pt x="242" y="20"/>
                  <a:pt x="242" y="20"/>
                </a:cubicBezTo>
                <a:cubicBezTo>
                  <a:pt x="273" y="20"/>
                  <a:pt x="273" y="20"/>
                  <a:pt x="273" y="20"/>
                </a:cubicBezTo>
                <a:lnTo>
                  <a:pt x="273" y="110"/>
                </a:lnTo>
                <a:close/>
                <a:moveTo>
                  <a:pt x="374" y="7"/>
                </a:moveTo>
                <a:cubicBezTo>
                  <a:pt x="360" y="7"/>
                  <a:pt x="360" y="7"/>
                  <a:pt x="360" y="7"/>
                </a:cubicBezTo>
                <a:cubicBezTo>
                  <a:pt x="360" y="110"/>
                  <a:pt x="360" y="110"/>
                  <a:pt x="360" y="110"/>
                </a:cubicBezTo>
                <a:cubicBezTo>
                  <a:pt x="374" y="110"/>
                  <a:pt x="374" y="110"/>
                  <a:pt x="374" y="110"/>
                </a:cubicBezTo>
                <a:lnTo>
                  <a:pt x="374" y="7"/>
                </a:lnTo>
                <a:close/>
                <a:moveTo>
                  <a:pt x="475" y="112"/>
                </a:moveTo>
                <a:cubicBezTo>
                  <a:pt x="445" y="112"/>
                  <a:pt x="421" y="88"/>
                  <a:pt x="421" y="59"/>
                </a:cubicBezTo>
                <a:cubicBezTo>
                  <a:pt x="421" y="29"/>
                  <a:pt x="445" y="5"/>
                  <a:pt x="475" y="5"/>
                </a:cubicBezTo>
                <a:cubicBezTo>
                  <a:pt x="505" y="5"/>
                  <a:pt x="528" y="29"/>
                  <a:pt x="528" y="59"/>
                </a:cubicBezTo>
                <a:cubicBezTo>
                  <a:pt x="528" y="88"/>
                  <a:pt x="505" y="112"/>
                  <a:pt x="475" y="112"/>
                </a:cubicBezTo>
                <a:close/>
                <a:moveTo>
                  <a:pt x="475" y="19"/>
                </a:moveTo>
                <a:cubicBezTo>
                  <a:pt x="453" y="19"/>
                  <a:pt x="435" y="37"/>
                  <a:pt x="435" y="59"/>
                </a:cubicBezTo>
                <a:cubicBezTo>
                  <a:pt x="435" y="81"/>
                  <a:pt x="453" y="99"/>
                  <a:pt x="475" y="99"/>
                </a:cubicBezTo>
                <a:cubicBezTo>
                  <a:pt x="497" y="99"/>
                  <a:pt x="514" y="81"/>
                  <a:pt x="514" y="59"/>
                </a:cubicBezTo>
                <a:cubicBezTo>
                  <a:pt x="514" y="37"/>
                  <a:pt x="497" y="19"/>
                  <a:pt x="475" y="19"/>
                </a:cubicBezTo>
                <a:close/>
                <a:moveTo>
                  <a:pt x="586" y="35"/>
                </a:moveTo>
                <a:cubicBezTo>
                  <a:pt x="664" y="117"/>
                  <a:pt x="664" y="117"/>
                  <a:pt x="664" y="117"/>
                </a:cubicBezTo>
                <a:cubicBezTo>
                  <a:pt x="664" y="7"/>
                  <a:pt x="664" y="7"/>
                  <a:pt x="664" y="7"/>
                </a:cubicBezTo>
                <a:cubicBezTo>
                  <a:pt x="650" y="7"/>
                  <a:pt x="650" y="7"/>
                  <a:pt x="650" y="7"/>
                </a:cubicBezTo>
                <a:cubicBezTo>
                  <a:pt x="650" y="83"/>
                  <a:pt x="650" y="83"/>
                  <a:pt x="650" y="83"/>
                </a:cubicBezTo>
                <a:cubicBezTo>
                  <a:pt x="572" y="1"/>
                  <a:pt x="572" y="1"/>
                  <a:pt x="572" y="1"/>
                </a:cubicBezTo>
                <a:cubicBezTo>
                  <a:pt x="572" y="110"/>
                  <a:pt x="572" y="110"/>
                  <a:pt x="572" y="110"/>
                </a:cubicBezTo>
                <a:cubicBezTo>
                  <a:pt x="586" y="110"/>
                  <a:pt x="586" y="110"/>
                  <a:pt x="586" y="110"/>
                </a:cubicBezTo>
                <a:lnTo>
                  <a:pt x="586" y="35"/>
                </a:lnTo>
                <a:close/>
                <a:moveTo>
                  <a:pt x="843" y="7"/>
                </a:moveTo>
                <a:cubicBezTo>
                  <a:pt x="830" y="7"/>
                  <a:pt x="830" y="7"/>
                  <a:pt x="830" y="7"/>
                </a:cubicBezTo>
                <a:cubicBezTo>
                  <a:pt x="830" y="110"/>
                  <a:pt x="830" y="110"/>
                  <a:pt x="830" y="110"/>
                </a:cubicBezTo>
                <a:cubicBezTo>
                  <a:pt x="885" y="110"/>
                  <a:pt x="885" y="110"/>
                  <a:pt x="885" y="110"/>
                </a:cubicBezTo>
                <a:cubicBezTo>
                  <a:pt x="885" y="97"/>
                  <a:pt x="885" y="97"/>
                  <a:pt x="885" y="97"/>
                </a:cubicBezTo>
                <a:cubicBezTo>
                  <a:pt x="843" y="97"/>
                  <a:pt x="843" y="97"/>
                  <a:pt x="843" y="97"/>
                </a:cubicBezTo>
                <a:lnTo>
                  <a:pt x="843" y="7"/>
                </a:lnTo>
                <a:close/>
                <a:moveTo>
                  <a:pt x="169" y="156"/>
                </a:moveTo>
                <a:cubicBezTo>
                  <a:pt x="139" y="156"/>
                  <a:pt x="116" y="179"/>
                  <a:pt x="116" y="209"/>
                </a:cubicBezTo>
                <a:cubicBezTo>
                  <a:pt x="116" y="240"/>
                  <a:pt x="139" y="262"/>
                  <a:pt x="169" y="262"/>
                </a:cubicBezTo>
                <a:cubicBezTo>
                  <a:pt x="175" y="262"/>
                  <a:pt x="188" y="261"/>
                  <a:pt x="200" y="252"/>
                </a:cubicBezTo>
                <a:cubicBezTo>
                  <a:pt x="200" y="252"/>
                  <a:pt x="200" y="252"/>
                  <a:pt x="200" y="252"/>
                </a:cubicBezTo>
                <a:cubicBezTo>
                  <a:pt x="200" y="234"/>
                  <a:pt x="200" y="234"/>
                  <a:pt x="200" y="234"/>
                </a:cubicBezTo>
                <a:cubicBezTo>
                  <a:pt x="198" y="236"/>
                  <a:pt x="198" y="236"/>
                  <a:pt x="198" y="236"/>
                </a:cubicBezTo>
                <a:cubicBezTo>
                  <a:pt x="196" y="239"/>
                  <a:pt x="192" y="242"/>
                  <a:pt x="187" y="245"/>
                </a:cubicBezTo>
                <a:cubicBezTo>
                  <a:pt x="181" y="247"/>
                  <a:pt x="175" y="249"/>
                  <a:pt x="169" y="249"/>
                </a:cubicBezTo>
                <a:cubicBezTo>
                  <a:pt x="142" y="249"/>
                  <a:pt x="130" y="226"/>
                  <a:pt x="130" y="210"/>
                </a:cubicBezTo>
                <a:cubicBezTo>
                  <a:pt x="130" y="187"/>
                  <a:pt x="147" y="169"/>
                  <a:pt x="169" y="169"/>
                </a:cubicBezTo>
                <a:cubicBezTo>
                  <a:pt x="174" y="169"/>
                  <a:pt x="180" y="170"/>
                  <a:pt x="185" y="173"/>
                </a:cubicBezTo>
                <a:cubicBezTo>
                  <a:pt x="190" y="175"/>
                  <a:pt x="194" y="178"/>
                  <a:pt x="198" y="182"/>
                </a:cubicBezTo>
                <a:cubicBezTo>
                  <a:pt x="200" y="184"/>
                  <a:pt x="200" y="184"/>
                  <a:pt x="200" y="184"/>
                </a:cubicBezTo>
                <a:cubicBezTo>
                  <a:pt x="200" y="166"/>
                  <a:pt x="200" y="166"/>
                  <a:pt x="200" y="166"/>
                </a:cubicBezTo>
                <a:cubicBezTo>
                  <a:pt x="200" y="166"/>
                  <a:pt x="200" y="166"/>
                  <a:pt x="200" y="166"/>
                </a:cubicBezTo>
                <a:cubicBezTo>
                  <a:pt x="191" y="159"/>
                  <a:pt x="181" y="156"/>
                  <a:pt x="169" y="156"/>
                </a:cubicBezTo>
                <a:close/>
                <a:moveTo>
                  <a:pt x="437" y="209"/>
                </a:moveTo>
                <a:cubicBezTo>
                  <a:pt x="437" y="225"/>
                  <a:pt x="431" y="238"/>
                  <a:pt x="419" y="249"/>
                </a:cubicBezTo>
                <a:cubicBezTo>
                  <a:pt x="409" y="257"/>
                  <a:pt x="399" y="261"/>
                  <a:pt x="382" y="261"/>
                </a:cubicBezTo>
                <a:cubicBezTo>
                  <a:pt x="360" y="261"/>
                  <a:pt x="360" y="261"/>
                  <a:pt x="360" y="261"/>
                </a:cubicBezTo>
                <a:cubicBezTo>
                  <a:pt x="360" y="157"/>
                  <a:pt x="360" y="157"/>
                  <a:pt x="360" y="157"/>
                </a:cubicBezTo>
                <a:cubicBezTo>
                  <a:pt x="382" y="157"/>
                  <a:pt x="382" y="157"/>
                  <a:pt x="382" y="157"/>
                </a:cubicBezTo>
                <a:cubicBezTo>
                  <a:pt x="393" y="157"/>
                  <a:pt x="407" y="159"/>
                  <a:pt x="420" y="170"/>
                </a:cubicBezTo>
                <a:cubicBezTo>
                  <a:pt x="426" y="175"/>
                  <a:pt x="437" y="187"/>
                  <a:pt x="437" y="209"/>
                </a:cubicBezTo>
                <a:close/>
                <a:moveTo>
                  <a:pt x="423" y="209"/>
                </a:moveTo>
                <a:cubicBezTo>
                  <a:pt x="423" y="186"/>
                  <a:pt x="407" y="171"/>
                  <a:pt x="382" y="171"/>
                </a:cubicBezTo>
                <a:cubicBezTo>
                  <a:pt x="374" y="171"/>
                  <a:pt x="374" y="171"/>
                  <a:pt x="374" y="171"/>
                </a:cubicBezTo>
                <a:cubicBezTo>
                  <a:pt x="374" y="247"/>
                  <a:pt x="374" y="247"/>
                  <a:pt x="374" y="247"/>
                </a:cubicBezTo>
                <a:cubicBezTo>
                  <a:pt x="382" y="247"/>
                  <a:pt x="382" y="247"/>
                  <a:pt x="382" y="247"/>
                </a:cubicBezTo>
                <a:cubicBezTo>
                  <a:pt x="390" y="247"/>
                  <a:pt x="401" y="246"/>
                  <a:pt x="410" y="239"/>
                </a:cubicBezTo>
                <a:cubicBezTo>
                  <a:pt x="416" y="234"/>
                  <a:pt x="423" y="224"/>
                  <a:pt x="423" y="209"/>
                </a:cubicBezTo>
                <a:close/>
                <a:moveTo>
                  <a:pt x="479" y="261"/>
                </a:moveTo>
                <a:cubicBezTo>
                  <a:pt x="541" y="261"/>
                  <a:pt x="541" y="261"/>
                  <a:pt x="541" y="261"/>
                </a:cubicBezTo>
                <a:cubicBezTo>
                  <a:pt x="541" y="247"/>
                  <a:pt x="541" y="247"/>
                  <a:pt x="541" y="247"/>
                </a:cubicBezTo>
                <a:cubicBezTo>
                  <a:pt x="493" y="247"/>
                  <a:pt x="493" y="247"/>
                  <a:pt x="493" y="247"/>
                </a:cubicBezTo>
                <a:cubicBezTo>
                  <a:pt x="493" y="211"/>
                  <a:pt x="493" y="211"/>
                  <a:pt x="493" y="211"/>
                </a:cubicBezTo>
                <a:cubicBezTo>
                  <a:pt x="535" y="211"/>
                  <a:pt x="535" y="211"/>
                  <a:pt x="535" y="211"/>
                </a:cubicBezTo>
                <a:cubicBezTo>
                  <a:pt x="535" y="198"/>
                  <a:pt x="535" y="198"/>
                  <a:pt x="535" y="198"/>
                </a:cubicBezTo>
                <a:cubicBezTo>
                  <a:pt x="493" y="198"/>
                  <a:pt x="493" y="198"/>
                  <a:pt x="493" y="198"/>
                </a:cubicBezTo>
                <a:cubicBezTo>
                  <a:pt x="493" y="171"/>
                  <a:pt x="493" y="171"/>
                  <a:pt x="493" y="171"/>
                </a:cubicBezTo>
                <a:cubicBezTo>
                  <a:pt x="541" y="171"/>
                  <a:pt x="541" y="171"/>
                  <a:pt x="541" y="171"/>
                </a:cubicBezTo>
                <a:cubicBezTo>
                  <a:pt x="541" y="157"/>
                  <a:pt x="541" y="157"/>
                  <a:pt x="541" y="157"/>
                </a:cubicBezTo>
                <a:cubicBezTo>
                  <a:pt x="479" y="157"/>
                  <a:pt x="479" y="157"/>
                  <a:pt x="479" y="157"/>
                </a:cubicBezTo>
                <a:lnTo>
                  <a:pt x="479" y="261"/>
                </a:lnTo>
                <a:close/>
                <a:moveTo>
                  <a:pt x="805" y="261"/>
                </a:moveTo>
                <a:cubicBezTo>
                  <a:pt x="866" y="261"/>
                  <a:pt x="866" y="261"/>
                  <a:pt x="866" y="261"/>
                </a:cubicBezTo>
                <a:cubicBezTo>
                  <a:pt x="866" y="247"/>
                  <a:pt x="866" y="247"/>
                  <a:pt x="866" y="247"/>
                </a:cubicBezTo>
                <a:cubicBezTo>
                  <a:pt x="819" y="247"/>
                  <a:pt x="819" y="247"/>
                  <a:pt x="819" y="247"/>
                </a:cubicBezTo>
                <a:cubicBezTo>
                  <a:pt x="819" y="211"/>
                  <a:pt x="819" y="211"/>
                  <a:pt x="819" y="211"/>
                </a:cubicBezTo>
                <a:cubicBezTo>
                  <a:pt x="860" y="211"/>
                  <a:pt x="860" y="211"/>
                  <a:pt x="860" y="211"/>
                </a:cubicBezTo>
                <a:cubicBezTo>
                  <a:pt x="860" y="198"/>
                  <a:pt x="860" y="198"/>
                  <a:pt x="860" y="198"/>
                </a:cubicBezTo>
                <a:cubicBezTo>
                  <a:pt x="819" y="198"/>
                  <a:pt x="819" y="198"/>
                  <a:pt x="819" y="198"/>
                </a:cubicBezTo>
                <a:cubicBezTo>
                  <a:pt x="819" y="171"/>
                  <a:pt x="819" y="171"/>
                  <a:pt x="819" y="171"/>
                </a:cubicBezTo>
                <a:cubicBezTo>
                  <a:pt x="866" y="171"/>
                  <a:pt x="866" y="171"/>
                  <a:pt x="866" y="171"/>
                </a:cubicBezTo>
                <a:cubicBezTo>
                  <a:pt x="866" y="157"/>
                  <a:pt x="866" y="157"/>
                  <a:pt x="866" y="157"/>
                </a:cubicBezTo>
                <a:cubicBezTo>
                  <a:pt x="805" y="157"/>
                  <a:pt x="805" y="157"/>
                  <a:pt x="805" y="157"/>
                </a:cubicBezTo>
                <a:lnTo>
                  <a:pt x="805" y="261"/>
                </a:lnTo>
                <a:close/>
                <a:moveTo>
                  <a:pt x="634" y="235"/>
                </a:moveTo>
                <a:cubicBezTo>
                  <a:pt x="595" y="149"/>
                  <a:pt x="595" y="149"/>
                  <a:pt x="595" y="149"/>
                </a:cubicBezTo>
                <a:cubicBezTo>
                  <a:pt x="578" y="261"/>
                  <a:pt x="578" y="261"/>
                  <a:pt x="578" y="261"/>
                </a:cubicBezTo>
                <a:cubicBezTo>
                  <a:pt x="592" y="261"/>
                  <a:pt x="592" y="261"/>
                  <a:pt x="592" y="261"/>
                </a:cubicBezTo>
                <a:cubicBezTo>
                  <a:pt x="601" y="194"/>
                  <a:pt x="601" y="194"/>
                  <a:pt x="601" y="194"/>
                </a:cubicBezTo>
                <a:cubicBezTo>
                  <a:pt x="634" y="267"/>
                  <a:pt x="634" y="267"/>
                  <a:pt x="634" y="267"/>
                </a:cubicBezTo>
                <a:cubicBezTo>
                  <a:pt x="668" y="194"/>
                  <a:pt x="668" y="194"/>
                  <a:pt x="668" y="194"/>
                </a:cubicBezTo>
                <a:cubicBezTo>
                  <a:pt x="677" y="261"/>
                  <a:pt x="677" y="261"/>
                  <a:pt x="677" y="261"/>
                </a:cubicBezTo>
                <a:cubicBezTo>
                  <a:pt x="691" y="261"/>
                  <a:pt x="691" y="261"/>
                  <a:pt x="691" y="261"/>
                </a:cubicBezTo>
                <a:cubicBezTo>
                  <a:pt x="674" y="148"/>
                  <a:pt x="674" y="148"/>
                  <a:pt x="674" y="148"/>
                </a:cubicBezTo>
                <a:lnTo>
                  <a:pt x="634" y="235"/>
                </a:lnTo>
                <a:close/>
                <a:moveTo>
                  <a:pt x="737" y="261"/>
                </a:moveTo>
                <a:cubicBezTo>
                  <a:pt x="751" y="261"/>
                  <a:pt x="751" y="261"/>
                  <a:pt x="751" y="261"/>
                </a:cubicBezTo>
                <a:cubicBezTo>
                  <a:pt x="751" y="157"/>
                  <a:pt x="751" y="157"/>
                  <a:pt x="751" y="157"/>
                </a:cubicBezTo>
                <a:cubicBezTo>
                  <a:pt x="737" y="157"/>
                  <a:pt x="737" y="157"/>
                  <a:pt x="737" y="157"/>
                </a:cubicBezTo>
                <a:lnTo>
                  <a:pt x="737" y="261"/>
                </a:lnTo>
                <a:close/>
                <a:moveTo>
                  <a:pt x="955" y="211"/>
                </a:moveTo>
                <a:cubicBezTo>
                  <a:pt x="950" y="207"/>
                  <a:pt x="945" y="204"/>
                  <a:pt x="939" y="201"/>
                </a:cubicBezTo>
                <a:cubicBezTo>
                  <a:pt x="929" y="197"/>
                  <a:pt x="929" y="197"/>
                  <a:pt x="929" y="197"/>
                </a:cubicBezTo>
                <a:cubicBezTo>
                  <a:pt x="925" y="195"/>
                  <a:pt x="922" y="194"/>
                  <a:pt x="919" y="191"/>
                </a:cubicBezTo>
                <a:cubicBezTo>
                  <a:pt x="916" y="189"/>
                  <a:pt x="916" y="187"/>
                  <a:pt x="916" y="183"/>
                </a:cubicBezTo>
                <a:cubicBezTo>
                  <a:pt x="916" y="175"/>
                  <a:pt x="922" y="169"/>
                  <a:pt x="931" y="169"/>
                </a:cubicBezTo>
                <a:cubicBezTo>
                  <a:pt x="936" y="169"/>
                  <a:pt x="940" y="171"/>
                  <a:pt x="942" y="172"/>
                </a:cubicBezTo>
                <a:cubicBezTo>
                  <a:pt x="944" y="174"/>
                  <a:pt x="946" y="177"/>
                  <a:pt x="947" y="179"/>
                </a:cubicBezTo>
                <a:cubicBezTo>
                  <a:pt x="948" y="181"/>
                  <a:pt x="948" y="181"/>
                  <a:pt x="948" y="181"/>
                </a:cubicBezTo>
                <a:cubicBezTo>
                  <a:pt x="959" y="173"/>
                  <a:pt x="959" y="173"/>
                  <a:pt x="959" y="173"/>
                </a:cubicBezTo>
                <a:cubicBezTo>
                  <a:pt x="958" y="172"/>
                  <a:pt x="958" y="172"/>
                  <a:pt x="958" y="172"/>
                </a:cubicBezTo>
                <a:cubicBezTo>
                  <a:pt x="956" y="167"/>
                  <a:pt x="952" y="163"/>
                  <a:pt x="948" y="161"/>
                </a:cubicBezTo>
                <a:cubicBezTo>
                  <a:pt x="943" y="157"/>
                  <a:pt x="938" y="156"/>
                  <a:pt x="931" y="156"/>
                </a:cubicBezTo>
                <a:cubicBezTo>
                  <a:pt x="914" y="156"/>
                  <a:pt x="902" y="167"/>
                  <a:pt x="902" y="183"/>
                </a:cubicBezTo>
                <a:cubicBezTo>
                  <a:pt x="902" y="190"/>
                  <a:pt x="904" y="195"/>
                  <a:pt x="909" y="200"/>
                </a:cubicBezTo>
                <a:cubicBezTo>
                  <a:pt x="913" y="205"/>
                  <a:pt x="918" y="207"/>
                  <a:pt x="922" y="209"/>
                </a:cubicBezTo>
                <a:cubicBezTo>
                  <a:pt x="932" y="213"/>
                  <a:pt x="932" y="213"/>
                  <a:pt x="932" y="213"/>
                </a:cubicBezTo>
                <a:cubicBezTo>
                  <a:pt x="937" y="215"/>
                  <a:pt x="941" y="217"/>
                  <a:pt x="944" y="220"/>
                </a:cubicBezTo>
                <a:cubicBezTo>
                  <a:pt x="947" y="223"/>
                  <a:pt x="948" y="226"/>
                  <a:pt x="948" y="231"/>
                </a:cubicBezTo>
                <a:cubicBezTo>
                  <a:pt x="948" y="240"/>
                  <a:pt x="942" y="249"/>
                  <a:pt x="929" y="249"/>
                </a:cubicBezTo>
                <a:cubicBezTo>
                  <a:pt x="924" y="249"/>
                  <a:pt x="919" y="247"/>
                  <a:pt x="916" y="244"/>
                </a:cubicBezTo>
                <a:cubicBezTo>
                  <a:pt x="913" y="241"/>
                  <a:pt x="911" y="236"/>
                  <a:pt x="910" y="232"/>
                </a:cubicBezTo>
                <a:cubicBezTo>
                  <a:pt x="910" y="230"/>
                  <a:pt x="910" y="230"/>
                  <a:pt x="910" y="230"/>
                </a:cubicBezTo>
                <a:cubicBezTo>
                  <a:pt x="896" y="234"/>
                  <a:pt x="896" y="234"/>
                  <a:pt x="896" y="234"/>
                </a:cubicBezTo>
                <a:cubicBezTo>
                  <a:pt x="897" y="235"/>
                  <a:pt x="897" y="235"/>
                  <a:pt x="897" y="235"/>
                </a:cubicBezTo>
                <a:cubicBezTo>
                  <a:pt x="898" y="243"/>
                  <a:pt x="902" y="249"/>
                  <a:pt x="906" y="254"/>
                </a:cubicBezTo>
                <a:cubicBezTo>
                  <a:pt x="912" y="260"/>
                  <a:pt x="920" y="262"/>
                  <a:pt x="929" y="262"/>
                </a:cubicBezTo>
                <a:cubicBezTo>
                  <a:pt x="948" y="262"/>
                  <a:pt x="962" y="249"/>
                  <a:pt x="962" y="230"/>
                </a:cubicBezTo>
                <a:cubicBezTo>
                  <a:pt x="962" y="222"/>
                  <a:pt x="960" y="216"/>
                  <a:pt x="955" y="211"/>
                </a:cubicBezTo>
                <a:close/>
                <a:moveTo>
                  <a:pt x="0" y="261"/>
                </a:moveTo>
                <a:cubicBezTo>
                  <a:pt x="15" y="261"/>
                  <a:pt x="15" y="261"/>
                  <a:pt x="15" y="261"/>
                </a:cubicBezTo>
                <a:cubicBezTo>
                  <a:pt x="48" y="184"/>
                  <a:pt x="48" y="184"/>
                  <a:pt x="48" y="184"/>
                </a:cubicBezTo>
                <a:cubicBezTo>
                  <a:pt x="79" y="260"/>
                  <a:pt x="79" y="260"/>
                  <a:pt x="79" y="260"/>
                </a:cubicBezTo>
                <a:cubicBezTo>
                  <a:pt x="80" y="261"/>
                  <a:pt x="80" y="261"/>
                  <a:pt x="80" y="261"/>
                </a:cubicBezTo>
                <a:cubicBezTo>
                  <a:pt x="95" y="261"/>
                  <a:pt x="95" y="261"/>
                  <a:pt x="95" y="261"/>
                </a:cubicBezTo>
                <a:cubicBezTo>
                  <a:pt x="48" y="151"/>
                  <a:pt x="48" y="151"/>
                  <a:pt x="48" y="151"/>
                </a:cubicBezTo>
                <a:lnTo>
                  <a:pt x="0" y="261"/>
                </a:lnTo>
                <a:close/>
                <a:moveTo>
                  <a:pt x="229" y="261"/>
                </a:moveTo>
                <a:cubicBezTo>
                  <a:pt x="244" y="261"/>
                  <a:pt x="244" y="261"/>
                  <a:pt x="244" y="261"/>
                </a:cubicBezTo>
                <a:cubicBezTo>
                  <a:pt x="277" y="184"/>
                  <a:pt x="277" y="184"/>
                  <a:pt x="277" y="184"/>
                </a:cubicBezTo>
                <a:cubicBezTo>
                  <a:pt x="309" y="260"/>
                  <a:pt x="309" y="260"/>
                  <a:pt x="309" y="260"/>
                </a:cubicBezTo>
                <a:cubicBezTo>
                  <a:pt x="309" y="261"/>
                  <a:pt x="309" y="261"/>
                  <a:pt x="309" y="261"/>
                </a:cubicBezTo>
                <a:cubicBezTo>
                  <a:pt x="324" y="261"/>
                  <a:pt x="324" y="261"/>
                  <a:pt x="324" y="261"/>
                </a:cubicBezTo>
                <a:cubicBezTo>
                  <a:pt x="277" y="151"/>
                  <a:pt x="277" y="151"/>
                  <a:pt x="277" y="151"/>
                </a:cubicBezTo>
                <a:lnTo>
                  <a:pt x="229" y="261"/>
                </a:lnTo>
                <a:close/>
                <a:moveTo>
                  <a:pt x="1071" y="11"/>
                </a:moveTo>
                <a:cubicBezTo>
                  <a:pt x="1071" y="18"/>
                  <a:pt x="1071" y="18"/>
                  <a:pt x="1071" y="18"/>
                </a:cubicBezTo>
                <a:cubicBezTo>
                  <a:pt x="1075" y="18"/>
                  <a:pt x="1075" y="18"/>
                  <a:pt x="1075" y="18"/>
                </a:cubicBezTo>
                <a:cubicBezTo>
                  <a:pt x="1077" y="9"/>
                  <a:pt x="1077" y="9"/>
                  <a:pt x="1077" y="9"/>
                </a:cubicBezTo>
                <a:cubicBezTo>
                  <a:pt x="1076" y="8"/>
                  <a:pt x="1074" y="7"/>
                  <a:pt x="1072" y="6"/>
                </a:cubicBezTo>
                <a:cubicBezTo>
                  <a:pt x="1070" y="6"/>
                  <a:pt x="1067" y="6"/>
                  <a:pt x="1064" y="6"/>
                </a:cubicBezTo>
                <a:cubicBezTo>
                  <a:pt x="1061" y="6"/>
                  <a:pt x="1058" y="6"/>
                  <a:pt x="1056" y="7"/>
                </a:cubicBezTo>
                <a:cubicBezTo>
                  <a:pt x="1053" y="9"/>
                  <a:pt x="1051" y="10"/>
                  <a:pt x="1049" y="12"/>
                </a:cubicBezTo>
                <a:cubicBezTo>
                  <a:pt x="1048" y="14"/>
                  <a:pt x="1047" y="17"/>
                  <a:pt x="1047" y="20"/>
                </a:cubicBezTo>
                <a:cubicBezTo>
                  <a:pt x="1047" y="22"/>
                  <a:pt x="1048" y="24"/>
                  <a:pt x="1049" y="26"/>
                </a:cubicBezTo>
                <a:cubicBezTo>
                  <a:pt x="1050" y="28"/>
                  <a:pt x="1051" y="30"/>
                  <a:pt x="1053" y="31"/>
                </a:cubicBezTo>
                <a:cubicBezTo>
                  <a:pt x="1055" y="32"/>
                  <a:pt x="1057" y="34"/>
                  <a:pt x="1059" y="35"/>
                </a:cubicBezTo>
                <a:cubicBezTo>
                  <a:pt x="1062" y="37"/>
                  <a:pt x="1064" y="39"/>
                  <a:pt x="1066" y="40"/>
                </a:cubicBezTo>
                <a:cubicBezTo>
                  <a:pt x="1067" y="42"/>
                  <a:pt x="1068" y="44"/>
                  <a:pt x="1068" y="47"/>
                </a:cubicBezTo>
                <a:cubicBezTo>
                  <a:pt x="1068" y="49"/>
                  <a:pt x="1067" y="52"/>
                  <a:pt x="1065" y="53"/>
                </a:cubicBezTo>
                <a:cubicBezTo>
                  <a:pt x="1062" y="55"/>
                  <a:pt x="1060" y="56"/>
                  <a:pt x="1057" y="56"/>
                </a:cubicBezTo>
                <a:cubicBezTo>
                  <a:pt x="1055" y="56"/>
                  <a:pt x="1053" y="56"/>
                  <a:pt x="1052" y="55"/>
                </a:cubicBezTo>
                <a:cubicBezTo>
                  <a:pt x="1050" y="55"/>
                  <a:pt x="1049" y="54"/>
                  <a:pt x="1048" y="54"/>
                </a:cubicBezTo>
                <a:cubicBezTo>
                  <a:pt x="1048" y="46"/>
                  <a:pt x="1048" y="46"/>
                  <a:pt x="1048" y="46"/>
                </a:cubicBezTo>
                <a:cubicBezTo>
                  <a:pt x="1044" y="46"/>
                  <a:pt x="1044" y="46"/>
                  <a:pt x="1044" y="46"/>
                </a:cubicBezTo>
                <a:cubicBezTo>
                  <a:pt x="1042" y="56"/>
                  <a:pt x="1042" y="56"/>
                  <a:pt x="1042" y="56"/>
                </a:cubicBezTo>
                <a:cubicBezTo>
                  <a:pt x="1043" y="57"/>
                  <a:pt x="1045" y="58"/>
                  <a:pt x="1048" y="58"/>
                </a:cubicBezTo>
                <a:cubicBezTo>
                  <a:pt x="1051" y="59"/>
                  <a:pt x="1054" y="59"/>
                  <a:pt x="1057" y="59"/>
                </a:cubicBezTo>
                <a:cubicBezTo>
                  <a:pt x="1060" y="59"/>
                  <a:pt x="1063" y="59"/>
                  <a:pt x="1066" y="57"/>
                </a:cubicBezTo>
                <a:cubicBezTo>
                  <a:pt x="1069" y="56"/>
                  <a:pt x="1071" y="54"/>
                  <a:pt x="1073" y="52"/>
                </a:cubicBezTo>
                <a:cubicBezTo>
                  <a:pt x="1074" y="50"/>
                  <a:pt x="1075" y="47"/>
                  <a:pt x="1075" y="44"/>
                </a:cubicBezTo>
                <a:cubicBezTo>
                  <a:pt x="1075" y="42"/>
                  <a:pt x="1074" y="40"/>
                  <a:pt x="1073" y="38"/>
                </a:cubicBezTo>
                <a:cubicBezTo>
                  <a:pt x="1072" y="36"/>
                  <a:pt x="1071" y="35"/>
                  <a:pt x="1069" y="34"/>
                </a:cubicBezTo>
                <a:cubicBezTo>
                  <a:pt x="1068" y="32"/>
                  <a:pt x="1066" y="31"/>
                  <a:pt x="1064" y="29"/>
                </a:cubicBezTo>
                <a:cubicBezTo>
                  <a:pt x="1060" y="27"/>
                  <a:pt x="1058" y="25"/>
                  <a:pt x="1056" y="24"/>
                </a:cubicBezTo>
                <a:cubicBezTo>
                  <a:pt x="1055" y="22"/>
                  <a:pt x="1054" y="20"/>
                  <a:pt x="1054" y="17"/>
                </a:cubicBezTo>
                <a:cubicBezTo>
                  <a:pt x="1054" y="15"/>
                  <a:pt x="1055" y="13"/>
                  <a:pt x="1057" y="11"/>
                </a:cubicBezTo>
                <a:cubicBezTo>
                  <a:pt x="1059" y="10"/>
                  <a:pt x="1061" y="9"/>
                  <a:pt x="1064" y="9"/>
                </a:cubicBezTo>
                <a:cubicBezTo>
                  <a:pt x="1065" y="9"/>
                  <a:pt x="1067" y="9"/>
                  <a:pt x="1068" y="10"/>
                </a:cubicBezTo>
                <a:cubicBezTo>
                  <a:pt x="1069" y="10"/>
                  <a:pt x="1070" y="10"/>
                  <a:pt x="1071" y="11"/>
                </a:cubicBezTo>
                <a:close/>
                <a:moveTo>
                  <a:pt x="1107" y="27"/>
                </a:moveTo>
                <a:cubicBezTo>
                  <a:pt x="1108" y="27"/>
                  <a:pt x="1108" y="27"/>
                  <a:pt x="1108" y="27"/>
                </a:cubicBezTo>
                <a:cubicBezTo>
                  <a:pt x="1110" y="20"/>
                  <a:pt x="1110" y="20"/>
                  <a:pt x="1110" y="20"/>
                </a:cubicBezTo>
                <a:cubicBezTo>
                  <a:pt x="1109" y="20"/>
                  <a:pt x="1108" y="19"/>
                  <a:pt x="1107" y="19"/>
                </a:cubicBezTo>
                <a:cubicBezTo>
                  <a:pt x="1105" y="19"/>
                  <a:pt x="1104" y="19"/>
                  <a:pt x="1102" y="19"/>
                </a:cubicBezTo>
                <a:cubicBezTo>
                  <a:pt x="1098" y="19"/>
                  <a:pt x="1094" y="20"/>
                  <a:pt x="1091" y="22"/>
                </a:cubicBezTo>
                <a:cubicBezTo>
                  <a:pt x="1088" y="25"/>
                  <a:pt x="1086" y="28"/>
                  <a:pt x="1084" y="32"/>
                </a:cubicBezTo>
                <a:cubicBezTo>
                  <a:pt x="1083" y="36"/>
                  <a:pt x="1082" y="40"/>
                  <a:pt x="1082" y="43"/>
                </a:cubicBezTo>
                <a:cubicBezTo>
                  <a:pt x="1082" y="48"/>
                  <a:pt x="1083" y="52"/>
                  <a:pt x="1085" y="55"/>
                </a:cubicBezTo>
                <a:cubicBezTo>
                  <a:pt x="1087" y="58"/>
                  <a:pt x="1091" y="59"/>
                  <a:pt x="1094" y="59"/>
                </a:cubicBezTo>
                <a:cubicBezTo>
                  <a:pt x="1098" y="59"/>
                  <a:pt x="1100" y="59"/>
                  <a:pt x="1102" y="57"/>
                </a:cubicBezTo>
                <a:cubicBezTo>
                  <a:pt x="1105" y="56"/>
                  <a:pt x="1106" y="54"/>
                  <a:pt x="1108" y="53"/>
                </a:cubicBezTo>
                <a:cubicBezTo>
                  <a:pt x="1106" y="50"/>
                  <a:pt x="1106" y="50"/>
                  <a:pt x="1106" y="50"/>
                </a:cubicBezTo>
                <a:cubicBezTo>
                  <a:pt x="1105" y="52"/>
                  <a:pt x="1103" y="53"/>
                  <a:pt x="1102" y="54"/>
                </a:cubicBezTo>
                <a:cubicBezTo>
                  <a:pt x="1100" y="54"/>
                  <a:pt x="1099" y="55"/>
                  <a:pt x="1097" y="55"/>
                </a:cubicBezTo>
                <a:cubicBezTo>
                  <a:pt x="1094" y="55"/>
                  <a:pt x="1092" y="54"/>
                  <a:pt x="1091" y="52"/>
                </a:cubicBezTo>
                <a:cubicBezTo>
                  <a:pt x="1090" y="50"/>
                  <a:pt x="1089" y="47"/>
                  <a:pt x="1089" y="43"/>
                </a:cubicBezTo>
                <a:cubicBezTo>
                  <a:pt x="1089" y="39"/>
                  <a:pt x="1090" y="35"/>
                  <a:pt x="1091" y="32"/>
                </a:cubicBezTo>
                <a:cubicBezTo>
                  <a:pt x="1092" y="30"/>
                  <a:pt x="1093" y="27"/>
                  <a:pt x="1095" y="26"/>
                </a:cubicBezTo>
                <a:cubicBezTo>
                  <a:pt x="1097" y="24"/>
                  <a:pt x="1099" y="23"/>
                  <a:pt x="1101" y="23"/>
                </a:cubicBezTo>
                <a:cubicBezTo>
                  <a:pt x="1102" y="23"/>
                  <a:pt x="1105" y="24"/>
                  <a:pt x="1107" y="27"/>
                </a:cubicBezTo>
                <a:close/>
                <a:moveTo>
                  <a:pt x="1124" y="52"/>
                </a:moveTo>
                <a:cubicBezTo>
                  <a:pt x="1129" y="19"/>
                  <a:pt x="1129" y="19"/>
                  <a:pt x="1129" y="19"/>
                </a:cubicBezTo>
                <a:cubicBezTo>
                  <a:pt x="1128" y="19"/>
                  <a:pt x="1128" y="19"/>
                  <a:pt x="1128" y="19"/>
                </a:cubicBezTo>
                <a:cubicBezTo>
                  <a:pt x="1118" y="20"/>
                  <a:pt x="1118" y="20"/>
                  <a:pt x="1118" y="20"/>
                </a:cubicBezTo>
                <a:cubicBezTo>
                  <a:pt x="1117" y="23"/>
                  <a:pt x="1117" y="23"/>
                  <a:pt x="1117" y="23"/>
                </a:cubicBezTo>
                <a:cubicBezTo>
                  <a:pt x="1122" y="24"/>
                  <a:pt x="1122" y="24"/>
                  <a:pt x="1122" y="24"/>
                </a:cubicBezTo>
                <a:cubicBezTo>
                  <a:pt x="1121" y="31"/>
                  <a:pt x="1120" y="37"/>
                  <a:pt x="1119" y="41"/>
                </a:cubicBezTo>
                <a:cubicBezTo>
                  <a:pt x="1118" y="49"/>
                  <a:pt x="1117" y="54"/>
                  <a:pt x="1117" y="55"/>
                </a:cubicBezTo>
                <a:cubicBezTo>
                  <a:pt x="1117" y="56"/>
                  <a:pt x="1118" y="57"/>
                  <a:pt x="1118" y="58"/>
                </a:cubicBezTo>
                <a:cubicBezTo>
                  <a:pt x="1119" y="59"/>
                  <a:pt x="1120" y="59"/>
                  <a:pt x="1122" y="59"/>
                </a:cubicBezTo>
                <a:cubicBezTo>
                  <a:pt x="1124" y="59"/>
                  <a:pt x="1125" y="59"/>
                  <a:pt x="1127" y="58"/>
                </a:cubicBezTo>
                <a:cubicBezTo>
                  <a:pt x="1128" y="57"/>
                  <a:pt x="1129" y="55"/>
                  <a:pt x="1130" y="54"/>
                </a:cubicBezTo>
                <a:cubicBezTo>
                  <a:pt x="1129" y="53"/>
                  <a:pt x="1129" y="53"/>
                  <a:pt x="1129" y="53"/>
                </a:cubicBezTo>
                <a:cubicBezTo>
                  <a:pt x="1128" y="54"/>
                  <a:pt x="1128" y="54"/>
                  <a:pt x="1127" y="54"/>
                </a:cubicBezTo>
                <a:cubicBezTo>
                  <a:pt x="1126" y="55"/>
                  <a:pt x="1126" y="55"/>
                  <a:pt x="1125" y="55"/>
                </a:cubicBezTo>
                <a:cubicBezTo>
                  <a:pt x="1125" y="55"/>
                  <a:pt x="1125" y="55"/>
                  <a:pt x="1125" y="54"/>
                </a:cubicBezTo>
                <a:cubicBezTo>
                  <a:pt x="1124" y="54"/>
                  <a:pt x="1124" y="54"/>
                  <a:pt x="1124" y="53"/>
                </a:cubicBezTo>
                <a:lnTo>
                  <a:pt x="1124" y="52"/>
                </a:lnTo>
                <a:close/>
                <a:moveTo>
                  <a:pt x="1127" y="11"/>
                </a:moveTo>
                <a:cubicBezTo>
                  <a:pt x="1128" y="11"/>
                  <a:pt x="1129" y="11"/>
                  <a:pt x="1130" y="10"/>
                </a:cubicBezTo>
                <a:cubicBezTo>
                  <a:pt x="1131" y="9"/>
                  <a:pt x="1131" y="7"/>
                  <a:pt x="1131" y="6"/>
                </a:cubicBezTo>
                <a:cubicBezTo>
                  <a:pt x="1131" y="5"/>
                  <a:pt x="1131" y="4"/>
                  <a:pt x="1130" y="3"/>
                </a:cubicBezTo>
                <a:cubicBezTo>
                  <a:pt x="1130" y="3"/>
                  <a:pt x="1129" y="2"/>
                  <a:pt x="1128" y="2"/>
                </a:cubicBezTo>
                <a:cubicBezTo>
                  <a:pt x="1126" y="2"/>
                  <a:pt x="1125" y="3"/>
                  <a:pt x="1124" y="4"/>
                </a:cubicBezTo>
                <a:cubicBezTo>
                  <a:pt x="1123" y="5"/>
                  <a:pt x="1123" y="6"/>
                  <a:pt x="1123" y="7"/>
                </a:cubicBezTo>
                <a:cubicBezTo>
                  <a:pt x="1123" y="8"/>
                  <a:pt x="1123" y="9"/>
                  <a:pt x="1124" y="10"/>
                </a:cubicBezTo>
                <a:cubicBezTo>
                  <a:pt x="1125" y="11"/>
                  <a:pt x="1126" y="11"/>
                  <a:pt x="1127" y="11"/>
                </a:cubicBezTo>
                <a:close/>
                <a:moveTo>
                  <a:pt x="1166" y="52"/>
                </a:moveTo>
                <a:cubicBezTo>
                  <a:pt x="1165" y="49"/>
                  <a:pt x="1165" y="49"/>
                  <a:pt x="1165" y="49"/>
                </a:cubicBezTo>
                <a:cubicBezTo>
                  <a:pt x="1163" y="51"/>
                  <a:pt x="1161" y="52"/>
                  <a:pt x="1159" y="53"/>
                </a:cubicBezTo>
                <a:cubicBezTo>
                  <a:pt x="1157" y="54"/>
                  <a:pt x="1155" y="55"/>
                  <a:pt x="1153" y="55"/>
                </a:cubicBezTo>
                <a:cubicBezTo>
                  <a:pt x="1150" y="55"/>
                  <a:pt x="1148" y="54"/>
                  <a:pt x="1147" y="51"/>
                </a:cubicBezTo>
                <a:cubicBezTo>
                  <a:pt x="1145" y="49"/>
                  <a:pt x="1145" y="46"/>
                  <a:pt x="1145" y="43"/>
                </a:cubicBezTo>
                <a:cubicBezTo>
                  <a:pt x="1148" y="43"/>
                  <a:pt x="1151" y="42"/>
                  <a:pt x="1155" y="41"/>
                </a:cubicBezTo>
                <a:cubicBezTo>
                  <a:pt x="1158" y="40"/>
                  <a:pt x="1162" y="38"/>
                  <a:pt x="1164" y="36"/>
                </a:cubicBezTo>
                <a:cubicBezTo>
                  <a:pt x="1167" y="33"/>
                  <a:pt x="1168" y="31"/>
                  <a:pt x="1168" y="27"/>
                </a:cubicBezTo>
                <a:cubicBezTo>
                  <a:pt x="1168" y="25"/>
                  <a:pt x="1167" y="23"/>
                  <a:pt x="1166" y="21"/>
                </a:cubicBezTo>
                <a:cubicBezTo>
                  <a:pt x="1164" y="19"/>
                  <a:pt x="1162" y="19"/>
                  <a:pt x="1158" y="19"/>
                </a:cubicBezTo>
                <a:cubicBezTo>
                  <a:pt x="1154" y="19"/>
                  <a:pt x="1151" y="20"/>
                  <a:pt x="1148" y="22"/>
                </a:cubicBezTo>
                <a:cubicBezTo>
                  <a:pt x="1145" y="24"/>
                  <a:pt x="1142" y="28"/>
                  <a:pt x="1140" y="31"/>
                </a:cubicBezTo>
                <a:cubicBezTo>
                  <a:pt x="1138" y="35"/>
                  <a:pt x="1138" y="40"/>
                  <a:pt x="1138" y="44"/>
                </a:cubicBezTo>
                <a:cubicBezTo>
                  <a:pt x="1138" y="47"/>
                  <a:pt x="1138" y="49"/>
                  <a:pt x="1139" y="52"/>
                </a:cubicBezTo>
                <a:cubicBezTo>
                  <a:pt x="1140" y="54"/>
                  <a:pt x="1142" y="56"/>
                  <a:pt x="1144" y="57"/>
                </a:cubicBezTo>
                <a:cubicBezTo>
                  <a:pt x="1146" y="59"/>
                  <a:pt x="1148" y="59"/>
                  <a:pt x="1151" y="59"/>
                </a:cubicBezTo>
                <a:cubicBezTo>
                  <a:pt x="1155" y="59"/>
                  <a:pt x="1158" y="58"/>
                  <a:pt x="1160" y="57"/>
                </a:cubicBezTo>
                <a:cubicBezTo>
                  <a:pt x="1163" y="55"/>
                  <a:pt x="1165" y="54"/>
                  <a:pt x="1166" y="52"/>
                </a:cubicBezTo>
                <a:close/>
                <a:moveTo>
                  <a:pt x="1157" y="22"/>
                </a:moveTo>
                <a:cubicBezTo>
                  <a:pt x="1158" y="22"/>
                  <a:pt x="1159" y="23"/>
                  <a:pt x="1160" y="24"/>
                </a:cubicBezTo>
                <a:cubicBezTo>
                  <a:pt x="1161" y="25"/>
                  <a:pt x="1161" y="26"/>
                  <a:pt x="1161" y="28"/>
                </a:cubicBezTo>
                <a:cubicBezTo>
                  <a:pt x="1161" y="30"/>
                  <a:pt x="1161" y="32"/>
                  <a:pt x="1159" y="34"/>
                </a:cubicBezTo>
                <a:cubicBezTo>
                  <a:pt x="1157" y="35"/>
                  <a:pt x="1155" y="37"/>
                  <a:pt x="1152" y="38"/>
                </a:cubicBezTo>
                <a:cubicBezTo>
                  <a:pt x="1150" y="39"/>
                  <a:pt x="1147" y="39"/>
                  <a:pt x="1145" y="39"/>
                </a:cubicBezTo>
                <a:cubicBezTo>
                  <a:pt x="1145" y="37"/>
                  <a:pt x="1146" y="34"/>
                  <a:pt x="1147" y="32"/>
                </a:cubicBezTo>
                <a:cubicBezTo>
                  <a:pt x="1148" y="29"/>
                  <a:pt x="1149" y="27"/>
                  <a:pt x="1151" y="25"/>
                </a:cubicBezTo>
                <a:cubicBezTo>
                  <a:pt x="1152" y="23"/>
                  <a:pt x="1154" y="22"/>
                  <a:pt x="1157" y="22"/>
                </a:cubicBezTo>
                <a:close/>
                <a:moveTo>
                  <a:pt x="1187" y="28"/>
                </a:moveTo>
                <a:cubicBezTo>
                  <a:pt x="1188" y="19"/>
                  <a:pt x="1188" y="19"/>
                  <a:pt x="1188" y="19"/>
                </a:cubicBezTo>
                <a:cubicBezTo>
                  <a:pt x="1186" y="19"/>
                  <a:pt x="1186" y="19"/>
                  <a:pt x="1186" y="19"/>
                </a:cubicBezTo>
                <a:cubicBezTo>
                  <a:pt x="1178" y="20"/>
                  <a:pt x="1178" y="20"/>
                  <a:pt x="1178" y="20"/>
                </a:cubicBezTo>
                <a:cubicBezTo>
                  <a:pt x="1177" y="23"/>
                  <a:pt x="1177" y="23"/>
                  <a:pt x="1177" y="23"/>
                </a:cubicBezTo>
                <a:cubicBezTo>
                  <a:pt x="1180" y="25"/>
                  <a:pt x="1180" y="25"/>
                  <a:pt x="1180" y="25"/>
                </a:cubicBezTo>
                <a:cubicBezTo>
                  <a:pt x="1176" y="58"/>
                  <a:pt x="1176" y="58"/>
                  <a:pt x="1176" y="58"/>
                </a:cubicBezTo>
                <a:cubicBezTo>
                  <a:pt x="1183" y="58"/>
                  <a:pt x="1183" y="58"/>
                  <a:pt x="1183" y="58"/>
                </a:cubicBezTo>
                <a:cubicBezTo>
                  <a:pt x="1186" y="33"/>
                  <a:pt x="1186" y="33"/>
                  <a:pt x="1186" y="33"/>
                </a:cubicBezTo>
                <a:cubicBezTo>
                  <a:pt x="1188" y="31"/>
                  <a:pt x="1190" y="28"/>
                  <a:pt x="1192" y="26"/>
                </a:cubicBezTo>
                <a:cubicBezTo>
                  <a:pt x="1194" y="25"/>
                  <a:pt x="1196" y="24"/>
                  <a:pt x="1198" y="24"/>
                </a:cubicBezTo>
                <a:cubicBezTo>
                  <a:pt x="1200" y="24"/>
                  <a:pt x="1201" y="24"/>
                  <a:pt x="1202" y="25"/>
                </a:cubicBezTo>
                <a:cubicBezTo>
                  <a:pt x="1202" y="26"/>
                  <a:pt x="1203" y="27"/>
                  <a:pt x="1203" y="29"/>
                </a:cubicBezTo>
                <a:cubicBezTo>
                  <a:pt x="1203" y="31"/>
                  <a:pt x="1202" y="33"/>
                  <a:pt x="1202" y="35"/>
                </a:cubicBezTo>
                <a:cubicBezTo>
                  <a:pt x="1202" y="37"/>
                  <a:pt x="1201" y="39"/>
                  <a:pt x="1201" y="41"/>
                </a:cubicBezTo>
                <a:cubicBezTo>
                  <a:pt x="1201" y="43"/>
                  <a:pt x="1201" y="43"/>
                  <a:pt x="1201" y="43"/>
                </a:cubicBezTo>
                <a:cubicBezTo>
                  <a:pt x="1200" y="46"/>
                  <a:pt x="1200" y="46"/>
                  <a:pt x="1200" y="46"/>
                </a:cubicBezTo>
                <a:cubicBezTo>
                  <a:pt x="1199" y="51"/>
                  <a:pt x="1199" y="54"/>
                  <a:pt x="1199" y="55"/>
                </a:cubicBezTo>
                <a:cubicBezTo>
                  <a:pt x="1199" y="58"/>
                  <a:pt x="1200" y="59"/>
                  <a:pt x="1203" y="59"/>
                </a:cubicBezTo>
                <a:cubicBezTo>
                  <a:pt x="1205" y="59"/>
                  <a:pt x="1206" y="59"/>
                  <a:pt x="1207" y="58"/>
                </a:cubicBezTo>
                <a:cubicBezTo>
                  <a:pt x="1208" y="58"/>
                  <a:pt x="1209" y="57"/>
                  <a:pt x="1210" y="57"/>
                </a:cubicBezTo>
                <a:cubicBezTo>
                  <a:pt x="1210" y="56"/>
                  <a:pt x="1211" y="55"/>
                  <a:pt x="1211" y="55"/>
                </a:cubicBezTo>
                <a:cubicBezTo>
                  <a:pt x="1210" y="53"/>
                  <a:pt x="1210" y="53"/>
                  <a:pt x="1210" y="53"/>
                </a:cubicBezTo>
                <a:cubicBezTo>
                  <a:pt x="1209" y="54"/>
                  <a:pt x="1208" y="55"/>
                  <a:pt x="1207" y="55"/>
                </a:cubicBezTo>
                <a:cubicBezTo>
                  <a:pt x="1206" y="55"/>
                  <a:pt x="1206" y="54"/>
                  <a:pt x="1206" y="53"/>
                </a:cubicBezTo>
                <a:cubicBezTo>
                  <a:pt x="1206" y="51"/>
                  <a:pt x="1206" y="48"/>
                  <a:pt x="1207" y="45"/>
                </a:cubicBezTo>
                <a:cubicBezTo>
                  <a:pt x="1208" y="41"/>
                  <a:pt x="1208" y="41"/>
                  <a:pt x="1208" y="41"/>
                </a:cubicBezTo>
                <a:cubicBezTo>
                  <a:pt x="1208" y="40"/>
                  <a:pt x="1208" y="40"/>
                  <a:pt x="1208" y="40"/>
                </a:cubicBezTo>
                <a:cubicBezTo>
                  <a:pt x="1209" y="34"/>
                  <a:pt x="1210" y="31"/>
                  <a:pt x="1210" y="29"/>
                </a:cubicBezTo>
                <a:cubicBezTo>
                  <a:pt x="1210" y="25"/>
                  <a:pt x="1209" y="23"/>
                  <a:pt x="1207" y="21"/>
                </a:cubicBezTo>
                <a:cubicBezTo>
                  <a:pt x="1206" y="19"/>
                  <a:pt x="1204" y="19"/>
                  <a:pt x="1201" y="19"/>
                </a:cubicBezTo>
                <a:cubicBezTo>
                  <a:pt x="1199" y="19"/>
                  <a:pt x="1196" y="19"/>
                  <a:pt x="1193" y="21"/>
                </a:cubicBezTo>
                <a:cubicBezTo>
                  <a:pt x="1191" y="23"/>
                  <a:pt x="1189" y="25"/>
                  <a:pt x="1187" y="28"/>
                </a:cubicBezTo>
                <a:close/>
                <a:moveTo>
                  <a:pt x="1243" y="27"/>
                </a:moveTo>
                <a:cubicBezTo>
                  <a:pt x="1245" y="27"/>
                  <a:pt x="1245" y="27"/>
                  <a:pt x="1245" y="27"/>
                </a:cubicBezTo>
                <a:cubicBezTo>
                  <a:pt x="1247" y="20"/>
                  <a:pt x="1247" y="20"/>
                  <a:pt x="1247" y="20"/>
                </a:cubicBezTo>
                <a:cubicBezTo>
                  <a:pt x="1246" y="20"/>
                  <a:pt x="1244" y="19"/>
                  <a:pt x="1243" y="19"/>
                </a:cubicBezTo>
                <a:cubicBezTo>
                  <a:pt x="1241" y="19"/>
                  <a:pt x="1240" y="19"/>
                  <a:pt x="1239" y="19"/>
                </a:cubicBezTo>
                <a:cubicBezTo>
                  <a:pt x="1234" y="19"/>
                  <a:pt x="1231" y="20"/>
                  <a:pt x="1228" y="22"/>
                </a:cubicBezTo>
                <a:cubicBezTo>
                  <a:pt x="1224" y="25"/>
                  <a:pt x="1222" y="28"/>
                  <a:pt x="1220" y="32"/>
                </a:cubicBezTo>
                <a:cubicBezTo>
                  <a:pt x="1219" y="36"/>
                  <a:pt x="1218" y="40"/>
                  <a:pt x="1218" y="43"/>
                </a:cubicBezTo>
                <a:cubicBezTo>
                  <a:pt x="1218" y="48"/>
                  <a:pt x="1219" y="52"/>
                  <a:pt x="1221" y="55"/>
                </a:cubicBezTo>
                <a:cubicBezTo>
                  <a:pt x="1224" y="58"/>
                  <a:pt x="1227" y="59"/>
                  <a:pt x="1231" y="59"/>
                </a:cubicBezTo>
                <a:cubicBezTo>
                  <a:pt x="1234" y="59"/>
                  <a:pt x="1236" y="59"/>
                  <a:pt x="1239" y="57"/>
                </a:cubicBezTo>
                <a:cubicBezTo>
                  <a:pt x="1241" y="56"/>
                  <a:pt x="1243" y="54"/>
                  <a:pt x="1244" y="53"/>
                </a:cubicBezTo>
                <a:cubicBezTo>
                  <a:pt x="1242" y="50"/>
                  <a:pt x="1242" y="50"/>
                  <a:pt x="1242" y="50"/>
                </a:cubicBezTo>
                <a:cubicBezTo>
                  <a:pt x="1241" y="52"/>
                  <a:pt x="1239" y="53"/>
                  <a:pt x="1238" y="54"/>
                </a:cubicBezTo>
                <a:cubicBezTo>
                  <a:pt x="1236" y="54"/>
                  <a:pt x="1235" y="55"/>
                  <a:pt x="1233" y="55"/>
                </a:cubicBezTo>
                <a:cubicBezTo>
                  <a:pt x="1230" y="55"/>
                  <a:pt x="1228" y="54"/>
                  <a:pt x="1227" y="52"/>
                </a:cubicBezTo>
                <a:cubicBezTo>
                  <a:pt x="1226" y="50"/>
                  <a:pt x="1225" y="47"/>
                  <a:pt x="1225" y="43"/>
                </a:cubicBezTo>
                <a:cubicBezTo>
                  <a:pt x="1225" y="39"/>
                  <a:pt x="1226" y="35"/>
                  <a:pt x="1227" y="32"/>
                </a:cubicBezTo>
                <a:cubicBezTo>
                  <a:pt x="1228" y="30"/>
                  <a:pt x="1229" y="27"/>
                  <a:pt x="1231" y="26"/>
                </a:cubicBezTo>
                <a:cubicBezTo>
                  <a:pt x="1233" y="24"/>
                  <a:pt x="1235" y="23"/>
                  <a:pt x="1237" y="23"/>
                </a:cubicBezTo>
                <a:cubicBezTo>
                  <a:pt x="1239" y="23"/>
                  <a:pt x="1241" y="24"/>
                  <a:pt x="1243" y="27"/>
                </a:cubicBezTo>
                <a:close/>
                <a:moveTo>
                  <a:pt x="1279" y="52"/>
                </a:moveTo>
                <a:cubicBezTo>
                  <a:pt x="1277" y="49"/>
                  <a:pt x="1277" y="49"/>
                  <a:pt x="1277" y="49"/>
                </a:cubicBezTo>
                <a:cubicBezTo>
                  <a:pt x="1276" y="51"/>
                  <a:pt x="1274" y="52"/>
                  <a:pt x="1272" y="53"/>
                </a:cubicBezTo>
                <a:cubicBezTo>
                  <a:pt x="1270" y="54"/>
                  <a:pt x="1268" y="55"/>
                  <a:pt x="1266" y="55"/>
                </a:cubicBezTo>
                <a:cubicBezTo>
                  <a:pt x="1263" y="55"/>
                  <a:pt x="1261" y="54"/>
                  <a:pt x="1259" y="51"/>
                </a:cubicBezTo>
                <a:cubicBezTo>
                  <a:pt x="1258" y="49"/>
                  <a:pt x="1257" y="46"/>
                  <a:pt x="1258" y="43"/>
                </a:cubicBezTo>
                <a:cubicBezTo>
                  <a:pt x="1260" y="43"/>
                  <a:pt x="1264" y="42"/>
                  <a:pt x="1267" y="41"/>
                </a:cubicBezTo>
                <a:cubicBezTo>
                  <a:pt x="1271" y="40"/>
                  <a:pt x="1274" y="38"/>
                  <a:pt x="1277" y="36"/>
                </a:cubicBezTo>
                <a:cubicBezTo>
                  <a:pt x="1280" y="33"/>
                  <a:pt x="1281" y="31"/>
                  <a:pt x="1281" y="27"/>
                </a:cubicBezTo>
                <a:cubicBezTo>
                  <a:pt x="1281" y="25"/>
                  <a:pt x="1280" y="23"/>
                  <a:pt x="1278" y="21"/>
                </a:cubicBezTo>
                <a:cubicBezTo>
                  <a:pt x="1277" y="19"/>
                  <a:pt x="1274" y="19"/>
                  <a:pt x="1271" y="19"/>
                </a:cubicBezTo>
                <a:cubicBezTo>
                  <a:pt x="1267" y="19"/>
                  <a:pt x="1264" y="20"/>
                  <a:pt x="1260" y="22"/>
                </a:cubicBezTo>
                <a:cubicBezTo>
                  <a:pt x="1257" y="24"/>
                  <a:pt x="1255" y="28"/>
                  <a:pt x="1253" y="31"/>
                </a:cubicBezTo>
                <a:cubicBezTo>
                  <a:pt x="1251" y="35"/>
                  <a:pt x="1250" y="40"/>
                  <a:pt x="1250" y="44"/>
                </a:cubicBezTo>
                <a:cubicBezTo>
                  <a:pt x="1250" y="47"/>
                  <a:pt x="1251" y="49"/>
                  <a:pt x="1252" y="52"/>
                </a:cubicBezTo>
                <a:cubicBezTo>
                  <a:pt x="1253" y="54"/>
                  <a:pt x="1254" y="56"/>
                  <a:pt x="1256" y="57"/>
                </a:cubicBezTo>
                <a:cubicBezTo>
                  <a:pt x="1258" y="59"/>
                  <a:pt x="1261" y="59"/>
                  <a:pt x="1264" y="59"/>
                </a:cubicBezTo>
                <a:cubicBezTo>
                  <a:pt x="1267" y="59"/>
                  <a:pt x="1270" y="58"/>
                  <a:pt x="1273" y="57"/>
                </a:cubicBezTo>
                <a:cubicBezTo>
                  <a:pt x="1276" y="55"/>
                  <a:pt x="1278" y="54"/>
                  <a:pt x="1279" y="52"/>
                </a:cubicBezTo>
                <a:close/>
                <a:moveTo>
                  <a:pt x="1269" y="22"/>
                </a:moveTo>
                <a:cubicBezTo>
                  <a:pt x="1271" y="22"/>
                  <a:pt x="1272" y="23"/>
                  <a:pt x="1273" y="24"/>
                </a:cubicBezTo>
                <a:cubicBezTo>
                  <a:pt x="1274" y="25"/>
                  <a:pt x="1274" y="26"/>
                  <a:pt x="1274" y="28"/>
                </a:cubicBezTo>
                <a:cubicBezTo>
                  <a:pt x="1274" y="30"/>
                  <a:pt x="1273" y="32"/>
                  <a:pt x="1272" y="34"/>
                </a:cubicBezTo>
                <a:cubicBezTo>
                  <a:pt x="1270" y="35"/>
                  <a:pt x="1268" y="37"/>
                  <a:pt x="1265" y="38"/>
                </a:cubicBezTo>
                <a:cubicBezTo>
                  <a:pt x="1263" y="39"/>
                  <a:pt x="1260" y="39"/>
                  <a:pt x="1258" y="39"/>
                </a:cubicBezTo>
                <a:cubicBezTo>
                  <a:pt x="1258" y="37"/>
                  <a:pt x="1259" y="34"/>
                  <a:pt x="1259" y="32"/>
                </a:cubicBezTo>
                <a:cubicBezTo>
                  <a:pt x="1260" y="29"/>
                  <a:pt x="1262" y="27"/>
                  <a:pt x="1263" y="25"/>
                </a:cubicBezTo>
                <a:cubicBezTo>
                  <a:pt x="1265" y="23"/>
                  <a:pt x="1267" y="22"/>
                  <a:pt x="1269" y="22"/>
                </a:cubicBezTo>
                <a:close/>
                <a:moveTo>
                  <a:pt x="1310" y="25"/>
                </a:moveTo>
                <a:cubicBezTo>
                  <a:pt x="1311" y="20"/>
                  <a:pt x="1311" y="20"/>
                  <a:pt x="1311" y="20"/>
                </a:cubicBezTo>
                <a:cubicBezTo>
                  <a:pt x="1311" y="20"/>
                  <a:pt x="1309" y="19"/>
                  <a:pt x="1308" y="19"/>
                </a:cubicBezTo>
                <a:cubicBezTo>
                  <a:pt x="1306" y="19"/>
                  <a:pt x="1304" y="19"/>
                  <a:pt x="1303" y="19"/>
                </a:cubicBezTo>
                <a:cubicBezTo>
                  <a:pt x="1300" y="19"/>
                  <a:pt x="1298" y="19"/>
                  <a:pt x="1296" y="20"/>
                </a:cubicBezTo>
                <a:cubicBezTo>
                  <a:pt x="1293" y="21"/>
                  <a:pt x="1292" y="22"/>
                  <a:pt x="1291" y="24"/>
                </a:cubicBezTo>
                <a:cubicBezTo>
                  <a:pt x="1289" y="26"/>
                  <a:pt x="1289" y="27"/>
                  <a:pt x="1289" y="30"/>
                </a:cubicBezTo>
                <a:cubicBezTo>
                  <a:pt x="1289" y="34"/>
                  <a:pt x="1291" y="38"/>
                  <a:pt x="1296" y="41"/>
                </a:cubicBezTo>
                <a:cubicBezTo>
                  <a:pt x="1298" y="43"/>
                  <a:pt x="1300" y="44"/>
                  <a:pt x="1301" y="45"/>
                </a:cubicBezTo>
                <a:cubicBezTo>
                  <a:pt x="1302" y="46"/>
                  <a:pt x="1303" y="48"/>
                  <a:pt x="1303" y="50"/>
                </a:cubicBezTo>
                <a:cubicBezTo>
                  <a:pt x="1303" y="51"/>
                  <a:pt x="1302" y="53"/>
                  <a:pt x="1301" y="54"/>
                </a:cubicBezTo>
                <a:cubicBezTo>
                  <a:pt x="1299" y="55"/>
                  <a:pt x="1297" y="55"/>
                  <a:pt x="1295" y="55"/>
                </a:cubicBezTo>
                <a:cubicBezTo>
                  <a:pt x="1293" y="55"/>
                  <a:pt x="1292" y="55"/>
                  <a:pt x="1290" y="54"/>
                </a:cubicBezTo>
                <a:cubicBezTo>
                  <a:pt x="1288" y="53"/>
                  <a:pt x="1287" y="53"/>
                  <a:pt x="1286" y="52"/>
                </a:cubicBezTo>
                <a:cubicBezTo>
                  <a:pt x="1285" y="57"/>
                  <a:pt x="1285" y="57"/>
                  <a:pt x="1285" y="57"/>
                </a:cubicBezTo>
                <a:cubicBezTo>
                  <a:pt x="1285" y="58"/>
                  <a:pt x="1287" y="58"/>
                  <a:pt x="1289" y="58"/>
                </a:cubicBezTo>
                <a:cubicBezTo>
                  <a:pt x="1291" y="59"/>
                  <a:pt x="1293" y="59"/>
                  <a:pt x="1295" y="59"/>
                </a:cubicBezTo>
                <a:cubicBezTo>
                  <a:pt x="1299" y="59"/>
                  <a:pt x="1303" y="58"/>
                  <a:pt x="1305" y="56"/>
                </a:cubicBezTo>
                <a:cubicBezTo>
                  <a:pt x="1308" y="54"/>
                  <a:pt x="1309" y="52"/>
                  <a:pt x="1309" y="48"/>
                </a:cubicBezTo>
                <a:cubicBezTo>
                  <a:pt x="1309" y="46"/>
                  <a:pt x="1309" y="45"/>
                  <a:pt x="1308" y="43"/>
                </a:cubicBezTo>
                <a:cubicBezTo>
                  <a:pt x="1307" y="42"/>
                  <a:pt x="1306" y="41"/>
                  <a:pt x="1305" y="40"/>
                </a:cubicBezTo>
                <a:cubicBezTo>
                  <a:pt x="1304" y="39"/>
                  <a:pt x="1303" y="38"/>
                  <a:pt x="1301" y="36"/>
                </a:cubicBezTo>
                <a:cubicBezTo>
                  <a:pt x="1299" y="35"/>
                  <a:pt x="1298" y="34"/>
                  <a:pt x="1297" y="32"/>
                </a:cubicBezTo>
                <a:cubicBezTo>
                  <a:pt x="1296" y="31"/>
                  <a:pt x="1295" y="30"/>
                  <a:pt x="1295" y="28"/>
                </a:cubicBezTo>
                <a:cubicBezTo>
                  <a:pt x="1295" y="26"/>
                  <a:pt x="1296" y="25"/>
                  <a:pt x="1297" y="24"/>
                </a:cubicBezTo>
                <a:cubicBezTo>
                  <a:pt x="1299" y="23"/>
                  <a:pt x="1300" y="23"/>
                  <a:pt x="1303" y="23"/>
                </a:cubicBezTo>
                <a:cubicBezTo>
                  <a:pt x="1304" y="23"/>
                  <a:pt x="1306" y="23"/>
                  <a:pt x="1307" y="24"/>
                </a:cubicBezTo>
                <a:cubicBezTo>
                  <a:pt x="1309" y="24"/>
                  <a:pt x="1310" y="25"/>
                  <a:pt x="1310" y="25"/>
                </a:cubicBezTo>
                <a:close/>
                <a:moveTo>
                  <a:pt x="1047" y="110"/>
                </a:moveTo>
                <a:cubicBezTo>
                  <a:pt x="1052" y="111"/>
                  <a:pt x="1052" y="111"/>
                  <a:pt x="1052" y="111"/>
                </a:cubicBezTo>
                <a:cubicBezTo>
                  <a:pt x="1046" y="156"/>
                  <a:pt x="1046" y="156"/>
                  <a:pt x="1046" y="156"/>
                </a:cubicBezTo>
                <a:cubicBezTo>
                  <a:pt x="1041" y="157"/>
                  <a:pt x="1041" y="157"/>
                  <a:pt x="1041" y="157"/>
                </a:cubicBezTo>
                <a:cubicBezTo>
                  <a:pt x="1041" y="159"/>
                  <a:pt x="1041" y="159"/>
                  <a:pt x="1041" y="159"/>
                </a:cubicBezTo>
                <a:cubicBezTo>
                  <a:pt x="1078" y="159"/>
                  <a:pt x="1078" y="159"/>
                  <a:pt x="1078" y="159"/>
                </a:cubicBezTo>
                <a:cubicBezTo>
                  <a:pt x="1081" y="147"/>
                  <a:pt x="1081" y="147"/>
                  <a:pt x="1081" y="147"/>
                </a:cubicBezTo>
                <a:cubicBezTo>
                  <a:pt x="1077" y="146"/>
                  <a:pt x="1077" y="146"/>
                  <a:pt x="1077" y="146"/>
                </a:cubicBezTo>
                <a:cubicBezTo>
                  <a:pt x="1073" y="155"/>
                  <a:pt x="1073" y="155"/>
                  <a:pt x="1073" y="155"/>
                </a:cubicBezTo>
                <a:cubicBezTo>
                  <a:pt x="1053" y="156"/>
                  <a:pt x="1053" y="156"/>
                  <a:pt x="1053" y="156"/>
                </a:cubicBezTo>
                <a:cubicBezTo>
                  <a:pt x="1056" y="134"/>
                  <a:pt x="1056" y="134"/>
                  <a:pt x="1056" y="134"/>
                </a:cubicBezTo>
                <a:cubicBezTo>
                  <a:pt x="1072" y="135"/>
                  <a:pt x="1072" y="135"/>
                  <a:pt x="1072" y="135"/>
                </a:cubicBezTo>
                <a:cubicBezTo>
                  <a:pt x="1073" y="130"/>
                  <a:pt x="1073" y="130"/>
                  <a:pt x="1073" y="130"/>
                </a:cubicBezTo>
                <a:cubicBezTo>
                  <a:pt x="1057" y="130"/>
                  <a:pt x="1057" y="130"/>
                  <a:pt x="1057" y="130"/>
                </a:cubicBezTo>
                <a:cubicBezTo>
                  <a:pt x="1059" y="110"/>
                  <a:pt x="1059" y="110"/>
                  <a:pt x="1059" y="110"/>
                </a:cubicBezTo>
                <a:cubicBezTo>
                  <a:pt x="1075" y="111"/>
                  <a:pt x="1075" y="111"/>
                  <a:pt x="1075" y="111"/>
                </a:cubicBezTo>
                <a:cubicBezTo>
                  <a:pt x="1076" y="118"/>
                  <a:pt x="1076" y="118"/>
                  <a:pt x="1076" y="118"/>
                </a:cubicBezTo>
                <a:cubicBezTo>
                  <a:pt x="1080" y="118"/>
                  <a:pt x="1080" y="118"/>
                  <a:pt x="1080" y="118"/>
                </a:cubicBezTo>
                <a:cubicBezTo>
                  <a:pt x="1081" y="107"/>
                  <a:pt x="1081" y="107"/>
                  <a:pt x="1081" y="107"/>
                </a:cubicBezTo>
                <a:cubicBezTo>
                  <a:pt x="1048" y="107"/>
                  <a:pt x="1048" y="107"/>
                  <a:pt x="1048" y="107"/>
                </a:cubicBezTo>
                <a:lnTo>
                  <a:pt x="1047" y="110"/>
                </a:lnTo>
                <a:close/>
                <a:moveTo>
                  <a:pt x="1100" y="129"/>
                </a:moveTo>
                <a:cubicBezTo>
                  <a:pt x="1100" y="120"/>
                  <a:pt x="1100" y="120"/>
                  <a:pt x="1100" y="120"/>
                </a:cubicBezTo>
                <a:cubicBezTo>
                  <a:pt x="1099" y="119"/>
                  <a:pt x="1099" y="119"/>
                  <a:pt x="1099" y="119"/>
                </a:cubicBezTo>
                <a:cubicBezTo>
                  <a:pt x="1090" y="121"/>
                  <a:pt x="1090" y="121"/>
                  <a:pt x="1090" y="121"/>
                </a:cubicBezTo>
                <a:cubicBezTo>
                  <a:pt x="1090" y="124"/>
                  <a:pt x="1090" y="124"/>
                  <a:pt x="1090" y="124"/>
                </a:cubicBezTo>
                <a:cubicBezTo>
                  <a:pt x="1093" y="125"/>
                  <a:pt x="1093" y="125"/>
                  <a:pt x="1093" y="125"/>
                </a:cubicBezTo>
                <a:cubicBezTo>
                  <a:pt x="1089" y="159"/>
                  <a:pt x="1089" y="159"/>
                  <a:pt x="1089" y="159"/>
                </a:cubicBezTo>
                <a:cubicBezTo>
                  <a:pt x="1095" y="159"/>
                  <a:pt x="1095" y="159"/>
                  <a:pt x="1095" y="159"/>
                </a:cubicBezTo>
                <a:cubicBezTo>
                  <a:pt x="1099" y="134"/>
                  <a:pt x="1099" y="134"/>
                  <a:pt x="1099" y="134"/>
                </a:cubicBezTo>
                <a:cubicBezTo>
                  <a:pt x="1101" y="131"/>
                  <a:pt x="1103" y="129"/>
                  <a:pt x="1105" y="127"/>
                </a:cubicBezTo>
                <a:cubicBezTo>
                  <a:pt x="1107" y="125"/>
                  <a:pt x="1109" y="124"/>
                  <a:pt x="1111" y="124"/>
                </a:cubicBezTo>
                <a:cubicBezTo>
                  <a:pt x="1113" y="124"/>
                  <a:pt x="1114" y="125"/>
                  <a:pt x="1114" y="126"/>
                </a:cubicBezTo>
                <a:cubicBezTo>
                  <a:pt x="1115" y="127"/>
                  <a:pt x="1115" y="128"/>
                  <a:pt x="1115" y="130"/>
                </a:cubicBezTo>
                <a:cubicBezTo>
                  <a:pt x="1115" y="132"/>
                  <a:pt x="1115" y="134"/>
                  <a:pt x="1115" y="135"/>
                </a:cubicBezTo>
                <a:cubicBezTo>
                  <a:pt x="1115" y="137"/>
                  <a:pt x="1114" y="140"/>
                  <a:pt x="1114" y="142"/>
                </a:cubicBezTo>
                <a:cubicBezTo>
                  <a:pt x="1114" y="144"/>
                  <a:pt x="1114" y="144"/>
                  <a:pt x="1114" y="144"/>
                </a:cubicBezTo>
                <a:cubicBezTo>
                  <a:pt x="1113" y="147"/>
                  <a:pt x="1113" y="147"/>
                  <a:pt x="1113" y="147"/>
                </a:cubicBezTo>
                <a:cubicBezTo>
                  <a:pt x="1112" y="151"/>
                  <a:pt x="1112" y="154"/>
                  <a:pt x="1112" y="156"/>
                </a:cubicBezTo>
                <a:cubicBezTo>
                  <a:pt x="1112" y="159"/>
                  <a:pt x="1113" y="160"/>
                  <a:pt x="1116" y="160"/>
                </a:cubicBezTo>
                <a:cubicBezTo>
                  <a:pt x="1117" y="160"/>
                  <a:pt x="1119" y="160"/>
                  <a:pt x="1120" y="159"/>
                </a:cubicBezTo>
                <a:cubicBezTo>
                  <a:pt x="1121" y="159"/>
                  <a:pt x="1122" y="158"/>
                  <a:pt x="1123" y="157"/>
                </a:cubicBezTo>
                <a:cubicBezTo>
                  <a:pt x="1123" y="157"/>
                  <a:pt x="1124" y="156"/>
                  <a:pt x="1124" y="156"/>
                </a:cubicBezTo>
                <a:cubicBezTo>
                  <a:pt x="1123" y="154"/>
                  <a:pt x="1123" y="154"/>
                  <a:pt x="1123" y="154"/>
                </a:cubicBezTo>
                <a:cubicBezTo>
                  <a:pt x="1122" y="155"/>
                  <a:pt x="1121" y="156"/>
                  <a:pt x="1120" y="156"/>
                </a:cubicBezTo>
                <a:cubicBezTo>
                  <a:pt x="1119" y="156"/>
                  <a:pt x="1119" y="155"/>
                  <a:pt x="1119" y="154"/>
                </a:cubicBezTo>
                <a:cubicBezTo>
                  <a:pt x="1119" y="152"/>
                  <a:pt x="1119" y="149"/>
                  <a:pt x="1120" y="145"/>
                </a:cubicBezTo>
                <a:cubicBezTo>
                  <a:pt x="1121" y="142"/>
                  <a:pt x="1121" y="142"/>
                  <a:pt x="1121" y="142"/>
                </a:cubicBezTo>
                <a:cubicBezTo>
                  <a:pt x="1121" y="140"/>
                  <a:pt x="1121" y="140"/>
                  <a:pt x="1121" y="140"/>
                </a:cubicBezTo>
                <a:cubicBezTo>
                  <a:pt x="1122" y="135"/>
                  <a:pt x="1122" y="132"/>
                  <a:pt x="1122" y="130"/>
                </a:cubicBezTo>
                <a:cubicBezTo>
                  <a:pt x="1122" y="126"/>
                  <a:pt x="1122" y="123"/>
                  <a:pt x="1120" y="122"/>
                </a:cubicBezTo>
                <a:cubicBezTo>
                  <a:pt x="1119" y="120"/>
                  <a:pt x="1117" y="119"/>
                  <a:pt x="1114" y="119"/>
                </a:cubicBezTo>
                <a:cubicBezTo>
                  <a:pt x="1112" y="119"/>
                  <a:pt x="1109" y="120"/>
                  <a:pt x="1106" y="122"/>
                </a:cubicBezTo>
                <a:cubicBezTo>
                  <a:pt x="1104" y="124"/>
                  <a:pt x="1102" y="126"/>
                  <a:pt x="1100" y="129"/>
                </a:cubicBezTo>
                <a:close/>
                <a:moveTo>
                  <a:pt x="1159" y="162"/>
                </a:moveTo>
                <a:cubicBezTo>
                  <a:pt x="1165" y="119"/>
                  <a:pt x="1165" y="119"/>
                  <a:pt x="1165" y="119"/>
                </a:cubicBezTo>
                <a:cubicBezTo>
                  <a:pt x="1160" y="121"/>
                  <a:pt x="1160" y="121"/>
                  <a:pt x="1160" y="121"/>
                </a:cubicBezTo>
                <a:cubicBezTo>
                  <a:pt x="1159" y="121"/>
                  <a:pt x="1158" y="120"/>
                  <a:pt x="1157" y="120"/>
                </a:cubicBezTo>
                <a:cubicBezTo>
                  <a:pt x="1155" y="120"/>
                  <a:pt x="1154" y="119"/>
                  <a:pt x="1153" y="119"/>
                </a:cubicBezTo>
                <a:cubicBezTo>
                  <a:pt x="1148" y="119"/>
                  <a:pt x="1144" y="121"/>
                  <a:pt x="1141" y="123"/>
                </a:cubicBezTo>
                <a:cubicBezTo>
                  <a:pt x="1137" y="126"/>
                  <a:pt x="1135" y="129"/>
                  <a:pt x="1133" y="133"/>
                </a:cubicBezTo>
                <a:cubicBezTo>
                  <a:pt x="1131" y="137"/>
                  <a:pt x="1130" y="141"/>
                  <a:pt x="1130" y="145"/>
                </a:cubicBezTo>
                <a:cubicBezTo>
                  <a:pt x="1130" y="150"/>
                  <a:pt x="1131" y="153"/>
                  <a:pt x="1133" y="156"/>
                </a:cubicBezTo>
                <a:cubicBezTo>
                  <a:pt x="1135" y="159"/>
                  <a:pt x="1138" y="160"/>
                  <a:pt x="1142" y="160"/>
                </a:cubicBezTo>
                <a:cubicBezTo>
                  <a:pt x="1144" y="160"/>
                  <a:pt x="1146" y="159"/>
                  <a:pt x="1148" y="158"/>
                </a:cubicBezTo>
                <a:cubicBezTo>
                  <a:pt x="1150" y="157"/>
                  <a:pt x="1152" y="156"/>
                  <a:pt x="1153" y="155"/>
                </a:cubicBezTo>
                <a:cubicBezTo>
                  <a:pt x="1151" y="164"/>
                  <a:pt x="1151" y="164"/>
                  <a:pt x="1151" y="164"/>
                </a:cubicBezTo>
                <a:cubicBezTo>
                  <a:pt x="1151" y="167"/>
                  <a:pt x="1150" y="169"/>
                  <a:pt x="1149" y="170"/>
                </a:cubicBezTo>
                <a:cubicBezTo>
                  <a:pt x="1147" y="172"/>
                  <a:pt x="1145" y="172"/>
                  <a:pt x="1142" y="172"/>
                </a:cubicBezTo>
                <a:cubicBezTo>
                  <a:pt x="1140" y="172"/>
                  <a:pt x="1139" y="172"/>
                  <a:pt x="1137" y="171"/>
                </a:cubicBezTo>
                <a:cubicBezTo>
                  <a:pt x="1136" y="171"/>
                  <a:pt x="1134" y="170"/>
                  <a:pt x="1133" y="170"/>
                </a:cubicBezTo>
                <a:cubicBezTo>
                  <a:pt x="1132" y="175"/>
                  <a:pt x="1132" y="175"/>
                  <a:pt x="1132" y="175"/>
                </a:cubicBezTo>
                <a:cubicBezTo>
                  <a:pt x="1132" y="176"/>
                  <a:pt x="1134" y="176"/>
                  <a:pt x="1135" y="176"/>
                </a:cubicBezTo>
                <a:cubicBezTo>
                  <a:pt x="1137" y="177"/>
                  <a:pt x="1138" y="177"/>
                  <a:pt x="1140" y="177"/>
                </a:cubicBezTo>
                <a:cubicBezTo>
                  <a:pt x="1142" y="177"/>
                  <a:pt x="1145" y="176"/>
                  <a:pt x="1148" y="175"/>
                </a:cubicBezTo>
                <a:cubicBezTo>
                  <a:pt x="1150" y="174"/>
                  <a:pt x="1153" y="173"/>
                  <a:pt x="1155" y="170"/>
                </a:cubicBezTo>
                <a:cubicBezTo>
                  <a:pt x="1157" y="168"/>
                  <a:pt x="1158" y="165"/>
                  <a:pt x="1159" y="162"/>
                </a:cubicBezTo>
                <a:close/>
                <a:moveTo>
                  <a:pt x="1157" y="125"/>
                </a:moveTo>
                <a:cubicBezTo>
                  <a:pt x="1154" y="150"/>
                  <a:pt x="1154" y="150"/>
                  <a:pt x="1154" y="150"/>
                </a:cubicBezTo>
                <a:cubicBezTo>
                  <a:pt x="1152" y="151"/>
                  <a:pt x="1151" y="153"/>
                  <a:pt x="1149" y="154"/>
                </a:cubicBezTo>
                <a:cubicBezTo>
                  <a:pt x="1148" y="155"/>
                  <a:pt x="1146" y="155"/>
                  <a:pt x="1144" y="155"/>
                </a:cubicBezTo>
                <a:cubicBezTo>
                  <a:pt x="1142" y="155"/>
                  <a:pt x="1140" y="155"/>
                  <a:pt x="1139" y="153"/>
                </a:cubicBezTo>
                <a:cubicBezTo>
                  <a:pt x="1138" y="151"/>
                  <a:pt x="1138" y="148"/>
                  <a:pt x="1138" y="145"/>
                </a:cubicBezTo>
                <a:cubicBezTo>
                  <a:pt x="1138" y="142"/>
                  <a:pt x="1138" y="138"/>
                  <a:pt x="1139" y="135"/>
                </a:cubicBezTo>
                <a:cubicBezTo>
                  <a:pt x="1140" y="132"/>
                  <a:pt x="1142" y="129"/>
                  <a:pt x="1144" y="127"/>
                </a:cubicBezTo>
                <a:cubicBezTo>
                  <a:pt x="1146" y="124"/>
                  <a:pt x="1149" y="123"/>
                  <a:pt x="1152" y="123"/>
                </a:cubicBezTo>
                <a:cubicBezTo>
                  <a:pt x="1154" y="123"/>
                  <a:pt x="1156" y="124"/>
                  <a:pt x="1157" y="125"/>
                </a:cubicBezTo>
                <a:close/>
                <a:moveTo>
                  <a:pt x="1181" y="153"/>
                </a:moveTo>
                <a:cubicBezTo>
                  <a:pt x="1185" y="120"/>
                  <a:pt x="1185" y="120"/>
                  <a:pt x="1185" y="120"/>
                </a:cubicBezTo>
                <a:cubicBezTo>
                  <a:pt x="1184" y="119"/>
                  <a:pt x="1184" y="119"/>
                  <a:pt x="1184" y="119"/>
                </a:cubicBezTo>
                <a:cubicBezTo>
                  <a:pt x="1174" y="121"/>
                  <a:pt x="1174" y="121"/>
                  <a:pt x="1174" y="121"/>
                </a:cubicBezTo>
                <a:cubicBezTo>
                  <a:pt x="1173" y="123"/>
                  <a:pt x="1173" y="123"/>
                  <a:pt x="1173" y="123"/>
                </a:cubicBezTo>
                <a:cubicBezTo>
                  <a:pt x="1178" y="125"/>
                  <a:pt x="1178" y="125"/>
                  <a:pt x="1178" y="125"/>
                </a:cubicBezTo>
                <a:cubicBezTo>
                  <a:pt x="1177" y="132"/>
                  <a:pt x="1176" y="138"/>
                  <a:pt x="1175" y="142"/>
                </a:cubicBezTo>
                <a:cubicBezTo>
                  <a:pt x="1174" y="150"/>
                  <a:pt x="1174" y="154"/>
                  <a:pt x="1173" y="156"/>
                </a:cubicBezTo>
                <a:cubicBezTo>
                  <a:pt x="1173" y="157"/>
                  <a:pt x="1174" y="158"/>
                  <a:pt x="1174" y="159"/>
                </a:cubicBezTo>
                <a:cubicBezTo>
                  <a:pt x="1175" y="160"/>
                  <a:pt x="1176" y="160"/>
                  <a:pt x="1178" y="160"/>
                </a:cubicBezTo>
                <a:cubicBezTo>
                  <a:pt x="1180" y="160"/>
                  <a:pt x="1182" y="159"/>
                  <a:pt x="1183" y="158"/>
                </a:cubicBezTo>
                <a:cubicBezTo>
                  <a:pt x="1184" y="157"/>
                  <a:pt x="1185" y="156"/>
                  <a:pt x="1186" y="155"/>
                </a:cubicBezTo>
                <a:cubicBezTo>
                  <a:pt x="1185" y="154"/>
                  <a:pt x="1185" y="154"/>
                  <a:pt x="1185" y="154"/>
                </a:cubicBezTo>
                <a:cubicBezTo>
                  <a:pt x="1184" y="154"/>
                  <a:pt x="1184" y="155"/>
                  <a:pt x="1183" y="155"/>
                </a:cubicBezTo>
                <a:cubicBezTo>
                  <a:pt x="1183" y="156"/>
                  <a:pt x="1182" y="156"/>
                  <a:pt x="1182" y="156"/>
                </a:cubicBezTo>
                <a:cubicBezTo>
                  <a:pt x="1181" y="156"/>
                  <a:pt x="1181" y="156"/>
                  <a:pt x="1181" y="155"/>
                </a:cubicBezTo>
                <a:cubicBezTo>
                  <a:pt x="1181" y="155"/>
                  <a:pt x="1180" y="155"/>
                  <a:pt x="1180" y="154"/>
                </a:cubicBezTo>
                <a:lnTo>
                  <a:pt x="1181" y="153"/>
                </a:lnTo>
                <a:close/>
                <a:moveTo>
                  <a:pt x="1183" y="112"/>
                </a:moveTo>
                <a:cubicBezTo>
                  <a:pt x="1184" y="112"/>
                  <a:pt x="1185" y="111"/>
                  <a:pt x="1186" y="110"/>
                </a:cubicBezTo>
                <a:cubicBezTo>
                  <a:pt x="1187" y="109"/>
                  <a:pt x="1188" y="108"/>
                  <a:pt x="1188" y="107"/>
                </a:cubicBezTo>
                <a:cubicBezTo>
                  <a:pt x="1188" y="106"/>
                  <a:pt x="1187" y="105"/>
                  <a:pt x="1187" y="104"/>
                </a:cubicBezTo>
                <a:cubicBezTo>
                  <a:pt x="1186" y="103"/>
                  <a:pt x="1185" y="103"/>
                  <a:pt x="1184" y="103"/>
                </a:cubicBezTo>
                <a:cubicBezTo>
                  <a:pt x="1182" y="103"/>
                  <a:pt x="1181" y="103"/>
                  <a:pt x="1180" y="104"/>
                </a:cubicBezTo>
                <a:cubicBezTo>
                  <a:pt x="1180" y="105"/>
                  <a:pt x="1179" y="107"/>
                  <a:pt x="1179" y="108"/>
                </a:cubicBezTo>
                <a:cubicBezTo>
                  <a:pt x="1179" y="109"/>
                  <a:pt x="1179" y="110"/>
                  <a:pt x="1180" y="111"/>
                </a:cubicBezTo>
                <a:cubicBezTo>
                  <a:pt x="1181" y="111"/>
                  <a:pt x="1182" y="112"/>
                  <a:pt x="1183" y="112"/>
                </a:cubicBezTo>
                <a:close/>
                <a:moveTo>
                  <a:pt x="1207" y="129"/>
                </a:moveTo>
                <a:cubicBezTo>
                  <a:pt x="1208" y="120"/>
                  <a:pt x="1208" y="120"/>
                  <a:pt x="1208" y="120"/>
                </a:cubicBezTo>
                <a:cubicBezTo>
                  <a:pt x="1207" y="119"/>
                  <a:pt x="1207" y="119"/>
                  <a:pt x="1207" y="119"/>
                </a:cubicBezTo>
                <a:cubicBezTo>
                  <a:pt x="1198" y="121"/>
                  <a:pt x="1198" y="121"/>
                  <a:pt x="1198" y="121"/>
                </a:cubicBezTo>
                <a:cubicBezTo>
                  <a:pt x="1198" y="124"/>
                  <a:pt x="1198" y="124"/>
                  <a:pt x="1198" y="124"/>
                </a:cubicBezTo>
                <a:cubicBezTo>
                  <a:pt x="1201" y="125"/>
                  <a:pt x="1201" y="125"/>
                  <a:pt x="1201" y="125"/>
                </a:cubicBezTo>
                <a:cubicBezTo>
                  <a:pt x="1196" y="159"/>
                  <a:pt x="1196" y="159"/>
                  <a:pt x="1196" y="159"/>
                </a:cubicBezTo>
                <a:cubicBezTo>
                  <a:pt x="1203" y="159"/>
                  <a:pt x="1203" y="159"/>
                  <a:pt x="1203" y="159"/>
                </a:cubicBezTo>
                <a:cubicBezTo>
                  <a:pt x="1207" y="134"/>
                  <a:pt x="1207" y="134"/>
                  <a:pt x="1207" y="134"/>
                </a:cubicBezTo>
                <a:cubicBezTo>
                  <a:pt x="1208" y="131"/>
                  <a:pt x="1210" y="129"/>
                  <a:pt x="1213" y="127"/>
                </a:cubicBezTo>
                <a:cubicBezTo>
                  <a:pt x="1215" y="125"/>
                  <a:pt x="1217" y="124"/>
                  <a:pt x="1219" y="124"/>
                </a:cubicBezTo>
                <a:cubicBezTo>
                  <a:pt x="1220" y="124"/>
                  <a:pt x="1221" y="125"/>
                  <a:pt x="1222" y="126"/>
                </a:cubicBezTo>
                <a:cubicBezTo>
                  <a:pt x="1223" y="127"/>
                  <a:pt x="1223" y="128"/>
                  <a:pt x="1223" y="130"/>
                </a:cubicBezTo>
                <a:cubicBezTo>
                  <a:pt x="1223" y="132"/>
                  <a:pt x="1223" y="134"/>
                  <a:pt x="1223" y="135"/>
                </a:cubicBezTo>
                <a:cubicBezTo>
                  <a:pt x="1222" y="137"/>
                  <a:pt x="1222" y="140"/>
                  <a:pt x="1222" y="142"/>
                </a:cubicBezTo>
                <a:cubicBezTo>
                  <a:pt x="1221" y="144"/>
                  <a:pt x="1221" y="144"/>
                  <a:pt x="1221" y="144"/>
                </a:cubicBezTo>
                <a:cubicBezTo>
                  <a:pt x="1221" y="147"/>
                  <a:pt x="1221" y="147"/>
                  <a:pt x="1221" y="147"/>
                </a:cubicBezTo>
                <a:cubicBezTo>
                  <a:pt x="1220" y="151"/>
                  <a:pt x="1219" y="154"/>
                  <a:pt x="1219" y="156"/>
                </a:cubicBezTo>
                <a:cubicBezTo>
                  <a:pt x="1219" y="159"/>
                  <a:pt x="1221" y="160"/>
                  <a:pt x="1224" y="160"/>
                </a:cubicBezTo>
                <a:cubicBezTo>
                  <a:pt x="1225" y="160"/>
                  <a:pt x="1226" y="160"/>
                  <a:pt x="1227" y="159"/>
                </a:cubicBezTo>
                <a:cubicBezTo>
                  <a:pt x="1228" y="159"/>
                  <a:pt x="1229" y="158"/>
                  <a:pt x="1230" y="157"/>
                </a:cubicBezTo>
                <a:cubicBezTo>
                  <a:pt x="1231" y="157"/>
                  <a:pt x="1231" y="156"/>
                  <a:pt x="1232" y="156"/>
                </a:cubicBezTo>
                <a:cubicBezTo>
                  <a:pt x="1231" y="154"/>
                  <a:pt x="1231" y="154"/>
                  <a:pt x="1231" y="154"/>
                </a:cubicBezTo>
                <a:cubicBezTo>
                  <a:pt x="1229" y="155"/>
                  <a:pt x="1228" y="156"/>
                  <a:pt x="1227" y="156"/>
                </a:cubicBezTo>
                <a:cubicBezTo>
                  <a:pt x="1227" y="156"/>
                  <a:pt x="1227" y="155"/>
                  <a:pt x="1227" y="154"/>
                </a:cubicBezTo>
                <a:cubicBezTo>
                  <a:pt x="1227" y="152"/>
                  <a:pt x="1227" y="149"/>
                  <a:pt x="1228" y="145"/>
                </a:cubicBezTo>
                <a:cubicBezTo>
                  <a:pt x="1228" y="142"/>
                  <a:pt x="1228" y="142"/>
                  <a:pt x="1228" y="142"/>
                </a:cubicBezTo>
                <a:cubicBezTo>
                  <a:pt x="1229" y="140"/>
                  <a:pt x="1229" y="140"/>
                  <a:pt x="1229" y="140"/>
                </a:cubicBezTo>
                <a:cubicBezTo>
                  <a:pt x="1230" y="135"/>
                  <a:pt x="1230" y="132"/>
                  <a:pt x="1230" y="130"/>
                </a:cubicBezTo>
                <a:cubicBezTo>
                  <a:pt x="1230" y="126"/>
                  <a:pt x="1229" y="123"/>
                  <a:pt x="1228" y="122"/>
                </a:cubicBezTo>
                <a:cubicBezTo>
                  <a:pt x="1227" y="120"/>
                  <a:pt x="1225" y="119"/>
                  <a:pt x="1222" y="119"/>
                </a:cubicBezTo>
                <a:cubicBezTo>
                  <a:pt x="1219" y="119"/>
                  <a:pt x="1217" y="120"/>
                  <a:pt x="1214" y="122"/>
                </a:cubicBezTo>
                <a:cubicBezTo>
                  <a:pt x="1211" y="124"/>
                  <a:pt x="1209" y="126"/>
                  <a:pt x="1207" y="129"/>
                </a:cubicBezTo>
                <a:close/>
                <a:moveTo>
                  <a:pt x="1267" y="153"/>
                </a:moveTo>
                <a:cubicBezTo>
                  <a:pt x="1266" y="150"/>
                  <a:pt x="1266" y="150"/>
                  <a:pt x="1266" y="150"/>
                </a:cubicBezTo>
                <a:cubicBezTo>
                  <a:pt x="1264" y="152"/>
                  <a:pt x="1262" y="153"/>
                  <a:pt x="1260" y="154"/>
                </a:cubicBezTo>
                <a:cubicBezTo>
                  <a:pt x="1258" y="155"/>
                  <a:pt x="1256" y="156"/>
                  <a:pt x="1254" y="156"/>
                </a:cubicBezTo>
                <a:cubicBezTo>
                  <a:pt x="1251" y="156"/>
                  <a:pt x="1249" y="154"/>
                  <a:pt x="1248" y="152"/>
                </a:cubicBezTo>
                <a:cubicBezTo>
                  <a:pt x="1246" y="150"/>
                  <a:pt x="1246" y="147"/>
                  <a:pt x="1246" y="143"/>
                </a:cubicBezTo>
                <a:cubicBezTo>
                  <a:pt x="1249" y="143"/>
                  <a:pt x="1252" y="143"/>
                  <a:pt x="1256" y="142"/>
                </a:cubicBezTo>
                <a:cubicBezTo>
                  <a:pt x="1259" y="140"/>
                  <a:pt x="1263" y="139"/>
                  <a:pt x="1265" y="136"/>
                </a:cubicBezTo>
                <a:cubicBezTo>
                  <a:pt x="1268" y="134"/>
                  <a:pt x="1269" y="131"/>
                  <a:pt x="1269" y="128"/>
                </a:cubicBezTo>
                <a:cubicBezTo>
                  <a:pt x="1269" y="125"/>
                  <a:pt x="1268" y="123"/>
                  <a:pt x="1267" y="122"/>
                </a:cubicBezTo>
                <a:cubicBezTo>
                  <a:pt x="1265" y="120"/>
                  <a:pt x="1263" y="119"/>
                  <a:pt x="1259" y="119"/>
                </a:cubicBezTo>
                <a:cubicBezTo>
                  <a:pt x="1255" y="119"/>
                  <a:pt x="1252" y="121"/>
                  <a:pt x="1249" y="123"/>
                </a:cubicBezTo>
                <a:cubicBezTo>
                  <a:pt x="1246" y="125"/>
                  <a:pt x="1243" y="128"/>
                  <a:pt x="1241" y="132"/>
                </a:cubicBezTo>
                <a:cubicBezTo>
                  <a:pt x="1240" y="136"/>
                  <a:pt x="1239" y="140"/>
                  <a:pt x="1239" y="145"/>
                </a:cubicBezTo>
                <a:cubicBezTo>
                  <a:pt x="1239" y="147"/>
                  <a:pt x="1239" y="150"/>
                  <a:pt x="1240" y="152"/>
                </a:cubicBezTo>
                <a:cubicBezTo>
                  <a:pt x="1241" y="155"/>
                  <a:pt x="1243" y="156"/>
                  <a:pt x="1245" y="158"/>
                </a:cubicBezTo>
                <a:cubicBezTo>
                  <a:pt x="1247" y="159"/>
                  <a:pt x="1249" y="160"/>
                  <a:pt x="1253" y="160"/>
                </a:cubicBezTo>
                <a:cubicBezTo>
                  <a:pt x="1256" y="160"/>
                  <a:pt x="1259" y="159"/>
                  <a:pt x="1261" y="158"/>
                </a:cubicBezTo>
                <a:cubicBezTo>
                  <a:pt x="1264" y="156"/>
                  <a:pt x="1266" y="154"/>
                  <a:pt x="1267" y="153"/>
                </a:cubicBezTo>
                <a:close/>
                <a:moveTo>
                  <a:pt x="1258" y="123"/>
                </a:moveTo>
                <a:cubicBezTo>
                  <a:pt x="1259" y="123"/>
                  <a:pt x="1260" y="124"/>
                  <a:pt x="1261" y="125"/>
                </a:cubicBezTo>
                <a:cubicBezTo>
                  <a:pt x="1262" y="125"/>
                  <a:pt x="1263" y="127"/>
                  <a:pt x="1263" y="129"/>
                </a:cubicBezTo>
                <a:cubicBezTo>
                  <a:pt x="1263" y="131"/>
                  <a:pt x="1262" y="133"/>
                  <a:pt x="1260" y="135"/>
                </a:cubicBezTo>
                <a:cubicBezTo>
                  <a:pt x="1258" y="136"/>
                  <a:pt x="1256" y="138"/>
                  <a:pt x="1253" y="139"/>
                </a:cubicBezTo>
                <a:cubicBezTo>
                  <a:pt x="1251" y="139"/>
                  <a:pt x="1248" y="140"/>
                  <a:pt x="1246" y="140"/>
                </a:cubicBezTo>
                <a:cubicBezTo>
                  <a:pt x="1246" y="138"/>
                  <a:pt x="1247" y="135"/>
                  <a:pt x="1248" y="132"/>
                </a:cubicBezTo>
                <a:cubicBezTo>
                  <a:pt x="1249" y="130"/>
                  <a:pt x="1250" y="127"/>
                  <a:pt x="1252" y="126"/>
                </a:cubicBezTo>
                <a:cubicBezTo>
                  <a:pt x="1254" y="124"/>
                  <a:pt x="1255" y="123"/>
                  <a:pt x="1258" y="123"/>
                </a:cubicBezTo>
                <a:close/>
                <a:moveTo>
                  <a:pt x="1303" y="153"/>
                </a:moveTo>
                <a:cubicBezTo>
                  <a:pt x="1302" y="150"/>
                  <a:pt x="1302" y="150"/>
                  <a:pt x="1302" y="150"/>
                </a:cubicBezTo>
                <a:cubicBezTo>
                  <a:pt x="1300" y="152"/>
                  <a:pt x="1298" y="153"/>
                  <a:pt x="1296" y="154"/>
                </a:cubicBezTo>
                <a:cubicBezTo>
                  <a:pt x="1294" y="155"/>
                  <a:pt x="1292" y="156"/>
                  <a:pt x="1290" y="156"/>
                </a:cubicBezTo>
                <a:cubicBezTo>
                  <a:pt x="1287" y="156"/>
                  <a:pt x="1285" y="154"/>
                  <a:pt x="1284" y="152"/>
                </a:cubicBezTo>
                <a:cubicBezTo>
                  <a:pt x="1282" y="150"/>
                  <a:pt x="1282" y="147"/>
                  <a:pt x="1282" y="143"/>
                </a:cubicBezTo>
                <a:cubicBezTo>
                  <a:pt x="1285" y="143"/>
                  <a:pt x="1288" y="143"/>
                  <a:pt x="1292" y="142"/>
                </a:cubicBezTo>
                <a:cubicBezTo>
                  <a:pt x="1295" y="140"/>
                  <a:pt x="1299" y="139"/>
                  <a:pt x="1301" y="136"/>
                </a:cubicBezTo>
                <a:cubicBezTo>
                  <a:pt x="1304" y="134"/>
                  <a:pt x="1305" y="131"/>
                  <a:pt x="1305" y="128"/>
                </a:cubicBezTo>
                <a:cubicBezTo>
                  <a:pt x="1305" y="125"/>
                  <a:pt x="1304" y="123"/>
                  <a:pt x="1303" y="122"/>
                </a:cubicBezTo>
                <a:cubicBezTo>
                  <a:pt x="1301" y="120"/>
                  <a:pt x="1299" y="119"/>
                  <a:pt x="1295" y="119"/>
                </a:cubicBezTo>
                <a:cubicBezTo>
                  <a:pt x="1291" y="119"/>
                  <a:pt x="1288" y="121"/>
                  <a:pt x="1285" y="123"/>
                </a:cubicBezTo>
                <a:cubicBezTo>
                  <a:pt x="1282" y="125"/>
                  <a:pt x="1279" y="128"/>
                  <a:pt x="1277" y="132"/>
                </a:cubicBezTo>
                <a:cubicBezTo>
                  <a:pt x="1275" y="136"/>
                  <a:pt x="1275" y="140"/>
                  <a:pt x="1275" y="145"/>
                </a:cubicBezTo>
                <a:cubicBezTo>
                  <a:pt x="1275" y="147"/>
                  <a:pt x="1275" y="150"/>
                  <a:pt x="1276" y="152"/>
                </a:cubicBezTo>
                <a:cubicBezTo>
                  <a:pt x="1277" y="155"/>
                  <a:pt x="1279" y="156"/>
                  <a:pt x="1281" y="158"/>
                </a:cubicBezTo>
                <a:cubicBezTo>
                  <a:pt x="1283" y="159"/>
                  <a:pt x="1285" y="160"/>
                  <a:pt x="1288" y="160"/>
                </a:cubicBezTo>
                <a:cubicBezTo>
                  <a:pt x="1292" y="160"/>
                  <a:pt x="1295" y="159"/>
                  <a:pt x="1297" y="158"/>
                </a:cubicBezTo>
                <a:cubicBezTo>
                  <a:pt x="1300" y="156"/>
                  <a:pt x="1302" y="154"/>
                  <a:pt x="1303" y="153"/>
                </a:cubicBezTo>
                <a:close/>
                <a:moveTo>
                  <a:pt x="1294" y="123"/>
                </a:moveTo>
                <a:cubicBezTo>
                  <a:pt x="1295" y="123"/>
                  <a:pt x="1296" y="124"/>
                  <a:pt x="1297" y="125"/>
                </a:cubicBezTo>
                <a:cubicBezTo>
                  <a:pt x="1298" y="125"/>
                  <a:pt x="1298" y="127"/>
                  <a:pt x="1298" y="129"/>
                </a:cubicBezTo>
                <a:cubicBezTo>
                  <a:pt x="1298" y="131"/>
                  <a:pt x="1298" y="133"/>
                  <a:pt x="1296" y="135"/>
                </a:cubicBezTo>
                <a:cubicBezTo>
                  <a:pt x="1294" y="136"/>
                  <a:pt x="1292" y="138"/>
                  <a:pt x="1289" y="139"/>
                </a:cubicBezTo>
                <a:cubicBezTo>
                  <a:pt x="1287" y="139"/>
                  <a:pt x="1284" y="140"/>
                  <a:pt x="1282" y="140"/>
                </a:cubicBezTo>
                <a:cubicBezTo>
                  <a:pt x="1282" y="138"/>
                  <a:pt x="1283" y="135"/>
                  <a:pt x="1284" y="132"/>
                </a:cubicBezTo>
                <a:cubicBezTo>
                  <a:pt x="1285" y="130"/>
                  <a:pt x="1286" y="127"/>
                  <a:pt x="1288" y="126"/>
                </a:cubicBezTo>
                <a:cubicBezTo>
                  <a:pt x="1289" y="124"/>
                  <a:pt x="1291" y="123"/>
                  <a:pt x="1294" y="123"/>
                </a:cubicBezTo>
                <a:close/>
                <a:moveTo>
                  <a:pt x="1322" y="129"/>
                </a:moveTo>
                <a:cubicBezTo>
                  <a:pt x="1323" y="127"/>
                  <a:pt x="1323" y="127"/>
                  <a:pt x="1323" y="127"/>
                </a:cubicBezTo>
                <a:cubicBezTo>
                  <a:pt x="1323" y="120"/>
                  <a:pt x="1323" y="120"/>
                  <a:pt x="1323" y="120"/>
                </a:cubicBezTo>
                <a:cubicBezTo>
                  <a:pt x="1322" y="119"/>
                  <a:pt x="1322" y="119"/>
                  <a:pt x="1322" y="119"/>
                </a:cubicBezTo>
                <a:cubicBezTo>
                  <a:pt x="1314" y="121"/>
                  <a:pt x="1314" y="121"/>
                  <a:pt x="1314" y="121"/>
                </a:cubicBezTo>
                <a:cubicBezTo>
                  <a:pt x="1313" y="124"/>
                  <a:pt x="1313" y="124"/>
                  <a:pt x="1313" y="124"/>
                </a:cubicBezTo>
                <a:cubicBezTo>
                  <a:pt x="1317" y="125"/>
                  <a:pt x="1317" y="125"/>
                  <a:pt x="1317" y="125"/>
                </a:cubicBezTo>
                <a:cubicBezTo>
                  <a:pt x="1312" y="159"/>
                  <a:pt x="1312" y="159"/>
                  <a:pt x="1312" y="159"/>
                </a:cubicBezTo>
                <a:cubicBezTo>
                  <a:pt x="1319" y="159"/>
                  <a:pt x="1319" y="159"/>
                  <a:pt x="1319" y="159"/>
                </a:cubicBezTo>
                <a:cubicBezTo>
                  <a:pt x="1322" y="134"/>
                  <a:pt x="1322" y="134"/>
                  <a:pt x="1322" y="134"/>
                </a:cubicBezTo>
                <a:cubicBezTo>
                  <a:pt x="1323" y="132"/>
                  <a:pt x="1325" y="130"/>
                  <a:pt x="1327" y="129"/>
                </a:cubicBezTo>
                <a:cubicBezTo>
                  <a:pt x="1329" y="127"/>
                  <a:pt x="1331" y="127"/>
                  <a:pt x="1333" y="127"/>
                </a:cubicBezTo>
                <a:cubicBezTo>
                  <a:pt x="1334" y="127"/>
                  <a:pt x="1335" y="127"/>
                  <a:pt x="1336" y="127"/>
                </a:cubicBezTo>
                <a:cubicBezTo>
                  <a:pt x="1338" y="120"/>
                  <a:pt x="1338" y="120"/>
                  <a:pt x="1338" y="120"/>
                </a:cubicBezTo>
                <a:cubicBezTo>
                  <a:pt x="1337" y="120"/>
                  <a:pt x="1336" y="119"/>
                  <a:pt x="1335" y="119"/>
                </a:cubicBezTo>
                <a:cubicBezTo>
                  <a:pt x="1333" y="119"/>
                  <a:pt x="1331" y="120"/>
                  <a:pt x="1330" y="121"/>
                </a:cubicBezTo>
                <a:cubicBezTo>
                  <a:pt x="1328" y="122"/>
                  <a:pt x="1326" y="123"/>
                  <a:pt x="1325" y="125"/>
                </a:cubicBezTo>
                <a:cubicBezTo>
                  <a:pt x="1324" y="126"/>
                  <a:pt x="1323" y="128"/>
                  <a:pt x="1322" y="129"/>
                </a:cubicBezTo>
                <a:close/>
                <a:moveTo>
                  <a:pt x="1349" y="153"/>
                </a:moveTo>
                <a:cubicBezTo>
                  <a:pt x="1354" y="120"/>
                  <a:pt x="1354" y="120"/>
                  <a:pt x="1354" y="120"/>
                </a:cubicBezTo>
                <a:cubicBezTo>
                  <a:pt x="1352" y="119"/>
                  <a:pt x="1352" y="119"/>
                  <a:pt x="1352" y="119"/>
                </a:cubicBezTo>
                <a:cubicBezTo>
                  <a:pt x="1342" y="121"/>
                  <a:pt x="1342" y="121"/>
                  <a:pt x="1342" y="121"/>
                </a:cubicBezTo>
                <a:cubicBezTo>
                  <a:pt x="1342" y="123"/>
                  <a:pt x="1342" y="123"/>
                  <a:pt x="1342" y="123"/>
                </a:cubicBezTo>
                <a:cubicBezTo>
                  <a:pt x="1346" y="125"/>
                  <a:pt x="1346" y="125"/>
                  <a:pt x="1346" y="125"/>
                </a:cubicBezTo>
                <a:cubicBezTo>
                  <a:pt x="1345" y="132"/>
                  <a:pt x="1345" y="138"/>
                  <a:pt x="1344" y="142"/>
                </a:cubicBezTo>
                <a:cubicBezTo>
                  <a:pt x="1343" y="150"/>
                  <a:pt x="1342" y="154"/>
                  <a:pt x="1342" y="156"/>
                </a:cubicBezTo>
                <a:cubicBezTo>
                  <a:pt x="1342" y="157"/>
                  <a:pt x="1342" y="158"/>
                  <a:pt x="1343" y="159"/>
                </a:cubicBezTo>
                <a:cubicBezTo>
                  <a:pt x="1344" y="160"/>
                  <a:pt x="1345" y="160"/>
                  <a:pt x="1347" y="160"/>
                </a:cubicBezTo>
                <a:cubicBezTo>
                  <a:pt x="1349" y="160"/>
                  <a:pt x="1350" y="159"/>
                  <a:pt x="1352" y="158"/>
                </a:cubicBezTo>
                <a:cubicBezTo>
                  <a:pt x="1353" y="157"/>
                  <a:pt x="1354" y="156"/>
                  <a:pt x="1355" y="155"/>
                </a:cubicBezTo>
                <a:cubicBezTo>
                  <a:pt x="1354" y="154"/>
                  <a:pt x="1354" y="154"/>
                  <a:pt x="1354" y="154"/>
                </a:cubicBezTo>
                <a:cubicBezTo>
                  <a:pt x="1353" y="154"/>
                  <a:pt x="1352" y="155"/>
                  <a:pt x="1352" y="155"/>
                </a:cubicBezTo>
                <a:cubicBezTo>
                  <a:pt x="1351" y="156"/>
                  <a:pt x="1351" y="156"/>
                  <a:pt x="1350" y="156"/>
                </a:cubicBezTo>
                <a:cubicBezTo>
                  <a:pt x="1350" y="156"/>
                  <a:pt x="1350" y="156"/>
                  <a:pt x="1349" y="155"/>
                </a:cubicBezTo>
                <a:cubicBezTo>
                  <a:pt x="1349" y="155"/>
                  <a:pt x="1349" y="155"/>
                  <a:pt x="1349" y="154"/>
                </a:cubicBezTo>
                <a:lnTo>
                  <a:pt x="1349" y="153"/>
                </a:lnTo>
                <a:close/>
                <a:moveTo>
                  <a:pt x="1351" y="112"/>
                </a:moveTo>
                <a:cubicBezTo>
                  <a:pt x="1353" y="112"/>
                  <a:pt x="1354" y="111"/>
                  <a:pt x="1355" y="110"/>
                </a:cubicBezTo>
                <a:cubicBezTo>
                  <a:pt x="1356" y="109"/>
                  <a:pt x="1356" y="108"/>
                  <a:pt x="1356" y="107"/>
                </a:cubicBezTo>
                <a:cubicBezTo>
                  <a:pt x="1356" y="106"/>
                  <a:pt x="1356" y="105"/>
                  <a:pt x="1355" y="104"/>
                </a:cubicBezTo>
                <a:cubicBezTo>
                  <a:pt x="1354" y="103"/>
                  <a:pt x="1353" y="103"/>
                  <a:pt x="1352" y="103"/>
                </a:cubicBezTo>
                <a:cubicBezTo>
                  <a:pt x="1351" y="103"/>
                  <a:pt x="1350" y="103"/>
                  <a:pt x="1349" y="104"/>
                </a:cubicBezTo>
                <a:cubicBezTo>
                  <a:pt x="1348" y="105"/>
                  <a:pt x="1348" y="107"/>
                  <a:pt x="1348" y="108"/>
                </a:cubicBezTo>
                <a:cubicBezTo>
                  <a:pt x="1348" y="109"/>
                  <a:pt x="1348" y="110"/>
                  <a:pt x="1349" y="111"/>
                </a:cubicBezTo>
                <a:cubicBezTo>
                  <a:pt x="1350" y="111"/>
                  <a:pt x="1350" y="112"/>
                  <a:pt x="1351" y="112"/>
                </a:cubicBezTo>
                <a:close/>
                <a:moveTo>
                  <a:pt x="1374" y="129"/>
                </a:moveTo>
                <a:cubicBezTo>
                  <a:pt x="1375" y="120"/>
                  <a:pt x="1375" y="120"/>
                  <a:pt x="1375" y="120"/>
                </a:cubicBezTo>
                <a:cubicBezTo>
                  <a:pt x="1374" y="119"/>
                  <a:pt x="1374" y="119"/>
                  <a:pt x="1374" y="119"/>
                </a:cubicBezTo>
                <a:cubicBezTo>
                  <a:pt x="1365" y="121"/>
                  <a:pt x="1365" y="121"/>
                  <a:pt x="1365" y="121"/>
                </a:cubicBezTo>
                <a:cubicBezTo>
                  <a:pt x="1365" y="124"/>
                  <a:pt x="1365" y="124"/>
                  <a:pt x="1365" y="124"/>
                </a:cubicBezTo>
                <a:cubicBezTo>
                  <a:pt x="1368" y="125"/>
                  <a:pt x="1368" y="125"/>
                  <a:pt x="1368" y="125"/>
                </a:cubicBezTo>
                <a:cubicBezTo>
                  <a:pt x="1364" y="159"/>
                  <a:pt x="1364" y="159"/>
                  <a:pt x="1364" y="159"/>
                </a:cubicBezTo>
                <a:cubicBezTo>
                  <a:pt x="1370" y="159"/>
                  <a:pt x="1370" y="159"/>
                  <a:pt x="1370" y="159"/>
                </a:cubicBezTo>
                <a:cubicBezTo>
                  <a:pt x="1374" y="134"/>
                  <a:pt x="1374" y="134"/>
                  <a:pt x="1374" y="134"/>
                </a:cubicBezTo>
                <a:cubicBezTo>
                  <a:pt x="1375" y="131"/>
                  <a:pt x="1377" y="129"/>
                  <a:pt x="1380" y="127"/>
                </a:cubicBezTo>
                <a:cubicBezTo>
                  <a:pt x="1382" y="125"/>
                  <a:pt x="1384" y="124"/>
                  <a:pt x="1386" y="124"/>
                </a:cubicBezTo>
                <a:cubicBezTo>
                  <a:pt x="1388" y="124"/>
                  <a:pt x="1389" y="125"/>
                  <a:pt x="1389" y="126"/>
                </a:cubicBezTo>
                <a:cubicBezTo>
                  <a:pt x="1390" y="127"/>
                  <a:pt x="1390" y="128"/>
                  <a:pt x="1390" y="130"/>
                </a:cubicBezTo>
                <a:cubicBezTo>
                  <a:pt x="1390" y="132"/>
                  <a:pt x="1390" y="134"/>
                  <a:pt x="1390" y="135"/>
                </a:cubicBezTo>
                <a:cubicBezTo>
                  <a:pt x="1390" y="137"/>
                  <a:pt x="1389" y="140"/>
                  <a:pt x="1389" y="142"/>
                </a:cubicBezTo>
                <a:cubicBezTo>
                  <a:pt x="1388" y="144"/>
                  <a:pt x="1388" y="144"/>
                  <a:pt x="1388" y="144"/>
                </a:cubicBezTo>
                <a:cubicBezTo>
                  <a:pt x="1388" y="147"/>
                  <a:pt x="1388" y="147"/>
                  <a:pt x="1388" y="147"/>
                </a:cubicBezTo>
                <a:cubicBezTo>
                  <a:pt x="1387" y="151"/>
                  <a:pt x="1387" y="154"/>
                  <a:pt x="1387" y="156"/>
                </a:cubicBezTo>
                <a:cubicBezTo>
                  <a:pt x="1387" y="159"/>
                  <a:pt x="1388" y="160"/>
                  <a:pt x="1391" y="160"/>
                </a:cubicBezTo>
                <a:cubicBezTo>
                  <a:pt x="1392" y="160"/>
                  <a:pt x="1394" y="160"/>
                  <a:pt x="1395" y="159"/>
                </a:cubicBezTo>
                <a:cubicBezTo>
                  <a:pt x="1396" y="159"/>
                  <a:pt x="1397" y="158"/>
                  <a:pt x="1397" y="157"/>
                </a:cubicBezTo>
                <a:cubicBezTo>
                  <a:pt x="1398" y="157"/>
                  <a:pt x="1399" y="156"/>
                  <a:pt x="1399" y="156"/>
                </a:cubicBezTo>
                <a:cubicBezTo>
                  <a:pt x="1398" y="154"/>
                  <a:pt x="1398" y="154"/>
                  <a:pt x="1398" y="154"/>
                </a:cubicBezTo>
                <a:cubicBezTo>
                  <a:pt x="1397" y="155"/>
                  <a:pt x="1396" y="156"/>
                  <a:pt x="1395" y="156"/>
                </a:cubicBezTo>
                <a:cubicBezTo>
                  <a:pt x="1394" y="156"/>
                  <a:pt x="1394" y="155"/>
                  <a:pt x="1394" y="154"/>
                </a:cubicBezTo>
                <a:cubicBezTo>
                  <a:pt x="1394" y="152"/>
                  <a:pt x="1394" y="149"/>
                  <a:pt x="1395" y="145"/>
                </a:cubicBezTo>
                <a:cubicBezTo>
                  <a:pt x="1395" y="142"/>
                  <a:pt x="1395" y="142"/>
                  <a:pt x="1395" y="142"/>
                </a:cubicBezTo>
                <a:cubicBezTo>
                  <a:pt x="1396" y="140"/>
                  <a:pt x="1396" y="140"/>
                  <a:pt x="1396" y="140"/>
                </a:cubicBezTo>
                <a:cubicBezTo>
                  <a:pt x="1397" y="135"/>
                  <a:pt x="1397" y="132"/>
                  <a:pt x="1397" y="130"/>
                </a:cubicBezTo>
                <a:cubicBezTo>
                  <a:pt x="1397" y="126"/>
                  <a:pt x="1397" y="123"/>
                  <a:pt x="1395" y="122"/>
                </a:cubicBezTo>
                <a:cubicBezTo>
                  <a:pt x="1394" y="120"/>
                  <a:pt x="1392" y="119"/>
                  <a:pt x="1389" y="119"/>
                </a:cubicBezTo>
                <a:cubicBezTo>
                  <a:pt x="1386" y="119"/>
                  <a:pt x="1384" y="120"/>
                  <a:pt x="1381" y="122"/>
                </a:cubicBezTo>
                <a:cubicBezTo>
                  <a:pt x="1379" y="124"/>
                  <a:pt x="1376" y="126"/>
                  <a:pt x="1374" y="129"/>
                </a:cubicBezTo>
                <a:close/>
                <a:moveTo>
                  <a:pt x="1433" y="162"/>
                </a:moveTo>
                <a:cubicBezTo>
                  <a:pt x="1440" y="119"/>
                  <a:pt x="1440" y="119"/>
                  <a:pt x="1440" y="119"/>
                </a:cubicBezTo>
                <a:cubicBezTo>
                  <a:pt x="1435" y="121"/>
                  <a:pt x="1435" y="121"/>
                  <a:pt x="1435" y="121"/>
                </a:cubicBezTo>
                <a:cubicBezTo>
                  <a:pt x="1434" y="121"/>
                  <a:pt x="1433" y="120"/>
                  <a:pt x="1432" y="120"/>
                </a:cubicBezTo>
                <a:cubicBezTo>
                  <a:pt x="1430" y="120"/>
                  <a:pt x="1429" y="119"/>
                  <a:pt x="1428" y="119"/>
                </a:cubicBezTo>
                <a:cubicBezTo>
                  <a:pt x="1423" y="119"/>
                  <a:pt x="1419" y="121"/>
                  <a:pt x="1416" y="123"/>
                </a:cubicBezTo>
                <a:cubicBezTo>
                  <a:pt x="1412" y="126"/>
                  <a:pt x="1410" y="129"/>
                  <a:pt x="1408" y="133"/>
                </a:cubicBezTo>
                <a:cubicBezTo>
                  <a:pt x="1406" y="137"/>
                  <a:pt x="1405" y="141"/>
                  <a:pt x="1405" y="145"/>
                </a:cubicBezTo>
                <a:cubicBezTo>
                  <a:pt x="1405" y="150"/>
                  <a:pt x="1406" y="153"/>
                  <a:pt x="1408" y="156"/>
                </a:cubicBezTo>
                <a:cubicBezTo>
                  <a:pt x="1410" y="159"/>
                  <a:pt x="1413" y="160"/>
                  <a:pt x="1417" y="160"/>
                </a:cubicBezTo>
                <a:cubicBezTo>
                  <a:pt x="1419" y="160"/>
                  <a:pt x="1421" y="159"/>
                  <a:pt x="1423" y="158"/>
                </a:cubicBezTo>
                <a:cubicBezTo>
                  <a:pt x="1425" y="157"/>
                  <a:pt x="1426" y="156"/>
                  <a:pt x="1428" y="155"/>
                </a:cubicBezTo>
                <a:cubicBezTo>
                  <a:pt x="1426" y="164"/>
                  <a:pt x="1426" y="164"/>
                  <a:pt x="1426" y="164"/>
                </a:cubicBezTo>
                <a:cubicBezTo>
                  <a:pt x="1426" y="167"/>
                  <a:pt x="1425" y="169"/>
                  <a:pt x="1424" y="170"/>
                </a:cubicBezTo>
                <a:cubicBezTo>
                  <a:pt x="1422" y="172"/>
                  <a:pt x="1420" y="172"/>
                  <a:pt x="1417" y="172"/>
                </a:cubicBezTo>
                <a:cubicBezTo>
                  <a:pt x="1415" y="172"/>
                  <a:pt x="1414" y="172"/>
                  <a:pt x="1412" y="171"/>
                </a:cubicBezTo>
                <a:cubicBezTo>
                  <a:pt x="1410" y="171"/>
                  <a:pt x="1409" y="170"/>
                  <a:pt x="1408" y="170"/>
                </a:cubicBezTo>
                <a:cubicBezTo>
                  <a:pt x="1406" y="175"/>
                  <a:pt x="1406" y="175"/>
                  <a:pt x="1406" y="175"/>
                </a:cubicBezTo>
                <a:cubicBezTo>
                  <a:pt x="1407" y="176"/>
                  <a:pt x="1408" y="176"/>
                  <a:pt x="1410" y="176"/>
                </a:cubicBezTo>
                <a:cubicBezTo>
                  <a:pt x="1411" y="177"/>
                  <a:pt x="1413" y="177"/>
                  <a:pt x="1414" y="177"/>
                </a:cubicBezTo>
                <a:cubicBezTo>
                  <a:pt x="1417" y="177"/>
                  <a:pt x="1420" y="176"/>
                  <a:pt x="1423" y="175"/>
                </a:cubicBezTo>
                <a:cubicBezTo>
                  <a:pt x="1425" y="174"/>
                  <a:pt x="1428" y="173"/>
                  <a:pt x="1430" y="170"/>
                </a:cubicBezTo>
                <a:cubicBezTo>
                  <a:pt x="1432" y="168"/>
                  <a:pt x="1433" y="165"/>
                  <a:pt x="1433" y="162"/>
                </a:cubicBezTo>
                <a:close/>
                <a:moveTo>
                  <a:pt x="1432" y="125"/>
                </a:moveTo>
                <a:cubicBezTo>
                  <a:pt x="1428" y="150"/>
                  <a:pt x="1428" y="150"/>
                  <a:pt x="1428" y="150"/>
                </a:cubicBezTo>
                <a:cubicBezTo>
                  <a:pt x="1427" y="151"/>
                  <a:pt x="1426" y="153"/>
                  <a:pt x="1424" y="154"/>
                </a:cubicBezTo>
                <a:cubicBezTo>
                  <a:pt x="1423" y="155"/>
                  <a:pt x="1421" y="155"/>
                  <a:pt x="1419" y="155"/>
                </a:cubicBezTo>
                <a:cubicBezTo>
                  <a:pt x="1417" y="155"/>
                  <a:pt x="1415" y="155"/>
                  <a:pt x="1414" y="153"/>
                </a:cubicBezTo>
                <a:cubicBezTo>
                  <a:pt x="1413" y="151"/>
                  <a:pt x="1412" y="148"/>
                  <a:pt x="1412" y="145"/>
                </a:cubicBezTo>
                <a:cubicBezTo>
                  <a:pt x="1412" y="142"/>
                  <a:pt x="1413" y="138"/>
                  <a:pt x="1414" y="135"/>
                </a:cubicBezTo>
                <a:cubicBezTo>
                  <a:pt x="1415" y="132"/>
                  <a:pt x="1417" y="129"/>
                  <a:pt x="1419" y="127"/>
                </a:cubicBezTo>
                <a:cubicBezTo>
                  <a:pt x="1421" y="124"/>
                  <a:pt x="1424" y="123"/>
                  <a:pt x="1427" y="123"/>
                </a:cubicBezTo>
                <a:cubicBezTo>
                  <a:pt x="1429" y="123"/>
                  <a:pt x="1431" y="124"/>
                  <a:pt x="1432" y="125"/>
                </a:cubicBezTo>
                <a:close/>
                <a:moveTo>
                  <a:pt x="1076" y="242"/>
                </a:moveTo>
                <a:cubicBezTo>
                  <a:pt x="1072" y="249"/>
                  <a:pt x="1072" y="249"/>
                  <a:pt x="1072" y="249"/>
                </a:cubicBezTo>
                <a:cubicBezTo>
                  <a:pt x="1072" y="242"/>
                  <a:pt x="1072" y="242"/>
                  <a:pt x="1072" y="242"/>
                </a:cubicBezTo>
                <a:cubicBezTo>
                  <a:pt x="1066" y="208"/>
                  <a:pt x="1066" y="208"/>
                  <a:pt x="1066" y="208"/>
                </a:cubicBezTo>
                <a:cubicBezTo>
                  <a:pt x="1050" y="208"/>
                  <a:pt x="1050" y="208"/>
                  <a:pt x="1050" y="208"/>
                </a:cubicBezTo>
                <a:cubicBezTo>
                  <a:pt x="1049" y="211"/>
                  <a:pt x="1049" y="211"/>
                  <a:pt x="1049" y="211"/>
                </a:cubicBezTo>
                <a:cubicBezTo>
                  <a:pt x="1056" y="212"/>
                  <a:pt x="1056" y="212"/>
                  <a:pt x="1056" y="212"/>
                </a:cubicBezTo>
                <a:cubicBezTo>
                  <a:pt x="1045" y="256"/>
                  <a:pt x="1045" y="256"/>
                  <a:pt x="1045" y="256"/>
                </a:cubicBezTo>
                <a:cubicBezTo>
                  <a:pt x="1039" y="257"/>
                  <a:pt x="1039" y="257"/>
                  <a:pt x="1039" y="257"/>
                </a:cubicBezTo>
                <a:cubicBezTo>
                  <a:pt x="1039" y="260"/>
                  <a:pt x="1039" y="260"/>
                  <a:pt x="1039" y="260"/>
                </a:cubicBezTo>
                <a:cubicBezTo>
                  <a:pt x="1057" y="260"/>
                  <a:pt x="1057" y="260"/>
                  <a:pt x="1057" y="260"/>
                </a:cubicBezTo>
                <a:cubicBezTo>
                  <a:pt x="1057" y="257"/>
                  <a:pt x="1057" y="257"/>
                  <a:pt x="1057" y="257"/>
                </a:cubicBezTo>
                <a:cubicBezTo>
                  <a:pt x="1050" y="256"/>
                  <a:pt x="1050" y="256"/>
                  <a:pt x="1050" y="256"/>
                </a:cubicBezTo>
                <a:cubicBezTo>
                  <a:pt x="1057" y="225"/>
                  <a:pt x="1057" y="225"/>
                  <a:pt x="1057" y="225"/>
                </a:cubicBezTo>
                <a:cubicBezTo>
                  <a:pt x="1060" y="211"/>
                  <a:pt x="1060" y="211"/>
                  <a:pt x="1060" y="211"/>
                </a:cubicBezTo>
                <a:cubicBezTo>
                  <a:pt x="1062" y="225"/>
                  <a:pt x="1062" y="225"/>
                  <a:pt x="1062" y="225"/>
                </a:cubicBezTo>
                <a:cubicBezTo>
                  <a:pt x="1068" y="261"/>
                  <a:pt x="1068" y="261"/>
                  <a:pt x="1068" y="261"/>
                </a:cubicBezTo>
                <a:cubicBezTo>
                  <a:pt x="1072" y="260"/>
                  <a:pt x="1072" y="260"/>
                  <a:pt x="1072" y="260"/>
                </a:cubicBezTo>
                <a:cubicBezTo>
                  <a:pt x="1088" y="224"/>
                  <a:pt x="1088" y="224"/>
                  <a:pt x="1088" y="224"/>
                </a:cubicBezTo>
                <a:cubicBezTo>
                  <a:pt x="1094" y="211"/>
                  <a:pt x="1094" y="211"/>
                  <a:pt x="1094" y="211"/>
                </a:cubicBezTo>
                <a:cubicBezTo>
                  <a:pt x="1093" y="225"/>
                  <a:pt x="1093" y="225"/>
                  <a:pt x="1093" y="225"/>
                </a:cubicBezTo>
                <a:cubicBezTo>
                  <a:pt x="1091" y="256"/>
                  <a:pt x="1091" y="256"/>
                  <a:pt x="1091" y="256"/>
                </a:cubicBezTo>
                <a:cubicBezTo>
                  <a:pt x="1085" y="257"/>
                  <a:pt x="1085" y="257"/>
                  <a:pt x="1085" y="257"/>
                </a:cubicBezTo>
                <a:cubicBezTo>
                  <a:pt x="1084" y="260"/>
                  <a:pt x="1084" y="260"/>
                  <a:pt x="1084" y="260"/>
                </a:cubicBezTo>
                <a:cubicBezTo>
                  <a:pt x="1104" y="260"/>
                  <a:pt x="1104" y="260"/>
                  <a:pt x="1104" y="260"/>
                </a:cubicBezTo>
                <a:cubicBezTo>
                  <a:pt x="1104" y="257"/>
                  <a:pt x="1104" y="257"/>
                  <a:pt x="1104" y="257"/>
                </a:cubicBezTo>
                <a:cubicBezTo>
                  <a:pt x="1098" y="256"/>
                  <a:pt x="1098" y="256"/>
                  <a:pt x="1098" y="256"/>
                </a:cubicBezTo>
                <a:cubicBezTo>
                  <a:pt x="1099" y="212"/>
                  <a:pt x="1099" y="212"/>
                  <a:pt x="1099" y="212"/>
                </a:cubicBezTo>
                <a:cubicBezTo>
                  <a:pt x="1106" y="211"/>
                  <a:pt x="1106" y="211"/>
                  <a:pt x="1106" y="211"/>
                </a:cubicBezTo>
                <a:cubicBezTo>
                  <a:pt x="1106" y="208"/>
                  <a:pt x="1106" y="208"/>
                  <a:pt x="1106" y="208"/>
                </a:cubicBezTo>
                <a:cubicBezTo>
                  <a:pt x="1091" y="208"/>
                  <a:pt x="1091" y="208"/>
                  <a:pt x="1091" y="208"/>
                </a:cubicBezTo>
                <a:cubicBezTo>
                  <a:pt x="1090" y="211"/>
                  <a:pt x="1087" y="217"/>
                  <a:pt x="1083" y="225"/>
                </a:cubicBezTo>
                <a:cubicBezTo>
                  <a:pt x="1079" y="233"/>
                  <a:pt x="1077" y="239"/>
                  <a:pt x="1076" y="242"/>
                </a:cubicBezTo>
                <a:close/>
                <a:moveTo>
                  <a:pt x="1138" y="253"/>
                </a:moveTo>
                <a:cubicBezTo>
                  <a:pt x="1136" y="251"/>
                  <a:pt x="1136" y="251"/>
                  <a:pt x="1136" y="251"/>
                </a:cubicBezTo>
                <a:cubicBezTo>
                  <a:pt x="1134" y="253"/>
                  <a:pt x="1133" y="254"/>
                  <a:pt x="1131" y="255"/>
                </a:cubicBezTo>
                <a:cubicBezTo>
                  <a:pt x="1129" y="256"/>
                  <a:pt x="1126" y="256"/>
                  <a:pt x="1124" y="256"/>
                </a:cubicBezTo>
                <a:cubicBezTo>
                  <a:pt x="1121" y="256"/>
                  <a:pt x="1119" y="255"/>
                  <a:pt x="1118" y="253"/>
                </a:cubicBezTo>
                <a:cubicBezTo>
                  <a:pt x="1117" y="250"/>
                  <a:pt x="1116" y="247"/>
                  <a:pt x="1116" y="244"/>
                </a:cubicBezTo>
                <a:cubicBezTo>
                  <a:pt x="1119" y="244"/>
                  <a:pt x="1123" y="244"/>
                  <a:pt x="1126" y="242"/>
                </a:cubicBezTo>
                <a:cubicBezTo>
                  <a:pt x="1130" y="241"/>
                  <a:pt x="1133" y="240"/>
                  <a:pt x="1136" y="237"/>
                </a:cubicBezTo>
                <a:cubicBezTo>
                  <a:pt x="1138" y="235"/>
                  <a:pt x="1140" y="232"/>
                  <a:pt x="1140" y="229"/>
                </a:cubicBezTo>
                <a:cubicBezTo>
                  <a:pt x="1140" y="226"/>
                  <a:pt x="1139" y="224"/>
                  <a:pt x="1137" y="223"/>
                </a:cubicBezTo>
                <a:cubicBezTo>
                  <a:pt x="1135" y="221"/>
                  <a:pt x="1133" y="220"/>
                  <a:pt x="1130" y="220"/>
                </a:cubicBezTo>
                <a:cubicBezTo>
                  <a:pt x="1126" y="220"/>
                  <a:pt x="1122" y="221"/>
                  <a:pt x="1119" y="224"/>
                </a:cubicBezTo>
                <a:cubicBezTo>
                  <a:pt x="1116" y="226"/>
                  <a:pt x="1114" y="229"/>
                  <a:pt x="1112" y="233"/>
                </a:cubicBezTo>
                <a:cubicBezTo>
                  <a:pt x="1110" y="237"/>
                  <a:pt x="1109" y="241"/>
                  <a:pt x="1109" y="246"/>
                </a:cubicBezTo>
                <a:cubicBezTo>
                  <a:pt x="1109" y="248"/>
                  <a:pt x="1110" y="251"/>
                  <a:pt x="1111" y="253"/>
                </a:cubicBezTo>
                <a:cubicBezTo>
                  <a:pt x="1111" y="255"/>
                  <a:pt x="1113" y="257"/>
                  <a:pt x="1115" y="259"/>
                </a:cubicBezTo>
                <a:cubicBezTo>
                  <a:pt x="1117" y="260"/>
                  <a:pt x="1120" y="261"/>
                  <a:pt x="1123" y="261"/>
                </a:cubicBezTo>
                <a:cubicBezTo>
                  <a:pt x="1126" y="261"/>
                  <a:pt x="1129" y="260"/>
                  <a:pt x="1132" y="258"/>
                </a:cubicBezTo>
                <a:cubicBezTo>
                  <a:pt x="1135" y="257"/>
                  <a:pt x="1136" y="255"/>
                  <a:pt x="1138" y="253"/>
                </a:cubicBezTo>
                <a:close/>
                <a:moveTo>
                  <a:pt x="1128" y="224"/>
                </a:moveTo>
                <a:cubicBezTo>
                  <a:pt x="1130" y="224"/>
                  <a:pt x="1131" y="224"/>
                  <a:pt x="1132" y="225"/>
                </a:cubicBezTo>
                <a:cubicBezTo>
                  <a:pt x="1132" y="226"/>
                  <a:pt x="1133" y="228"/>
                  <a:pt x="1133" y="229"/>
                </a:cubicBezTo>
                <a:cubicBezTo>
                  <a:pt x="1133" y="232"/>
                  <a:pt x="1132" y="234"/>
                  <a:pt x="1130" y="235"/>
                </a:cubicBezTo>
                <a:cubicBezTo>
                  <a:pt x="1129" y="237"/>
                  <a:pt x="1126" y="238"/>
                  <a:pt x="1124" y="239"/>
                </a:cubicBezTo>
                <a:cubicBezTo>
                  <a:pt x="1121" y="240"/>
                  <a:pt x="1119" y="241"/>
                  <a:pt x="1116" y="241"/>
                </a:cubicBezTo>
                <a:cubicBezTo>
                  <a:pt x="1117" y="238"/>
                  <a:pt x="1117" y="236"/>
                  <a:pt x="1118" y="233"/>
                </a:cubicBezTo>
                <a:cubicBezTo>
                  <a:pt x="1119" y="230"/>
                  <a:pt x="1121" y="228"/>
                  <a:pt x="1122" y="226"/>
                </a:cubicBezTo>
                <a:cubicBezTo>
                  <a:pt x="1124" y="225"/>
                  <a:pt x="1126" y="224"/>
                  <a:pt x="1128" y="224"/>
                </a:cubicBezTo>
                <a:close/>
                <a:moveTo>
                  <a:pt x="1175" y="254"/>
                </a:moveTo>
                <a:cubicBezTo>
                  <a:pt x="1182" y="204"/>
                  <a:pt x="1182" y="204"/>
                  <a:pt x="1182" y="204"/>
                </a:cubicBezTo>
                <a:cubicBezTo>
                  <a:pt x="1181" y="204"/>
                  <a:pt x="1181" y="204"/>
                  <a:pt x="1181" y="204"/>
                </a:cubicBezTo>
                <a:cubicBezTo>
                  <a:pt x="1171" y="205"/>
                  <a:pt x="1171" y="205"/>
                  <a:pt x="1171" y="205"/>
                </a:cubicBezTo>
                <a:cubicBezTo>
                  <a:pt x="1170" y="207"/>
                  <a:pt x="1170" y="207"/>
                  <a:pt x="1170" y="207"/>
                </a:cubicBezTo>
                <a:cubicBezTo>
                  <a:pt x="1175" y="208"/>
                  <a:pt x="1175" y="208"/>
                  <a:pt x="1175" y="208"/>
                </a:cubicBezTo>
                <a:cubicBezTo>
                  <a:pt x="1173" y="221"/>
                  <a:pt x="1173" y="221"/>
                  <a:pt x="1173" y="221"/>
                </a:cubicBezTo>
                <a:cubicBezTo>
                  <a:pt x="1171" y="220"/>
                  <a:pt x="1169" y="220"/>
                  <a:pt x="1168" y="220"/>
                </a:cubicBezTo>
                <a:cubicBezTo>
                  <a:pt x="1163" y="220"/>
                  <a:pt x="1159" y="222"/>
                  <a:pt x="1156" y="224"/>
                </a:cubicBezTo>
                <a:cubicBezTo>
                  <a:pt x="1152" y="227"/>
                  <a:pt x="1150" y="230"/>
                  <a:pt x="1148" y="234"/>
                </a:cubicBezTo>
                <a:cubicBezTo>
                  <a:pt x="1146" y="238"/>
                  <a:pt x="1145" y="242"/>
                  <a:pt x="1145" y="246"/>
                </a:cubicBezTo>
                <a:cubicBezTo>
                  <a:pt x="1145" y="250"/>
                  <a:pt x="1146" y="254"/>
                  <a:pt x="1148" y="257"/>
                </a:cubicBezTo>
                <a:cubicBezTo>
                  <a:pt x="1150" y="259"/>
                  <a:pt x="1153" y="261"/>
                  <a:pt x="1157" y="261"/>
                </a:cubicBezTo>
                <a:cubicBezTo>
                  <a:pt x="1159" y="261"/>
                  <a:pt x="1162" y="260"/>
                  <a:pt x="1163" y="259"/>
                </a:cubicBezTo>
                <a:cubicBezTo>
                  <a:pt x="1165" y="258"/>
                  <a:pt x="1167" y="256"/>
                  <a:pt x="1168" y="255"/>
                </a:cubicBezTo>
                <a:cubicBezTo>
                  <a:pt x="1168" y="256"/>
                  <a:pt x="1168" y="256"/>
                  <a:pt x="1168" y="256"/>
                </a:cubicBezTo>
                <a:cubicBezTo>
                  <a:pt x="1168" y="259"/>
                  <a:pt x="1170" y="261"/>
                  <a:pt x="1173" y="261"/>
                </a:cubicBezTo>
                <a:cubicBezTo>
                  <a:pt x="1174" y="261"/>
                  <a:pt x="1176" y="260"/>
                  <a:pt x="1177" y="259"/>
                </a:cubicBezTo>
                <a:cubicBezTo>
                  <a:pt x="1178" y="258"/>
                  <a:pt x="1179" y="257"/>
                  <a:pt x="1180" y="256"/>
                </a:cubicBezTo>
                <a:cubicBezTo>
                  <a:pt x="1179" y="255"/>
                  <a:pt x="1179" y="255"/>
                  <a:pt x="1179" y="255"/>
                </a:cubicBezTo>
                <a:cubicBezTo>
                  <a:pt x="1178" y="256"/>
                  <a:pt x="1177" y="256"/>
                  <a:pt x="1176" y="256"/>
                </a:cubicBezTo>
                <a:cubicBezTo>
                  <a:pt x="1175" y="256"/>
                  <a:pt x="1175" y="256"/>
                  <a:pt x="1175" y="255"/>
                </a:cubicBezTo>
                <a:cubicBezTo>
                  <a:pt x="1175" y="254"/>
                  <a:pt x="1175" y="254"/>
                  <a:pt x="1175" y="254"/>
                </a:cubicBezTo>
                <a:close/>
                <a:moveTo>
                  <a:pt x="1172" y="225"/>
                </a:moveTo>
                <a:cubicBezTo>
                  <a:pt x="1169" y="250"/>
                  <a:pt x="1169" y="250"/>
                  <a:pt x="1169" y="250"/>
                </a:cubicBezTo>
                <a:cubicBezTo>
                  <a:pt x="1168" y="252"/>
                  <a:pt x="1166" y="253"/>
                  <a:pt x="1164" y="254"/>
                </a:cubicBezTo>
                <a:cubicBezTo>
                  <a:pt x="1163" y="256"/>
                  <a:pt x="1161" y="256"/>
                  <a:pt x="1159" y="256"/>
                </a:cubicBezTo>
                <a:cubicBezTo>
                  <a:pt x="1157" y="256"/>
                  <a:pt x="1155" y="255"/>
                  <a:pt x="1154" y="253"/>
                </a:cubicBezTo>
                <a:cubicBezTo>
                  <a:pt x="1153" y="252"/>
                  <a:pt x="1153" y="249"/>
                  <a:pt x="1153" y="246"/>
                </a:cubicBezTo>
                <a:cubicBezTo>
                  <a:pt x="1153" y="242"/>
                  <a:pt x="1153" y="239"/>
                  <a:pt x="1154" y="236"/>
                </a:cubicBezTo>
                <a:cubicBezTo>
                  <a:pt x="1155" y="232"/>
                  <a:pt x="1157" y="230"/>
                  <a:pt x="1159" y="227"/>
                </a:cubicBezTo>
                <a:cubicBezTo>
                  <a:pt x="1161" y="225"/>
                  <a:pt x="1164" y="224"/>
                  <a:pt x="1167" y="224"/>
                </a:cubicBezTo>
                <a:cubicBezTo>
                  <a:pt x="1169" y="224"/>
                  <a:pt x="1171" y="224"/>
                  <a:pt x="1172" y="225"/>
                </a:cubicBezTo>
                <a:close/>
                <a:moveTo>
                  <a:pt x="1198" y="254"/>
                </a:moveTo>
                <a:cubicBezTo>
                  <a:pt x="1202" y="221"/>
                  <a:pt x="1202" y="221"/>
                  <a:pt x="1202" y="221"/>
                </a:cubicBezTo>
                <a:cubicBezTo>
                  <a:pt x="1201" y="220"/>
                  <a:pt x="1201" y="220"/>
                  <a:pt x="1201" y="220"/>
                </a:cubicBezTo>
                <a:cubicBezTo>
                  <a:pt x="1191" y="222"/>
                  <a:pt x="1191" y="222"/>
                  <a:pt x="1191" y="222"/>
                </a:cubicBezTo>
                <a:cubicBezTo>
                  <a:pt x="1190" y="224"/>
                  <a:pt x="1190" y="224"/>
                  <a:pt x="1190" y="224"/>
                </a:cubicBezTo>
                <a:cubicBezTo>
                  <a:pt x="1195" y="226"/>
                  <a:pt x="1195" y="226"/>
                  <a:pt x="1195" y="226"/>
                </a:cubicBezTo>
                <a:cubicBezTo>
                  <a:pt x="1194" y="233"/>
                  <a:pt x="1193" y="239"/>
                  <a:pt x="1192" y="243"/>
                </a:cubicBezTo>
                <a:cubicBezTo>
                  <a:pt x="1191" y="251"/>
                  <a:pt x="1191" y="255"/>
                  <a:pt x="1191" y="256"/>
                </a:cubicBezTo>
                <a:cubicBezTo>
                  <a:pt x="1190" y="258"/>
                  <a:pt x="1191" y="259"/>
                  <a:pt x="1192" y="260"/>
                </a:cubicBezTo>
                <a:cubicBezTo>
                  <a:pt x="1192" y="260"/>
                  <a:pt x="1194" y="261"/>
                  <a:pt x="1195" y="261"/>
                </a:cubicBezTo>
                <a:cubicBezTo>
                  <a:pt x="1197" y="261"/>
                  <a:pt x="1199" y="260"/>
                  <a:pt x="1200" y="259"/>
                </a:cubicBezTo>
                <a:cubicBezTo>
                  <a:pt x="1202" y="258"/>
                  <a:pt x="1203" y="257"/>
                  <a:pt x="1203" y="256"/>
                </a:cubicBezTo>
                <a:cubicBezTo>
                  <a:pt x="1202" y="254"/>
                  <a:pt x="1202" y="254"/>
                  <a:pt x="1202" y="254"/>
                </a:cubicBezTo>
                <a:cubicBezTo>
                  <a:pt x="1202" y="255"/>
                  <a:pt x="1201" y="256"/>
                  <a:pt x="1200" y="256"/>
                </a:cubicBezTo>
                <a:cubicBezTo>
                  <a:pt x="1200" y="256"/>
                  <a:pt x="1199" y="256"/>
                  <a:pt x="1199" y="256"/>
                </a:cubicBezTo>
                <a:cubicBezTo>
                  <a:pt x="1198" y="256"/>
                  <a:pt x="1198" y="256"/>
                  <a:pt x="1198" y="256"/>
                </a:cubicBezTo>
                <a:cubicBezTo>
                  <a:pt x="1198" y="256"/>
                  <a:pt x="1198" y="255"/>
                  <a:pt x="1198" y="255"/>
                </a:cubicBezTo>
                <a:lnTo>
                  <a:pt x="1198" y="254"/>
                </a:lnTo>
                <a:close/>
                <a:moveTo>
                  <a:pt x="1200" y="213"/>
                </a:moveTo>
                <a:cubicBezTo>
                  <a:pt x="1201" y="213"/>
                  <a:pt x="1202" y="212"/>
                  <a:pt x="1203" y="211"/>
                </a:cubicBezTo>
                <a:cubicBezTo>
                  <a:pt x="1204" y="210"/>
                  <a:pt x="1205" y="209"/>
                  <a:pt x="1205" y="207"/>
                </a:cubicBezTo>
                <a:cubicBezTo>
                  <a:pt x="1205" y="206"/>
                  <a:pt x="1204" y="206"/>
                  <a:pt x="1204" y="205"/>
                </a:cubicBezTo>
                <a:cubicBezTo>
                  <a:pt x="1203" y="204"/>
                  <a:pt x="1202" y="204"/>
                  <a:pt x="1201" y="204"/>
                </a:cubicBezTo>
                <a:cubicBezTo>
                  <a:pt x="1200" y="204"/>
                  <a:pt x="1198" y="204"/>
                  <a:pt x="1198" y="205"/>
                </a:cubicBezTo>
                <a:cubicBezTo>
                  <a:pt x="1197" y="206"/>
                  <a:pt x="1196" y="207"/>
                  <a:pt x="1196" y="209"/>
                </a:cubicBezTo>
                <a:cubicBezTo>
                  <a:pt x="1196" y="210"/>
                  <a:pt x="1197" y="211"/>
                  <a:pt x="1197" y="212"/>
                </a:cubicBezTo>
                <a:cubicBezTo>
                  <a:pt x="1198" y="212"/>
                  <a:pt x="1199" y="213"/>
                  <a:pt x="1200" y="213"/>
                </a:cubicBezTo>
                <a:close/>
                <a:moveTo>
                  <a:pt x="1237" y="228"/>
                </a:moveTo>
                <a:cubicBezTo>
                  <a:pt x="1238" y="229"/>
                  <a:pt x="1238" y="229"/>
                  <a:pt x="1238" y="229"/>
                </a:cubicBezTo>
                <a:cubicBezTo>
                  <a:pt x="1240" y="222"/>
                  <a:pt x="1240" y="222"/>
                  <a:pt x="1240" y="222"/>
                </a:cubicBezTo>
                <a:cubicBezTo>
                  <a:pt x="1239" y="221"/>
                  <a:pt x="1238" y="221"/>
                  <a:pt x="1237" y="221"/>
                </a:cubicBezTo>
                <a:cubicBezTo>
                  <a:pt x="1235" y="220"/>
                  <a:pt x="1234" y="220"/>
                  <a:pt x="1232" y="220"/>
                </a:cubicBezTo>
                <a:cubicBezTo>
                  <a:pt x="1228" y="220"/>
                  <a:pt x="1224" y="221"/>
                  <a:pt x="1221" y="224"/>
                </a:cubicBezTo>
                <a:cubicBezTo>
                  <a:pt x="1218" y="227"/>
                  <a:pt x="1216" y="230"/>
                  <a:pt x="1214" y="234"/>
                </a:cubicBezTo>
                <a:cubicBezTo>
                  <a:pt x="1213" y="237"/>
                  <a:pt x="1212" y="241"/>
                  <a:pt x="1212" y="245"/>
                </a:cubicBezTo>
                <a:cubicBezTo>
                  <a:pt x="1212" y="250"/>
                  <a:pt x="1213" y="254"/>
                  <a:pt x="1215" y="257"/>
                </a:cubicBezTo>
                <a:cubicBezTo>
                  <a:pt x="1217" y="259"/>
                  <a:pt x="1220" y="261"/>
                  <a:pt x="1224" y="261"/>
                </a:cubicBezTo>
                <a:cubicBezTo>
                  <a:pt x="1227" y="261"/>
                  <a:pt x="1230" y="260"/>
                  <a:pt x="1232" y="259"/>
                </a:cubicBezTo>
                <a:cubicBezTo>
                  <a:pt x="1235" y="257"/>
                  <a:pt x="1236" y="256"/>
                  <a:pt x="1238" y="254"/>
                </a:cubicBezTo>
                <a:cubicBezTo>
                  <a:pt x="1236" y="252"/>
                  <a:pt x="1236" y="252"/>
                  <a:pt x="1236" y="252"/>
                </a:cubicBezTo>
                <a:cubicBezTo>
                  <a:pt x="1235" y="253"/>
                  <a:pt x="1233" y="254"/>
                  <a:pt x="1232" y="255"/>
                </a:cubicBezTo>
                <a:cubicBezTo>
                  <a:pt x="1230" y="256"/>
                  <a:pt x="1229" y="256"/>
                  <a:pt x="1227" y="256"/>
                </a:cubicBezTo>
                <a:cubicBezTo>
                  <a:pt x="1224" y="256"/>
                  <a:pt x="1222" y="255"/>
                  <a:pt x="1221" y="253"/>
                </a:cubicBezTo>
                <a:cubicBezTo>
                  <a:pt x="1220" y="251"/>
                  <a:pt x="1219" y="248"/>
                  <a:pt x="1219" y="244"/>
                </a:cubicBezTo>
                <a:cubicBezTo>
                  <a:pt x="1219" y="240"/>
                  <a:pt x="1219" y="237"/>
                  <a:pt x="1221" y="234"/>
                </a:cubicBezTo>
                <a:cubicBezTo>
                  <a:pt x="1222" y="231"/>
                  <a:pt x="1223" y="229"/>
                  <a:pt x="1225" y="227"/>
                </a:cubicBezTo>
                <a:cubicBezTo>
                  <a:pt x="1227" y="225"/>
                  <a:pt x="1229" y="225"/>
                  <a:pt x="1231" y="225"/>
                </a:cubicBezTo>
                <a:cubicBezTo>
                  <a:pt x="1232" y="225"/>
                  <a:pt x="1235" y="226"/>
                  <a:pt x="1237" y="228"/>
                </a:cubicBezTo>
                <a:close/>
                <a:moveTo>
                  <a:pt x="1255" y="254"/>
                </a:moveTo>
                <a:cubicBezTo>
                  <a:pt x="1260" y="221"/>
                  <a:pt x="1260" y="221"/>
                  <a:pt x="1260" y="221"/>
                </a:cubicBezTo>
                <a:cubicBezTo>
                  <a:pt x="1259" y="220"/>
                  <a:pt x="1259" y="220"/>
                  <a:pt x="1259" y="220"/>
                </a:cubicBezTo>
                <a:cubicBezTo>
                  <a:pt x="1249" y="222"/>
                  <a:pt x="1249" y="222"/>
                  <a:pt x="1249" y="222"/>
                </a:cubicBezTo>
                <a:cubicBezTo>
                  <a:pt x="1248" y="224"/>
                  <a:pt x="1248" y="224"/>
                  <a:pt x="1248" y="224"/>
                </a:cubicBezTo>
                <a:cubicBezTo>
                  <a:pt x="1253" y="226"/>
                  <a:pt x="1253" y="226"/>
                  <a:pt x="1253" y="226"/>
                </a:cubicBezTo>
                <a:cubicBezTo>
                  <a:pt x="1252" y="233"/>
                  <a:pt x="1251" y="239"/>
                  <a:pt x="1250" y="243"/>
                </a:cubicBezTo>
                <a:cubicBezTo>
                  <a:pt x="1249" y="251"/>
                  <a:pt x="1248" y="255"/>
                  <a:pt x="1248" y="256"/>
                </a:cubicBezTo>
                <a:cubicBezTo>
                  <a:pt x="1248" y="258"/>
                  <a:pt x="1249" y="259"/>
                  <a:pt x="1249" y="260"/>
                </a:cubicBezTo>
                <a:cubicBezTo>
                  <a:pt x="1250" y="260"/>
                  <a:pt x="1251" y="261"/>
                  <a:pt x="1253" y="261"/>
                </a:cubicBezTo>
                <a:cubicBezTo>
                  <a:pt x="1255" y="261"/>
                  <a:pt x="1256" y="260"/>
                  <a:pt x="1258" y="259"/>
                </a:cubicBezTo>
                <a:cubicBezTo>
                  <a:pt x="1259" y="258"/>
                  <a:pt x="1260" y="257"/>
                  <a:pt x="1261" y="256"/>
                </a:cubicBezTo>
                <a:cubicBezTo>
                  <a:pt x="1260" y="254"/>
                  <a:pt x="1260" y="254"/>
                  <a:pt x="1260" y="254"/>
                </a:cubicBezTo>
                <a:cubicBezTo>
                  <a:pt x="1259" y="255"/>
                  <a:pt x="1259" y="256"/>
                  <a:pt x="1258" y="256"/>
                </a:cubicBezTo>
                <a:cubicBezTo>
                  <a:pt x="1258" y="256"/>
                  <a:pt x="1257" y="256"/>
                  <a:pt x="1256" y="256"/>
                </a:cubicBezTo>
                <a:cubicBezTo>
                  <a:pt x="1256" y="256"/>
                  <a:pt x="1256" y="256"/>
                  <a:pt x="1256" y="256"/>
                </a:cubicBezTo>
                <a:cubicBezTo>
                  <a:pt x="1255" y="256"/>
                  <a:pt x="1255" y="255"/>
                  <a:pt x="1255" y="255"/>
                </a:cubicBezTo>
                <a:lnTo>
                  <a:pt x="1255" y="254"/>
                </a:lnTo>
                <a:close/>
                <a:moveTo>
                  <a:pt x="1258" y="213"/>
                </a:moveTo>
                <a:cubicBezTo>
                  <a:pt x="1259" y="213"/>
                  <a:pt x="1260" y="212"/>
                  <a:pt x="1261" y="211"/>
                </a:cubicBezTo>
                <a:cubicBezTo>
                  <a:pt x="1262" y="210"/>
                  <a:pt x="1262" y="209"/>
                  <a:pt x="1262" y="207"/>
                </a:cubicBezTo>
                <a:cubicBezTo>
                  <a:pt x="1262" y="206"/>
                  <a:pt x="1262" y="206"/>
                  <a:pt x="1261" y="205"/>
                </a:cubicBezTo>
                <a:cubicBezTo>
                  <a:pt x="1261" y="204"/>
                  <a:pt x="1260" y="204"/>
                  <a:pt x="1259" y="204"/>
                </a:cubicBezTo>
                <a:cubicBezTo>
                  <a:pt x="1257" y="204"/>
                  <a:pt x="1256" y="204"/>
                  <a:pt x="1255" y="205"/>
                </a:cubicBezTo>
                <a:cubicBezTo>
                  <a:pt x="1254" y="206"/>
                  <a:pt x="1254" y="207"/>
                  <a:pt x="1254" y="209"/>
                </a:cubicBezTo>
                <a:cubicBezTo>
                  <a:pt x="1254" y="210"/>
                  <a:pt x="1254" y="211"/>
                  <a:pt x="1255" y="212"/>
                </a:cubicBezTo>
                <a:cubicBezTo>
                  <a:pt x="1256" y="212"/>
                  <a:pt x="1257" y="213"/>
                  <a:pt x="1258" y="213"/>
                </a:cubicBezTo>
                <a:close/>
                <a:moveTo>
                  <a:pt x="1282" y="229"/>
                </a:moveTo>
                <a:cubicBezTo>
                  <a:pt x="1283" y="221"/>
                  <a:pt x="1283" y="221"/>
                  <a:pt x="1283" y="221"/>
                </a:cubicBezTo>
                <a:cubicBezTo>
                  <a:pt x="1281" y="220"/>
                  <a:pt x="1281" y="220"/>
                  <a:pt x="1281" y="220"/>
                </a:cubicBezTo>
                <a:cubicBezTo>
                  <a:pt x="1273" y="222"/>
                  <a:pt x="1273" y="222"/>
                  <a:pt x="1273" y="222"/>
                </a:cubicBezTo>
                <a:cubicBezTo>
                  <a:pt x="1272" y="224"/>
                  <a:pt x="1272" y="224"/>
                  <a:pt x="1272" y="224"/>
                </a:cubicBezTo>
                <a:cubicBezTo>
                  <a:pt x="1275" y="226"/>
                  <a:pt x="1275" y="226"/>
                  <a:pt x="1275" y="226"/>
                </a:cubicBezTo>
                <a:cubicBezTo>
                  <a:pt x="1271" y="260"/>
                  <a:pt x="1271" y="260"/>
                  <a:pt x="1271" y="260"/>
                </a:cubicBezTo>
                <a:cubicBezTo>
                  <a:pt x="1278" y="260"/>
                  <a:pt x="1278" y="260"/>
                  <a:pt x="1278" y="260"/>
                </a:cubicBezTo>
                <a:cubicBezTo>
                  <a:pt x="1281" y="235"/>
                  <a:pt x="1281" y="235"/>
                  <a:pt x="1281" y="235"/>
                </a:cubicBezTo>
                <a:cubicBezTo>
                  <a:pt x="1283" y="232"/>
                  <a:pt x="1285" y="230"/>
                  <a:pt x="1287" y="228"/>
                </a:cubicBezTo>
                <a:cubicBezTo>
                  <a:pt x="1289" y="226"/>
                  <a:pt x="1291" y="225"/>
                  <a:pt x="1293" y="225"/>
                </a:cubicBezTo>
                <a:cubicBezTo>
                  <a:pt x="1295" y="225"/>
                  <a:pt x="1296" y="226"/>
                  <a:pt x="1297" y="226"/>
                </a:cubicBezTo>
                <a:cubicBezTo>
                  <a:pt x="1297" y="227"/>
                  <a:pt x="1298" y="229"/>
                  <a:pt x="1298" y="231"/>
                </a:cubicBezTo>
                <a:cubicBezTo>
                  <a:pt x="1298" y="233"/>
                  <a:pt x="1297" y="234"/>
                  <a:pt x="1297" y="236"/>
                </a:cubicBezTo>
                <a:cubicBezTo>
                  <a:pt x="1297" y="238"/>
                  <a:pt x="1297" y="240"/>
                  <a:pt x="1296" y="243"/>
                </a:cubicBezTo>
                <a:cubicBezTo>
                  <a:pt x="1296" y="245"/>
                  <a:pt x="1296" y="245"/>
                  <a:pt x="1296" y="245"/>
                </a:cubicBezTo>
                <a:cubicBezTo>
                  <a:pt x="1295" y="248"/>
                  <a:pt x="1295" y="248"/>
                  <a:pt x="1295" y="248"/>
                </a:cubicBezTo>
                <a:cubicBezTo>
                  <a:pt x="1294" y="252"/>
                  <a:pt x="1294" y="255"/>
                  <a:pt x="1294" y="256"/>
                </a:cubicBezTo>
                <a:cubicBezTo>
                  <a:pt x="1294" y="259"/>
                  <a:pt x="1295" y="261"/>
                  <a:pt x="1298" y="261"/>
                </a:cubicBezTo>
                <a:cubicBezTo>
                  <a:pt x="1300" y="261"/>
                  <a:pt x="1301" y="260"/>
                  <a:pt x="1302" y="260"/>
                </a:cubicBezTo>
                <a:cubicBezTo>
                  <a:pt x="1303" y="259"/>
                  <a:pt x="1304" y="259"/>
                  <a:pt x="1305" y="258"/>
                </a:cubicBezTo>
                <a:cubicBezTo>
                  <a:pt x="1305" y="258"/>
                  <a:pt x="1306" y="257"/>
                  <a:pt x="1306" y="257"/>
                </a:cubicBezTo>
                <a:cubicBezTo>
                  <a:pt x="1305" y="255"/>
                  <a:pt x="1305" y="255"/>
                  <a:pt x="1305" y="255"/>
                </a:cubicBezTo>
                <a:cubicBezTo>
                  <a:pt x="1304" y="256"/>
                  <a:pt x="1303" y="256"/>
                  <a:pt x="1302" y="256"/>
                </a:cubicBezTo>
                <a:cubicBezTo>
                  <a:pt x="1301" y="256"/>
                  <a:pt x="1301" y="256"/>
                  <a:pt x="1301" y="255"/>
                </a:cubicBezTo>
                <a:cubicBezTo>
                  <a:pt x="1301" y="253"/>
                  <a:pt x="1301" y="250"/>
                  <a:pt x="1302" y="246"/>
                </a:cubicBezTo>
                <a:cubicBezTo>
                  <a:pt x="1303" y="243"/>
                  <a:pt x="1303" y="243"/>
                  <a:pt x="1303" y="243"/>
                </a:cubicBezTo>
                <a:cubicBezTo>
                  <a:pt x="1303" y="241"/>
                  <a:pt x="1303" y="241"/>
                  <a:pt x="1303" y="241"/>
                </a:cubicBezTo>
                <a:cubicBezTo>
                  <a:pt x="1304" y="236"/>
                  <a:pt x="1305" y="232"/>
                  <a:pt x="1305" y="230"/>
                </a:cubicBezTo>
                <a:cubicBezTo>
                  <a:pt x="1305" y="227"/>
                  <a:pt x="1304" y="224"/>
                  <a:pt x="1302" y="223"/>
                </a:cubicBezTo>
                <a:cubicBezTo>
                  <a:pt x="1301" y="221"/>
                  <a:pt x="1299" y="220"/>
                  <a:pt x="1296" y="220"/>
                </a:cubicBezTo>
                <a:cubicBezTo>
                  <a:pt x="1294" y="220"/>
                  <a:pt x="1291" y="221"/>
                  <a:pt x="1289" y="223"/>
                </a:cubicBezTo>
                <a:cubicBezTo>
                  <a:pt x="1286" y="224"/>
                  <a:pt x="1284" y="227"/>
                  <a:pt x="1282" y="229"/>
                </a:cubicBezTo>
                <a:close/>
                <a:moveTo>
                  <a:pt x="1342" y="253"/>
                </a:moveTo>
                <a:cubicBezTo>
                  <a:pt x="1340" y="251"/>
                  <a:pt x="1340" y="251"/>
                  <a:pt x="1340" y="251"/>
                </a:cubicBezTo>
                <a:cubicBezTo>
                  <a:pt x="1339" y="253"/>
                  <a:pt x="1337" y="254"/>
                  <a:pt x="1335" y="255"/>
                </a:cubicBezTo>
                <a:cubicBezTo>
                  <a:pt x="1333" y="256"/>
                  <a:pt x="1331" y="256"/>
                  <a:pt x="1329" y="256"/>
                </a:cubicBezTo>
                <a:cubicBezTo>
                  <a:pt x="1326" y="256"/>
                  <a:pt x="1323" y="255"/>
                  <a:pt x="1322" y="253"/>
                </a:cubicBezTo>
                <a:cubicBezTo>
                  <a:pt x="1321" y="250"/>
                  <a:pt x="1320" y="247"/>
                  <a:pt x="1320" y="244"/>
                </a:cubicBezTo>
                <a:cubicBezTo>
                  <a:pt x="1323" y="244"/>
                  <a:pt x="1327" y="244"/>
                  <a:pt x="1330" y="242"/>
                </a:cubicBezTo>
                <a:cubicBezTo>
                  <a:pt x="1334" y="241"/>
                  <a:pt x="1337" y="240"/>
                  <a:pt x="1340" y="237"/>
                </a:cubicBezTo>
                <a:cubicBezTo>
                  <a:pt x="1342" y="235"/>
                  <a:pt x="1344" y="232"/>
                  <a:pt x="1344" y="229"/>
                </a:cubicBezTo>
                <a:cubicBezTo>
                  <a:pt x="1344" y="226"/>
                  <a:pt x="1343" y="224"/>
                  <a:pt x="1341" y="223"/>
                </a:cubicBezTo>
                <a:cubicBezTo>
                  <a:pt x="1340" y="221"/>
                  <a:pt x="1337" y="220"/>
                  <a:pt x="1334" y="220"/>
                </a:cubicBezTo>
                <a:cubicBezTo>
                  <a:pt x="1330" y="220"/>
                  <a:pt x="1326" y="221"/>
                  <a:pt x="1323" y="224"/>
                </a:cubicBezTo>
                <a:cubicBezTo>
                  <a:pt x="1320" y="226"/>
                  <a:pt x="1318" y="229"/>
                  <a:pt x="1316" y="233"/>
                </a:cubicBezTo>
                <a:cubicBezTo>
                  <a:pt x="1314" y="237"/>
                  <a:pt x="1313" y="241"/>
                  <a:pt x="1313" y="246"/>
                </a:cubicBezTo>
                <a:cubicBezTo>
                  <a:pt x="1313" y="248"/>
                  <a:pt x="1314" y="251"/>
                  <a:pt x="1315" y="253"/>
                </a:cubicBezTo>
                <a:cubicBezTo>
                  <a:pt x="1316" y="255"/>
                  <a:pt x="1317" y="257"/>
                  <a:pt x="1319" y="259"/>
                </a:cubicBezTo>
                <a:cubicBezTo>
                  <a:pt x="1321" y="260"/>
                  <a:pt x="1324" y="261"/>
                  <a:pt x="1327" y="261"/>
                </a:cubicBezTo>
                <a:cubicBezTo>
                  <a:pt x="1330" y="261"/>
                  <a:pt x="1333" y="260"/>
                  <a:pt x="1336" y="258"/>
                </a:cubicBezTo>
                <a:cubicBezTo>
                  <a:pt x="1339" y="257"/>
                  <a:pt x="1341" y="255"/>
                  <a:pt x="1342" y="253"/>
                </a:cubicBezTo>
                <a:close/>
                <a:moveTo>
                  <a:pt x="1332" y="224"/>
                </a:moveTo>
                <a:cubicBezTo>
                  <a:pt x="1334" y="224"/>
                  <a:pt x="1335" y="224"/>
                  <a:pt x="1336" y="225"/>
                </a:cubicBezTo>
                <a:cubicBezTo>
                  <a:pt x="1337" y="226"/>
                  <a:pt x="1337" y="228"/>
                  <a:pt x="1337" y="229"/>
                </a:cubicBezTo>
                <a:cubicBezTo>
                  <a:pt x="1337" y="232"/>
                  <a:pt x="1336" y="234"/>
                  <a:pt x="1334" y="235"/>
                </a:cubicBezTo>
                <a:cubicBezTo>
                  <a:pt x="1333" y="237"/>
                  <a:pt x="1331" y="238"/>
                  <a:pt x="1328" y="239"/>
                </a:cubicBezTo>
                <a:cubicBezTo>
                  <a:pt x="1325" y="240"/>
                  <a:pt x="1323" y="241"/>
                  <a:pt x="1321" y="241"/>
                </a:cubicBezTo>
                <a:cubicBezTo>
                  <a:pt x="1321" y="238"/>
                  <a:pt x="1321" y="236"/>
                  <a:pt x="1322" y="233"/>
                </a:cubicBezTo>
                <a:cubicBezTo>
                  <a:pt x="1323" y="230"/>
                  <a:pt x="1325" y="228"/>
                  <a:pt x="1326" y="226"/>
                </a:cubicBezTo>
                <a:cubicBezTo>
                  <a:pt x="1328" y="225"/>
                  <a:pt x="1330" y="224"/>
                  <a:pt x="1332" y="224"/>
                </a:cubicBezTo>
                <a:close/>
              </a:path>
            </a:pathLst>
          </a:custGeom>
          <a:solidFill>
            <a:schemeClr val="bg1"/>
          </a:solidFill>
          <a:ln>
            <a:noFill/>
          </a:ln>
        </p:spPr>
        <p:txBody>
          <a:bodyPr vert="horz" wrap="square" lIns="121920" tIns="60960" rIns="121920" bIns="60960" numCol="1" anchor="t" anchorCtr="0" compatLnSpc="1">
            <a:prstTxWarp prst="textNoShape">
              <a:avLst/>
            </a:prstTxWarp>
          </a:bodyPr>
          <a:lstStyle/>
          <a:p>
            <a:endParaRPr lang="en-US" sz="2400"/>
          </a:p>
        </p:txBody>
      </p:sp>
    </p:spTree>
    <p:extLst>
      <p:ext uri="{BB962C8B-B14F-4D97-AF65-F5344CB8AC3E}">
        <p14:creationId xmlns:p14="http://schemas.microsoft.com/office/powerpoint/2010/main" val="80710174"/>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Slide Number Placeholder 4"/>
          <p:cNvSpPr>
            <a:spLocks noGrp="1"/>
          </p:cNvSpPr>
          <p:nvPr>
            <p:ph type="sldNum" sz="quarter" idx="12"/>
          </p:nvPr>
        </p:nvSpPr>
        <p:spPr/>
        <p:txBody>
          <a:bodyPr/>
          <a:lstStyle/>
          <a:p>
            <a:fld id="{46D584E9-81E4-493B-AD1D-A460B5445953}" type="slidenum">
              <a:rPr lang="en-US" smtClean="0"/>
              <a:t>‹#›</a:t>
            </a:fld>
            <a:endParaRPr lang="en-US"/>
          </a:p>
        </p:txBody>
      </p:sp>
    </p:spTree>
    <p:extLst>
      <p:ext uri="{BB962C8B-B14F-4D97-AF65-F5344CB8AC3E}">
        <p14:creationId xmlns:p14="http://schemas.microsoft.com/office/powerpoint/2010/main" val="4142154172"/>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type="titleOnly" preserve="1">
  <p:cSld name="Title Only w/background">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9AE72A0D-A561-46A7-9B20-91BB8490087A}"/>
              </a:ext>
            </a:extLst>
          </p:cNvPr>
          <p:cNvSpPr/>
          <p:nvPr/>
        </p:nvSpPr>
        <p:spPr>
          <a:xfrm>
            <a:off x="0" y="1"/>
            <a:ext cx="12192000" cy="6246524"/>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2" name="Title 1"/>
          <p:cNvSpPr>
            <a:spLocks noGrp="1"/>
          </p:cNvSpPr>
          <p:nvPr>
            <p:ph type="title"/>
          </p:nvPr>
        </p:nvSpPr>
        <p:spPr/>
        <p:txBody>
          <a:bodyPr/>
          <a:lstStyle/>
          <a:p>
            <a:r>
              <a:rPr lang="en-US"/>
              <a:t>Click to edit Master title style</a:t>
            </a:r>
          </a:p>
        </p:txBody>
      </p:sp>
      <p:sp>
        <p:nvSpPr>
          <p:cNvPr id="5" name="Slide Number Placeholder 4"/>
          <p:cNvSpPr>
            <a:spLocks noGrp="1"/>
          </p:cNvSpPr>
          <p:nvPr>
            <p:ph type="sldNum" sz="quarter" idx="12"/>
          </p:nvPr>
        </p:nvSpPr>
        <p:spPr/>
        <p:txBody>
          <a:bodyPr/>
          <a:lstStyle/>
          <a:p>
            <a:fld id="{46D584E9-81E4-493B-AD1D-A460B5445953}" type="slidenum">
              <a:rPr lang="en-US" smtClean="0"/>
              <a:t>‹#›</a:t>
            </a:fld>
            <a:endParaRPr lang="en-US"/>
          </a:p>
        </p:txBody>
      </p:sp>
      <p:sp>
        <p:nvSpPr>
          <p:cNvPr id="11" name="Freeform 5">
            <a:extLst>
              <a:ext uri="{FF2B5EF4-FFF2-40B4-BE49-F238E27FC236}">
                <a16:creationId xmlns:a16="http://schemas.microsoft.com/office/drawing/2014/main" id="{3E27C736-095E-4C51-9197-AD588C450B8D}"/>
              </a:ext>
            </a:extLst>
          </p:cNvPr>
          <p:cNvSpPr>
            <a:spLocks noEditPoints="1"/>
          </p:cNvSpPr>
          <p:nvPr/>
        </p:nvSpPr>
        <p:spPr bwMode="auto">
          <a:xfrm>
            <a:off x="725855" y="6393957"/>
            <a:ext cx="1669365" cy="312609"/>
          </a:xfrm>
          <a:custGeom>
            <a:avLst/>
            <a:gdLst>
              <a:gd name="T0" fmla="*/ 225 w 1440"/>
              <a:gd name="T1" fmla="*/ 110 h 267"/>
              <a:gd name="T2" fmla="*/ 317 w 1440"/>
              <a:gd name="T3" fmla="*/ 7 h 267"/>
              <a:gd name="T4" fmla="*/ 475 w 1440"/>
              <a:gd name="T5" fmla="*/ 19 h 267"/>
              <a:gd name="T6" fmla="*/ 830 w 1440"/>
              <a:gd name="T7" fmla="*/ 7 h 267"/>
              <a:gd name="T8" fmla="*/ 130 w 1440"/>
              <a:gd name="T9" fmla="*/ 210 h 267"/>
              <a:gd name="T10" fmla="*/ 437 w 1440"/>
              <a:gd name="T11" fmla="*/ 209 h 267"/>
              <a:gd name="T12" fmla="*/ 493 w 1440"/>
              <a:gd name="T13" fmla="*/ 198 h 267"/>
              <a:gd name="T14" fmla="*/ 866 w 1440"/>
              <a:gd name="T15" fmla="*/ 171 h 267"/>
              <a:gd name="T16" fmla="*/ 737 w 1440"/>
              <a:gd name="T17" fmla="*/ 261 h 267"/>
              <a:gd name="T18" fmla="*/ 958 w 1440"/>
              <a:gd name="T19" fmla="*/ 172 h 267"/>
              <a:gd name="T20" fmla="*/ 906 w 1440"/>
              <a:gd name="T21" fmla="*/ 254 h 267"/>
              <a:gd name="T22" fmla="*/ 309 w 1440"/>
              <a:gd name="T23" fmla="*/ 260 h 267"/>
              <a:gd name="T24" fmla="*/ 1053 w 1440"/>
              <a:gd name="T25" fmla="*/ 31 h 267"/>
              <a:gd name="T26" fmla="*/ 1075 w 1440"/>
              <a:gd name="T27" fmla="*/ 44 h 267"/>
              <a:gd name="T28" fmla="*/ 1091 w 1440"/>
              <a:gd name="T29" fmla="*/ 22 h 267"/>
              <a:gd name="T30" fmla="*/ 1107 w 1440"/>
              <a:gd name="T31" fmla="*/ 27 h 267"/>
              <a:gd name="T32" fmla="*/ 1125 w 1440"/>
              <a:gd name="T33" fmla="*/ 55 h 267"/>
              <a:gd name="T34" fmla="*/ 1159 w 1440"/>
              <a:gd name="T35" fmla="*/ 53 h 267"/>
              <a:gd name="T36" fmla="*/ 1160 w 1440"/>
              <a:gd name="T37" fmla="*/ 57 h 267"/>
              <a:gd name="T38" fmla="*/ 1177 w 1440"/>
              <a:gd name="T39" fmla="*/ 23 h 267"/>
              <a:gd name="T40" fmla="*/ 1207 w 1440"/>
              <a:gd name="T41" fmla="*/ 58 h 267"/>
              <a:gd name="T42" fmla="*/ 1245 w 1440"/>
              <a:gd name="T43" fmla="*/ 27 h 267"/>
              <a:gd name="T44" fmla="*/ 1225 w 1440"/>
              <a:gd name="T45" fmla="*/ 43 h 267"/>
              <a:gd name="T46" fmla="*/ 1271 w 1440"/>
              <a:gd name="T47" fmla="*/ 19 h 267"/>
              <a:gd name="T48" fmla="*/ 1259 w 1440"/>
              <a:gd name="T49" fmla="*/ 32 h 267"/>
              <a:gd name="T50" fmla="*/ 1290 w 1440"/>
              <a:gd name="T51" fmla="*/ 54 h 267"/>
              <a:gd name="T52" fmla="*/ 1310 w 1440"/>
              <a:gd name="T53" fmla="*/ 25 h 267"/>
              <a:gd name="T54" fmla="*/ 1059 w 1440"/>
              <a:gd name="T55" fmla="*/ 110 h 267"/>
              <a:gd name="T56" fmla="*/ 1099 w 1440"/>
              <a:gd name="T57" fmla="*/ 134 h 267"/>
              <a:gd name="T58" fmla="*/ 1120 w 1440"/>
              <a:gd name="T59" fmla="*/ 156 h 267"/>
              <a:gd name="T60" fmla="*/ 1141 w 1440"/>
              <a:gd name="T61" fmla="*/ 123 h 267"/>
              <a:gd name="T62" fmla="*/ 1148 w 1440"/>
              <a:gd name="T63" fmla="*/ 175 h 267"/>
              <a:gd name="T64" fmla="*/ 1184 w 1440"/>
              <a:gd name="T65" fmla="*/ 119 h 267"/>
              <a:gd name="T66" fmla="*/ 1181 w 1440"/>
              <a:gd name="T67" fmla="*/ 153 h 267"/>
              <a:gd name="T68" fmla="*/ 1201 w 1440"/>
              <a:gd name="T69" fmla="*/ 125 h 267"/>
              <a:gd name="T70" fmla="*/ 1230 w 1440"/>
              <a:gd name="T71" fmla="*/ 157 h 267"/>
              <a:gd name="T72" fmla="*/ 1260 w 1440"/>
              <a:gd name="T73" fmla="*/ 154 h 267"/>
              <a:gd name="T74" fmla="*/ 1261 w 1440"/>
              <a:gd name="T75" fmla="*/ 158 h 267"/>
              <a:gd name="T76" fmla="*/ 1284 w 1440"/>
              <a:gd name="T77" fmla="*/ 152 h 267"/>
              <a:gd name="T78" fmla="*/ 1294 w 1440"/>
              <a:gd name="T79" fmla="*/ 123 h 267"/>
              <a:gd name="T80" fmla="*/ 1317 w 1440"/>
              <a:gd name="T81" fmla="*/ 125 h 267"/>
              <a:gd name="T82" fmla="*/ 1342 w 1440"/>
              <a:gd name="T83" fmla="*/ 121 h 267"/>
              <a:gd name="T84" fmla="*/ 1351 w 1440"/>
              <a:gd name="T85" fmla="*/ 112 h 267"/>
              <a:gd name="T86" fmla="*/ 1364 w 1440"/>
              <a:gd name="T87" fmla="*/ 159 h 267"/>
              <a:gd name="T88" fmla="*/ 1399 w 1440"/>
              <a:gd name="T89" fmla="*/ 156 h 267"/>
              <a:gd name="T90" fmla="*/ 1432 w 1440"/>
              <a:gd name="T91" fmla="*/ 120 h 267"/>
              <a:gd name="T92" fmla="*/ 1410 w 1440"/>
              <a:gd name="T93" fmla="*/ 176 h 267"/>
              <a:gd name="T94" fmla="*/ 1076 w 1440"/>
              <a:gd name="T95" fmla="*/ 242 h 267"/>
              <a:gd name="T96" fmla="*/ 1062 w 1440"/>
              <a:gd name="T97" fmla="*/ 225 h 267"/>
              <a:gd name="T98" fmla="*/ 1091 w 1440"/>
              <a:gd name="T99" fmla="*/ 208 h 267"/>
              <a:gd name="T100" fmla="*/ 1112 w 1440"/>
              <a:gd name="T101" fmla="*/ 233 h 267"/>
              <a:gd name="T102" fmla="*/ 1128 w 1440"/>
              <a:gd name="T103" fmla="*/ 224 h 267"/>
              <a:gd name="T104" fmla="*/ 1168 w 1440"/>
              <a:gd name="T105" fmla="*/ 255 h 267"/>
              <a:gd name="T106" fmla="*/ 1154 w 1440"/>
              <a:gd name="T107" fmla="*/ 236 h 267"/>
              <a:gd name="T108" fmla="*/ 1203 w 1440"/>
              <a:gd name="T109" fmla="*/ 256 h 267"/>
              <a:gd name="T110" fmla="*/ 1200 w 1440"/>
              <a:gd name="T111" fmla="*/ 213 h 267"/>
              <a:gd name="T112" fmla="*/ 1227 w 1440"/>
              <a:gd name="T113" fmla="*/ 256 h 267"/>
              <a:gd name="T114" fmla="*/ 1249 w 1440"/>
              <a:gd name="T115" fmla="*/ 260 h 267"/>
              <a:gd name="T116" fmla="*/ 1255 w 1440"/>
              <a:gd name="T117" fmla="*/ 205 h 267"/>
              <a:gd name="T118" fmla="*/ 1297 w 1440"/>
              <a:gd name="T119" fmla="*/ 226 h 267"/>
              <a:gd name="T120" fmla="*/ 1303 w 1440"/>
              <a:gd name="T121" fmla="*/ 243 h 267"/>
              <a:gd name="T122" fmla="*/ 1344 w 1440"/>
              <a:gd name="T123" fmla="*/ 229 h 267"/>
              <a:gd name="T124" fmla="*/ 1328 w 1440"/>
              <a:gd name="T125" fmla="*/ 239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440" h="267">
                <a:moveTo>
                  <a:pt x="17" y="110"/>
                </a:moveTo>
                <a:cubicBezTo>
                  <a:pt x="3" y="110"/>
                  <a:pt x="3" y="110"/>
                  <a:pt x="3" y="110"/>
                </a:cubicBezTo>
                <a:cubicBezTo>
                  <a:pt x="3" y="1"/>
                  <a:pt x="3" y="1"/>
                  <a:pt x="3" y="1"/>
                </a:cubicBezTo>
                <a:cubicBezTo>
                  <a:pt x="81" y="83"/>
                  <a:pt x="81" y="83"/>
                  <a:pt x="81" y="83"/>
                </a:cubicBezTo>
                <a:cubicBezTo>
                  <a:pt x="81" y="7"/>
                  <a:pt x="81" y="7"/>
                  <a:pt x="81" y="7"/>
                </a:cubicBezTo>
                <a:cubicBezTo>
                  <a:pt x="95" y="7"/>
                  <a:pt x="95" y="7"/>
                  <a:pt x="95" y="7"/>
                </a:cubicBezTo>
                <a:cubicBezTo>
                  <a:pt x="95" y="117"/>
                  <a:pt x="95" y="117"/>
                  <a:pt x="95" y="117"/>
                </a:cubicBezTo>
                <a:cubicBezTo>
                  <a:pt x="17" y="35"/>
                  <a:pt x="17" y="35"/>
                  <a:pt x="17" y="35"/>
                </a:cubicBezTo>
                <a:lnTo>
                  <a:pt x="17" y="110"/>
                </a:lnTo>
                <a:close/>
                <a:moveTo>
                  <a:pt x="130" y="110"/>
                </a:moveTo>
                <a:cubicBezTo>
                  <a:pt x="145" y="110"/>
                  <a:pt x="145" y="110"/>
                  <a:pt x="145" y="110"/>
                </a:cubicBezTo>
                <a:cubicBezTo>
                  <a:pt x="178" y="33"/>
                  <a:pt x="178" y="33"/>
                  <a:pt x="178" y="33"/>
                </a:cubicBezTo>
                <a:cubicBezTo>
                  <a:pt x="210" y="109"/>
                  <a:pt x="210" y="109"/>
                  <a:pt x="210" y="109"/>
                </a:cubicBezTo>
                <a:cubicBezTo>
                  <a:pt x="210" y="110"/>
                  <a:pt x="210" y="110"/>
                  <a:pt x="210" y="110"/>
                </a:cubicBezTo>
                <a:cubicBezTo>
                  <a:pt x="225" y="110"/>
                  <a:pt x="225" y="110"/>
                  <a:pt x="225" y="110"/>
                </a:cubicBezTo>
                <a:cubicBezTo>
                  <a:pt x="178" y="0"/>
                  <a:pt x="178" y="0"/>
                  <a:pt x="178" y="0"/>
                </a:cubicBezTo>
                <a:lnTo>
                  <a:pt x="130" y="110"/>
                </a:lnTo>
                <a:close/>
                <a:moveTo>
                  <a:pt x="700" y="110"/>
                </a:moveTo>
                <a:cubicBezTo>
                  <a:pt x="715" y="110"/>
                  <a:pt x="715" y="110"/>
                  <a:pt x="715" y="110"/>
                </a:cubicBezTo>
                <a:cubicBezTo>
                  <a:pt x="748" y="33"/>
                  <a:pt x="748" y="33"/>
                  <a:pt x="748" y="33"/>
                </a:cubicBezTo>
                <a:cubicBezTo>
                  <a:pt x="780" y="109"/>
                  <a:pt x="780" y="109"/>
                  <a:pt x="780" y="109"/>
                </a:cubicBezTo>
                <a:cubicBezTo>
                  <a:pt x="780" y="110"/>
                  <a:pt x="780" y="110"/>
                  <a:pt x="780" y="110"/>
                </a:cubicBezTo>
                <a:cubicBezTo>
                  <a:pt x="795" y="110"/>
                  <a:pt x="795" y="110"/>
                  <a:pt x="795" y="110"/>
                </a:cubicBezTo>
                <a:cubicBezTo>
                  <a:pt x="748" y="0"/>
                  <a:pt x="748" y="0"/>
                  <a:pt x="748" y="0"/>
                </a:cubicBezTo>
                <a:lnTo>
                  <a:pt x="700" y="110"/>
                </a:lnTo>
                <a:close/>
                <a:moveTo>
                  <a:pt x="273" y="110"/>
                </a:moveTo>
                <a:cubicBezTo>
                  <a:pt x="286" y="110"/>
                  <a:pt x="286" y="110"/>
                  <a:pt x="286" y="110"/>
                </a:cubicBezTo>
                <a:cubicBezTo>
                  <a:pt x="286" y="20"/>
                  <a:pt x="286" y="20"/>
                  <a:pt x="286" y="20"/>
                </a:cubicBezTo>
                <a:cubicBezTo>
                  <a:pt x="317" y="20"/>
                  <a:pt x="317" y="20"/>
                  <a:pt x="317" y="20"/>
                </a:cubicBezTo>
                <a:cubicBezTo>
                  <a:pt x="317" y="7"/>
                  <a:pt x="317" y="7"/>
                  <a:pt x="317" y="7"/>
                </a:cubicBezTo>
                <a:cubicBezTo>
                  <a:pt x="242" y="7"/>
                  <a:pt x="242" y="7"/>
                  <a:pt x="242" y="7"/>
                </a:cubicBezTo>
                <a:cubicBezTo>
                  <a:pt x="242" y="20"/>
                  <a:pt x="242" y="20"/>
                  <a:pt x="242" y="20"/>
                </a:cubicBezTo>
                <a:cubicBezTo>
                  <a:pt x="273" y="20"/>
                  <a:pt x="273" y="20"/>
                  <a:pt x="273" y="20"/>
                </a:cubicBezTo>
                <a:lnTo>
                  <a:pt x="273" y="110"/>
                </a:lnTo>
                <a:close/>
                <a:moveTo>
                  <a:pt x="374" y="7"/>
                </a:moveTo>
                <a:cubicBezTo>
                  <a:pt x="360" y="7"/>
                  <a:pt x="360" y="7"/>
                  <a:pt x="360" y="7"/>
                </a:cubicBezTo>
                <a:cubicBezTo>
                  <a:pt x="360" y="110"/>
                  <a:pt x="360" y="110"/>
                  <a:pt x="360" y="110"/>
                </a:cubicBezTo>
                <a:cubicBezTo>
                  <a:pt x="374" y="110"/>
                  <a:pt x="374" y="110"/>
                  <a:pt x="374" y="110"/>
                </a:cubicBezTo>
                <a:lnTo>
                  <a:pt x="374" y="7"/>
                </a:lnTo>
                <a:close/>
                <a:moveTo>
                  <a:pt x="475" y="112"/>
                </a:moveTo>
                <a:cubicBezTo>
                  <a:pt x="445" y="112"/>
                  <a:pt x="421" y="88"/>
                  <a:pt x="421" y="59"/>
                </a:cubicBezTo>
                <a:cubicBezTo>
                  <a:pt x="421" y="29"/>
                  <a:pt x="445" y="5"/>
                  <a:pt x="475" y="5"/>
                </a:cubicBezTo>
                <a:cubicBezTo>
                  <a:pt x="505" y="5"/>
                  <a:pt x="528" y="29"/>
                  <a:pt x="528" y="59"/>
                </a:cubicBezTo>
                <a:cubicBezTo>
                  <a:pt x="528" y="88"/>
                  <a:pt x="505" y="112"/>
                  <a:pt x="475" y="112"/>
                </a:cubicBezTo>
                <a:close/>
                <a:moveTo>
                  <a:pt x="475" y="19"/>
                </a:moveTo>
                <a:cubicBezTo>
                  <a:pt x="453" y="19"/>
                  <a:pt x="435" y="37"/>
                  <a:pt x="435" y="59"/>
                </a:cubicBezTo>
                <a:cubicBezTo>
                  <a:pt x="435" y="81"/>
                  <a:pt x="453" y="99"/>
                  <a:pt x="475" y="99"/>
                </a:cubicBezTo>
                <a:cubicBezTo>
                  <a:pt x="497" y="99"/>
                  <a:pt x="514" y="81"/>
                  <a:pt x="514" y="59"/>
                </a:cubicBezTo>
                <a:cubicBezTo>
                  <a:pt x="514" y="37"/>
                  <a:pt x="497" y="19"/>
                  <a:pt x="475" y="19"/>
                </a:cubicBezTo>
                <a:close/>
                <a:moveTo>
                  <a:pt x="586" y="35"/>
                </a:moveTo>
                <a:cubicBezTo>
                  <a:pt x="664" y="117"/>
                  <a:pt x="664" y="117"/>
                  <a:pt x="664" y="117"/>
                </a:cubicBezTo>
                <a:cubicBezTo>
                  <a:pt x="664" y="7"/>
                  <a:pt x="664" y="7"/>
                  <a:pt x="664" y="7"/>
                </a:cubicBezTo>
                <a:cubicBezTo>
                  <a:pt x="650" y="7"/>
                  <a:pt x="650" y="7"/>
                  <a:pt x="650" y="7"/>
                </a:cubicBezTo>
                <a:cubicBezTo>
                  <a:pt x="650" y="83"/>
                  <a:pt x="650" y="83"/>
                  <a:pt x="650" y="83"/>
                </a:cubicBezTo>
                <a:cubicBezTo>
                  <a:pt x="572" y="1"/>
                  <a:pt x="572" y="1"/>
                  <a:pt x="572" y="1"/>
                </a:cubicBezTo>
                <a:cubicBezTo>
                  <a:pt x="572" y="110"/>
                  <a:pt x="572" y="110"/>
                  <a:pt x="572" y="110"/>
                </a:cubicBezTo>
                <a:cubicBezTo>
                  <a:pt x="586" y="110"/>
                  <a:pt x="586" y="110"/>
                  <a:pt x="586" y="110"/>
                </a:cubicBezTo>
                <a:lnTo>
                  <a:pt x="586" y="35"/>
                </a:lnTo>
                <a:close/>
                <a:moveTo>
                  <a:pt x="843" y="7"/>
                </a:moveTo>
                <a:cubicBezTo>
                  <a:pt x="830" y="7"/>
                  <a:pt x="830" y="7"/>
                  <a:pt x="830" y="7"/>
                </a:cubicBezTo>
                <a:cubicBezTo>
                  <a:pt x="830" y="110"/>
                  <a:pt x="830" y="110"/>
                  <a:pt x="830" y="110"/>
                </a:cubicBezTo>
                <a:cubicBezTo>
                  <a:pt x="885" y="110"/>
                  <a:pt x="885" y="110"/>
                  <a:pt x="885" y="110"/>
                </a:cubicBezTo>
                <a:cubicBezTo>
                  <a:pt x="885" y="97"/>
                  <a:pt x="885" y="97"/>
                  <a:pt x="885" y="97"/>
                </a:cubicBezTo>
                <a:cubicBezTo>
                  <a:pt x="843" y="97"/>
                  <a:pt x="843" y="97"/>
                  <a:pt x="843" y="97"/>
                </a:cubicBezTo>
                <a:lnTo>
                  <a:pt x="843" y="7"/>
                </a:lnTo>
                <a:close/>
                <a:moveTo>
                  <a:pt x="169" y="156"/>
                </a:moveTo>
                <a:cubicBezTo>
                  <a:pt x="139" y="156"/>
                  <a:pt x="116" y="179"/>
                  <a:pt x="116" y="209"/>
                </a:cubicBezTo>
                <a:cubicBezTo>
                  <a:pt x="116" y="240"/>
                  <a:pt x="139" y="262"/>
                  <a:pt x="169" y="262"/>
                </a:cubicBezTo>
                <a:cubicBezTo>
                  <a:pt x="175" y="262"/>
                  <a:pt x="188" y="261"/>
                  <a:pt x="200" y="252"/>
                </a:cubicBezTo>
                <a:cubicBezTo>
                  <a:pt x="200" y="252"/>
                  <a:pt x="200" y="252"/>
                  <a:pt x="200" y="252"/>
                </a:cubicBezTo>
                <a:cubicBezTo>
                  <a:pt x="200" y="234"/>
                  <a:pt x="200" y="234"/>
                  <a:pt x="200" y="234"/>
                </a:cubicBezTo>
                <a:cubicBezTo>
                  <a:pt x="198" y="236"/>
                  <a:pt x="198" y="236"/>
                  <a:pt x="198" y="236"/>
                </a:cubicBezTo>
                <a:cubicBezTo>
                  <a:pt x="196" y="239"/>
                  <a:pt x="192" y="242"/>
                  <a:pt x="187" y="245"/>
                </a:cubicBezTo>
                <a:cubicBezTo>
                  <a:pt x="181" y="247"/>
                  <a:pt x="175" y="249"/>
                  <a:pt x="169" y="249"/>
                </a:cubicBezTo>
                <a:cubicBezTo>
                  <a:pt x="142" y="249"/>
                  <a:pt x="130" y="226"/>
                  <a:pt x="130" y="210"/>
                </a:cubicBezTo>
                <a:cubicBezTo>
                  <a:pt x="130" y="187"/>
                  <a:pt x="147" y="169"/>
                  <a:pt x="169" y="169"/>
                </a:cubicBezTo>
                <a:cubicBezTo>
                  <a:pt x="174" y="169"/>
                  <a:pt x="180" y="170"/>
                  <a:pt x="185" y="173"/>
                </a:cubicBezTo>
                <a:cubicBezTo>
                  <a:pt x="190" y="175"/>
                  <a:pt x="194" y="178"/>
                  <a:pt x="198" y="182"/>
                </a:cubicBezTo>
                <a:cubicBezTo>
                  <a:pt x="200" y="184"/>
                  <a:pt x="200" y="184"/>
                  <a:pt x="200" y="184"/>
                </a:cubicBezTo>
                <a:cubicBezTo>
                  <a:pt x="200" y="166"/>
                  <a:pt x="200" y="166"/>
                  <a:pt x="200" y="166"/>
                </a:cubicBezTo>
                <a:cubicBezTo>
                  <a:pt x="200" y="166"/>
                  <a:pt x="200" y="166"/>
                  <a:pt x="200" y="166"/>
                </a:cubicBezTo>
                <a:cubicBezTo>
                  <a:pt x="191" y="159"/>
                  <a:pt x="181" y="156"/>
                  <a:pt x="169" y="156"/>
                </a:cubicBezTo>
                <a:close/>
                <a:moveTo>
                  <a:pt x="437" y="209"/>
                </a:moveTo>
                <a:cubicBezTo>
                  <a:pt x="437" y="225"/>
                  <a:pt x="431" y="238"/>
                  <a:pt x="419" y="249"/>
                </a:cubicBezTo>
                <a:cubicBezTo>
                  <a:pt x="409" y="257"/>
                  <a:pt x="399" y="261"/>
                  <a:pt x="382" y="261"/>
                </a:cubicBezTo>
                <a:cubicBezTo>
                  <a:pt x="360" y="261"/>
                  <a:pt x="360" y="261"/>
                  <a:pt x="360" y="261"/>
                </a:cubicBezTo>
                <a:cubicBezTo>
                  <a:pt x="360" y="157"/>
                  <a:pt x="360" y="157"/>
                  <a:pt x="360" y="157"/>
                </a:cubicBezTo>
                <a:cubicBezTo>
                  <a:pt x="382" y="157"/>
                  <a:pt x="382" y="157"/>
                  <a:pt x="382" y="157"/>
                </a:cubicBezTo>
                <a:cubicBezTo>
                  <a:pt x="393" y="157"/>
                  <a:pt x="407" y="159"/>
                  <a:pt x="420" y="170"/>
                </a:cubicBezTo>
                <a:cubicBezTo>
                  <a:pt x="426" y="175"/>
                  <a:pt x="437" y="187"/>
                  <a:pt x="437" y="209"/>
                </a:cubicBezTo>
                <a:close/>
                <a:moveTo>
                  <a:pt x="423" y="209"/>
                </a:moveTo>
                <a:cubicBezTo>
                  <a:pt x="423" y="186"/>
                  <a:pt x="407" y="171"/>
                  <a:pt x="382" y="171"/>
                </a:cubicBezTo>
                <a:cubicBezTo>
                  <a:pt x="374" y="171"/>
                  <a:pt x="374" y="171"/>
                  <a:pt x="374" y="171"/>
                </a:cubicBezTo>
                <a:cubicBezTo>
                  <a:pt x="374" y="247"/>
                  <a:pt x="374" y="247"/>
                  <a:pt x="374" y="247"/>
                </a:cubicBezTo>
                <a:cubicBezTo>
                  <a:pt x="382" y="247"/>
                  <a:pt x="382" y="247"/>
                  <a:pt x="382" y="247"/>
                </a:cubicBezTo>
                <a:cubicBezTo>
                  <a:pt x="390" y="247"/>
                  <a:pt x="401" y="246"/>
                  <a:pt x="410" y="239"/>
                </a:cubicBezTo>
                <a:cubicBezTo>
                  <a:pt x="416" y="234"/>
                  <a:pt x="423" y="224"/>
                  <a:pt x="423" y="209"/>
                </a:cubicBezTo>
                <a:close/>
                <a:moveTo>
                  <a:pt x="479" y="261"/>
                </a:moveTo>
                <a:cubicBezTo>
                  <a:pt x="541" y="261"/>
                  <a:pt x="541" y="261"/>
                  <a:pt x="541" y="261"/>
                </a:cubicBezTo>
                <a:cubicBezTo>
                  <a:pt x="541" y="247"/>
                  <a:pt x="541" y="247"/>
                  <a:pt x="541" y="247"/>
                </a:cubicBezTo>
                <a:cubicBezTo>
                  <a:pt x="493" y="247"/>
                  <a:pt x="493" y="247"/>
                  <a:pt x="493" y="247"/>
                </a:cubicBezTo>
                <a:cubicBezTo>
                  <a:pt x="493" y="211"/>
                  <a:pt x="493" y="211"/>
                  <a:pt x="493" y="211"/>
                </a:cubicBezTo>
                <a:cubicBezTo>
                  <a:pt x="535" y="211"/>
                  <a:pt x="535" y="211"/>
                  <a:pt x="535" y="211"/>
                </a:cubicBezTo>
                <a:cubicBezTo>
                  <a:pt x="535" y="198"/>
                  <a:pt x="535" y="198"/>
                  <a:pt x="535" y="198"/>
                </a:cubicBezTo>
                <a:cubicBezTo>
                  <a:pt x="493" y="198"/>
                  <a:pt x="493" y="198"/>
                  <a:pt x="493" y="198"/>
                </a:cubicBezTo>
                <a:cubicBezTo>
                  <a:pt x="493" y="171"/>
                  <a:pt x="493" y="171"/>
                  <a:pt x="493" y="171"/>
                </a:cubicBezTo>
                <a:cubicBezTo>
                  <a:pt x="541" y="171"/>
                  <a:pt x="541" y="171"/>
                  <a:pt x="541" y="171"/>
                </a:cubicBezTo>
                <a:cubicBezTo>
                  <a:pt x="541" y="157"/>
                  <a:pt x="541" y="157"/>
                  <a:pt x="541" y="157"/>
                </a:cubicBezTo>
                <a:cubicBezTo>
                  <a:pt x="479" y="157"/>
                  <a:pt x="479" y="157"/>
                  <a:pt x="479" y="157"/>
                </a:cubicBezTo>
                <a:lnTo>
                  <a:pt x="479" y="261"/>
                </a:lnTo>
                <a:close/>
                <a:moveTo>
                  <a:pt x="805" y="261"/>
                </a:moveTo>
                <a:cubicBezTo>
                  <a:pt x="866" y="261"/>
                  <a:pt x="866" y="261"/>
                  <a:pt x="866" y="261"/>
                </a:cubicBezTo>
                <a:cubicBezTo>
                  <a:pt x="866" y="247"/>
                  <a:pt x="866" y="247"/>
                  <a:pt x="866" y="247"/>
                </a:cubicBezTo>
                <a:cubicBezTo>
                  <a:pt x="819" y="247"/>
                  <a:pt x="819" y="247"/>
                  <a:pt x="819" y="247"/>
                </a:cubicBezTo>
                <a:cubicBezTo>
                  <a:pt x="819" y="211"/>
                  <a:pt x="819" y="211"/>
                  <a:pt x="819" y="211"/>
                </a:cubicBezTo>
                <a:cubicBezTo>
                  <a:pt x="860" y="211"/>
                  <a:pt x="860" y="211"/>
                  <a:pt x="860" y="211"/>
                </a:cubicBezTo>
                <a:cubicBezTo>
                  <a:pt x="860" y="198"/>
                  <a:pt x="860" y="198"/>
                  <a:pt x="860" y="198"/>
                </a:cubicBezTo>
                <a:cubicBezTo>
                  <a:pt x="819" y="198"/>
                  <a:pt x="819" y="198"/>
                  <a:pt x="819" y="198"/>
                </a:cubicBezTo>
                <a:cubicBezTo>
                  <a:pt x="819" y="171"/>
                  <a:pt x="819" y="171"/>
                  <a:pt x="819" y="171"/>
                </a:cubicBezTo>
                <a:cubicBezTo>
                  <a:pt x="866" y="171"/>
                  <a:pt x="866" y="171"/>
                  <a:pt x="866" y="171"/>
                </a:cubicBezTo>
                <a:cubicBezTo>
                  <a:pt x="866" y="157"/>
                  <a:pt x="866" y="157"/>
                  <a:pt x="866" y="157"/>
                </a:cubicBezTo>
                <a:cubicBezTo>
                  <a:pt x="805" y="157"/>
                  <a:pt x="805" y="157"/>
                  <a:pt x="805" y="157"/>
                </a:cubicBezTo>
                <a:lnTo>
                  <a:pt x="805" y="261"/>
                </a:lnTo>
                <a:close/>
                <a:moveTo>
                  <a:pt x="634" y="235"/>
                </a:moveTo>
                <a:cubicBezTo>
                  <a:pt x="595" y="149"/>
                  <a:pt x="595" y="149"/>
                  <a:pt x="595" y="149"/>
                </a:cubicBezTo>
                <a:cubicBezTo>
                  <a:pt x="578" y="261"/>
                  <a:pt x="578" y="261"/>
                  <a:pt x="578" y="261"/>
                </a:cubicBezTo>
                <a:cubicBezTo>
                  <a:pt x="592" y="261"/>
                  <a:pt x="592" y="261"/>
                  <a:pt x="592" y="261"/>
                </a:cubicBezTo>
                <a:cubicBezTo>
                  <a:pt x="601" y="194"/>
                  <a:pt x="601" y="194"/>
                  <a:pt x="601" y="194"/>
                </a:cubicBezTo>
                <a:cubicBezTo>
                  <a:pt x="634" y="267"/>
                  <a:pt x="634" y="267"/>
                  <a:pt x="634" y="267"/>
                </a:cubicBezTo>
                <a:cubicBezTo>
                  <a:pt x="668" y="194"/>
                  <a:pt x="668" y="194"/>
                  <a:pt x="668" y="194"/>
                </a:cubicBezTo>
                <a:cubicBezTo>
                  <a:pt x="677" y="261"/>
                  <a:pt x="677" y="261"/>
                  <a:pt x="677" y="261"/>
                </a:cubicBezTo>
                <a:cubicBezTo>
                  <a:pt x="691" y="261"/>
                  <a:pt x="691" y="261"/>
                  <a:pt x="691" y="261"/>
                </a:cubicBezTo>
                <a:cubicBezTo>
                  <a:pt x="674" y="148"/>
                  <a:pt x="674" y="148"/>
                  <a:pt x="674" y="148"/>
                </a:cubicBezTo>
                <a:lnTo>
                  <a:pt x="634" y="235"/>
                </a:lnTo>
                <a:close/>
                <a:moveTo>
                  <a:pt x="737" y="261"/>
                </a:moveTo>
                <a:cubicBezTo>
                  <a:pt x="751" y="261"/>
                  <a:pt x="751" y="261"/>
                  <a:pt x="751" y="261"/>
                </a:cubicBezTo>
                <a:cubicBezTo>
                  <a:pt x="751" y="157"/>
                  <a:pt x="751" y="157"/>
                  <a:pt x="751" y="157"/>
                </a:cubicBezTo>
                <a:cubicBezTo>
                  <a:pt x="737" y="157"/>
                  <a:pt x="737" y="157"/>
                  <a:pt x="737" y="157"/>
                </a:cubicBezTo>
                <a:lnTo>
                  <a:pt x="737" y="261"/>
                </a:lnTo>
                <a:close/>
                <a:moveTo>
                  <a:pt x="955" y="211"/>
                </a:moveTo>
                <a:cubicBezTo>
                  <a:pt x="950" y="207"/>
                  <a:pt x="945" y="204"/>
                  <a:pt x="939" y="201"/>
                </a:cubicBezTo>
                <a:cubicBezTo>
                  <a:pt x="929" y="197"/>
                  <a:pt x="929" y="197"/>
                  <a:pt x="929" y="197"/>
                </a:cubicBezTo>
                <a:cubicBezTo>
                  <a:pt x="925" y="195"/>
                  <a:pt x="922" y="194"/>
                  <a:pt x="919" y="191"/>
                </a:cubicBezTo>
                <a:cubicBezTo>
                  <a:pt x="916" y="189"/>
                  <a:pt x="916" y="187"/>
                  <a:pt x="916" y="183"/>
                </a:cubicBezTo>
                <a:cubicBezTo>
                  <a:pt x="916" y="175"/>
                  <a:pt x="922" y="169"/>
                  <a:pt x="931" y="169"/>
                </a:cubicBezTo>
                <a:cubicBezTo>
                  <a:pt x="936" y="169"/>
                  <a:pt x="940" y="171"/>
                  <a:pt x="942" y="172"/>
                </a:cubicBezTo>
                <a:cubicBezTo>
                  <a:pt x="944" y="174"/>
                  <a:pt x="946" y="177"/>
                  <a:pt x="947" y="179"/>
                </a:cubicBezTo>
                <a:cubicBezTo>
                  <a:pt x="948" y="181"/>
                  <a:pt x="948" y="181"/>
                  <a:pt x="948" y="181"/>
                </a:cubicBezTo>
                <a:cubicBezTo>
                  <a:pt x="959" y="173"/>
                  <a:pt x="959" y="173"/>
                  <a:pt x="959" y="173"/>
                </a:cubicBezTo>
                <a:cubicBezTo>
                  <a:pt x="958" y="172"/>
                  <a:pt x="958" y="172"/>
                  <a:pt x="958" y="172"/>
                </a:cubicBezTo>
                <a:cubicBezTo>
                  <a:pt x="956" y="167"/>
                  <a:pt x="952" y="163"/>
                  <a:pt x="948" y="161"/>
                </a:cubicBezTo>
                <a:cubicBezTo>
                  <a:pt x="943" y="157"/>
                  <a:pt x="938" y="156"/>
                  <a:pt x="931" y="156"/>
                </a:cubicBezTo>
                <a:cubicBezTo>
                  <a:pt x="914" y="156"/>
                  <a:pt x="902" y="167"/>
                  <a:pt x="902" y="183"/>
                </a:cubicBezTo>
                <a:cubicBezTo>
                  <a:pt x="902" y="190"/>
                  <a:pt x="904" y="195"/>
                  <a:pt x="909" y="200"/>
                </a:cubicBezTo>
                <a:cubicBezTo>
                  <a:pt x="913" y="205"/>
                  <a:pt x="918" y="207"/>
                  <a:pt x="922" y="209"/>
                </a:cubicBezTo>
                <a:cubicBezTo>
                  <a:pt x="932" y="213"/>
                  <a:pt x="932" y="213"/>
                  <a:pt x="932" y="213"/>
                </a:cubicBezTo>
                <a:cubicBezTo>
                  <a:pt x="937" y="215"/>
                  <a:pt x="941" y="217"/>
                  <a:pt x="944" y="220"/>
                </a:cubicBezTo>
                <a:cubicBezTo>
                  <a:pt x="947" y="223"/>
                  <a:pt x="948" y="226"/>
                  <a:pt x="948" y="231"/>
                </a:cubicBezTo>
                <a:cubicBezTo>
                  <a:pt x="948" y="240"/>
                  <a:pt x="942" y="249"/>
                  <a:pt x="929" y="249"/>
                </a:cubicBezTo>
                <a:cubicBezTo>
                  <a:pt x="924" y="249"/>
                  <a:pt x="919" y="247"/>
                  <a:pt x="916" y="244"/>
                </a:cubicBezTo>
                <a:cubicBezTo>
                  <a:pt x="913" y="241"/>
                  <a:pt x="911" y="236"/>
                  <a:pt x="910" y="232"/>
                </a:cubicBezTo>
                <a:cubicBezTo>
                  <a:pt x="910" y="230"/>
                  <a:pt x="910" y="230"/>
                  <a:pt x="910" y="230"/>
                </a:cubicBezTo>
                <a:cubicBezTo>
                  <a:pt x="896" y="234"/>
                  <a:pt x="896" y="234"/>
                  <a:pt x="896" y="234"/>
                </a:cubicBezTo>
                <a:cubicBezTo>
                  <a:pt x="897" y="235"/>
                  <a:pt x="897" y="235"/>
                  <a:pt x="897" y="235"/>
                </a:cubicBezTo>
                <a:cubicBezTo>
                  <a:pt x="898" y="243"/>
                  <a:pt x="902" y="249"/>
                  <a:pt x="906" y="254"/>
                </a:cubicBezTo>
                <a:cubicBezTo>
                  <a:pt x="912" y="260"/>
                  <a:pt x="920" y="262"/>
                  <a:pt x="929" y="262"/>
                </a:cubicBezTo>
                <a:cubicBezTo>
                  <a:pt x="948" y="262"/>
                  <a:pt x="962" y="249"/>
                  <a:pt x="962" y="230"/>
                </a:cubicBezTo>
                <a:cubicBezTo>
                  <a:pt x="962" y="222"/>
                  <a:pt x="960" y="216"/>
                  <a:pt x="955" y="211"/>
                </a:cubicBezTo>
                <a:close/>
                <a:moveTo>
                  <a:pt x="0" y="261"/>
                </a:moveTo>
                <a:cubicBezTo>
                  <a:pt x="15" y="261"/>
                  <a:pt x="15" y="261"/>
                  <a:pt x="15" y="261"/>
                </a:cubicBezTo>
                <a:cubicBezTo>
                  <a:pt x="48" y="184"/>
                  <a:pt x="48" y="184"/>
                  <a:pt x="48" y="184"/>
                </a:cubicBezTo>
                <a:cubicBezTo>
                  <a:pt x="79" y="260"/>
                  <a:pt x="79" y="260"/>
                  <a:pt x="79" y="260"/>
                </a:cubicBezTo>
                <a:cubicBezTo>
                  <a:pt x="80" y="261"/>
                  <a:pt x="80" y="261"/>
                  <a:pt x="80" y="261"/>
                </a:cubicBezTo>
                <a:cubicBezTo>
                  <a:pt x="95" y="261"/>
                  <a:pt x="95" y="261"/>
                  <a:pt x="95" y="261"/>
                </a:cubicBezTo>
                <a:cubicBezTo>
                  <a:pt x="48" y="151"/>
                  <a:pt x="48" y="151"/>
                  <a:pt x="48" y="151"/>
                </a:cubicBezTo>
                <a:lnTo>
                  <a:pt x="0" y="261"/>
                </a:lnTo>
                <a:close/>
                <a:moveTo>
                  <a:pt x="229" y="261"/>
                </a:moveTo>
                <a:cubicBezTo>
                  <a:pt x="244" y="261"/>
                  <a:pt x="244" y="261"/>
                  <a:pt x="244" y="261"/>
                </a:cubicBezTo>
                <a:cubicBezTo>
                  <a:pt x="277" y="184"/>
                  <a:pt x="277" y="184"/>
                  <a:pt x="277" y="184"/>
                </a:cubicBezTo>
                <a:cubicBezTo>
                  <a:pt x="309" y="260"/>
                  <a:pt x="309" y="260"/>
                  <a:pt x="309" y="260"/>
                </a:cubicBezTo>
                <a:cubicBezTo>
                  <a:pt x="309" y="261"/>
                  <a:pt x="309" y="261"/>
                  <a:pt x="309" y="261"/>
                </a:cubicBezTo>
                <a:cubicBezTo>
                  <a:pt x="324" y="261"/>
                  <a:pt x="324" y="261"/>
                  <a:pt x="324" y="261"/>
                </a:cubicBezTo>
                <a:cubicBezTo>
                  <a:pt x="277" y="151"/>
                  <a:pt x="277" y="151"/>
                  <a:pt x="277" y="151"/>
                </a:cubicBezTo>
                <a:lnTo>
                  <a:pt x="229" y="261"/>
                </a:lnTo>
                <a:close/>
                <a:moveTo>
                  <a:pt x="1071" y="11"/>
                </a:moveTo>
                <a:cubicBezTo>
                  <a:pt x="1071" y="18"/>
                  <a:pt x="1071" y="18"/>
                  <a:pt x="1071" y="18"/>
                </a:cubicBezTo>
                <a:cubicBezTo>
                  <a:pt x="1075" y="18"/>
                  <a:pt x="1075" y="18"/>
                  <a:pt x="1075" y="18"/>
                </a:cubicBezTo>
                <a:cubicBezTo>
                  <a:pt x="1077" y="9"/>
                  <a:pt x="1077" y="9"/>
                  <a:pt x="1077" y="9"/>
                </a:cubicBezTo>
                <a:cubicBezTo>
                  <a:pt x="1076" y="8"/>
                  <a:pt x="1074" y="7"/>
                  <a:pt x="1072" y="6"/>
                </a:cubicBezTo>
                <a:cubicBezTo>
                  <a:pt x="1070" y="6"/>
                  <a:pt x="1067" y="6"/>
                  <a:pt x="1064" y="6"/>
                </a:cubicBezTo>
                <a:cubicBezTo>
                  <a:pt x="1061" y="6"/>
                  <a:pt x="1058" y="6"/>
                  <a:pt x="1056" y="7"/>
                </a:cubicBezTo>
                <a:cubicBezTo>
                  <a:pt x="1053" y="9"/>
                  <a:pt x="1051" y="10"/>
                  <a:pt x="1049" y="12"/>
                </a:cubicBezTo>
                <a:cubicBezTo>
                  <a:pt x="1048" y="14"/>
                  <a:pt x="1047" y="17"/>
                  <a:pt x="1047" y="20"/>
                </a:cubicBezTo>
                <a:cubicBezTo>
                  <a:pt x="1047" y="22"/>
                  <a:pt x="1048" y="24"/>
                  <a:pt x="1049" y="26"/>
                </a:cubicBezTo>
                <a:cubicBezTo>
                  <a:pt x="1050" y="28"/>
                  <a:pt x="1051" y="30"/>
                  <a:pt x="1053" y="31"/>
                </a:cubicBezTo>
                <a:cubicBezTo>
                  <a:pt x="1055" y="32"/>
                  <a:pt x="1057" y="34"/>
                  <a:pt x="1059" y="35"/>
                </a:cubicBezTo>
                <a:cubicBezTo>
                  <a:pt x="1062" y="37"/>
                  <a:pt x="1064" y="39"/>
                  <a:pt x="1066" y="40"/>
                </a:cubicBezTo>
                <a:cubicBezTo>
                  <a:pt x="1067" y="42"/>
                  <a:pt x="1068" y="44"/>
                  <a:pt x="1068" y="47"/>
                </a:cubicBezTo>
                <a:cubicBezTo>
                  <a:pt x="1068" y="49"/>
                  <a:pt x="1067" y="52"/>
                  <a:pt x="1065" y="53"/>
                </a:cubicBezTo>
                <a:cubicBezTo>
                  <a:pt x="1062" y="55"/>
                  <a:pt x="1060" y="56"/>
                  <a:pt x="1057" y="56"/>
                </a:cubicBezTo>
                <a:cubicBezTo>
                  <a:pt x="1055" y="56"/>
                  <a:pt x="1053" y="56"/>
                  <a:pt x="1052" y="55"/>
                </a:cubicBezTo>
                <a:cubicBezTo>
                  <a:pt x="1050" y="55"/>
                  <a:pt x="1049" y="54"/>
                  <a:pt x="1048" y="54"/>
                </a:cubicBezTo>
                <a:cubicBezTo>
                  <a:pt x="1048" y="46"/>
                  <a:pt x="1048" y="46"/>
                  <a:pt x="1048" y="46"/>
                </a:cubicBezTo>
                <a:cubicBezTo>
                  <a:pt x="1044" y="46"/>
                  <a:pt x="1044" y="46"/>
                  <a:pt x="1044" y="46"/>
                </a:cubicBezTo>
                <a:cubicBezTo>
                  <a:pt x="1042" y="56"/>
                  <a:pt x="1042" y="56"/>
                  <a:pt x="1042" y="56"/>
                </a:cubicBezTo>
                <a:cubicBezTo>
                  <a:pt x="1043" y="57"/>
                  <a:pt x="1045" y="58"/>
                  <a:pt x="1048" y="58"/>
                </a:cubicBezTo>
                <a:cubicBezTo>
                  <a:pt x="1051" y="59"/>
                  <a:pt x="1054" y="59"/>
                  <a:pt x="1057" y="59"/>
                </a:cubicBezTo>
                <a:cubicBezTo>
                  <a:pt x="1060" y="59"/>
                  <a:pt x="1063" y="59"/>
                  <a:pt x="1066" y="57"/>
                </a:cubicBezTo>
                <a:cubicBezTo>
                  <a:pt x="1069" y="56"/>
                  <a:pt x="1071" y="54"/>
                  <a:pt x="1073" y="52"/>
                </a:cubicBezTo>
                <a:cubicBezTo>
                  <a:pt x="1074" y="50"/>
                  <a:pt x="1075" y="47"/>
                  <a:pt x="1075" y="44"/>
                </a:cubicBezTo>
                <a:cubicBezTo>
                  <a:pt x="1075" y="42"/>
                  <a:pt x="1074" y="40"/>
                  <a:pt x="1073" y="38"/>
                </a:cubicBezTo>
                <a:cubicBezTo>
                  <a:pt x="1072" y="36"/>
                  <a:pt x="1071" y="35"/>
                  <a:pt x="1069" y="34"/>
                </a:cubicBezTo>
                <a:cubicBezTo>
                  <a:pt x="1068" y="32"/>
                  <a:pt x="1066" y="31"/>
                  <a:pt x="1064" y="29"/>
                </a:cubicBezTo>
                <a:cubicBezTo>
                  <a:pt x="1060" y="27"/>
                  <a:pt x="1058" y="25"/>
                  <a:pt x="1056" y="24"/>
                </a:cubicBezTo>
                <a:cubicBezTo>
                  <a:pt x="1055" y="22"/>
                  <a:pt x="1054" y="20"/>
                  <a:pt x="1054" y="17"/>
                </a:cubicBezTo>
                <a:cubicBezTo>
                  <a:pt x="1054" y="15"/>
                  <a:pt x="1055" y="13"/>
                  <a:pt x="1057" y="11"/>
                </a:cubicBezTo>
                <a:cubicBezTo>
                  <a:pt x="1059" y="10"/>
                  <a:pt x="1061" y="9"/>
                  <a:pt x="1064" y="9"/>
                </a:cubicBezTo>
                <a:cubicBezTo>
                  <a:pt x="1065" y="9"/>
                  <a:pt x="1067" y="9"/>
                  <a:pt x="1068" y="10"/>
                </a:cubicBezTo>
                <a:cubicBezTo>
                  <a:pt x="1069" y="10"/>
                  <a:pt x="1070" y="10"/>
                  <a:pt x="1071" y="11"/>
                </a:cubicBezTo>
                <a:close/>
                <a:moveTo>
                  <a:pt x="1107" y="27"/>
                </a:moveTo>
                <a:cubicBezTo>
                  <a:pt x="1108" y="27"/>
                  <a:pt x="1108" y="27"/>
                  <a:pt x="1108" y="27"/>
                </a:cubicBezTo>
                <a:cubicBezTo>
                  <a:pt x="1110" y="20"/>
                  <a:pt x="1110" y="20"/>
                  <a:pt x="1110" y="20"/>
                </a:cubicBezTo>
                <a:cubicBezTo>
                  <a:pt x="1109" y="20"/>
                  <a:pt x="1108" y="19"/>
                  <a:pt x="1107" y="19"/>
                </a:cubicBezTo>
                <a:cubicBezTo>
                  <a:pt x="1105" y="19"/>
                  <a:pt x="1104" y="19"/>
                  <a:pt x="1102" y="19"/>
                </a:cubicBezTo>
                <a:cubicBezTo>
                  <a:pt x="1098" y="19"/>
                  <a:pt x="1094" y="20"/>
                  <a:pt x="1091" y="22"/>
                </a:cubicBezTo>
                <a:cubicBezTo>
                  <a:pt x="1088" y="25"/>
                  <a:pt x="1086" y="28"/>
                  <a:pt x="1084" y="32"/>
                </a:cubicBezTo>
                <a:cubicBezTo>
                  <a:pt x="1083" y="36"/>
                  <a:pt x="1082" y="40"/>
                  <a:pt x="1082" y="43"/>
                </a:cubicBezTo>
                <a:cubicBezTo>
                  <a:pt x="1082" y="48"/>
                  <a:pt x="1083" y="52"/>
                  <a:pt x="1085" y="55"/>
                </a:cubicBezTo>
                <a:cubicBezTo>
                  <a:pt x="1087" y="58"/>
                  <a:pt x="1091" y="59"/>
                  <a:pt x="1094" y="59"/>
                </a:cubicBezTo>
                <a:cubicBezTo>
                  <a:pt x="1098" y="59"/>
                  <a:pt x="1100" y="59"/>
                  <a:pt x="1102" y="57"/>
                </a:cubicBezTo>
                <a:cubicBezTo>
                  <a:pt x="1105" y="56"/>
                  <a:pt x="1106" y="54"/>
                  <a:pt x="1108" y="53"/>
                </a:cubicBezTo>
                <a:cubicBezTo>
                  <a:pt x="1106" y="50"/>
                  <a:pt x="1106" y="50"/>
                  <a:pt x="1106" y="50"/>
                </a:cubicBezTo>
                <a:cubicBezTo>
                  <a:pt x="1105" y="52"/>
                  <a:pt x="1103" y="53"/>
                  <a:pt x="1102" y="54"/>
                </a:cubicBezTo>
                <a:cubicBezTo>
                  <a:pt x="1100" y="54"/>
                  <a:pt x="1099" y="55"/>
                  <a:pt x="1097" y="55"/>
                </a:cubicBezTo>
                <a:cubicBezTo>
                  <a:pt x="1094" y="55"/>
                  <a:pt x="1092" y="54"/>
                  <a:pt x="1091" y="52"/>
                </a:cubicBezTo>
                <a:cubicBezTo>
                  <a:pt x="1090" y="50"/>
                  <a:pt x="1089" y="47"/>
                  <a:pt x="1089" y="43"/>
                </a:cubicBezTo>
                <a:cubicBezTo>
                  <a:pt x="1089" y="39"/>
                  <a:pt x="1090" y="35"/>
                  <a:pt x="1091" y="32"/>
                </a:cubicBezTo>
                <a:cubicBezTo>
                  <a:pt x="1092" y="30"/>
                  <a:pt x="1093" y="27"/>
                  <a:pt x="1095" y="26"/>
                </a:cubicBezTo>
                <a:cubicBezTo>
                  <a:pt x="1097" y="24"/>
                  <a:pt x="1099" y="23"/>
                  <a:pt x="1101" y="23"/>
                </a:cubicBezTo>
                <a:cubicBezTo>
                  <a:pt x="1102" y="23"/>
                  <a:pt x="1105" y="24"/>
                  <a:pt x="1107" y="27"/>
                </a:cubicBezTo>
                <a:close/>
                <a:moveTo>
                  <a:pt x="1124" y="52"/>
                </a:moveTo>
                <a:cubicBezTo>
                  <a:pt x="1129" y="19"/>
                  <a:pt x="1129" y="19"/>
                  <a:pt x="1129" y="19"/>
                </a:cubicBezTo>
                <a:cubicBezTo>
                  <a:pt x="1128" y="19"/>
                  <a:pt x="1128" y="19"/>
                  <a:pt x="1128" y="19"/>
                </a:cubicBezTo>
                <a:cubicBezTo>
                  <a:pt x="1118" y="20"/>
                  <a:pt x="1118" y="20"/>
                  <a:pt x="1118" y="20"/>
                </a:cubicBezTo>
                <a:cubicBezTo>
                  <a:pt x="1117" y="23"/>
                  <a:pt x="1117" y="23"/>
                  <a:pt x="1117" y="23"/>
                </a:cubicBezTo>
                <a:cubicBezTo>
                  <a:pt x="1122" y="24"/>
                  <a:pt x="1122" y="24"/>
                  <a:pt x="1122" y="24"/>
                </a:cubicBezTo>
                <a:cubicBezTo>
                  <a:pt x="1121" y="31"/>
                  <a:pt x="1120" y="37"/>
                  <a:pt x="1119" y="41"/>
                </a:cubicBezTo>
                <a:cubicBezTo>
                  <a:pt x="1118" y="49"/>
                  <a:pt x="1117" y="54"/>
                  <a:pt x="1117" y="55"/>
                </a:cubicBezTo>
                <a:cubicBezTo>
                  <a:pt x="1117" y="56"/>
                  <a:pt x="1118" y="57"/>
                  <a:pt x="1118" y="58"/>
                </a:cubicBezTo>
                <a:cubicBezTo>
                  <a:pt x="1119" y="59"/>
                  <a:pt x="1120" y="59"/>
                  <a:pt x="1122" y="59"/>
                </a:cubicBezTo>
                <a:cubicBezTo>
                  <a:pt x="1124" y="59"/>
                  <a:pt x="1125" y="59"/>
                  <a:pt x="1127" y="58"/>
                </a:cubicBezTo>
                <a:cubicBezTo>
                  <a:pt x="1128" y="57"/>
                  <a:pt x="1129" y="55"/>
                  <a:pt x="1130" y="54"/>
                </a:cubicBezTo>
                <a:cubicBezTo>
                  <a:pt x="1129" y="53"/>
                  <a:pt x="1129" y="53"/>
                  <a:pt x="1129" y="53"/>
                </a:cubicBezTo>
                <a:cubicBezTo>
                  <a:pt x="1128" y="54"/>
                  <a:pt x="1128" y="54"/>
                  <a:pt x="1127" y="54"/>
                </a:cubicBezTo>
                <a:cubicBezTo>
                  <a:pt x="1126" y="55"/>
                  <a:pt x="1126" y="55"/>
                  <a:pt x="1125" y="55"/>
                </a:cubicBezTo>
                <a:cubicBezTo>
                  <a:pt x="1125" y="55"/>
                  <a:pt x="1125" y="55"/>
                  <a:pt x="1125" y="54"/>
                </a:cubicBezTo>
                <a:cubicBezTo>
                  <a:pt x="1124" y="54"/>
                  <a:pt x="1124" y="54"/>
                  <a:pt x="1124" y="53"/>
                </a:cubicBezTo>
                <a:lnTo>
                  <a:pt x="1124" y="52"/>
                </a:lnTo>
                <a:close/>
                <a:moveTo>
                  <a:pt x="1127" y="11"/>
                </a:moveTo>
                <a:cubicBezTo>
                  <a:pt x="1128" y="11"/>
                  <a:pt x="1129" y="11"/>
                  <a:pt x="1130" y="10"/>
                </a:cubicBezTo>
                <a:cubicBezTo>
                  <a:pt x="1131" y="9"/>
                  <a:pt x="1131" y="7"/>
                  <a:pt x="1131" y="6"/>
                </a:cubicBezTo>
                <a:cubicBezTo>
                  <a:pt x="1131" y="5"/>
                  <a:pt x="1131" y="4"/>
                  <a:pt x="1130" y="3"/>
                </a:cubicBezTo>
                <a:cubicBezTo>
                  <a:pt x="1130" y="3"/>
                  <a:pt x="1129" y="2"/>
                  <a:pt x="1128" y="2"/>
                </a:cubicBezTo>
                <a:cubicBezTo>
                  <a:pt x="1126" y="2"/>
                  <a:pt x="1125" y="3"/>
                  <a:pt x="1124" y="4"/>
                </a:cubicBezTo>
                <a:cubicBezTo>
                  <a:pt x="1123" y="5"/>
                  <a:pt x="1123" y="6"/>
                  <a:pt x="1123" y="7"/>
                </a:cubicBezTo>
                <a:cubicBezTo>
                  <a:pt x="1123" y="8"/>
                  <a:pt x="1123" y="9"/>
                  <a:pt x="1124" y="10"/>
                </a:cubicBezTo>
                <a:cubicBezTo>
                  <a:pt x="1125" y="11"/>
                  <a:pt x="1126" y="11"/>
                  <a:pt x="1127" y="11"/>
                </a:cubicBezTo>
                <a:close/>
                <a:moveTo>
                  <a:pt x="1166" y="52"/>
                </a:moveTo>
                <a:cubicBezTo>
                  <a:pt x="1165" y="49"/>
                  <a:pt x="1165" y="49"/>
                  <a:pt x="1165" y="49"/>
                </a:cubicBezTo>
                <a:cubicBezTo>
                  <a:pt x="1163" y="51"/>
                  <a:pt x="1161" y="52"/>
                  <a:pt x="1159" y="53"/>
                </a:cubicBezTo>
                <a:cubicBezTo>
                  <a:pt x="1157" y="54"/>
                  <a:pt x="1155" y="55"/>
                  <a:pt x="1153" y="55"/>
                </a:cubicBezTo>
                <a:cubicBezTo>
                  <a:pt x="1150" y="55"/>
                  <a:pt x="1148" y="54"/>
                  <a:pt x="1147" y="51"/>
                </a:cubicBezTo>
                <a:cubicBezTo>
                  <a:pt x="1145" y="49"/>
                  <a:pt x="1145" y="46"/>
                  <a:pt x="1145" y="43"/>
                </a:cubicBezTo>
                <a:cubicBezTo>
                  <a:pt x="1148" y="43"/>
                  <a:pt x="1151" y="42"/>
                  <a:pt x="1155" y="41"/>
                </a:cubicBezTo>
                <a:cubicBezTo>
                  <a:pt x="1158" y="40"/>
                  <a:pt x="1162" y="38"/>
                  <a:pt x="1164" y="36"/>
                </a:cubicBezTo>
                <a:cubicBezTo>
                  <a:pt x="1167" y="33"/>
                  <a:pt x="1168" y="31"/>
                  <a:pt x="1168" y="27"/>
                </a:cubicBezTo>
                <a:cubicBezTo>
                  <a:pt x="1168" y="25"/>
                  <a:pt x="1167" y="23"/>
                  <a:pt x="1166" y="21"/>
                </a:cubicBezTo>
                <a:cubicBezTo>
                  <a:pt x="1164" y="19"/>
                  <a:pt x="1162" y="19"/>
                  <a:pt x="1158" y="19"/>
                </a:cubicBezTo>
                <a:cubicBezTo>
                  <a:pt x="1154" y="19"/>
                  <a:pt x="1151" y="20"/>
                  <a:pt x="1148" y="22"/>
                </a:cubicBezTo>
                <a:cubicBezTo>
                  <a:pt x="1145" y="24"/>
                  <a:pt x="1142" y="28"/>
                  <a:pt x="1140" y="31"/>
                </a:cubicBezTo>
                <a:cubicBezTo>
                  <a:pt x="1138" y="35"/>
                  <a:pt x="1138" y="40"/>
                  <a:pt x="1138" y="44"/>
                </a:cubicBezTo>
                <a:cubicBezTo>
                  <a:pt x="1138" y="47"/>
                  <a:pt x="1138" y="49"/>
                  <a:pt x="1139" y="52"/>
                </a:cubicBezTo>
                <a:cubicBezTo>
                  <a:pt x="1140" y="54"/>
                  <a:pt x="1142" y="56"/>
                  <a:pt x="1144" y="57"/>
                </a:cubicBezTo>
                <a:cubicBezTo>
                  <a:pt x="1146" y="59"/>
                  <a:pt x="1148" y="59"/>
                  <a:pt x="1151" y="59"/>
                </a:cubicBezTo>
                <a:cubicBezTo>
                  <a:pt x="1155" y="59"/>
                  <a:pt x="1158" y="58"/>
                  <a:pt x="1160" y="57"/>
                </a:cubicBezTo>
                <a:cubicBezTo>
                  <a:pt x="1163" y="55"/>
                  <a:pt x="1165" y="54"/>
                  <a:pt x="1166" y="52"/>
                </a:cubicBezTo>
                <a:close/>
                <a:moveTo>
                  <a:pt x="1157" y="22"/>
                </a:moveTo>
                <a:cubicBezTo>
                  <a:pt x="1158" y="22"/>
                  <a:pt x="1159" y="23"/>
                  <a:pt x="1160" y="24"/>
                </a:cubicBezTo>
                <a:cubicBezTo>
                  <a:pt x="1161" y="25"/>
                  <a:pt x="1161" y="26"/>
                  <a:pt x="1161" y="28"/>
                </a:cubicBezTo>
                <a:cubicBezTo>
                  <a:pt x="1161" y="30"/>
                  <a:pt x="1161" y="32"/>
                  <a:pt x="1159" y="34"/>
                </a:cubicBezTo>
                <a:cubicBezTo>
                  <a:pt x="1157" y="35"/>
                  <a:pt x="1155" y="37"/>
                  <a:pt x="1152" y="38"/>
                </a:cubicBezTo>
                <a:cubicBezTo>
                  <a:pt x="1150" y="39"/>
                  <a:pt x="1147" y="39"/>
                  <a:pt x="1145" y="39"/>
                </a:cubicBezTo>
                <a:cubicBezTo>
                  <a:pt x="1145" y="37"/>
                  <a:pt x="1146" y="34"/>
                  <a:pt x="1147" y="32"/>
                </a:cubicBezTo>
                <a:cubicBezTo>
                  <a:pt x="1148" y="29"/>
                  <a:pt x="1149" y="27"/>
                  <a:pt x="1151" y="25"/>
                </a:cubicBezTo>
                <a:cubicBezTo>
                  <a:pt x="1152" y="23"/>
                  <a:pt x="1154" y="22"/>
                  <a:pt x="1157" y="22"/>
                </a:cubicBezTo>
                <a:close/>
                <a:moveTo>
                  <a:pt x="1187" y="28"/>
                </a:moveTo>
                <a:cubicBezTo>
                  <a:pt x="1188" y="19"/>
                  <a:pt x="1188" y="19"/>
                  <a:pt x="1188" y="19"/>
                </a:cubicBezTo>
                <a:cubicBezTo>
                  <a:pt x="1186" y="19"/>
                  <a:pt x="1186" y="19"/>
                  <a:pt x="1186" y="19"/>
                </a:cubicBezTo>
                <a:cubicBezTo>
                  <a:pt x="1178" y="20"/>
                  <a:pt x="1178" y="20"/>
                  <a:pt x="1178" y="20"/>
                </a:cubicBezTo>
                <a:cubicBezTo>
                  <a:pt x="1177" y="23"/>
                  <a:pt x="1177" y="23"/>
                  <a:pt x="1177" y="23"/>
                </a:cubicBezTo>
                <a:cubicBezTo>
                  <a:pt x="1180" y="25"/>
                  <a:pt x="1180" y="25"/>
                  <a:pt x="1180" y="25"/>
                </a:cubicBezTo>
                <a:cubicBezTo>
                  <a:pt x="1176" y="58"/>
                  <a:pt x="1176" y="58"/>
                  <a:pt x="1176" y="58"/>
                </a:cubicBezTo>
                <a:cubicBezTo>
                  <a:pt x="1183" y="58"/>
                  <a:pt x="1183" y="58"/>
                  <a:pt x="1183" y="58"/>
                </a:cubicBezTo>
                <a:cubicBezTo>
                  <a:pt x="1186" y="33"/>
                  <a:pt x="1186" y="33"/>
                  <a:pt x="1186" y="33"/>
                </a:cubicBezTo>
                <a:cubicBezTo>
                  <a:pt x="1188" y="31"/>
                  <a:pt x="1190" y="28"/>
                  <a:pt x="1192" y="26"/>
                </a:cubicBezTo>
                <a:cubicBezTo>
                  <a:pt x="1194" y="25"/>
                  <a:pt x="1196" y="24"/>
                  <a:pt x="1198" y="24"/>
                </a:cubicBezTo>
                <a:cubicBezTo>
                  <a:pt x="1200" y="24"/>
                  <a:pt x="1201" y="24"/>
                  <a:pt x="1202" y="25"/>
                </a:cubicBezTo>
                <a:cubicBezTo>
                  <a:pt x="1202" y="26"/>
                  <a:pt x="1203" y="27"/>
                  <a:pt x="1203" y="29"/>
                </a:cubicBezTo>
                <a:cubicBezTo>
                  <a:pt x="1203" y="31"/>
                  <a:pt x="1202" y="33"/>
                  <a:pt x="1202" y="35"/>
                </a:cubicBezTo>
                <a:cubicBezTo>
                  <a:pt x="1202" y="37"/>
                  <a:pt x="1201" y="39"/>
                  <a:pt x="1201" y="41"/>
                </a:cubicBezTo>
                <a:cubicBezTo>
                  <a:pt x="1201" y="43"/>
                  <a:pt x="1201" y="43"/>
                  <a:pt x="1201" y="43"/>
                </a:cubicBezTo>
                <a:cubicBezTo>
                  <a:pt x="1200" y="46"/>
                  <a:pt x="1200" y="46"/>
                  <a:pt x="1200" y="46"/>
                </a:cubicBezTo>
                <a:cubicBezTo>
                  <a:pt x="1199" y="51"/>
                  <a:pt x="1199" y="54"/>
                  <a:pt x="1199" y="55"/>
                </a:cubicBezTo>
                <a:cubicBezTo>
                  <a:pt x="1199" y="58"/>
                  <a:pt x="1200" y="59"/>
                  <a:pt x="1203" y="59"/>
                </a:cubicBezTo>
                <a:cubicBezTo>
                  <a:pt x="1205" y="59"/>
                  <a:pt x="1206" y="59"/>
                  <a:pt x="1207" y="58"/>
                </a:cubicBezTo>
                <a:cubicBezTo>
                  <a:pt x="1208" y="58"/>
                  <a:pt x="1209" y="57"/>
                  <a:pt x="1210" y="57"/>
                </a:cubicBezTo>
                <a:cubicBezTo>
                  <a:pt x="1210" y="56"/>
                  <a:pt x="1211" y="55"/>
                  <a:pt x="1211" y="55"/>
                </a:cubicBezTo>
                <a:cubicBezTo>
                  <a:pt x="1210" y="53"/>
                  <a:pt x="1210" y="53"/>
                  <a:pt x="1210" y="53"/>
                </a:cubicBezTo>
                <a:cubicBezTo>
                  <a:pt x="1209" y="54"/>
                  <a:pt x="1208" y="55"/>
                  <a:pt x="1207" y="55"/>
                </a:cubicBezTo>
                <a:cubicBezTo>
                  <a:pt x="1206" y="55"/>
                  <a:pt x="1206" y="54"/>
                  <a:pt x="1206" y="53"/>
                </a:cubicBezTo>
                <a:cubicBezTo>
                  <a:pt x="1206" y="51"/>
                  <a:pt x="1206" y="48"/>
                  <a:pt x="1207" y="45"/>
                </a:cubicBezTo>
                <a:cubicBezTo>
                  <a:pt x="1208" y="41"/>
                  <a:pt x="1208" y="41"/>
                  <a:pt x="1208" y="41"/>
                </a:cubicBezTo>
                <a:cubicBezTo>
                  <a:pt x="1208" y="40"/>
                  <a:pt x="1208" y="40"/>
                  <a:pt x="1208" y="40"/>
                </a:cubicBezTo>
                <a:cubicBezTo>
                  <a:pt x="1209" y="34"/>
                  <a:pt x="1210" y="31"/>
                  <a:pt x="1210" y="29"/>
                </a:cubicBezTo>
                <a:cubicBezTo>
                  <a:pt x="1210" y="25"/>
                  <a:pt x="1209" y="23"/>
                  <a:pt x="1207" y="21"/>
                </a:cubicBezTo>
                <a:cubicBezTo>
                  <a:pt x="1206" y="19"/>
                  <a:pt x="1204" y="19"/>
                  <a:pt x="1201" y="19"/>
                </a:cubicBezTo>
                <a:cubicBezTo>
                  <a:pt x="1199" y="19"/>
                  <a:pt x="1196" y="19"/>
                  <a:pt x="1193" y="21"/>
                </a:cubicBezTo>
                <a:cubicBezTo>
                  <a:pt x="1191" y="23"/>
                  <a:pt x="1189" y="25"/>
                  <a:pt x="1187" y="28"/>
                </a:cubicBezTo>
                <a:close/>
                <a:moveTo>
                  <a:pt x="1243" y="27"/>
                </a:moveTo>
                <a:cubicBezTo>
                  <a:pt x="1245" y="27"/>
                  <a:pt x="1245" y="27"/>
                  <a:pt x="1245" y="27"/>
                </a:cubicBezTo>
                <a:cubicBezTo>
                  <a:pt x="1247" y="20"/>
                  <a:pt x="1247" y="20"/>
                  <a:pt x="1247" y="20"/>
                </a:cubicBezTo>
                <a:cubicBezTo>
                  <a:pt x="1246" y="20"/>
                  <a:pt x="1244" y="19"/>
                  <a:pt x="1243" y="19"/>
                </a:cubicBezTo>
                <a:cubicBezTo>
                  <a:pt x="1241" y="19"/>
                  <a:pt x="1240" y="19"/>
                  <a:pt x="1239" y="19"/>
                </a:cubicBezTo>
                <a:cubicBezTo>
                  <a:pt x="1234" y="19"/>
                  <a:pt x="1231" y="20"/>
                  <a:pt x="1228" y="22"/>
                </a:cubicBezTo>
                <a:cubicBezTo>
                  <a:pt x="1224" y="25"/>
                  <a:pt x="1222" y="28"/>
                  <a:pt x="1220" y="32"/>
                </a:cubicBezTo>
                <a:cubicBezTo>
                  <a:pt x="1219" y="36"/>
                  <a:pt x="1218" y="40"/>
                  <a:pt x="1218" y="43"/>
                </a:cubicBezTo>
                <a:cubicBezTo>
                  <a:pt x="1218" y="48"/>
                  <a:pt x="1219" y="52"/>
                  <a:pt x="1221" y="55"/>
                </a:cubicBezTo>
                <a:cubicBezTo>
                  <a:pt x="1224" y="58"/>
                  <a:pt x="1227" y="59"/>
                  <a:pt x="1231" y="59"/>
                </a:cubicBezTo>
                <a:cubicBezTo>
                  <a:pt x="1234" y="59"/>
                  <a:pt x="1236" y="59"/>
                  <a:pt x="1239" y="57"/>
                </a:cubicBezTo>
                <a:cubicBezTo>
                  <a:pt x="1241" y="56"/>
                  <a:pt x="1243" y="54"/>
                  <a:pt x="1244" y="53"/>
                </a:cubicBezTo>
                <a:cubicBezTo>
                  <a:pt x="1242" y="50"/>
                  <a:pt x="1242" y="50"/>
                  <a:pt x="1242" y="50"/>
                </a:cubicBezTo>
                <a:cubicBezTo>
                  <a:pt x="1241" y="52"/>
                  <a:pt x="1239" y="53"/>
                  <a:pt x="1238" y="54"/>
                </a:cubicBezTo>
                <a:cubicBezTo>
                  <a:pt x="1236" y="54"/>
                  <a:pt x="1235" y="55"/>
                  <a:pt x="1233" y="55"/>
                </a:cubicBezTo>
                <a:cubicBezTo>
                  <a:pt x="1230" y="55"/>
                  <a:pt x="1228" y="54"/>
                  <a:pt x="1227" y="52"/>
                </a:cubicBezTo>
                <a:cubicBezTo>
                  <a:pt x="1226" y="50"/>
                  <a:pt x="1225" y="47"/>
                  <a:pt x="1225" y="43"/>
                </a:cubicBezTo>
                <a:cubicBezTo>
                  <a:pt x="1225" y="39"/>
                  <a:pt x="1226" y="35"/>
                  <a:pt x="1227" y="32"/>
                </a:cubicBezTo>
                <a:cubicBezTo>
                  <a:pt x="1228" y="30"/>
                  <a:pt x="1229" y="27"/>
                  <a:pt x="1231" y="26"/>
                </a:cubicBezTo>
                <a:cubicBezTo>
                  <a:pt x="1233" y="24"/>
                  <a:pt x="1235" y="23"/>
                  <a:pt x="1237" y="23"/>
                </a:cubicBezTo>
                <a:cubicBezTo>
                  <a:pt x="1239" y="23"/>
                  <a:pt x="1241" y="24"/>
                  <a:pt x="1243" y="27"/>
                </a:cubicBezTo>
                <a:close/>
                <a:moveTo>
                  <a:pt x="1279" y="52"/>
                </a:moveTo>
                <a:cubicBezTo>
                  <a:pt x="1277" y="49"/>
                  <a:pt x="1277" y="49"/>
                  <a:pt x="1277" y="49"/>
                </a:cubicBezTo>
                <a:cubicBezTo>
                  <a:pt x="1276" y="51"/>
                  <a:pt x="1274" y="52"/>
                  <a:pt x="1272" y="53"/>
                </a:cubicBezTo>
                <a:cubicBezTo>
                  <a:pt x="1270" y="54"/>
                  <a:pt x="1268" y="55"/>
                  <a:pt x="1266" y="55"/>
                </a:cubicBezTo>
                <a:cubicBezTo>
                  <a:pt x="1263" y="55"/>
                  <a:pt x="1261" y="54"/>
                  <a:pt x="1259" y="51"/>
                </a:cubicBezTo>
                <a:cubicBezTo>
                  <a:pt x="1258" y="49"/>
                  <a:pt x="1257" y="46"/>
                  <a:pt x="1258" y="43"/>
                </a:cubicBezTo>
                <a:cubicBezTo>
                  <a:pt x="1260" y="43"/>
                  <a:pt x="1264" y="42"/>
                  <a:pt x="1267" y="41"/>
                </a:cubicBezTo>
                <a:cubicBezTo>
                  <a:pt x="1271" y="40"/>
                  <a:pt x="1274" y="38"/>
                  <a:pt x="1277" y="36"/>
                </a:cubicBezTo>
                <a:cubicBezTo>
                  <a:pt x="1280" y="33"/>
                  <a:pt x="1281" y="31"/>
                  <a:pt x="1281" y="27"/>
                </a:cubicBezTo>
                <a:cubicBezTo>
                  <a:pt x="1281" y="25"/>
                  <a:pt x="1280" y="23"/>
                  <a:pt x="1278" y="21"/>
                </a:cubicBezTo>
                <a:cubicBezTo>
                  <a:pt x="1277" y="19"/>
                  <a:pt x="1274" y="19"/>
                  <a:pt x="1271" y="19"/>
                </a:cubicBezTo>
                <a:cubicBezTo>
                  <a:pt x="1267" y="19"/>
                  <a:pt x="1264" y="20"/>
                  <a:pt x="1260" y="22"/>
                </a:cubicBezTo>
                <a:cubicBezTo>
                  <a:pt x="1257" y="24"/>
                  <a:pt x="1255" y="28"/>
                  <a:pt x="1253" y="31"/>
                </a:cubicBezTo>
                <a:cubicBezTo>
                  <a:pt x="1251" y="35"/>
                  <a:pt x="1250" y="40"/>
                  <a:pt x="1250" y="44"/>
                </a:cubicBezTo>
                <a:cubicBezTo>
                  <a:pt x="1250" y="47"/>
                  <a:pt x="1251" y="49"/>
                  <a:pt x="1252" y="52"/>
                </a:cubicBezTo>
                <a:cubicBezTo>
                  <a:pt x="1253" y="54"/>
                  <a:pt x="1254" y="56"/>
                  <a:pt x="1256" y="57"/>
                </a:cubicBezTo>
                <a:cubicBezTo>
                  <a:pt x="1258" y="59"/>
                  <a:pt x="1261" y="59"/>
                  <a:pt x="1264" y="59"/>
                </a:cubicBezTo>
                <a:cubicBezTo>
                  <a:pt x="1267" y="59"/>
                  <a:pt x="1270" y="58"/>
                  <a:pt x="1273" y="57"/>
                </a:cubicBezTo>
                <a:cubicBezTo>
                  <a:pt x="1276" y="55"/>
                  <a:pt x="1278" y="54"/>
                  <a:pt x="1279" y="52"/>
                </a:cubicBezTo>
                <a:close/>
                <a:moveTo>
                  <a:pt x="1269" y="22"/>
                </a:moveTo>
                <a:cubicBezTo>
                  <a:pt x="1271" y="22"/>
                  <a:pt x="1272" y="23"/>
                  <a:pt x="1273" y="24"/>
                </a:cubicBezTo>
                <a:cubicBezTo>
                  <a:pt x="1274" y="25"/>
                  <a:pt x="1274" y="26"/>
                  <a:pt x="1274" y="28"/>
                </a:cubicBezTo>
                <a:cubicBezTo>
                  <a:pt x="1274" y="30"/>
                  <a:pt x="1273" y="32"/>
                  <a:pt x="1272" y="34"/>
                </a:cubicBezTo>
                <a:cubicBezTo>
                  <a:pt x="1270" y="35"/>
                  <a:pt x="1268" y="37"/>
                  <a:pt x="1265" y="38"/>
                </a:cubicBezTo>
                <a:cubicBezTo>
                  <a:pt x="1263" y="39"/>
                  <a:pt x="1260" y="39"/>
                  <a:pt x="1258" y="39"/>
                </a:cubicBezTo>
                <a:cubicBezTo>
                  <a:pt x="1258" y="37"/>
                  <a:pt x="1259" y="34"/>
                  <a:pt x="1259" y="32"/>
                </a:cubicBezTo>
                <a:cubicBezTo>
                  <a:pt x="1260" y="29"/>
                  <a:pt x="1262" y="27"/>
                  <a:pt x="1263" y="25"/>
                </a:cubicBezTo>
                <a:cubicBezTo>
                  <a:pt x="1265" y="23"/>
                  <a:pt x="1267" y="22"/>
                  <a:pt x="1269" y="22"/>
                </a:cubicBezTo>
                <a:close/>
                <a:moveTo>
                  <a:pt x="1310" y="25"/>
                </a:moveTo>
                <a:cubicBezTo>
                  <a:pt x="1311" y="20"/>
                  <a:pt x="1311" y="20"/>
                  <a:pt x="1311" y="20"/>
                </a:cubicBezTo>
                <a:cubicBezTo>
                  <a:pt x="1311" y="20"/>
                  <a:pt x="1309" y="19"/>
                  <a:pt x="1308" y="19"/>
                </a:cubicBezTo>
                <a:cubicBezTo>
                  <a:pt x="1306" y="19"/>
                  <a:pt x="1304" y="19"/>
                  <a:pt x="1303" y="19"/>
                </a:cubicBezTo>
                <a:cubicBezTo>
                  <a:pt x="1300" y="19"/>
                  <a:pt x="1298" y="19"/>
                  <a:pt x="1296" y="20"/>
                </a:cubicBezTo>
                <a:cubicBezTo>
                  <a:pt x="1293" y="21"/>
                  <a:pt x="1292" y="22"/>
                  <a:pt x="1291" y="24"/>
                </a:cubicBezTo>
                <a:cubicBezTo>
                  <a:pt x="1289" y="26"/>
                  <a:pt x="1289" y="27"/>
                  <a:pt x="1289" y="30"/>
                </a:cubicBezTo>
                <a:cubicBezTo>
                  <a:pt x="1289" y="34"/>
                  <a:pt x="1291" y="38"/>
                  <a:pt x="1296" y="41"/>
                </a:cubicBezTo>
                <a:cubicBezTo>
                  <a:pt x="1298" y="43"/>
                  <a:pt x="1300" y="44"/>
                  <a:pt x="1301" y="45"/>
                </a:cubicBezTo>
                <a:cubicBezTo>
                  <a:pt x="1302" y="46"/>
                  <a:pt x="1303" y="48"/>
                  <a:pt x="1303" y="50"/>
                </a:cubicBezTo>
                <a:cubicBezTo>
                  <a:pt x="1303" y="51"/>
                  <a:pt x="1302" y="53"/>
                  <a:pt x="1301" y="54"/>
                </a:cubicBezTo>
                <a:cubicBezTo>
                  <a:pt x="1299" y="55"/>
                  <a:pt x="1297" y="55"/>
                  <a:pt x="1295" y="55"/>
                </a:cubicBezTo>
                <a:cubicBezTo>
                  <a:pt x="1293" y="55"/>
                  <a:pt x="1292" y="55"/>
                  <a:pt x="1290" y="54"/>
                </a:cubicBezTo>
                <a:cubicBezTo>
                  <a:pt x="1288" y="53"/>
                  <a:pt x="1287" y="53"/>
                  <a:pt x="1286" y="52"/>
                </a:cubicBezTo>
                <a:cubicBezTo>
                  <a:pt x="1285" y="57"/>
                  <a:pt x="1285" y="57"/>
                  <a:pt x="1285" y="57"/>
                </a:cubicBezTo>
                <a:cubicBezTo>
                  <a:pt x="1285" y="58"/>
                  <a:pt x="1287" y="58"/>
                  <a:pt x="1289" y="58"/>
                </a:cubicBezTo>
                <a:cubicBezTo>
                  <a:pt x="1291" y="59"/>
                  <a:pt x="1293" y="59"/>
                  <a:pt x="1295" y="59"/>
                </a:cubicBezTo>
                <a:cubicBezTo>
                  <a:pt x="1299" y="59"/>
                  <a:pt x="1303" y="58"/>
                  <a:pt x="1305" y="56"/>
                </a:cubicBezTo>
                <a:cubicBezTo>
                  <a:pt x="1308" y="54"/>
                  <a:pt x="1309" y="52"/>
                  <a:pt x="1309" y="48"/>
                </a:cubicBezTo>
                <a:cubicBezTo>
                  <a:pt x="1309" y="46"/>
                  <a:pt x="1309" y="45"/>
                  <a:pt x="1308" y="43"/>
                </a:cubicBezTo>
                <a:cubicBezTo>
                  <a:pt x="1307" y="42"/>
                  <a:pt x="1306" y="41"/>
                  <a:pt x="1305" y="40"/>
                </a:cubicBezTo>
                <a:cubicBezTo>
                  <a:pt x="1304" y="39"/>
                  <a:pt x="1303" y="38"/>
                  <a:pt x="1301" y="36"/>
                </a:cubicBezTo>
                <a:cubicBezTo>
                  <a:pt x="1299" y="35"/>
                  <a:pt x="1298" y="34"/>
                  <a:pt x="1297" y="32"/>
                </a:cubicBezTo>
                <a:cubicBezTo>
                  <a:pt x="1296" y="31"/>
                  <a:pt x="1295" y="30"/>
                  <a:pt x="1295" y="28"/>
                </a:cubicBezTo>
                <a:cubicBezTo>
                  <a:pt x="1295" y="26"/>
                  <a:pt x="1296" y="25"/>
                  <a:pt x="1297" y="24"/>
                </a:cubicBezTo>
                <a:cubicBezTo>
                  <a:pt x="1299" y="23"/>
                  <a:pt x="1300" y="23"/>
                  <a:pt x="1303" y="23"/>
                </a:cubicBezTo>
                <a:cubicBezTo>
                  <a:pt x="1304" y="23"/>
                  <a:pt x="1306" y="23"/>
                  <a:pt x="1307" y="24"/>
                </a:cubicBezTo>
                <a:cubicBezTo>
                  <a:pt x="1309" y="24"/>
                  <a:pt x="1310" y="25"/>
                  <a:pt x="1310" y="25"/>
                </a:cubicBezTo>
                <a:close/>
                <a:moveTo>
                  <a:pt x="1047" y="110"/>
                </a:moveTo>
                <a:cubicBezTo>
                  <a:pt x="1052" y="111"/>
                  <a:pt x="1052" y="111"/>
                  <a:pt x="1052" y="111"/>
                </a:cubicBezTo>
                <a:cubicBezTo>
                  <a:pt x="1046" y="156"/>
                  <a:pt x="1046" y="156"/>
                  <a:pt x="1046" y="156"/>
                </a:cubicBezTo>
                <a:cubicBezTo>
                  <a:pt x="1041" y="157"/>
                  <a:pt x="1041" y="157"/>
                  <a:pt x="1041" y="157"/>
                </a:cubicBezTo>
                <a:cubicBezTo>
                  <a:pt x="1041" y="159"/>
                  <a:pt x="1041" y="159"/>
                  <a:pt x="1041" y="159"/>
                </a:cubicBezTo>
                <a:cubicBezTo>
                  <a:pt x="1078" y="159"/>
                  <a:pt x="1078" y="159"/>
                  <a:pt x="1078" y="159"/>
                </a:cubicBezTo>
                <a:cubicBezTo>
                  <a:pt x="1081" y="147"/>
                  <a:pt x="1081" y="147"/>
                  <a:pt x="1081" y="147"/>
                </a:cubicBezTo>
                <a:cubicBezTo>
                  <a:pt x="1077" y="146"/>
                  <a:pt x="1077" y="146"/>
                  <a:pt x="1077" y="146"/>
                </a:cubicBezTo>
                <a:cubicBezTo>
                  <a:pt x="1073" y="155"/>
                  <a:pt x="1073" y="155"/>
                  <a:pt x="1073" y="155"/>
                </a:cubicBezTo>
                <a:cubicBezTo>
                  <a:pt x="1053" y="156"/>
                  <a:pt x="1053" y="156"/>
                  <a:pt x="1053" y="156"/>
                </a:cubicBezTo>
                <a:cubicBezTo>
                  <a:pt x="1056" y="134"/>
                  <a:pt x="1056" y="134"/>
                  <a:pt x="1056" y="134"/>
                </a:cubicBezTo>
                <a:cubicBezTo>
                  <a:pt x="1072" y="135"/>
                  <a:pt x="1072" y="135"/>
                  <a:pt x="1072" y="135"/>
                </a:cubicBezTo>
                <a:cubicBezTo>
                  <a:pt x="1073" y="130"/>
                  <a:pt x="1073" y="130"/>
                  <a:pt x="1073" y="130"/>
                </a:cubicBezTo>
                <a:cubicBezTo>
                  <a:pt x="1057" y="130"/>
                  <a:pt x="1057" y="130"/>
                  <a:pt x="1057" y="130"/>
                </a:cubicBezTo>
                <a:cubicBezTo>
                  <a:pt x="1059" y="110"/>
                  <a:pt x="1059" y="110"/>
                  <a:pt x="1059" y="110"/>
                </a:cubicBezTo>
                <a:cubicBezTo>
                  <a:pt x="1075" y="111"/>
                  <a:pt x="1075" y="111"/>
                  <a:pt x="1075" y="111"/>
                </a:cubicBezTo>
                <a:cubicBezTo>
                  <a:pt x="1076" y="118"/>
                  <a:pt x="1076" y="118"/>
                  <a:pt x="1076" y="118"/>
                </a:cubicBezTo>
                <a:cubicBezTo>
                  <a:pt x="1080" y="118"/>
                  <a:pt x="1080" y="118"/>
                  <a:pt x="1080" y="118"/>
                </a:cubicBezTo>
                <a:cubicBezTo>
                  <a:pt x="1081" y="107"/>
                  <a:pt x="1081" y="107"/>
                  <a:pt x="1081" y="107"/>
                </a:cubicBezTo>
                <a:cubicBezTo>
                  <a:pt x="1048" y="107"/>
                  <a:pt x="1048" y="107"/>
                  <a:pt x="1048" y="107"/>
                </a:cubicBezTo>
                <a:lnTo>
                  <a:pt x="1047" y="110"/>
                </a:lnTo>
                <a:close/>
                <a:moveTo>
                  <a:pt x="1100" y="129"/>
                </a:moveTo>
                <a:cubicBezTo>
                  <a:pt x="1100" y="120"/>
                  <a:pt x="1100" y="120"/>
                  <a:pt x="1100" y="120"/>
                </a:cubicBezTo>
                <a:cubicBezTo>
                  <a:pt x="1099" y="119"/>
                  <a:pt x="1099" y="119"/>
                  <a:pt x="1099" y="119"/>
                </a:cubicBezTo>
                <a:cubicBezTo>
                  <a:pt x="1090" y="121"/>
                  <a:pt x="1090" y="121"/>
                  <a:pt x="1090" y="121"/>
                </a:cubicBezTo>
                <a:cubicBezTo>
                  <a:pt x="1090" y="124"/>
                  <a:pt x="1090" y="124"/>
                  <a:pt x="1090" y="124"/>
                </a:cubicBezTo>
                <a:cubicBezTo>
                  <a:pt x="1093" y="125"/>
                  <a:pt x="1093" y="125"/>
                  <a:pt x="1093" y="125"/>
                </a:cubicBezTo>
                <a:cubicBezTo>
                  <a:pt x="1089" y="159"/>
                  <a:pt x="1089" y="159"/>
                  <a:pt x="1089" y="159"/>
                </a:cubicBezTo>
                <a:cubicBezTo>
                  <a:pt x="1095" y="159"/>
                  <a:pt x="1095" y="159"/>
                  <a:pt x="1095" y="159"/>
                </a:cubicBezTo>
                <a:cubicBezTo>
                  <a:pt x="1099" y="134"/>
                  <a:pt x="1099" y="134"/>
                  <a:pt x="1099" y="134"/>
                </a:cubicBezTo>
                <a:cubicBezTo>
                  <a:pt x="1101" y="131"/>
                  <a:pt x="1103" y="129"/>
                  <a:pt x="1105" y="127"/>
                </a:cubicBezTo>
                <a:cubicBezTo>
                  <a:pt x="1107" y="125"/>
                  <a:pt x="1109" y="124"/>
                  <a:pt x="1111" y="124"/>
                </a:cubicBezTo>
                <a:cubicBezTo>
                  <a:pt x="1113" y="124"/>
                  <a:pt x="1114" y="125"/>
                  <a:pt x="1114" y="126"/>
                </a:cubicBezTo>
                <a:cubicBezTo>
                  <a:pt x="1115" y="127"/>
                  <a:pt x="1115" y="128"/>
                  <a:pt x="1115" y="130"/>
                </a:cubicBezTo>
                <a:cubicBezTo>
                  <a:pt x="1115" y="132"/>
                  <a:pt x="1115" y="134"/>
                  <a:pt x="1115" y="135"/>
                </a:cubicBezTo>
                <a:cubicBezTo>
                  <a:pt x="1115" y="137"/>
                  <a:pt x="1114" y="140"/>
                  <a:pt x="1114" y="142"/>
                </a:cubicBezTo>
                <a:cubicBezTo>
                  <a:pt x="1114" y="144"/>
                  <a:pt x="1114" y="144"/>
                  <a:pt x="1114" y="144"/>
                </a:cubicBezTo>
                <a:cubicBezTo>
                  <a:pt x="1113" y="147"/>
                  <a:pt x="1113" y="147"/>
                  <a:pt x="1113" y="147"/>
                </a:cubicBezTo>
                <a:cubicBezTo>
                  <a:pt x="1112" y="151"/>
                  <a:pt x="1112" y="154"/>
                  <a:pt x="1112" y="156"/>
                </a:cubicBezTo>
                <a:cubicBezTo>
                  <a:pt x="1112" y="159"/>
                  <a:pt x="1113" y="160"/>
                  <a:pt x="1116" y="160"/>
                </a:cubicBezTo>
                <a:cubicBezTo>
                  <a:pt x="1117" y="160"/>
                  <a:pt x="1119" y="160"/>
                  <a:pt x="1120" y="159"/>
                </a:cubicBezTo>
                <a:cubicBezTo>
                  <a:pt x="1121" y="159"/>
                  <a:pt x="1122" y="158"/>
                  <a:pt x="1123" y="157"/>
                </a:cubicBezTo>
                <a:cubicBezTo>
                  <a:pt x="1123" y="157"/>
                  <a:pt x="1124" y="156"/>
                  <a:pt x="1124" y="156"/>
                </a:cubicBezTo>
                <a:cubicBezTo>
                  <a:pt x="1123" y="154"/>
                  <a:pt x="1123" y="154"/>
                  <a:pt x="1123" y="154"/>
                </a:cubicBezTo>
                <a:cubicBezTo>
                  <a:pt x="1122" y="155"/>
                  <a:pt x="1121" y="156"/>
                  <a:pt x="1120" y="156"/>
                </a:cubicBezTo>
                <a:cubicBezTo>
                  <a:pt x="1119" y="156"/>
                  <a:pt x="1119" y="155"/>
                  <a:pt x="1119" y="154"/>
                </a:cubicBezTo>
                <a:cubicBezTo>
                  <a:pt x="1119" y="152"/>
                  <a:pt x="1119" y="149"/>
                  <a:pt x="1120" y="145"/>
                </a:cubicBezTo>
                <a:cubicBezTo>
                  <a:pt x="1121" y="142"/>
                  <a:pt x="1121" y="142"/>
                  <a:pt x="1121" y="142"/>
                </a:cubicBezTo>
                <a:cubicBezTo>
                  <a:pt x="1121" y="140"/>
                  <a:pt x="1121" y="140"/>
                  <a:pt x="1121" y="140"/>
                </a:cubicBezTo>
                <a:cubicBezTo>
                  <a:pt x="1122" y="135"/>
                  <a:pt x="1122" y="132"/>
                  <a:pt x="1122" y="130"/>
                </a:cubicBezTo>
                <a:cubicBezTo>
                  <a:pt x="1122" y="126"/>
                  <a:pt x="1122" y="123"/>
                  <a:pt x="1120" y="122"/>
                </a:cubicBezTo>
                <a:cubicBezTo>
                  <a:pt x="1119" y="120"/>
                  <a:pt x="1117" y="119"/>
                  <a:pt x="1114" y="119"/>
                </a:cubicBezTo>
                <a:cubicBezTo>
                  <a:pt x="1112" y="119"/>
                  <a:pt x="1109" y="120"/>
                  <a:pt x="1106" y="122"/>
                </a:cubicBezTo>
                <a:cubicBezTo>
                  <a:pt x="1104" y="124"/>
                  <a:pt x="1102" y="126"/>
                  <a:pt x="1100" y="129"/>
                </a:cubicBezTo>
                <a:close/>
                <a:moveTo>
                  <a:pt x="1159" y="162"/>
                </a:moveTo>
                <a:cubicBezTo>
                  <a:pt x="1165" y="119"/>
                  <a:pt x="1165" y="119"/>
                  <a:pt x="1165" y="119"/>
                </a:cubicBezTo>
                <a:cubicBezTo>
                  <a:pt x="1160" y="121"/>
                  <a:pt x="1160" y="121"/>
                  <a:pt x="1160" y="121"/>
                </a:cubicBezTo>
                <a:cubicBezTo>
                  <a:pt x="1159" y="121"/>
                  <a:pt x="1158" y="120"/>
                  <a:pt x="1157" y="120"/>
                </a:cubicBezTo>
                <a:cubicBezTo>
                  <a:pt x="1155" y="120"/>
                  <a:pt x="1154" y="119"/>
                  <a:pt x="1153" y="119"/>
                </a:cubicBezTo>
                <a:cubicBezTo>
                  <a:pt x="1148" y="119"/>
                  <a:pt x="1144" y="121"/>
                  <a:pt x="1141" y="123"/>
                </a:cubicBezTo>
                <a:cubicBezTo>
                  <a:pt x="1137" y="126"/>
                  <a:pt x="1135" y="129"/>
                  <a:pt x="1133" y="133"/>
                </a:cubicBezTo>
                <a:cubicBezTo>
                  <a:pt x="1131" y="137"/>
                  <a:pt x="1130" y="141"/>
                  <a:pt x="1130" y="145"/>
                </a:cubicBezTo>
                <a:cubicBezTo>
                  <a:pt x="1130" y="150"/>
                  <a:pt x="1131" y="153"/>
                  <a:pt x="1133" y="156"/>
                </a:cubicBezTo>
                <a:cubicBezTo>
                  <a:pt x="1135" y="159"/>
                  <a:pt x="1138" y="160"/>
                  <a:pt x="1142" y="160"/>
                </a:cubicBezTo>
                <a:cubicBezTo>
                  <a:pt x="1144" y="160"/>
                  <a:pt x="1146" y="159"/>
                  <a:pt x="1148" y="158"/>
                </a:cubicBezTo>
                <a:cubicBezTo>
                  <a:pt x="1150" y="157"/>
                  <a:pt x="1152" y="156"/>
                  <a:pt x="1153" y="155"/>
                </a:cubicBezTo>
                <a:cubicBezTo>
                  <a:pt x="1151" y="164"/>
                  <a:pt x="1151" y="164"/>
                  <a:pt x="1151" y="164"/>
                </a:cubicBezTo>
                <a:cubicBezTo>
                  <a:pt x="1151" y="167"/>
                  <a:pt x="1150" y="169"/>
                  <a:pt x="1149" y="170"/>
                </a:cubicBezTo>
                <a:cubicBezTo>
                  <a:pt x="1147" y="172"/>
                  <a:pt x="1145" y="172"/>
                  <a:pt x="1142" y="172"/>
                </a:cubicBezTo>
                <a:cubicBezTo>
                  <a:pt x="1140" y="172"/>
                  <a:pt x="1139" y="172"/>
                  <a:pt x="1137" y="171"/>
                </a:cubicBezTo>
                <a:cubicBezTo>
                  <a:pt x="1136" y="171"/>
                  <a:pt x="1134" y="170"/>
                  <a:pt x="1133" y="170"/>
                </a:cubicBezTo>
                <a:cubicBezTo>
                  <a:pt x="1132" y="175"/>
                  <a:pt x="1132" y="175"/>
                  <a:pt x="1132" y="175"/>
                </a:cubicBezTo>
                <a:cubicBezTo>
                  <a:pt x="1132" y="176"/>
                  <a:pt x="1134" y="176"/>
                  <a:pt x="1135" y="176"/>
                </a:cubicBezTo>
                <a:cubicBezTo>
                  <a:pt x="1137" y="177"/>
                  <a:pt x="1138" y="177"/>
                  <a:pt x="1140" y="177"/>
                </a:cubicBezTo>
                <a:cubicBezTo>
                  <a:pt x="1142" y="177"/>
                  <a:pt x="1145" y="176"/>
                  <a:pt x="1148" y="175"/>
                </a:cubicBezTo>
                <a:cubicBezTo>
                  <a:pt x="1150" y="174"/>
                  <a:pt x="1153" y="173"/>
                  <a:pt x="1155" y="170"/>
                </a:cubicBezTo>
                <a:cubicBezTo>
                  <a:pt x="1157" y="168"/>
                  <a:pt x="1158" y="165"/>
                  <a:pt x="1159" y="162"/>
                </a:cubicBezTo>
                <a:close/>
                <a:moveTo>
                  <a:pt x="1157" y="125"/>
                </a:moveTo>
                <a:cubicBezTo>
                  <a:pt x="1154" y="150"/>
                  <a:pt x="1154" y="150"/>
                  <a:pt x="1154" y="150"/>
                </a:cubicBezTo>
                <a:cubicBezTo>
                  <a:pt x="1152" y="151"/>
                  <a:pt x="1151" y="153"/>
                  <a:pt x="1149" y="154"/>
                </a:cubicBezTo>
                <a:cubicBezTo>
                  <a:pt x="1148" y="155"/>
                  <a:pt x="1146" y="155"/>
                  <a:pt x="1144" y="155"/>
                </a:cubicBezTo>
                <a:cubicBezTo>
                  <a:pt x="1142" y="155"/>
                  <a:pt x="1140" y="155"/>
                  <a:pt x="1139" y="153"/>
                </a:cubicBezTo>
                <a:cubicBezTo>
                  <a:pt x="1138" y="151"/>
                  <a:pt x="1138" y="148"/>
                  <a:pt x="1138" y="145"/>
                </a:cubicBezTo>
                <a:cubicBezTo>
                  <a:pt x="1138" y="142"/>
                  <a:pt x="1138" y="138"/>
                  <a:pt x="1139" y="135"/>
                </a:cubicBezTo>
                <a:cubicBezTo>
                  <a:pt x="1140" y="132"/>
                  <a:pt x="1142" y="129"/>
                  <a:pt x="1144" y="127"/>
                </a:cubicBezTo>
                <a:cubicBezTo>
                  <a:pt x="1146" y="124"/>
                  <a:pt x="1149" y="123"/>
                  <a:pt x="1152" y="123"/>
                </a:cubicBezTo>
                <a:cubicBezTo>
                  <a:pt x="1154" y="123"/>
                  <a:pt x="1156" y="124"/>
                  <a:pt x="1157" y="125"/>
                </a:cubicBezTo>
                <a:close/>
                <a:moveTo>
                  <a:pt x="1181" y="153"/>
                </a:moveTo>
                <a:cubicBezTo>
                  <a:pt x="1185" y="120"/>
                  <a:pt x="1185" y="120"/>
                  <a:pt x="1185" y="120"/>
                </a:cubicBezTo>
                <a:cubicBezTo>
                  <a:pt x="1184" y="119"/>
                  <a:pt x="1184" y="119"/>
                  <a:pt x="1184" y="119"/>
                </a:cubicBezTo>
                <a:cubicBezTo>
                  <a:pt x="1174" y="121"/>
                  <a:pt x="1174" y="121"/>
                  <a:pt x="1174" y="121"/>
                </a:cubicBezTo>
                <a:cubicBezTo>
                  <a:pt x="1173" y="123"/>
                  <a:pt x="1173" y="123"/>
                  <a:pt x="1173" y="123"/>
                </a:cubicBezTo>
                <a:cubicBezTo>
                  <a:pt x="1178" y="125"/>
                  <a:pt x="1178" y="125"/>
                  <a:pt x="1178" y="125"/>
                </a:cubicBezTo>
                <a:cubicBezTo>
                  <a:pt x="1177" y="132"/>
                  <a:pt x="1176" y="138"/>
                  <a:pt x="1175" y="142"/>
                </a:cubicBezTo>
                <a:cubicBezTo>
                  <a:pt x="1174" y="150"/>
                  <a:pt x="1174" y="154"/>
                  <a:pt x="1173" y="156"/>
                </a:cubicBezTo>
                <a:cubicBezTo>
                  <a:pt x="1173" y="157"/>
                  <a:pt x="1174" y="158"/>
                  <a:pt x="1174" y="159"/>
                </a:cubicBezTo>
                <a:cubicBezTo>
                  <a:pt x="1175" y="160"/>
                  <a:pt x="1176" y="160"/>
                  <a:pt x="1178" y="160"/>
                </a:cubicBezTo>
                <a:cubicBezTo>
                  <a:pt x="1180" y="160"/>
                  <a:pt x="1182" y="159"/>
                  <a:pt x="1183" y="158"/>
                </a:cubicBezTo>
                <a:cubicBezTo>
                  <a:pt x="1184" y="157"/>
                  <a:pt x="1185" y="156"/>
                  <a:pt x="1186" y="155"/>
                </a:cubicBezTo>
                <a:cubicBezTo>
                  <a:pt x="1185" y="154"/>
                  <a:pt x="1185" y="154"/>
                  <a:pt x="1185" y="154"/>
                </a:cubicBezTo>
                <a:cubicBezTo>
                  <a:pt x="1184" y="154"/>
                  <a:pt x="1184" y="155"/>
                  <a:pt x="1183" y="155"/>
                </a:cubicBezTo>
                <a:cubicBezTo>
                  <a:pt x="1183" y="156"/>
                  <a:pt x="1182" y="156"/>
                  <a:pt x="1182" y="156"/>
                </a:cubicBezTo>
                <a:cubicBezTo>
                  <a:pt x="1181" y="156"/>
                  <a:pt x="1181" y="156"/>
                  <a:pt x="1181" y="155"/>
                </a:cubicBezTo>
                <a:cubicBezTo>
                  <a:pt x="1181" y="155"/>
                  <a:pt x="1180" y="155"/>
                  <a:pt x="1180" y="154"/>
                </a:cubicBezTo>
                <a:lnTo>
                  <a:pt x="1181" y="153"/>
                </a:lnTo>
                <a:close/>
                <a:moveTo>
                  <a:pt x="1183" y="112"/>
                </a:moveTo>
                <a:cubicBezTo>
                  <a:pt x="1184" y="112"/>
                  <a:pt x="1185" y="111"/>
                  <a:pt x="1186" y="110"/>
                </a:cubicBezTo>
                <a:cubicBezTo>
                  <a:pt x="1187" y="109"/>
                  <a:pt x="1188" y="108"/>
                  <a:pt x="1188" y="107"/>
                </a:cubicBezTo>
                <a:cubicBezTo>
                  <a:pt x="1188" y="106"/>
                  <a:pt x="1187" y="105"/>
                  <a:pt x="1187" y="104"/>
                </a:cubicBezTo>
                <a:cubicBezTo>
                  <a:pt x="1186" y="103"/>
                  <a:pt x="1185" y="103"/>
                  <a:pt x="1184" y="103"/>
                </a:cubicBezTo>
                <a:cubicBezTo>
                  <a:pt x="1182" y="103"/>
                  <a:pt x="1181" y="103"/>
                  <a:pt x="1180" y="104"/>
                </a:cubicBezTo>
                <a:cubicBezTo>
                  <a:pt x="1180" y="105"/>
                  <a:pt x="1179" y="107"/>
                  <a:pt x="1179" y="108"/>
                </a:cubicBezTo>
                <a:cubicBezTo>
                  <a:pt x="1179" y="109"/>
                  <a:pt x="1179" y="110"/>
                  <a:pt x="1180" y="111"/>
                </a:cubicBezTo>
                <a:cubicBezTo>
                  <a:pt x="1181" y="111"/>
                  <a:pt x="1182" y="112"/>
                  <a:pt x="1183" y="112"/>
                </a:cubicBezTo>
                <a:close/>
                <a:moveTo>
                  <a:pt x="1207" y="129"/>
                </a:moveTo>
                <a:cubicBezTo>
                  <a:pt x="1208" y="120"/>
                  <a:pt x="1208" y="120"/>
                  <a:pt x="1208" y="120"/>
                </a:cubicBezTo>
                <a:cubicBezTo>
                  <a:pt x="1207" y="119"/>
                  <a:pt x="1207" y="119"/>
                  <a:pt x="1207" y="119"/>
                </a:cubicBezTo>
                <a:cubicBezTo>
                  <a:pt x="1198" y="121"/>
                  <a:pt x="1198" y="121"/>
                  <a:pt x="1198" y="121"/>
                </a:cubicBezTo>
                <a:cubicBezTo>
                  <a:pt x="1198" y="124"/>
                  <a:pt x="1198" y="124"/>
                  <a:pt x="1198" y="124"/>
                </a:cubicBezTo>
                <a:cubicBezTo>
                  <a:pt x="1201" y="125"/>
                  <a:pt x="1201" y="125"/>
                  <a:pt x="1201" y="125"/>
                </a:cubicBezTo>
                <a:cubicBezTo>
                  <a:pt x="1196" y="159"/>
                  <a:pt x="1196" y="159"/>
                  <a:pt x="1196" y="159"/>
                </a:cubicBezTo>
                <a:cubicBezTo>
                  <a:pt x="1203" y="159"/>
                  <a:pt x="1203" y="159"/>
                  <a:pt x="1203" y="159"/>
                </a:cubicBezTo>
                <a:cubicBezTo>
                  <a:pt x="1207" y="134"/>
                  <a:pt x="1207" y="134"/>
                  <a:pt x="1207" y="134"/>
                </a:cubicBezTo>
                <a:cubicBezTo>
                  <a:pt x="1208" y="131"/>
                  <a:pt x="1210" y="129"/>
                  <a:pt x="1213" y="127"/>
                </a:cubicBezTo>
                <a:cubicBezTo>
                  <a:pt x="1215" y="125"/>
                  <a:pt x="1217" y="124"/>
                  <a:pt x="1219" y="124"/>
                </a:cubicBezTo>
                <a:cubicBezTo>
                  <a:pt x="1220" y="124"/>
                  <a:pt x="1221" y="125"/>
                  <a:pt x="1222" y="126"/>
                </a:cubicBezTo>
                <a:cubicBezTo>
                  <a:pt x="1223" y="127"/>
                  <a:pt x="1223" y="128"/>
                  <a:pt x="1223" y="130"/>
                </a:cubicBezTo>
                <a:cubicBezTo>
                  <a:pt x="1223" y="132"/>
                  <a:pt x="1223" y="134"/>
                  <a:pt x="1223" y="135"/>
                </a:cubicBezTo>
                <a:cubicBezTo>
                  <a:pt x="1222" y="137"/>
                  <a:pt x="1222" y="140"/>
                  <a:pt x="1222" y="142"/>
                </a:cubicBezTo>
                <a:cubicBezTo>
                  <a:pt x="1221" y="144"/>
                  <a:pt x="1221" y="144"/>
                  <a:pt x="1221" y="144"/>
                </a:cubicBezTo>
                <a:cubicBezTo>
                  <a:pt x="1221" y="147"/>
                  <a:pt x="1221" y="147"/>
                  <a:pt x="1221" y="147"/>
                </a:cubicBezTo>
                <a:cubicBezTo>
                  <a:pt x="1220" y="151"/>
                  <a:pt x="1219" y="154"/>
                  <a:pt x="1219" y="156"/>
                </a:cubicBezTo>
                <a:cubicBezTo>
                  <a:pt x="1219" y="159"/>
                  <a:pt x="1221" y="160"/>
                  <a:pt x="1224" y="160"/>
                </a:cubicBezTo>
                <a:cubicBezTo>
                  <a:pt x="1225" y="160"/>
                  <a:pt x="1226" y="160"/>
                  <a:pt x="1227" y="159"/>
                </a:cubicBezTo>
                <a:cubicBezTo>
                  <a:pt x="1228" y="159"/>
                  <a:pt x="1229" y="158"/>
                  <a:pt x="1230" y="157"/>
                </a:cubicBezTo>
                <a:cubicBezTo>
                  <a:pt x="1231" y="157"/>
                  <a:pt x="1231" y="156"/>
                  <a:pt x="1232" y="156"/>
                </a:cubicBezTo>
                <a:cubicBezTo>
                  <a:pt x="1231" y="154"/>
                  <a:pt x="1231" y="154"/>
                  <a:pt x="1231" y="154"/>
                </a:cubicBezTo>
                <a:cubicBezTo>
                  <a:pt x="1229" y="155"/>
                  <a:pt x="1228" y="156"/>
                  <a:pt x="1227" y="156"/>
                </a:cubicBezTo>
                <a:cubicBezTo>
                  <a:pt x="1227" y="156"/>
                  <a:pt x="1227" y="155"/>
                  <a:pt x="1227" y="154"/>
                </a:cubicBezTo>
                <a:cubicBezTo>
                  <a:pt x="1227" y="152"/>
                  <a:pt x="1227" y="149"/>
                  <a:pt x="1228" y="145"/>
                </a:cubicBezTo>
                <a:cubicBezTo>
                  <a:pt x="1228" y="142"/>
                  <a:pt x="1228" y="142"/>
                  <a:pt x="1228" y="142"/>
                </a:cubicBezTo>
                <a:cubicBezTo>
                  <a:pt x="1229" y="140"/>
                  <a:pt x="1229" y="140"/>
                  <a:pt x="1229" y="140"/>
                </a:cubicBezTo>
                <a:cubicBezTo>
                  <a:pt x="1230" y="135"/>
                  <a:pt x="1230" y="132"/>
                  <a:pt x="1230" y="130"/>
                </a:cubicBezTo>
                <a:cubicBezTo>
                  <a:pt x="1230" y="126"/>
                  <a:pt x="1229" y="123"/>
                  <a:pt x="1228" y="122"/>
                </a:cubicBezTo>
                <a:cubicBezTo>
                  <a:pt x="1227" y="120"/>
                  <a:pt x="1225" y="119"/>
                  <a:pt x="1222" y="119"/>
                </a:cubicBezTo>
                <a:cubicBezTo>
                  <a:pt x="1219" y="119"/>
                  <a:pt x="1217" y="120"/>
                  <a:pt x="1214" y="122"/>
                </a:cubicBezTo>
                <a:cubicBezTo>
                  <a:pt x="1211" y="124"/>
                  <a:pt x="1209" y="126"/>
                  <a:pt x="1207" y="129"/>
                </a:cubicBezTo>
                <a:close/>
                <a:moveTo>
                  <a:pt x="1267" y="153"/>
                </a:moveTo>
                <a:cubicBezTo>
                  <a:pt x="1266" y="150"/>
                  <a:pt x="1266" y="150"/>
                  <a:pt x="1266" y="150"/>
                </a:cubicBezTo>
                <a:cubicBezTo>
                  <a:pt x="1264" y="152"/>
                  <a:pt x="1262" y="153"/>
                  <a:pt x="1260" y="154"/>
                </a:cubicBezTo>
                <a:cubicBezTo>
                  <a:pt x="1258" y="155"/>
                  <a:pt x="1256" y="156"/>
                  <a:pt x="1254" y="156"/>
                </a:cubicBezTo>
                <a:cubicBezTo>
                  <a:pt x="1251" y="156"/>
                  <a:pt x="1249" y="154"/>
                  <a:pt x="1248" y="152"/>
                </a:cubicBezTo>
                <a:cubicBezTo>
                  <a:pt x="1246" y="150"/>
                  <a:pt x="1246" y="147"/>
                  <a:pt x="1246" y="143"/>
                </a:cubicBezTo>
                <a:cubicBezTo>
                  <a:pt x="1249" y="143"/>
                  <a:pt x="1252" y="143"/>
                  <a:pt x="1256" y="142"/>
                </a:cubicBezTo>
                <a:cubicBezTo>
                  <a:pt x="1259" y="140"/>
                  <a:pt x="1263" y="139"/>
                  <a:pt x="1265" y="136"/>
                </a:cubicBezTo>
                <a:cubicBezTo>
                  <a:pt x="1268" y="134"/>
                  <a:pt x="1269" y="131"/>
                  <a:pt x="1269" y="128"/>
                </a:cubicBezTo>
                <a:cubicBezTo>
                  <a:pt x="1269" y="125"/>
                  <a:pt x="1268" y="123"/>
                  <a:pt x="1267" y="122"/>
                </a:cubicBezTo>
                <a:cubicBezTo>
                  <a:pt x="1265" y="120"/>
                  <a:pt x="1263" y="119"/>
                  <a:pt x="1259" y="119"/>
                </a:cubicBezTo>
                <a:cubicBezTo>
                  <a:pt x="1255" y="119"/>
                  <a:pt x="1252" y="121"/>
                  <a:pt x="1249" y="123"/>
                </a:cubicBezTo>
                <a:cubicBezTo>
                  <a:pt x="1246" y="125"/>
                  <a:pt x="1243" y="128"/>
                  <a:pt x="1241" y="132"/>
                </a:cubicBezTo>
                <a:cubicBezTo>
                  <a:pt x="1240" y="136"/>
                  <a:pt x="1239" y="140"/>
                  <a:pt x="1239" y="145"/>
                </a:cubicBezTo>
                <a:cubicBezTo>
                  <a:pt x="1239" y="147"/>
                  <a:pt x="1239" y="150"/>
                  <a:pt x="1240" y="152"/>
                </a:cubicBezTo>
                <a:cubicBezTo>
                  <a:pt x="1241" y="155"/>
                  <a:pt x="1243" y="156"/>
                  <a:pt x="1245" y="158"/>
                </a:cubicBezTo>
                <a:cubicBezTo>
                  <a:pt x="1247" y="159"/>
                  <a:pt x="1249" y="160"/>
                  <a:pt x="1253" y="160"/>
                </a:cubicBezTo>
                <a:cubicBezTo>
                  <a:pt x="1256" y="160"/>
                  <a:pt x="1259" y="159"/>
                  <a:pt x="1261" y="158"/>
                </a:cubicBezTo>
                <a:cubicBezTo>
                  <a:pt x="1264" y="156"/>
                  <a:pt x="1266" y="154"/>
                  <a:pt x="1267" y="153"/>
                </a:cubicBezTo>
                <a:close/>
                <a:moveTo>
                  <a:pt x="1258" y="123"/>
                </a:moveTo>
                <a:cubicBezTo>
                  <a:pt x="1259" y="123"/>
                  <a:pt x="1260" y="124"/>
                  <a:pt x="1261" y="125"/>
                </a:cubicBezTo>
                <a:cubicBezTo>
                  <a:pt x="1262" y="125"/>
                  <a:pt x="1263" y="127"/>
                  <a:pt x="1263" y="129"/>
                </a:cubicBezTo>
                <a:cubicBezTo>
                  <a:pt x="1263" y="131"/>
                  <a:pt x="1262" y="133"/>
                  <a:pt x="1260" y="135"/>
                </a:cubicBezTo>
                <a:cubicBezTo>
                  <a:pt x="1258" y="136"/>
                  <a:pt x="1256" y="138"/>
                  <a:pt x="1253" y="139"/>
                </a:cubicBezTo>
                <a:cubicBezTo>
                  <a:pt x="1251" y="139"/>
                  <a:pt x="1248" y="140"/>
                  <a:pt x="1246" y="140"/>
                </a:cubicBezTo>
                <a:cubicBezTo>
                  <a:pt x="1246" y="138"/>
                  <a:pt x="1247" y="135"/>
                  <a:pt x="1248" y="132"/>
                </a:cubicBezTo>
                <a:cubicBezTo>
                  <a:pt x="1249" y="130"/>
                  <a:pt x="1250" y="127"/>
                  <a:pt x="1252" y="126"/>
                </a:cubicBezTo>
                <a:cubicBezTo>
                  <a:pt x="1254" y="124"/>
                  <a:pt x="1255" y="123"/>
                  <a:pt x="1258" y="123"/>
                </a:cubicBezTo>
                <a:close/>
                <a:moveTo>
                  <a:pt x="1303" y="153"/>
                </a:moveTo>
                <a:cubicBezTo>
                  <a:pt x="1302" y="150"/>
                  <a:pt x="1302" y="150"/>
                  <a:pt x="1302" y="150"/>
                </a:cubicBezTo>
                <a:cubicBezTo>
                  <a:pt x="1300" y="152"/>
                  <a:pt x="1298" y="153"/>
                  <a:pt x="1296" y="154"/>
                </a:cubicBezTo>
                <a:cubicBezTo>
                  <a:pt x="1294" y="155"/>
                  <a:pt x="1292" y="156"/>
                  <a:pt x="1290" y="156"/>
                </a:cubicBezTo>
                <a:cubicBezTo>
                  <a:pt x="1287" y="156"/>
                  <a:pt x="1285" y="154"/>
                  <a:pt x="1284" y="152"/>
                </a:cubicBezTo>
                <a:cubicBezTo>
                  <a:pt x="1282" y="150"/>
                  <a:pt x="1282" y="147"/>
                  <a:pt x="1282" y="143"/>
                </a:cubicBezTo>
                <a:cubicBezTo>
                  <a:pt x="1285" y="143"/>
                  <a:pt x="1288" y="143"/>
                  <a:pt x="1292" y="142"/>
                </a:cubicBezTo>
                <a:cubicBezTo>
                  <a:pt x="1295" y="140"/>
                  <a:pt x="1299" y="139"/>
                  <a:pt x="1301" y="136"/>
                </a:cubicBezTo>
                <a:cubicBezTo>
                  <a:pt x="1304" y="134"/>
                  <a:pt x="1305" y="131"/>
                  <a:pt x="1305" y="128"/>
                </a:cubicBezTo>
                <a:cubicBezTo>
                  <a:pt x="1305" y="125"/>
                  <a:pt x="1304" y="123"/>
                  <a:pt x="1303" y="122"/>
                </a:cubicBezTo>
                <a:cubicBezTo>
                  <a:pt x="1301" y="120"/>
                  <a:pt x="1299" y="119"/>
                  <a:pt x="1295" y="119"/>
                </a:cubicBezTo>
                <a:cubicBezTo>
                  <a:pt x="1291" y="119"/>
                  <a:pt x="1288" y="121"/>
                  <a:pt x="1285" y="123"/>
                </a:cubicBezTo>
                <a:cubicBezTo>
                  <a:pt x="1282" y="125"/>
                  <a:pt x="1279" y="128"/>
                  <a:pt x="1277" y="132"/>
                </a:cubicBezTo>
                <a:cubicBezTo>
                  <a:pt x="1275" y="136"/>
                  <a:pt x="1275" y="140"/>
                  <a:pt x="1275" y="145"/>
                </a:cubicBezTo>
                <a:cubicBezTo>
                  <a:pt x="1275" y="147"/>
                  <a:pt x="1275" y="150"/>
                  <a:pt x="1276" y="152"/>
                </a:cubicBezTo>
                <a:cubicBezTo>
                  <a:pt x="1277" y="155"/>
                  <a:pt x="1279" y="156"/>
                  <a:pt x="1281" y="158"/>
                </a:cubicBezTo>
                <a:cubicBezTo>
                  <a:pt x="1283" y="159"/>
                  <a:pt x="1285" y="160"/>
                  <a:pt x="1288" y="160"/>
                </a:cubicBezTo>
                <a:cubicBezTo>
                  <a:pt x="1292" y="160"/>
                  <a:pt x="1295" y="159"/>
                  <a:pt x="1297" y="158"/>
                </a:cubicBezTo>
                <a:cubicBezTo>
                  <a:pt x="1300" y="156"/>
                  <a:pt x="1302" y="154"/>
                  <a:pt x="1303" y="153"/>
                </a:cubicBezTo>
                <a:close/>
                <a:moveTo>
                  <a:pt x="1294" y="123"/>
                </a:moveTo>
                <a:cubicBezTo>
                  <a:pt x="1295" y="123"/>
                  <a:pt x="1296" y="124"/>
                  <a:pt x="1297" y="125"/>
                </a:cubicBezTo>
                <a:cubicBezTo>
                  <a:pt x="1298" y="125"/>
                  <a:pt x="1298" y="127"/>
                  <a:pt x="1298" y="129"/>
                </a:cubicBezTo>
                <a:cubicBezTo>
                  <a:pt x="1298" y="131"/>
                  <a:pt x="1298" y="133"/>
                  <a:pt x="1296" y="135"/>
                </a:cubicBezTo>
                <a:cubicBezTo>
                  <a:pt x="1294" y="136"/>
                  <a:pt x="1292" y="138"/>
                  <a:pt x="1289" y="139"/>
                </a:cubicBezTo>
                <a:cubicBezTo>
                  <a:pt x="1287" y="139"/>
                  <a:pt x="1284" y="140"/>
                  <a:pt x="1282" y="140"/>
                </a:cubicBezTo>
                <a:cubicBezTo>
                  <a:pt x="1282" y="138"/>
                  <a:pt x="1283" y="135"/>
                  <a:pt x="1284" y="132"/>
                </a:cubicBezTo>
                <a:cubicBezTo>
                  <a:pt x="1285" y="130"/>
                  <a:pt x="1286" y="127"/>
                  <a:pt x="1288" y="126"/>
                </a:cubicBezTo>
                <a:cubicBezTo>
                  <a:pt x="1289" y="124"/>
                  <a:pt x="1291" y="123"/>
                  <a:pt x="1294" y="123"/>
                </a:cubicBezTo>
                <a:close/>
                <a:moveTo>
                  <a:pt x="1322" y="129"/>
                </a:moveTo>
                <a:cubicBezTo>
                  <a:pt x="1323" y="127"/>
                  <a:pt x="1323" y="127"/>
                  <a:pt x="1323" y="127"/>
                </a:cubicBezTo>
                <a:cubicBezTo>
                  <a:pt x="1323" y="120"/>
                  <a:pt x="1323" y="120"/>
                  <a:pt x="1323" y="120"/>
                </a:cubicBezTo>
                <a:cubicBezTo>
                  <a:pt x="1322" y="119"/>
                  <a:pt x="1322" y="119"/>
                  <a:pt x="1322" y="119"/>
                </a:cubicBezTo>
                <a:cubicBezTo>
                  <a:pt x="1314" y="121"/>
                  <a:pt x="1314" y="121"/>
                  <a:pt x="1314" y="121"/>
                </a:cubicBezTo>
                <a:cubicBezTo>
                  <a:pt x="1313" y="124"/>
                  <a:pt x="1313" y="124"/>
                  <a:pt x="1313" y="124"/>
                </a:cubicBezTo>
                <a:cubicBezTo>
                  <a:pt x="1317" y="125"/>
                  <a:pt x="1317" y="125"/>
                  <a:pt x="1317" y="125"/>
                </a:cubicBezTo>
                <a:cubicBezTo>
                  <a:pt x="1312" y="159"/>
                  <a:pt x="1312" y="159"/>
                  <a:pt x="1312" y="159"/>
                </a:cubicBezTo>
                <a:cubicBezTo>
                  <a:pt x="1319" y="159"/>
                  <a:pt x="1319" y="159"/>
                  <a:pt x="1319" y="159"/>
                </a:cubicBezTo>
                <a:cubicBezTo>
                  <a:pt x="1322" y="134"/>
                  <a:pt x="1322" y="134"/>
                  <a:pt x="1322" y="134"/>
                </a:cubicBezTo>
                <a:cubicBezTo>
                  <a:pt x="1323" y="132"/>
                  <a:pt x="1325" y="130"/>
                  <a:pt x="1327" y="129"/>
                </a:cubicBezTo>
                <a:cubicBezTo>
                  <a:pt x="1329" y="127"/>
                  <a:pt x="1331" y="127"/>
                  <a:pt x="1333" y="127"/>
                </a:cubicBezTo>
                <a:cubicBezTo>
                  <a:pt x="1334" y="127"/>
                  <a:pt x="1335" y="127"/>
                  <a:pt x="1336" y="127"/>
                </a:cubicBezTo>
                <a:cubicBezTo>
                  <a:pt x="1338" y="120"/>
                  <a:pt x="1338" y="120"/>
                  <a:pt x="1338" y="120"/>
                </a:cubicBezTo>
                <a:cubicBezTo>
                  <a:pt x="1337" y="120"/>
                  <a:pt x="1336" y="119"/>
                  <a:pt x="1335" y="119"/>
                </a:cubicBezTo>
                <a:cubicBezTo>
                  <a:pt x="1333" y="119"/>
                  <a:pt x="1331" y="120"/>
                  <a:pt x="1330" y="121"/>
                </a:cubicBezTo>
                <a:cubicBezTo>
                  <a:pt x="1328" y="122"/>
                  <a:pt x="1326" y="123"/>
                  <a:pt x="1325" y="125"/>
                </a:cubicBezTo>
                <a:cubicBezTo>
                  <a:pt x="1324" y="126"/>
                  <a:pt x="1323" y="128"/>
                  <a:pt x="1322" y="129"/>
                </a:cubicBezTo>
                <a:close/>
                <a:moveTo>
                  <a:pt x="1349" y="153"/>
                </a:moveTo>
                <a:cubicBezTo>
                  <a:pt x="1354" y="120"/>
                  <a:pt x="1354" y="120"/>
                  <a:pt x="1354" y="120"/>
                </a:cubicBezTo>
                <a:cubicBezTo>
                  <a:pt x="1352" y="119"/>
                  <a:pt x="1352" y="119"/>
                  <a:pt x="1352" y="119"/>
                </a:cubicBezTo>
                <a:cubicBezTo>
                  <a:pt x="1342" y="121"/>
                  <a:pt x="1342" y="121"/>
                  <a:pt x="1342" y="121"/>
                </a:cubicBezTo>
                <a:cubicBezTo>
                  <a:pt x="1342" y="123"/>
                  <a:pt x="1342" y="123"/>
                  <a:pt x="1342" y="123"/>
                </a:cubicBezTo>
                <a:cubicBezTo>
                  <a:pt x="1346" y="125"/>
                  <a:pt x="1346" y="125"/>
                  <a:pt x="1346" y="125"/>
                </a:cubicBezTo>
                <a:cubicBezTo>
                  <a:pt x="1345" y="132"/>
                  <a:pt x="1345" y="138"/>
                  <a:pt x="1344" y="142"/>
                </a:cubicBezTo>
                <a:cubicBezTo>
                  <a:pt x="1343" y="150"/>
                  <a:pt x="1342" y="154"/>
                  <a:pt x="1342" y="156"/>
                </a:cubicBezTo>
                <a:cubicBezTo>
                  <a:pt x="1342" y="157"/>
                  <a:pt x="1342" y="158"/>
                  <a:pt x="1343" y="159"/>
                </a:cubicBezTo>
                <a:cubicBezTo>
                  <a:pt x="1344" y="160"/>
                  <a:pt x="1345" y="160"/>
                  <a:pt x="1347" y="160"/>
                </a:cubicBezTo>
                <a:cubicBezTo>
                  <a:pt x="1349" y="160"/>
                  <a:pt x="1350" y="159"/>
                  <a:pt x="1352" y="158"/>
                </a:cubicBezTo>
                <a:cubicBezTo>
                  <a:pt x="1353" y="157"/>
                  <a:pt x="1354" y="156"/>
                  <a:pt x="1355" y="155"/>
                </a:cubicBezTo>
                <a:cubicBezTo>
                  <a:pt x="1354" y="154"/>
                  <a:pt x="1354" y="154"/>
                  <a:pt x="1354" y="154"/>
                </a:cubicBezTo>
                <a:cubicBezTo>
                  <a:pt x="1353" y="154"/>
                  <a:pt x="1352" y="155"/>
                  <a:pt x="1352" y="155"/>
                </a:cubicBezTo>
                <a:cubicBezTo>
                  <a:pt x="1351" y="156"/>
                  <a:pt x="1351" y="156"/>
                  <a:pt x="1350" y="156"/>
                </a:cubicBezTo>
                <a:cubicBezTo>
                  <a:pt x="1350" y="156"/>
                  <a:pt x="1350" y="156"/>
                  <a:pt x="1349" y="155"/>
                </a:cubicBezTo>
                <a:cubicBezTo>
                  <a:pt x="1349" y="155"/>
                  <a:pt x="1349" y="155"/>
                  <a:pt x="1349" y="154"/>
                </a:cubicBezTo>
                <a:lnTo>
                  <a:pt x="1349" y="153"/>
                </a:lnTo>
                <a:close/>
                <a:moveTo>
                  <a:pt x="1351" y="112"/>
                </a:moveTo>
                <a:cubicBezTo>
                  <a:pt x="1353" y="112"/>
                  <a:pt x="1354" y="111"/>
                  <a:pt x="1355" y="110"/>
                </a:cubicBezTo>
                <a:cubicBezTo>
                  <a:pt x="1356" y="109"/>
                  <a:pt x="1356" y="108"/>
                  <a:pt x="1356" y="107"/>
                </a:cubicBezTo>
                <a:cubicBezTo>
                  <a:pt x="1356" y="106"/>
                  <a:pt x="1356" y="105"/>
                  <a:pt x="1355" y="104"/>
                </a:cubicBezTo>
                <a:cubicBezTo>
                  <a:pt x="1354" y="103"/>
                  <a:pt x="1353" y="103"/>
                  <a:pt x="1352" y="103"/>
                </a:cubicBezTo>
                <a:cubicBezTo>
                  <a:pt x="1351" y="103"/>
                  <a:pt x="1350" y="103"/>
                  <a:pt x="1349" y="104"/>
                </a:cubicBezTo>
                <a:cubicBezTo>
                  <a:pt x="1348" y="105"/>
                  <a:pt x="1348" y="107"/>
                  <a:pt x="1348" y="108"/>
                </a:cubicBezTo>
                <a:cubicBezTo>
                  <a:pt x="1348" y="109"/>
                  <a:pt x="1348" y="110"/>
                  <a:pt x="1349" y="111"/>
                </a:cubicBezTo>
                <a:cubicBezTo>
                  <a:pt x="1350" y="111"/>
                  <a:pt x="1350" y="112"/>
                  <a:pt x="1351" y="112"/>
                </a:cubicBezTo>
                <a:close/>
                <a:moveTo>
                  <a:pt x="1374" y="129"/>
                </a:moveTo>
                <a:cubicBezTo>
                  <a:pt x="1375" y="120"/>
                  <a:pt x="1375" y="120"/>
                  <a:pt x="1375" y="120"/>
                </a:cubicBezTo>
                <a:cubicBezTo>
                  <a:pt x="1374" y="119"/>
                  <a:pt x="1374" y="119"/>
                  <a:pt x="1374" y="119"/>
                </a:cubicBezTo>
                <a:cubicBezTo>
                  <a:pt x="1365" y="121"/>
                  <a:pt x="1365" y="121"/>
                  <a:pt x="1365" y="121"/>
                </a:cubicBezTo>
                <a:cubicBezTo>
                  <a:pt x="1365" y="124"/>
                  <a:pt x="1365" y="124"/>
                  <a:pt x="1365" y="124"/>
                </a:cubicBezTo>
                <a:cubicBezTo>
                  <a:pt x="1368" y="125"/>
                  <a:pt x="1368" y="125"/>
                  <a:pt x="1368" y="125"/>
                </a:cubicBezTo>
                <a:cubicBezTo>
                  <a:pt x="1364" y="159"/>
                  <a:pt x="1364" y="159"/>
                  <a:pt x="1364" y="159"/>
                </a:cubicBezTo>
                <a:cubicBezTo>
                  <a:pt x="1370" y="159"/>
                  <a:pt x="1370" y="159"/>
                  <a:pt x="1370" y="159"/>
                </a:cubicBezTo>
                <a:cubicBezTo>
                  <a:pt x="1374" y="134"/>
                  <a:pt x="1374" y="134"/>
                  <a:pt x="1374" y="134"/>
                </a:cubicBezTo>
                <a:cubicBezTo>
                  <a:pt x="1375" y="131"/>
                  <a:pt x="1377" y="129"/>
                  <a:pt x="1380" y="127"/>
                </a:cubicBezTo>
                <a:cubicBezTo>
                  <a:pt x="1382" y="125"/>
                  <a:pt x="1384" y="124"/>
                  <a:pt x="1386" y="124"/>
                </a:cubicBezTo>
                <a:cubicBezTo>
                  <a:pt x="1388" y="124"/>
                  <a:pt x="1389" y="125"/>
                  <a:pt x="1389" y="126"/>
                </a:cubicBezTo>
                <a:cubicBezTo>
                  <a:pt x="1390" y="127"/>
                  <a:pt x="1390" y="128"/>
                  <a:pt x="1390" y="130"/>
                </a:cubicBezTo>
                <a:cubicBezTo>
                  <a:pt x="1390" y="132"/>
                  <a:pt x="1390" y="134"/>
                  <a:pt x="1390" y="135"/>
                </a:cubicBezTo>
                <a:cubicBezTo>
                  <a:pt x="1390" y="137"/>
                  <a:pt x="1389" y="140"/>
                  <a:pt x="1389" y="142"/>
                </a:cubicBezTo>
                <a:cubicBezTo>
                  <a:pt x="1388" y="144"/>
                  <a:pt x="1388" y="144"/>
                  <a:pt x="1388" y="144"/>
                </a:cubicBezTo>
                <a:cubicBezTo>
                  <a:pt x="1388" y="147"/>
                  <a:pt x="1388" y="147"/>
                  <a:pt x="1388" y="147"/>
                </a:cubicBezTo>
                <a:cubicBezTo>
                  <a:pt x="1387" y="151"/>
                  <a:pt x="1387" y="154"/>
                  <a:pt x="1387" y="156"/>
                </a:cubicBezTo>
                <a:cubicBezTo>
                  <a:pt x="1387" y="159"/>
                  <a:pt x="1388" y="160"/>
                  <a:pt x="1391" y="160"/>
                </a:cubicBezTo>
                <a:cubicBezTo>
                  <a:pt x="1392" y="160"/>
                  <a:pt x="1394" y="160"/>
                  <a:pt x="1395" y="159"/>
                </a:cubicBezTo>
                <a:cubicBezTo>
                  <a:pt x="1396" y="159"/>
                  <a:pt x="1397" y="158"/>
                  <a:pt x="1397" y="157"/>
                </a:cubicBezTo>
                <a:cubicBezTo>
                  <a:pt x="1398" y="157"/>
                  <a:pt x="1399" y="156"/>
                  <a:pt x="1399" y="156"/>
                </a:cubicBezTo>
                <a:cubicBezTo>
                  <a:pt x="1398" y="154"/>
                  <a:pt x="1398" y="154"/>
                  <a:pt x="1398" y="154"/>
                </a:cubicBezTo>
                <a:cubicBezTo>
                  <a:pt x="1397" y="155"/>
                  <a:pt x="1396" y="156"/>
                  <a:pt x="1395" y="156"/>
                </a:cubicBezTo>
                <a:cubicBezTo>
                  <a:pt x="1394" y="156"/>
                  <a:pt x="1394" y="155"/>
                  <a:pt x="1394" y="154"/>
                </a:cubicBezTo>
                <a:cubicBezTo>
                  <a:pt x="1394" y="152"/>
                  <a:pt x="1394" y="149"/>
                  <a:pt x="1395" y="145"/>
                </a:cubicBezTo>
                <a:cubicBezTo>
                  <a:pt x="1395" y="142"/>
                  <a:pt x="1395" y="142"/>
                  <a:pt x="1395" y="142"/>
                </a:cubicBezTo>
                <a:cubicBezTo>
                  <a:pt x="1396" y="140"/>
                  <a:pt x="1396" y="140"/>
                  <a:pt x="1396" y="140"/>
                </a:cubicBezTo>
                <a:cubicBezTo>
                  <a:pt x="1397" y="135"/>
                  <a:pt x="1397" y="132"/>
                  <a:pt x="1397" y="130"/>
                </a:cubicBezTo>
                <a:cubicBezTo>
                  <a:pt x="1397" y="126"/>
                  <a:pt x="1397" y="123"/>
                  <a:pt x="1395" y="122"/>
                </a:cubicBezTo>
                <a:cubicBezTo>
                  <a:pt x="1394" y="120"/>
                  <a:pt x="1392" y="119"/>
                  <a:pt x="1389" y="119"/>
                </a:cubicBezTo>
                <a:cubicBezTo>
                  <a:pt x="1386" y="119"/>
                  <a:pt x="1384" y="120"/>
                  <a:pt x="1381" y="122"/>
                </a:cubicBezTo>
                <a:cubicBezTo>
                  <a:pt x="1379" y="124"/>
                  <a:pt x="1376" y="126"/>
                  <a:pt x="1374" y="129"/>
                </a:cubicBezTo>
                <a:close/>
                <a:moveTo>
                  <a:pt x="1433" y="162"/>
                </a:moveTo>
                <a:cubicBezTo>
                  <a:pt x="1440" y="119"/>
                  <a:pt x="1440" y="119"/>
                  <a:pt x="1440" y="119"/>
                </a:cubicBezTo>
                <a:cubicBezTo>
                  <a:pt x="1435" y="121"/>
                  <a:pt x="1435" y="121"/>
                  <a:pt x="1435" y="121"/>
                </a:cubicBezTo>
                <a:cubicBezTo>
                  <a:pt x="1434" y="121"/>
                  <a:pt x="1433" y="120"/>
                  <a:pt x="1432" y="120"/>
                </a:cubicBezTo>
                <a:cubicBezTo>
                  <a:pt x="1430" y="120"/>
                  <a:pt x="1429" y="119"/>
                  <a:pt x="1428" y="119"/>
                </a:cubicBezTo>
                <a:cubicBezTo>
                  <a:pt x="1423" y="119"/>
                  <a:pt x="1419" y="121"/>
                  <a:pt x="1416" y="123"/>
                </a:cubicBezTo>
                <a:cubicBezTo>
                  <a:pt x="1412" y="126"/>
                  <a:pt x="1410" y="129"/>
                  <a:pt x="1408" y="133"/>
                </a:cubicBezTo>
                <a:cubicBezTo>
                  <a:pt x="1406" y="137"/>
                  <a:pt x="1405" y="141"/>
                  <a:pt x="1405" y="145"/>
                </a:cubicBezTo>
                <a:cubicBezTo>
                  <a:pt x="1405" y="150"/>
                  <a:pt x="1406" y="153"/>
                  <a:pt x="1408" y="156"/>
                </a:cubicBezTo>
                <a:cubicBezTo>
                  <a:pt x="1410" y="159"/>
                  <a:pt x="1413" y="160"/>
                  <a:pt x="1417" y="160"/>
                </a:cubicBezTo>
                <a:cubicBezTo>
                  <a:pt x="1419" y="160"/>
                  <a:pt x="1421" y="159"/>
                  <a:pt x="1423" y="158"/>
                </a:cubicBezTo>
                <a:cubicBezTo>
                  <a:pt x="1425" y="157"/>
                  <a:pt x="1426" y="156"/>
                  <a:pt x="1428" y="155"/>
                </a:cubicBezTo>
                <a:cubicBezTo>
                  <a:pt x="1426" y="164"/>
                  <a:pt x="1426" y="164"/>
                  <a:pt x="1426" y="164"/>
                </a:cubicBezTo>
                <a:cubicBezTo>
                  <a:pt x="1426" y="167"/>
                  <a:pt x="1425" y="169"/>
                  <a:pt x="1424" y="170"/>
                </a:cubicBezTo>
                <a:cubicBezTo>
                  <a:pt x="1422" y="172"/>
                  <a:pt x="1420" y="172"/>
                  <a:pt x="1417" y="172"/>
                </a:cubicBezTo>
                <a:cubicBezTo>
                  <a:pt x="1415" y="172"/>
                  <a:pt x="1414" y="172"/>
                  <a:pt x="1412" y="171"/>
                </a:cubicBezTo>
                <a:cubicBezTo>
                  <a:pt x="1410" y="171"/>
                  <a:pt x="1409" y="170"/>
                  <a:pt x="1408" y="170"/>
                </a:cubicBezTo>
                <a:cubicBezTo>
                  <a:pt x="1406" y="175"/>
                  <a:pt x="1406" y="175"/>
                  <a:pt x="1406" y="175"/>
                </a:cubicBezTo>
                <a:cubicBezTo>
                  <a:pt x="1407" y="176"/>
                  <a:pt x="1408" y="176"/>
                  <a:pt x="1410" y="176"/>
                </a:cubicBezTo>
                <a:cubicBezTo>
                  <a:pt x="1411" y="177"/>
                  <a:pt x="1413" y="177"/>
                  <a:pt x="1414" y="177"/>
                </a:cubicBezTo>
                <a:cubicBezTo>
                  <a:pt x="1417" y="177"/>
                  <a:pt x="1420" y="176"/>
                  <a:pt x="1423" y="175"/>
                </a:cubicBezTo>
                <a:cubicBezTo>
                  <a:pt x="1425" y="174"/>
                  <a:pt x="1428" y="173"/>
                  <a:pt x="1430" y="170"/>
                </a:cubicBezTo>
                <a:cubicBezTo>
                  <a:pt x="1432" y="168"/>
                  <a:pt x="1433" y="165"/>
                  <a:pt x="1433" y="162"/>
                </a:cubicBezTo>
                <a:close/>
                <a:moveTo>
                  <a:pt x="1432" y="125"/>
                </a:moveTo>
                <a:cubicBezTo>
                  <a:pt x="1428" y="150"/>
                  <a:pt x="1428" y="150"/>
                  <a:pt x="1428" y="150"/>
                </a:cubicBezTo>
                <a:cubicBezTo>
                  <a:pt x="1427" y="151"/>
                  <a:pt x="1426" y="153"/>
                  <a:pt x="1424" y="154"/>
                </a:cubicBezTo>
                <a:cubicBezTo>
                  <a:pt x="1423" y="155"/>
                  <a:pt x="1421" y="155"/>
                  <a:pt x="1419" y="155"/>
                </a:cubicBezTo>
                <a:cubicBezTo>
                  <a:pt x="1417" y="155"/>
                  <a:pt x="1415" y="155"/>
                  <a:pt x="1414" y="153"/>
                </a:cubicBezTo>
                <a:cubicBezTo>
                  <a:pt x="1413" y="151"/>
                  <a:pt x="1412" y="148"/>
                  <a:pt x="1412" y="145"/>
                </a:cubicBezTo>
                <a:cubicBezTo>
                  <a:pt x="1412" y="142"/>
                  <a:pt x="1413" y="138"/>
                  <a:pt x="1414" y="135"/>
                </a:cubicBezTo>
                <a:cubicBezTo>
                  <a:pt x="1415" y="132"/>
                  <a:pt x="1417" y="129"/>
                  <a:pt x="1419" y="127"/>
                </a:cubicBezTo>
                <a:cubicBezTo>
                  <a:pt x="1421" y="124"/>
                  <a:pt x="1424" y="123"/>
                  <a:pt x="1427" y="123"/>
                </a:cubicBezTo>
                <a:cubicBezTo>
                  <a:pt x="1429" y="123"/>
                  <a:pt x="1431" y="124"/>
                  <a:pt x="1432" y="125"/>
                </a:cubicBezTo>
                <a:close/>
                <a:moveTo>
                  <a:pt x="1076" y="242"/>
                </a:moveTo>
                <a:cubicBezTo>
                  <a:pt x="1072" y="249"/>
                  <a:pt x="1072" y="249"/>
                  <a:pt x="1072" y="249"/>
                </a:cubicBezTo>
                <a:cubicBezTo>
                  <a:pt x="1072" y="242"/>
                  <a:pt x="1072" y="242"/>
                  <a:pt x="1072" y="242"/>
                </a:cubicBezTo>
                <a:cubicBezTo>
                  <a:pt x="1066" y="208"/>
                  <a:pt x="1066" y="208"/>
                  <a:pt x="1066" y="208"/>
                </a:cubicBezTo>
                <a:cubicBezTo>
                  <a:pt x="1050" y="208"/>
                  <a:pt x="1050" y="208"/>
                  <a:pt x="1050" y="208"/>
                </a:cubicBezTo>
                <a:cubicBezTo>
                  <a:pt x="1049" y="211"/>
                  <a:pt x="1049" y="211"/>
                  <a:pt x="1049" y="211"/>
                </a:cubicBezTo>
                <a:cubicBezTo>
                  <a:pt x="1056" y="212"/>
                  <a:pt x="1056" y="212"/>
                  <a:pt x="1056" y="212"/>
                </a:cubicBezTo>
                <a:cubicBezTo>
                  <a:pt x="1045" y="256"/>
                  <a:pt x="1045" y="256"/>
                  <a:pt x="1045" y="256"/>
                </a:cubicBezTo>
                <a:cubicBezTo>
                  <a:pt x="1039" y="257"/>
                  <a:pt x="1039" y="257"/>
                  <a:pt x="1039" y="257"/>
                </a:cubicBezTo>
                <a:cubicBezTo>
                  <a:pt x="1039" y="260"/>
                  <a:pt x="1039" y="260"/>
                  <a:pt x="1039" y="260"/>
                </a:cubicBezTo>
                <a:cubicBezTo>
                  <a:pt x="1057" y="260"/>
                  <a:pt x="1057" y="260"/>
                  <a:pt x="1057" y="260"/>
                </a:cubicBezTo>
                <a:cubicBezTo>
                  <a:pt x="1057" y="257"/>
                  <a:pt x="1057" y="257"/>
                  <a:pt x="1057" y="257"/>
                </a:cubicBezTo>
                <a:cubicBezTo>
                  <a:pt x="1050" y="256"/>
                  <a:pt x="1050" y="256"/>
                  <a:pt x="1050" y="256"/>
                </a:cubicBezTo>
                <a:cubicBezTo>
                  <a:pt x="1057" y="225"/>
                  <a:pt x="1057" y="225"/>
                  <a:pt x="1057" y="225"/>
                </a:cubicBezTo>
                <a:cubicBezTo>
                  <a:pt x="1060" y="211"/>
                  <a:pt x="1060" y="211"/>
                  <a:pt x="1060" y="211"/>
                </a:cubicBezTo>
                <a:cubicBezTo>
                  <a:pt x="1062" y="225"/>
                  <a:pt x="1062" y="225"/>
                  <a:pt x="1062" y="225"/>
                </a:cubicBezTo>
                <a:cubicBezTo>
                  <a:pt x="1068" y="261"/>
                  <a:pt x="1068" y="261"/>
                  <a:pt x="1068" y="261"/>
                </a:cubicBezTo>
                <a:cubicBezTo>
                  <a:pt x="1072" y="260"/>
                  <a:pt x="1072" y="260"/>
                  <a:pt x="1072" y="260"/>
                </a:cubicBezTo>
                <a:cubicBezTo>
                  <a:pt x="1088" y="224"/>
                  <a:pt x="1088" y="224"/>
                  <a:pt x="1088" y="224"/>
                </a:cubicBezTo>
                <a:cubicBezTo>
                  <a:pt x="1094" y="211"/>
                  <a:pt x="1094" y="211"/>
                  <a:pt x="1094" y="211"/>
                </a:cubicBezTo>
                <a:cubicBezTo>
                  <a:pt x="1093" y="225"/>
                  <a:pt x="1093" y="225"/>
                  <a:pt x="1093" y="225"/>
                </a:cubicBezTo>
                <a:cubicBezTo>
                  <a:pt x="1091" y="256"/>
                  <a:pt x="1091" y="256"/>
                  <a:pt x="1091" y="256"/>
                </a:cubicBezTo>
                <a:cubicBezTo>
                  <a:pt x="1085" y="257"/>
                  <a:pt x="1085" y="257"/>
                  <a:pt x="1085" y="257"/>
                </a:cubicBezTo>
                <a:cubicBezTo>
                  <a:pt x="1084" y="260"/>
                  <a:pt x="1084" y="260"/>
                  <a:pt x="1084" y="260"/>
                </a:cubicBezTo>
                <a:cubicBezTo>
                  <a:pt x="1104" y="260"/>
                  <a:pt x="1104" y="260"/>
                  <a:pt x="1104" y="260"/>
                </a:cubicBezTo>
                <a:cubicBezTo>
                  <a:pt x="1104" y="257"/>
                  <a:pt x="1104" y="257"/>
                  <a:pt x="1104" y="257"/>
                </a:cubicBezTo>
                <a:cubicBezTo>
                  <a:pt x="1098" y="256"/>
                  <a:pt x="1098" y="256"/>
                  <a:pt x="1098" y="256"/>
                </a:cubicBezTo>
                <a:cubicBezTo>
                  <a:pt x="1099" y="212"/>
                  <a:pt x="1099" y="212"/>
                  <a:pt x="1099" y="212"/>
                </a:cubicBezTo>
                <a:cubicBezTo>
                  <a:pt x="1106" y="211"/>
                  <a:pt x="1106" y="211"/>
                  <a:pt x="1106" y="211"/>
                </a:cubicBezTo>
                <a:cubicBezTo>
                  <a:pt x="1106" y="208"/>
                  <a:pt x="1106" y="208"/>
                  <a:pt x="1106" y="208"/>
                </a:cubicBezTo>
                <a:cubicBezTo>
                  <a:pt x="1091" y="208"/>
                  <a:pt x="1091" y="208"/>
                  <a:pt x="1091" y="208"/>
                </a:cubicBezTo>
                <a:cubicBezTo>
                  <a:pt x="1090" y="211"/>
                  <a:pt x="1087" y="217"/>
                  <a:pt x="1083" y="225"/>
                </a:cubicBezTo>
                <a:cubicBezTo>
                  <a:pt x="1079" y="233"/>
                  <a:pt x="1077" y="239"/>
                  <a:pt x="1076" y="242"/>
                </a:cubicBezTo>
                <a:close/>
                <a:moveTo>
                  <a:pt x="1138" y="253"/>
                </a:moveTo>
                <a:cubicBezTo>
                  <a:pt x="1136" y="251"/>
                  <a:pt x="1136" y="251"/>
                  <a:pt x="1136" y="251"/>
                </a:cubicBezTo>
                <a:cubicBezTo>
                  <a:pt x="1134" y="253"/>
                  <a:pt x="1133" y="254"/>
                  <a:pt x="1131" y="255"/>
                </a:cubicBezTo>
                <a:cubicBezTo>
                  <a:pt x="1129" y="256"/>
                  <a:pt x="1126" y="256"/>
                  <a:pt x="1124" y="256"/>
                </a:cubicBezTo>
                <a:cubicBezTo>
                  <a:pt x="1121" y="256"/>
                  <a:pt x="1119" y="255"/>
                  <a:pt x="1118" y="253"/>
                </a:cubicBezTo>
                <a:cubicBezTo>
                  <a:pt x="1117" y="250"/>
                  <a:pt x="1116" y="247"/>
                  <a:pt x="1116" y="244"/>
                </a:cubicBezTo>
                <a:cubicBezTo>
                  <a:pt x="1119" y="244"/>
                  <a:pt x="1123" y="244"/>
                  <a:pt x="1126" y="242"/>
                </a:cubicBezTo>
                <a:cubicBezTo>
                  <a:pt x="1130" y="241"/>
                  <a:pt x="1133" y="240"/>
                  <a:pt x="1136" y="237"/>
                </a:cubicBezTo>
                <a:cubicBezTo>
                  <a:pt x="1138" y="235"/>
                  <a:pt x="1140" y="232"/>
                  <a:pt x="1140" y="229"/>
                </a:cubicBezTo>
                <a:cubicBezTo>
                  <a:pt x="1140" y="226"/>
                  <a:pt x="1139" y="224"/>
                  <a:pt x="1137" y="223"/>
                </a:cubicBezTo>
                <a:cubicBezTo>
                  <a:pt x="1135" y="221"/>
                  <a:pt x="1133" y="220"/>
                  <a:pt x="1130" y="220"/>
                </a:cubicBezTo>
                <a:cubicBezTo>
                  <a:pt x="1126" y="220"/>
                  <a:pt x="1122" y="221"/>
                  <a:pt x="1119" y="224"/>
                </a:cubicBezTo>
                <a:cubicBezTo>
                  <a:pt x="1116" y="226"/>
                  <a:pt x="1114" y="229"/>
                  <a:pt x="1112" y="233"/>
                </a:cubicBezTo>
                <a:cubicBezTo>
                  <a:pt x="1110" y="237"/>
                  <a:pt x="1109" y="241"/>
                  <a:pt x="1109" y="246"/>
                </a:cubicBezTo>
                <a:cubicBezTo>
                  <a:pt x="1109" y="248"/>
                  <a:pt x="1110" y="251"/>
                  <a:pt x="1111" y="253"/>
                </a:cubicBezTo>
                <a:cubicBezTo>
                  <a:pt x="1111" y="255"/>
                  <a:pt x="1113" y="257"/>
                  <a:pt x="1115" y="259"/>
                </a:cubicBezTo>
                <a:cubicBezTo>
                  <a:pt x="1117" y="260"/>
                  <a:pt x="1120" y="261"/>
                  <a:pt x="1123" y="261"/>
                </a:cubicBezTo>
                <a:cubicBezTo>
                  <a:pt x="1126" y="261"/>
                  <a:pt x="1129" y="260"/>
                  <a:pt x="1132" y="258"/>
                </a:cubicBezTo>
                <a:cubicBezTo>
                  <a:pt x="1135" y="257"/>
                  <a:pt x="1136" y="255"/>
                  <a:pt x="1138" y="253"/>
                </a:cubicBezTo>
                <a:close/>
                <a:moveTo>
                  <a:pt x="1128" y="224"/>
                </a:moveTo>
                <a:cubicBezTo>
                  <a:pt x="1130" y="224"/>
                  <a:pt x="1131" y="224"/>
                  <a:pt x="1132" y="225"/>
                </a:cubicBezTo>
                <a:cubicBezTo>
                  <a:pt x="1132" y="226"/>
                  <a:pt x="1133" y="228"/>
                  <a:pt x="1133" y="229"/>
                </a:cubicBezTo>
                <a:cubicBezTo>
                  <a:pt x="1133" y="232"/>
                  <a:pt x="1132" y="234"/>
                  <a:pt x="1130" y="235"/>
                </a:cubicBezTo>
                <a:cubicBezTo>
                  <a:pt x="1129" y="237"/>
                  <a:pt x="1126" y="238"/>
                  <a:pt x="1124" y="239"/>
                </a:cubicBezTo>
                <a:cubicBezTo>
                  <a:pt x="1121" y="240"/>
                  <a:pt x="1119" y="241"/>
                  <a:pt x="1116" y="241"/>
                </a:cubicBezTo>
                <a:cubicBezTo>
                  <a:pt x="1117" y="238"/>
                  <a:pt x="1117" y="236"/>
                  <a:pt x="1118" y="233"/>
                </a:cubicBezTo>
                <a:cubicBezTo>
                  <a:pt x="1119" y="230"/>
                  <a:pt x="1121" y="228"/>
                  <a:pt x="1122" y="226"/>
                </a:cubicBezTo>
                <a:cubicBezTo>
                  <a:pt x="1124" y="225"/>
                  <a:pt x="1126" y="224"/>
                  <a:pt x="1128" y="224"/>
                </a:cubicBezTo>
                <a:close/>
                <a:moveTo>
                  <a:pt x="1175" y="254"/>
                </a:moveTo>
                <a:cubicBezTo>
                  <a:pt x="1182" y="204"/>
                  <a:pt x="1182" y="204"/>
                  <a:pt x="1182" y="204"/>
                </a:cubicBezTo>
                <a:cubicBezTo>
                  <a:pt x="1181" y="204"/>
                  <a:pt x="1181" y="204"/>
                  <a:pt x="1181" y="204"/>
                </a:cubicBezTo>
                <a:cubicBezTo>
                  <a:pt x="1171" y="205"/>
                  <a:pt x="1171" y="205"/>
                  <a:pt x="1171" y="205"/>
                </a:cubicBezTo>
                <a:cubicBezTo>
                  <a:pt x="1170" y="207"/>
                  <a:pt x="1170" y="207"/>
                  <a:pt x="1170" y="207"/>
                </a:cubicBezTo>
                <a:cubicBezTo>
                  <a:pt x="1175" y="208"/>
                  <a:pt x="1175" y="208"/>
                  <a:pt x="1175" y="208"/>
                </a:cubicBezTo>
                <a:cubicBezTo>
                  <a:pt x="1173" y="221"/>
                  <a:pt x="1173" y="221"/>
                  <a:pt x="1173" y="221"/>
                </a:cubicBezTo>
                <a:cubicBezTo>
                  <a:pt x="1171" y="220"/>
                  <a:pt x="1169" y="220"/>
                  <a:pt x="1168" y="220"/>
                </a:cubicBezTo>
                <a:cubicBezTo>
                  <a:pt x="1163" y="220"/>
                  <a:pt x="1159" y="222"/>
                  <a:pt x="1156" y="224"/>
                </a:cubicBezTo>
                <a:cubicBezTo>
                  <a:pt x="1152" y="227"/>
                  <a:pt x="1150" y="230"/>
                  <a:pt x="1148" y="234"/>
                </a:cubicBezTo>
                <a:cubicBezTo>
                  <a:pt x="1146" y="238"/>
                  <a:pt x="1145" y="242"/>
                  <a:pt x="1145" y="246"/>
                </a:cubicBezTo>
                <a:cubicBezTo>
                  <a:pt x="1145" y="250"/>
                  <a:pt x="1146" y="254"/>
                  <a:pt x="1148" y="257"/>
                </a:cubicBezTo>
                <a:cubicBezTo>
                  <a:pt x="1150" y="259"/>
                  <a:pt x="1153" y="261"/>
                  <a:pt x="1157" y="261"/>
                </a:cubicBezTo>
                <a:cubicBezTo>
                  <a:pt x="1159" y="261"/>
                  <a:pt x="1162" y="260"/>
                  <a:pt x="1163" y="259"/>
                </a:cubicBezTo>
                <a:cubicBezTo>
                  <a:pt x="1165" y="258"/>
                  <a:pt x="1167" y="256"/>
                  <a:pt x="1168" y="255"/>
                </a:cubicBezTo>
                <a:cubicBezTo>
                  <a:pt x="1168" y="256"/>
                  <a:pt x="1168" y="256"/>
                  <a:pt x="1168" y="256"/>
                </a:cubicBezTo>
                <a:cubicBezTo>
                  <a:pt x="1168" y="259"/>
                  <a:pt x="1170" y="261"/>
                  <a:pt x="1173" y="261"/>
                </a:cubicBezTo>
                <a:cubicBezTo>
                  <a:pt x="1174" y="261"/>
                  <a:pt x="1176" y="260"/>
                  <a:pt x="1177" y="259"/>
                </a:cubicBezTo>
                <a:cubicBezTo>
                  <a:pt x="1178" y="258"/>
                  <a:pt x="1179" y="257"/>
                  <a:pt x="1180" y="256"/>
                </a:cubicBezTo>
                <a:cubicBezTo>
                  <a:pt x="1179" y="255"/>
                  <a:pt x="1179" y="255"/>
                  <a:pt x="1179" y="255"/>
                </a:cubicBezTo>
                <a:cubicBezTo>
                  <a:pt x="1178" y="256"/>
                  <a:pt x="1177" y="256"/>
                  <a:pt x="1176" y="256"/>
                </a:cubicBezTo>
                <a:cubicBezTo>
                  <a:pt x="1175" y="256"/>
                  <a:pt x="1175" y="256"/>
                  <a:pt x="1175" y="255"/>
                </a:cubicBezTo>
                <a:cubicBezTo>
                  <a:pt x="1175" y="254"/>
                  <a:pt x="1175" y="254"/>
                  <a:pt x="1175" y="254"/>
                </a:cubicBezTo>
                <a:close/>
                <a:moveTo>
                  <a:pt x="1172" y="225"/>
                </a:moveTo>
                <a:cubicBezTo>
                  <a:pt x="1169" y="250"/>
                  <a:pt x="1169" y="250"/>
                  <a:pt x="1169" y="250"/>
                </a:cubicBezTo>
                <a:cubicBezTo>
                  <a:pt x="1168" y="252"/>
                  <a:pt x="1166" y="253"/>
                  <a:pt x="1164" y="254"/>
                </a:cubicBezTo>
                <a:cubicBezTo>
                  <a:pt x="1163" y="256"/>
                  <a:pt x="1161" y="256"/>
                  <a:pt x="1159" y="256"/>
                </a:cubicBezTo>
                <a:cubicBezTo>
                  <a:pt x="1157" y="256"/>
                  <a:pt x="1155" y="255"/>
                  <a:pt x="1154" y="253"/>
                </a:cubicBezTo>
                <a:cubicBezTo>
                  <a:pt x="1153" y="252"/>
                  <a:pt x="1153" y="249"/>
                  <a:pt x="1153" y="246"/>
                </a:cubicBezTo>
                <a:cubicBezTo>
                  <a:pt x="1153" y="242"/>
                  <a:pt x="1153" y="239"/>
                  <a:pt x="1154" y="236"/>
                </a:cubicBezTo>
                <a:cubicBezTo>
                  <a:pt x="1155" y="232"/>
                  <a:pt x="1157" y="230"/>
                  <a:pt x="1159" y="227"/>
                </a:cubicBezTo>
                <a:cubicBezTo>
                  <a:pt x="1161" y="225"/>
                  <a:pt x="1164" y="224"/>
                  <a:pt x="1167" y="224"/>
                </a:cubicBezTo>
                <a:cubicBezTo>
                  <a:pt x="1169" y="224"/>
                  <a:pt x="1171" y="224"/>
                  <a:pt x="1172" y="225"/>
                </a:cubicBezTo>
                <a:close/>
                <a:moveTo>
                  <a:pt x="1198" y="254"/>
                </a:moveTo>
                <a:cubicBezTo>
                  <a:pt x="1202" y="221"/>
                  <a:pt x="1202" y="221"/>
                  <a:pt x="1202" y="221"/>
                </a:cubicBezTo>
                <a:cubicBezTo>
                  <a:pt x="1201" y="220"/>
                  <a:pt x="1201" y="220"/>
                  <a:pt x="1201" y="220"/>
                </a:cubicBezTo>
                <a:cubicBezTo>
                  <a:pt x="1191" y="222"/>
                  <a:pt x="1191" y="222"/>
                  <a:pt x="1191" y="222"/>
                </a:cubicBezTo>
                <a:cubicBezTo>
                  <a:pt x="1190" y="224"/>
                  <a:pt x="1190" y="224"/>
                  <a:pt x="1190" y="224"/>
                </a:cubicBezTo>
                <a:cubicBezTo>
                  <a:pt x="1195" y="226"/>
                  <a:pt x="1195" y="226"/>
                  <a:pt x="1195" y="226"/>
                </a:cubicBezTo>
                <a:cubicBezTo>
                  <a:pt x="1194" y="233"/>
                  <a:pt x="1193" y="239"/>
                  <a:pt x="1192" y="243"/>
                </a:cubicBezTo>
                <a:cubicBezTo>
                  <a:pt x="1191" y="251"/>
                  <a:pt x="1191" y="255"/>
                  <a:pt x="1191" y="256"/>
                </a:cubicBezTo>
                <a:cubicBezTo>
                  <a:pt x="1190" y="258"/>
                  <a:pt x="1191" y="259"/>
                  <a:pt x="1192" y="260"/>
                </a:cubicBezTo>
                <a:cubicBezTo>
                  <a:pt x="1192" y="260"/>
                  <a:pt x="1194" y="261"/>
                  <a:pt x="1195" y="261"/>
                </a:cubicBezTo>
                <a:cubicBezTo>
                  <a:pt x="1197" y="261"/>
                  <a:pt x="1199" y="260"/>
                  <a:pt x="1200" y="259"/>
                </a:cubicBezTo>
                <a:cubicBezTo>
                  <a:pt x="1202" y="258"/>
                  <a:pt x="1203" y="257"/>
                  <a:pt x="1203" y="256"/>
                </a:cubicBezTo>
                <a:cubicBezTo>
                  <a:pt x="1202" y="254"/>
                  <a:pt x="1202" y="254"/>
                  <a:pt x="1202" y="254"/>
                </a:cubicBezTo>
                <a:cubicBezTo>
                  <a:pt x="1202" y="255"/>
                  <a:pt x="1201" y="256"/>
                  <a:pt x="1200" y="256"/>
                </a:cubicBezTo>
                <a:cubicBezTo>
                  <a:pt x="1200" y="256"/>
                  <a:pt x="1199" y="256"/>
                  <a:pt x="1199" y="256"/>
                </a:cubicBezTo>
                <a:cubicBezTo>
                  <a:pt x="1198" y="256"/>
                  <a:pt x="1198" y="256"/>
                  <a:pt x="1198" y="256"/>
                </a:cubicBezTo>
                <a:cubicBezTo>
                  <a:pt x="1198" y="256"/>
                  <a:pt x="1198" y="255"/>
                  <a:pt x="1198" y="255"/>
                </a:cubicBezTo>
                <a:lnTo>
                  <a:pt x="1198" y="254"/>
                </a:lnTo>
                <a:close/>
                <a:moveTo>
                  <a:pt x="1200" y="213"/>
                </a:moveTo>
                <a:cubicBezTo>
                  <a:pt x="1201" y="213"/>
                  <a:pt x="1202" y="212"/>
                  <a:pt x="1203" y="211"/>
                </a:cubicBezTo>
                <a:cubicBezTo>
                  <a:pt x="1204" y="210"/>
                  <a:pt x="1205" y="209"/>
                  <a:pt x="1205" y="207"/>
                </a:cubicBezTo>
                <a:cubicBezTo>
                  <a:pt x="1205" y="206"/>
                  <a:pt x="1204" y="206"/>
                  <a:pt x="1204" y="205"/>
                </a:cubicBezTo>
                <a:cubicBezTo>
                  <a:pt x="1203" y="204"/>
                  <a:pt x="1202" y="204"/>
                  <a:pt x="1201" y="204"/>
                </a:cubicBezTo>
                <a:cubicBezTo>
                  <a:pt x="1200" y="204"/>
                  <a:pt x="1198" y="204"/>
                  <a:pt x="1198" y="205"/>
                </a:cubicBezTo>
                <a:cubicBezTo>
                  <a:pt x="1197" y="206"/>
                  <a:pt x="1196" y="207"/>
                  <a:pt x="1196" y="209"/>
                </a:cubicBezTo>
                <a:cubicBezTo>
                  <a:pt x="1196" y="210"/>
                  <a:pt x="1197" y="211"/>
                  <a:pt x="1197" y="212"/>
                </a:cubicBezTo>
                <a:cubicBezTo>
                  <a:pt x="1198" y="212"/>
                  <a:pt x="1199" y="213"/>
                  <a:pt x="1200" y="213"/>
                </a:cubicBezTo>
                <a:close/>
                <a:moveTo>
                  <a:pt x="1237" y="228"/>
                </a:moveTo>
                <a:cubicBezTo>
                  <a:pt x="1238" y="229"/>
                  <a:pt x="1238" y="229"/>
                  <a:pt x="1238" y="229"/>
                </a:cubicBezTo>
                <a:cubicBezTo>
                  <a:pt x="1240" y="222"/>
                  <a:pt x="1240" y="222"/>
                  <a:pt x="1240" y="222"/>
                </a:cubicBezTo>
                <a:cubicBezTo>
                  <a:pt x="1239" y="221"/>
                  <a:pt x="1238" y="221"/>
                  <a:pt x="1237" y="221"/>
                </a:cubicBezTo>
                <a:cubicBezTo>
                  <a:pt x="1235" y="220"/>
                  <a:pt x="1234" y="220"/>
                  <a:pt x="1232" y="220"/>
                </a:cubicBezTo>
                <a:cubicBezTo>
                  <a:pt x="1228" y="220"/>
                  <a:pt x="1224" y="221"/>
                  <a:pt x="1221" y="224"/>
                </a:cubicBezTo>
                <a:cubicBezTo>
                  <a:pt x="1218" y="227"/>
                  <a:pt x="1216" y="230"/>
                  <a:pt x="1214" y="234"/>
                </a:cubicBezTo>
                <a:cubicBezTo>
                  <a:pt x="1213" y="237"/>
                  <a:pt x="1212" y="241"/>
                  <a:pt x="1212" y="245"/>
                </a:cubicBezTo>
                <a:cubicBezTo>
                  <a:pt x="1212" y="250"/>
                  <a:pt x="1213" y="254"/>
                  <a:pt x="1215" y="257"/>
                </a:cubicBezTo>
                <a:cubicBezTo>
                  <a:pt x="1217" y="259"/>
                  <a:pt x="1220" y="261"/>
                  <a:pt x="1224" y="261"/>
                </a:cubicBezTo>
                <a:cubicBezTo>
                  <a:pt x="1227" y="261"/>
                  <a:pt x="1230" y="260"/>
                  <a:pt x="1232" y="259"/>
                </a:cubicBezTo>
                <a:cubicBezTo>
                  <a:pt x="1235" y="257"/>
                  <a:pt x="1236" y="256"/>
                  <a:pt x="1238" y="254"/>
                </a:cubicBezTo>
                <a:cubicBezTo>
                  <a:pt x="1236" y="252"/>
                  <a:pt x="1236" y="252"/>
                  <a:pt x="1236" y="252"/>
                </a:cubicBezTo>
                <a:cubicBezTo>
                  <a:pt x="1235" y="253"/>
                  <a:pt x="1233" y="254"/>
                  <a:pt x="1232" y="255"/>
                </a:cubicBezTo>
                <a:cubicBezTo>
                  <a:pt x="1230" y="256"/>
                  <a:pt x="1229" y="256"/>
                  <a:pt x="1227" y="256"/>
                </a:cubicBezTo>
                <a:cubicBezTo>
                  <a:pt x="1224" y="256"/>
                  <a:pt x="1222" y="255"/>
                  <a:pt x="1221" y="253"/>
                </a:cubicBezTo>
                <a:cubicBezTo>
                  <a:pt x="1220" y="251"/>
                  <a:pt x="1219" y="248"/>
                  <a:pt x="1219" y="244"/>
                </a:cubicBezTo>
                <a:cubicBezTo>
                  <a:pt x="1219" y="240"/>
                  <a:pt x="1219" y="237"/>
                  <a:pt x="1221" y="234"/>
                </a:cubicBezTo>
                <a:cubicBezTo>
                  <a:pt x="1222" y="231"/>
                  <a:pt x="1223" y="229"/>
                  <a:pt x="1225" y="227"/>
                </a:cubicBezTo>
                <a:cubicBezTo>
                  <a:pt x="1227" y="225"/>
                  <a:pt x="1229" y="225"/>
                  <a:pt x="1231" y="225"/>
                </a:cubicBezTo>
                <a:cubicBezTo>
                  <a:pt x="1232" y="225"/>
                  <a:pt x="1235" y="226"/>
                  <a:pt x="1237" y="228"/>
                </a:cubicBezTo>
                <a:close/>
                <a:moveTo>
                  <a:pt x="1255" y="254"/>
                </a:moveTo>
                <a:cubicBezTo>
                  <a:pt x="1260" y="221"/>
                  <a:pt x="1260" y="221"/>
                  <a:pt x="1260" y="221"/>
                </a:cubicBezTo>
                <a:cubicBezTo>
                  <a:pt x="1259" y="220"/>
                  <a:pt x="1259" y="220"/>
                  <a:pt x="1259" y="220"/>
                </a:cubicBezTo>
                <a:cubicBezTo>
                  <a:pt x="1249" y="222"/>
                  <a:pt x="1249" y="222"/>
                  <a:pt x="1249" y="222"/>
                </a:cubicBezTo>
                <a:cubicBezTo>
                  <a:pt x="1248" y="224"/>
                  <a:pt x="1248" y="224"/>
                  <a:pt x="1248" y="224"/>
                </a:cubicBezTo>
                <a:cubicBezTo>
                  <a:pt x="1253" y="226"/>
                  <a:pt x="1253" y="226"/>
                  <a:pt x="1253" y="226"/>
                </a:cubicBezTo>
                <a:cubicBezTo>
                  <a:pt x="1252" y="233"/>
                  <a:pt x="1251" y="239"/>
                  <a:pt x="1250" y="243"/>
                </a:cubicBezTo>
                <a:cubicBezTo>
                  <a:pt x="1249" y="251"/>
                  <a:pt x="1248" y="255"/>
                  <a:pt x="1248" y="256"/>
                </a:cubicBezTo>
                <a:cubicBezTo>
                  <a:pt x="1248" y="258"/>
                  <a:pt x="1249" y="259"/>
                  <a:pt x="1249" y="260"/>
                </a:cubicBezTo>
                <a:cubicBezTo>
                  <a:pt x="1250" y="260"/>
                  <a:pt x="1251" y="261"/>
                  <a:pt x="1253" y="261"/>
                </a:cubicBezTo>
                <a:cubicBezTo>
                  <a:pt x="1255" y="261"/>
                  <a:pt x="1256" y="260"/>
                  <a:pt x="1258" y="259"/>
                </a:cubicBezTo>
                <a:cubicBezTo>
                  <a:pt x="1259" y="258"/>
                  <a:pt x="1260" y="257"/>
                  <a:pt x="1261" y="256"/>
                </a:cubicBezTo>
                <a:cubicBezTo>
                  <a:pt x="1260" y="254"/>
                  <a:pt x="1260" y="254"/>
                  <a:pt x="1260" y="254"/>
                </a:cubicBezTo>
                <a:cubicBezTo>
                  <a:pt x="1259" y="255"/>
                  <a:pt x="1259" y="256"/>
                  <a:pt x="1258" y="256"/>
                </a:cubicBezTo>
                <a:cubicBezTo>
                  <a:pt x="1258" y="256"/>
                  <a:pt x="1257" y="256"/>
                  <a:pt x="1256" y="256"/>
                </a:cubicBezTo>
                <a:cubicBezTo>
                  <a:pt x="1256" y="256"/>
                  <a:pt x="1256" y="256"/>
                  <a:pt x="1256" y="256"/>
                </a:cubicBezTo>
                <a:cubicBezTo>
                  <a:pt x="1255" y="256"/>
                  <a:pt x="1255" y="255"/>
                  <a:pt x="1255" y="255"/>
                </a:cubicBezTo>
                <a:lnTo>
                  <a:pt x="1255" y="254"/>
                </a:lnTo>
                <a:close/>
                <a:moveTo>
                  <a:pt x="1258" y="213"/>
                </a:moveTo>
                <a:cubicBezTo>
                  <a:pt x="1259" y="213"/>
                  <a:pt x="1260" y="212"/>
                  <a:pt x="1261" y="211"/>
                </a:cubicBezTo>
                <a:cubicBezTo>
                  <a:pt x="1262" y="210"/>
                  <a:pt x="1262" y="209"/>
                  <a:pt x="1262" y="207"/>
                </a:cubicBezTo>
                <a:cubicBezTo>
                  <a:pt x="1262" y="206"/>
                  <a:pt x="1262" y="206"/>
                  <a:pt x="1261" y="205"/>
                </a:cubicBezTo>
                <a:cubicBezTo>
                  <a:pt x="1261" y="204"/>
                  <a:pt x="1260" y="204"/>
                  <a:pt x="1259" y="204"/>
                </a:cubicBezTo>
                <a:cubicBezTo>
                  <a:pt x="1257" y="204"/>
                  <a:pt x="1256" y="204"/>
                  <a:pt x="1255" y="205"/>
                </a:cubicBezTo>
                <a:cubicBezTo>
                  <a:pt x="1254" y="206"/>
                  <a:pt x="1254" y="207"/>
                  <a:pt x="1254" y="209"/>
                </a:cubicBezTo>
                <a:cubicBezTo>
                  <a:pt x="1254" y="210"/>
                  <a:pt x="1254" y="211"/>
                  <a:pt x="1255" y="212"/>
                </a:cubicBezTo>
                <a:cubicBezTo>
                  <a:pt x="1256" y="212"/>
                  <a:pt x="1257" y="213"/>
                  <a:pt x="1258" y="213"/>
                </a:cubicBezTo>
                <a:close/>
                <a:moveTo>
                  <a:pt x="1282" y="229"/>
                </a:moveTo>
                <a:cubicBezTo>
                  <a:pt x="1283" y="221"/>
                  <a:pt x="1283" y="221"/>
                  <a:pt x="1283" y="221"/>
                </a:cubicBezTo>
                <a:cubicBezTo>
                  <a:pt x="1281" y="220"/>
                  <a:pt x="1281" y="220"/>
                  <a:pt x="1281" y="220"/>
                </a:cubicBezTo>
                <a:cubicBezTo>
                  <a:pt x="1273" y="222"/>
                  <a:pt x="1273" y="222"/>
                  <a:pt x="1273" y="222"/>
                </a:cubicBezTo>
                <a:cubicBezTo>
                  <a:pt x="1272" y="224"/>
                  <a:pt x="1272" y="224"/>
                  <a:pt x="1272" y="224"/>
                </a:cubicBezTo>
                <a:cubicBezTo>
                  <a:pt x="1275" y="226"/>
                  <a:pt x="1275" y="226"/>
                  <a:pt x="1275" y="226"/>
                </a:cubicBezTo>
                <a:cubicBezTo>
                  <a:pt x="1271" y="260"/>
                  <a:pt x="1271" y="260"/>
                  <a:pt x="1271" y="260"/>
                </a:cubicBezTo>
                <a:cubicBezTo>
                  <a:pt x="1278" y="260"/>
                  <a:pt x="1278" y="260"/>
                  <a:pt x="1278" y="260"/>
                </a:cubicBezTo>
                <a:cubicBezTo>
                  <a:pt x="1281" y="235"/>
                  <a:pt x="1281" y="235"/>
                  <a:pt x="1281" y="235"/>
                </a:cubicBezTo>
                <a:cubicBezTo>
                  <a:pt x="1283" y="232"/>
                  <a:pt x="1285" y="230"/>
                  <a:pt x="1287" y="228"/>
                </a:cubicBezTo>
                <a:cubicBezTo>
                  <a:pt x="1289" y="226"/>
                  <a:pt x="1291" y="225"/>
                  <a:pt x="1293" y="225"/>
                </a:cubicBezTo>
                <a:cubicBezTo>
                  <a:pt x="1295" y="225"/>
                  <a:pt x="1296" y="226"/>
                  <a:pt x="1297" y="226"/>
                </a:cubicBezTo>
                <a:cubicBezTo>
                  <a:pt x="1297" y="227"/>
                  <a:pt x="1298" y="229"/>
                  <a:pt x="1298" y="231"/>
                </a:cubicBezTo>
                <a:cubicBezTo>
                  <a:pt x="1298" y="233"/>
                  <a:pt x="1297" y="234"/>
                  <a:pt x="1297" y="236"/>
                </a:cubicBezTo>
                <a:cubicBezTo>
                  <a:pt x="1297" y="238"/>
                  <a:pt x="1297" y="240"/>
                  <a:pt x="1296" y="243"/>
                </a:cubicBezTo>
                <a:cubicBezTo>
                  <a:pt x="1296" y="245"/>
                  <a:pt x="1296" y="245"/>
                  <a:pt x="1296" y="245"/>
                </a:cubicBezTo>
                <a:cubicBezTo>
                  <a:pt x="1295" y="248"/>
                  <a:pt x="1295" y="248"/>
                  <a:pt x="1295" y="248"/>
                </a:cubicBezTo>
                <a:cubicBezTo>
                  <a:pt x="1294" y="252"/>
                  <a:pt x="1294" y="255"/>
                  <a:pt x="1294" y="256"/>
                </a:cubicBezTo>
                <a:cubicBezTo>
                  <a:pt x="1294" y="259"/>
                  <a:pt x="1295" y="261"/>
                  <a:pt x="1298" y="261"/>
                </a:cubicBezTo>
                <a:cubicBezTo>
                  <a:pt x="1300" y="261"/>
                  <a:pt x="1301" y="260"/>
                  <a:pt x="1302" y="260"/>
                </a:cubicBezTo>
                <a:cubicBezTo>
                  <a:pt x="1303" y="259"/>
                  <a:pt x="1304" y="259"/>
                  <a:pt x="1305" y="258"/>
                </a:cubicBezTo>
                <a:cubicBezTo>
                  <a:pt x="1305" y="258"/>
                  <a:pt x="1306" y="257"/>
                  <a:pt x="1306" y="257"/>
                </a:cubicBezTo>
                <a:cubicBezTo>
                  <a:pt x="1305" y="255"/>
                  <a:pt x="1305" y="255"/>
                  <a:pt x="1305" y="255"/>
                </a:cubicBezTo>
                <a:cubicBezTo>
                  <a:pt x="1304" y="256"/>
                  <a:pt x="1303" y="256"/>
                  <a:pt x="1302" y="256"/>
                </a:cubicBezTo>
                <a:cubicBezTo>
                  <a:pt x="1301" y="256"/>
                  <a:pt x="1301" y="256"/>
                  <a:pt x="1301" y="255"/>
                </a:cubicBezTo>
                <a:cubicBezTo>
                  <a:pt x="1301" y="253"/>
                  <a:pt x="1301" y="250"/>
                  <a:pt x="1302" y="246"/>
                </a:cubicBezTo>
                <a:cubicBezTo>
                  <a:pt x="1303" y="243"/>
                  <a:pt x="1303" y="243"/>
                  <a:pt x="1303" y="243"/>
                </a:cubicBezTo>
                <a:cubicBezTo>
                  <a:pt x="1303" y="241"/>
                  <a:pt x="1303" y="241"/>
                  <a:pt x="1303" y="241"/>
                </a:cubicBezTo>
                <a:cubicBezTo>
                  <a:pt x="1304" y="236"/>
                  <a:pt x="1305" y="232"/>
                  <a:pt x="1305" y="230"/>
                </a:cubicBezTo>
                <a:cubicBezTo>
                  <a:pt x="1305" y="227"/>
                  <a:pt x="1304" y="224"/>
                  <a:pt x="1302" y="223"/>
                </a:cubicBezTo>
                <a:cubicBezTo>
                  <a:pt x="1301" y="221"/>
                  <a:pt x="1299" y="220"/>
                  <a:pt x="1296" y="220"/>
                </a:cubicBezTo>
                <a:cubicBezTo>
                  <a:pt x="1294" y="220"/>
                  <a:pt x="1291" y="221"/>
                  <a:pt x="1289" y="223"/>
                </a:cubicBezTo>
                <a:cubicBezTo>
                  <a:pt x="1286" y="224"/>
                  <a:pt x="1284" y="227"/>
                  <a:pt x="1282" y="229"/>
                </a:cubicBezTo>
                <a:close/>
                <a:moveTo>
                  <a:pt x="1342" y="253"/>
                </a:moveTo>
                <a:cubicBezTo>
                  <a:pt x="1340" y="251"/>
                  <a:pt x="1340" y="251"/>
                  <a:pt x="1340" y="251"/>
                </a:cubicBezTo>
                <a:cubicBezTo>
                  <a:pt x="1339" y="253"/>
                  <a:pt x="1337" y="254"/>
                  <a:pt x="1335" y="255"/>
                </a:cubicBezTo>
                <a:cubicBezTo>
                  <a:pt x="1333" y="256"/>
                  <a:pt x="1331" y="256"/>
                  <a:pt x="1329" y="256"/>
                </a:cubicBezTo>
                <a:cubicBezTo>
                  <a:pt x="1326" y="256"/>
                  <a:pt x="1323" y="255"/>
                  <a:pt x="1322" y="253"/>
                </a:cubicBezTo>
                <a:cubicBezTo>
                  <a:pt x="1321" y="250"/>
                  <a:pt x="1320" y="247"/>
                  <a:pt x="1320" y="244"/>
                </a:cubicBezTo>
                <a:cubicBezTo>
                  <a:pt x="1323" y="244"/>
                  <a:pt x="1327" y="244"/>
                  <a:pt x="1330" y="242"/>
                </a:cubicBezTo>
                <a:cubicBezTo>
                  <a:pt x="1334" y="241"/>
                  <a:pt x="1337" y="240"/>
                  <a:pt x="1340" y="237"/>
                </a:cubicBezTo>
                <a:cubicBezTo>
                  <a:pt x="1342" y="235"/>
                  <a:pt x="1344" y="232"/>
                  <a:pt x="1344" y="229"/>
                </a:cubicBezTo>
                <a:cubicBezTo>
                  <a:pt x="1344" y="226"/>
                  <a:pt x="1343" y="224"/>
                  <a:pt x="1341" y="223"/>
                </a:cubicBezTo>
                <a:cubicBezTo>
                  <a:pt x="1340" y="221"/>
                  <a:pt x="1337" y="220"/>
                  <a:pt x="1334" y="220"/>
                </a:cubicBezTo>
                <a:cubicBezTo>
                  <a:pt x="1330" y="220"/>
                  <a:pt x="1326" y="221"/>
                  <a:pt x="1323" y="224"/>
                </a:cubicBezTo>
                <a:cubicBezTo>
                  <a:pt x="1320" y="226"/>
                  <a:pt x="1318" y="229"/>
                  <a:pt x="1316" y="233"/>
                </a:cubicBezTo>
                <a:cubicBezTo>
                  <a:pt x="1314" y="237"/>
                  <a:pt x="1313" y="241"/>
                  <a:pt x="1313" y="246"/>
                </a:cubicBezTo>
                <a:cubicBezTo>
                  <a:pt x="1313" y="248"/>
                  <a:pt x="1314" y="251"/>
                  <a:pt x="1315" y="253"/>
                </a:cubicBezTo>
                <a:cubicBezTo>
                  <a:pt x="1316" y="255"/>
                  <a:pt x="1317" y="257"/>
                  <a:pt x="1319" y="259"/>
                </a:cubicBezTo>
                <a:cubicBezTo>
                  <a:pt x="1321" y="260"/>
                  <a:pt x="1324" y="261"/>
                  <a:pt x="1327" y="261"/>
                </a:cubicBezTo>
                <a:cubicBezTo>
                  <a:pt x="1330" y="261"/>
                  <a:pt x="1333" y="260"/>
                  <a:pt x="1336" y="258"/>
                </a:cubicBezTo>
                <a:cubicBezTo>
                  <a:pt x="1339" y="257"/>
                  <a:pt x="1341" y="255"/>
                  <a:pt x="1342" y="253"/>
                </a:cubicBezTo>
                <a:close/>
                <a:moveTo>
                  <a:pt x="1332" y="224"/>
                </a:moveTo>
                <a:cubicBezTo>
                  <a:pt x="1334" y="224"/>
                  <a:pt x="1335" y="224"/>
                  <a:pt x="1336" y="225"/>
                </a:cubicBezTo>
                <a:cubicBezTo>
                  <a:pt x="1337" y="226"/>
                  <a:pt x="1337" y="228"/>
                  <a:pt x="1337" y="229"/>
                </a:cubicBezTo>
                <a:cubicBezTo>
                  <a:pt x="1337" y="232"/>
                  <a:pt x="1336" y="234"/>
                  <a:pt x="1334" y="235"/>
                </a:cubicBezTo>
                <a:cubicBezTo>
                  <a:pt x="1333" y="237"/>
                  <a:pt x="1331" y="238"/>
                  <a:pt x="1328" y="239"/>
                </a:cubicBezTo>
                <a:cubicBezTo>
                  <a:pt x="1325" y="240"/>
                  <a:pt x="1323" y="241"/>
                  <a:pt x="1321" y="241"/>
                </a:cubicBezTo>
                <a:cubicBezTo>
                  <a:pt x="1321" y="238"/>
                  <a:pt x="1321" y="236"/>
                  <a:pt x="1322" y="233"/>
                </a:cubicBezTo>
                <a:cubicBezTo>
                  <a:pt x="1323" y="230"/>
                  <a:pt x="1325" y="228"/>
                  <a:pt x="1326" y="226"/>
                </a:cubicBezTo>
                <a:cubicBezTo>
                  <a:pt x="1328" y="225"/>
                  <a:pt x="1330" y="224"/>
                  <a:pt x="1332" y="224"/>
                </a:cubicBezTo>
                <a:close/>
              </a:path>
            </a:pathLst>
          </a:custGeom>
          <a:solidFill>
            <a:schemeClr val="tx2"/>
          </a:solidFill>
          <a:ln>
            <a:noFill/>
          </a:ln>
        </p:spPr>
        <p:txBody>
          <a:bodyPr vert="horz" wrap="square" lIns="121920" tIns="60960" rIns="121920" bIns="60960" numCol="1" anchor="t" anchorCtr="0" compatLnSpc="1">
            <a:prstTxWarp prst="textNoShape">
              <a:avLst/>
            </a:prstTxWarp>
          </a:bodyPr>
          <a:lstStyle/>
          <a:p>
            <a:endParaRPr lang="en-US" sz="2400"/>
          </a:p>
        </p:txBody>
      </p:sp>
    </p:spTree>
    <p:extLst>
      <p:ext uri="{BB962C8B-B14F-4D97-AF65-F5344CB8AC3E}">
        <p14:creationId xmlns:p14="http://schemas.microsoft.com/office/powerpoint/2010/main" val="2164296386"/>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p:cSld name="Title Only w/bkgd_image bar">
    <p:bg>
      <p:bgPr>
        <a:solidFill>
          <a:schemeClr val="bg2"/>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192D0DBD-2D19-47C8-BFE8-5D1014D84882}"/>
              </a:ext>
            </a:extLst>
          </p:cNvPr>
          <p:cNvSpPr>
            <a:spLocks noGrp="1"/>
          </p:cNvSpPr>
          <p:nvPr>
            <p:ph type="pic" sz="quarter" idx="13"/>
          </p:nvPr>
        </p:nvSpPr>
        <p:spPr>
          <a:xfrm>
            <a:off x="-3321" y="0"/>
            <a:ext cx="12195321" cy="6859368"/>
          </a:xfrm>
          <a:custGeom>
            <a:avLst/>
            <a:gdLst>
              <a:gd name="connsiteX0" fmla="*/ 0 w 9144000"/>
              <a:gd name="connsiteY0" fmla="*/ 0 h 5143500"/>
              <a:gd name="connsiteX1" fmla="*/ 9144000 w 9144000"/>
              <a:gd name="connsiteY1" fmla="*/ 0 h 5143500"/>
              <a:gd name="connsiteX2" fmla="*/ 9144000 w 9144000"/>
              <a:gd name="connsiteY2" fmla="*/ 5143500 h 5143500"/>
              <a:gd name="connsiteX3" fmla="*/ 0 w 9144000"/>
              <a:gd name="connsiteY3" fmla="*/ 5143500 h 5143500"/>
              <a:gd name="connsiteX4" fmla="*/ 0 w 9144000"/>
              <a:gd name="connsiteY4" fmla="*/ 0 h 5143500"/>
              <a:gd name="connsiteX0" fmla="*/ 0 w 9144000"/>
              <a:gd name="connsiteY0" fmla="*/ 0 h 5143500"/>
              <a:gd name="connsiteX1" fmla="*/ 9144000 w 9144000"/>
              <a:gd name="connsiteY1" fmla="*/ 0 h 5143500"/>
              <a:gd name="connsiteX2" fmla="*/ 9144000 w 9144000"/>
              <a:gd name="connsiteY2" fmla="*/ 5143500 h 5143500"/>
              <a:gd name="connsiteX3" fmla="*/ 0 w 9144000"/>
              <a:gd name="connsiteY3" fmla="*/ 688731 h 5143500"/>
              <a:gd name="connsiteX4" fmla="*/ 0 w 9144000"/>
              <a:gd name="connsiteY4" fmla="*/ 0 h 5143500"/>
              <a:gd name="connsiteX0" fmla="*/ 0 w 9144000"/>
              <a:gd name="connsiteY0" fmla="*/ 0 h 5143500"/>
              <a:gd name="connsiteX1" fmla="*/ 9144000 w 9144000"/>
              <a:gd name="connsiteY1" fmla="*/ 0 h 5143500"/>
              <a:gd name="connsiteX2" fmla="*/ 9144000 w 9144000"/>
              <a:gd name="connsiteY2" fmla="*/ 5143500 h 5143500"/>
              <a:gd name="connsiteX3" fmla="*/ 4454769 w 9144000"/>
              <a:gd name="connsiteY3" fmla="*/ 2743200 h 5143500"/>
              <a:gd name="connsiteX4" fmla="*/ 0 w 9144000"/>
              <a:gd name="connsiteY4" fmla="*/ 688731 h 5143500"/>
              <a:gd name="connsiteX5" fmla="*/ 0 w 9144000"/>
              <a:gd name="connsiteY5" fmla="*/ 0 h 5143500"/>
              <a:gd name="connsiteX0" fmla="*/ 0 w 9144000"/>
              <a:gd name="connsiteY0" fmla="*/ 0 h 5143500"/>
              <a:gd name="connsiteX1" fmla="*/ 9144000 w 9144000"/>
              <a:gd name="connsiteY1" fmla="*/ 0 h 5143500"/>
              <a:gd name="connsiteX2" fmla="*/ 9144000 w 9144000"/>
              <a:gd name="connsiteY2" fmla="*/ 5143500 h 5143500"/>
              <a:gd name="connsiteX3" fmla="*/ 8721969 w 9144000"/>
              <a:gd name="connsiteY3" fmla="*/ 293077 h 5143500"/>
              <a:gd name="connsiteX4" fmla="*/ 0 w 9144000"/>
              <a:gd name="connsiteY4" fmla="*/ 688731 h 5143500"/>
              <a:gd name="connsiteX5" fmla="*/ 0 w 9144000"/>
              <a:gd name="connsiteY5" fmla="*/ 0 h 5143500"/>
              <a:gd name="connsiteX0" fmla="*/ 23446 w 9167446"/>
              <a:gd name="connsiteY0" fmla="*/ 0 h 5143500"/>
              <a:gd name="connsiteX1" fmla="*/ 9167446 w 9167446"/>
              <a:gd name="connsiteY1" fmla="*/ 0 h 5143500"/>
              <a:gd name="connsiteX2" fmla="*/ 9167446 w 9167446"/>
              <a:gd name="connsiteY2" fmla="*/ 5143500 h 5143500"/>
              <a:gd name="connsiteX3" fmla="*/ 8745415 w 9167446"/>
              <a:gd name="connsiteY3" fmla="*/ 293077 h 5143500"/>
              <a:gd name="connsiteX4" fmla="*/ 0 w 9167446"/>
              <a:gd name="connsiteY4" fmla="*/ 383931 h 5143500"/>
              <a:gd name="connsiteX5" fmla="*/ 23446 w 9167446"/>
              <a:gd name="connsiteY5" fmla="*/ 0 h 5143500"/>
              <a:gd name="connsiteX0" fmla="*/ 23446 w 9167446"/>
              <a:gd name="connsiteY0" fmla="*/ 0 h 5143500"/>
              <a:gd name="connsiteX1" fmla="*/ 9167446 w 9167446"/>
              <a:gd name="connsiteY1" fmla="*/ 0 h 5143500"/>
              <a:gd name="connsiteX2" fmla="*/ 9167446 w 9167446"/>
              <a:gd name="connsiteY2" fmla="*/ 5143500 h 5143500"/>
              <a:gd name="connsiteX3" fmla="*/ 8745415 w 9167446"/>
              <a:gd name="connsiteY3" fmla="*/ 422031 h 5143500"/>
              <a:gd name="connsiteX4" fmla="*/ 0 w 9167446"/>
              <a:gd name="connsiteY4" fmla="*/ 383931 h 5143500"/>
              <a:gd name="connsiteX5" fmla="*/ 23446 w 9167446"/>
              <a:gd name="connsiteY5" fmla="*/ 0 h 5143500"/>
              <a:gd name="connsiteX0" fmla="*/ 23446 w 9167446"/>
              <a:gd name="connsiteY0" fmla="*/ 0 h 5143500"/>
              <a:gd name="connsiteX1" fmla="*/ 9167446 w 9167446"/>
              <a:gd name="connsiteY1" fmla="*/ 0 h 5143500"/>
              <a:gd name="connsiteX2" fmla="*/ 9167446 w 9167446"/>
              <a:gd name="connsiteY2" fmla="*/ 5143500 h 5143500"/>
              <a:gd name="connsiteX3" fmla="*/ 8932984 w 9167446"/>
              <a:gd name="connsiteY3" fmla="*/ 2625969 h 5143500"/>
              <a:gd name="connsiteX4" fmla="*/ 8745415 w 9167446"/>
              <a:gd name="connsiteY4" fmla="*/ 422031 h 5143500"/>
              <a:gd name="connsiteX5" fmla="*/ 0 w 9167446"/>
              <a:gd name="connsiteY5" fmla="*/ 383931 h 5143500"/>
              <a:gd name="connsiteX6" fmla="*/ 23446 w 9167446"/>
              <a:gd name="connsiteY6" fmla="*/ 0 h 5143500"/>
              <a:gd name="connsiteX0" fmla="*/ 23446 w 9167446"/>
              <a:gd name="connsiteY0" fmla="*/ 0 h 5146431"/>
              <a:gd name="connsiteX1" fmla="*/ 9167446 w 9167446"/>
              <a:gd name="connsiteY1" fmla="*/ 0 h 5146431"/>
              <a:gd name="connsiteX2" fmla="*/ 9167446 w 9167446"/>
              <a:gd name="connsiteY2" fmla="*/ 5143500 h 5146431"/>
              <a:gd name="connsiteX3" fmla="*/ 8839199 w 9167446"/>
              <a:gd name="connsiteY3" fmla="*/ 5146431 h 5146431"/>
              <a:gd name="connsiteX4" fmla="*/ 8745415 w 9167446"/>
              <a:gd name="connsiteY4" fmla="*/ 422031 h 5146431"/>
              <a:gd name="connsiteX5" fmla="*/ 0 w 9167446"/>
              <a:gd name="connsiteY5" fmla="*/ 383931 h 5146431"/>
              <a:gd name="connsiteX6" fmla="*/ 23446 w 9167446"/>
              <a:gd name="connsiteY6" fmla="*/ 0 h 5146431"/>
              <a:gd name="connsiteX0" fmla="*/ 2491 w 9146491"/>
              <a:gd name="connsiteY0" fmla="*/ 0 h 5146431"/>
              <a:gd name="connsiteX1" fmla="*/ 9146491 w 9146491"/>
              <a:gd name="connsiteY1" fmla="*/ 0 h 5146431"/>
              <a:gd name="connsiteX2" fmla="*/ 9146491 w 9146491"/>
              <a:gd name="connsiteY2" fmla="*/ 5143500 h 5146431"/>
              <a:gd name="connsiteX3" fmla="*/ 8818244 w 9146491"/>
              <a:gd name="connsiteY3" fmla="*/ 5146431 h 5146431"/>
              <a:gd name="connsiteX4" fmla="*/ 8724460 w 9146491"/>
              <a:gd name="connsiteY4" fmla="*/ 422031 h 5146431"/>
              <a:gd name="connsiteX5" fmla="*/ 0 w 9146491"/>
              <a:gd name="connsiteY5" fmla="*/ 435366 h 5146431"/>
              <a:gd name="connsiteX6" fmla="*/ 2491 w 9146491"/>
              <a:gd name="connsiteY6" fmla="*/ 0 h 5146431"/>
              <a:gd name="connsiteX0" fmla="*/ 2491 w 9146491"/>
              <a:gd name="connsiteY0" fmla="*/ 0 h 5146431"/>
              <a:gd name="connsiteX1" fmla="*/ 9146491 w 9146491"/>
              <a:gd name="connsiteY1" fmla="*/ 0 h 5146431"/>
              <a:gd name="connsiteX2" fmla="*/ 9146491 w 9146491"/>
              <a:gd name="connsiteY2" fmla="*/ 5143500 h 5146431"/>
              <a:gd name="connsiteX3" fmla="*/ 8818244 w 9146491"/>
              <a:gd name="connsiteY3" fmla="*/ 5146431 h 5146431"/>
              <a:gd name="connsiteX4" fmla="*/ 8684455 w 9146491"/>
              <a:gd name="connsiteY4" fmla="*/ 427746 h 5146431"/>
              <a:gd name="connsiteX5" fmla="*/ 0 w 9146491"/>
              <a:gd name="connsiteY5" fmla="*/ 435366 h 5146431"/>
              <a:gd name="connsiteX6" fmla="*/ 2491 w 9146491"/>
              <a:gd name="connsiteY6" fmla="*/ 0 h 5146431"/>
              <a:gd name="connsiteX0" fmla="*/ 2491 w 9146491"/>
              <a:gd name="connsiteY0" fmla="*/ 0 h 5146431"/>
              <a:gd name="connsiteX1" fmla="*/ 9146491 w 9146491"/>
              <a:gd name="connsiteY1" fmla="*/ 0 h 5146431"/>
              <a:gd name="connsiteX2" fmla="*/ 9146491 w 9146491"/>
              <a:gd name="connsiteY2" fmla="*/ 5143500 h 5146431"/>
              <a:gd name="connsiteX3" fmla="*/ 8688704 w 9146491"/>
              <a:gd name="connsiteY3" fmla="*/ 5146431 h 5146431"/>
              <a:gd name="connsiteX4" fmla="*/ 8684455 w 9146491"/>
              <a:gd name="connsiteY4" fmla="*/ 427746 h 5146431"/>
              <a:gd name="connsiteX5" fmla="*/ 0 w 9146491"/>
              <a:gd name="connsiteY5" fmla="*/ 435366 h 5146431"/>
              <a:gd name="connsiteX6" fmla="*/ 2491 w 9146491"/>
              <a:gd name="connsiteY6" fmla="*/ 0 h 5146431"/>
              <a:gd name="connsiteX0" fmla="*/ 2491 w 9146491"/>
              <a:gd name="connsiteY0" fmla="*/ 0 h 5146431"/>
              <a:gd name="connsiteX1" fmla="*/ 9146491 w 9146491"/>
              <a:gd name="connsiteY1" fmla="*/ 0 h 5146431"/>
              <a:gd name="connsiteX2" fmla="*/ 9146491 w 9146491"/>
              <a:gd name="connsiteY2" fmla="*/ 5143500 h 5146431"/>
              <a:gd name="connsiteX3" fmla="*/ 8688704 w 9146491"/>
              <a:gd name="connsiteY3" fmla="*/ 5146431 h 5146431"/>
              <a:gd name="connsiteX4" fmla="*/ 8684455 w 9146491"/>
              <a:gd name="connsiteY4" fmla="*/ 431556 h 5146431"/>
              <a:gd name="connsiteX5" fmla="*/ 0 w 9146491"/>
              <a:gd name="connsiteY5" fmla="*/ 435366 h 5146431"/>
              <a:gd name="connsiteX6" fmla="*/ 2491 w 9146491"/>
              <a:gd name="connsiteY6" fmla="*/ 0 h 5146431"/>
              <a:gd name="connsiteX0" fmla="*/ 2491 w 9146491"/>
              <a:gd name="connsiteY0" fmla="*/ 0 h 5144526"/>
              <a:gd name="connsiteX1" fmla="*/ 9146491 w 9146491"/>
              <a:gd name="connsiteY1" fmla="*/ 0 h 5144526"/>
              <a:gd name="connsiteX2" fmla="*/ 9146491 w 9146491"/>
              <a:gd name="connsiteY2" fmla="*/ 5143500 h 5144526"/>
              <a:gd name="connsiteX3" fmla="*/ 8696324 w 9146491"/>
              <a:gd name="connsiteY3" fmla="*/ 5144526 h 5144526"/>
              <a:gd name="connsiteX4" fmla="*/ 8684455 w 9146491"/>
              <a:gd name="connsiteY4" fmla="*/ 431556 h 5144526"/>
              <a:gd name="connsiteX5" fmla="*/ 0 w 9146491"/>
              <a:gd name="connsiteY5" fmla="*/ 435366 h 5144526"/>
              <a:gd name="connsiteX6" fmla="*/ 2491 w 9146491"/>
              <a:gd name="connsiteY6" fmla="*/ 0 h 5144526"/>
              <a:gd name="connsiteX0" fmla="*/ 2491 w 9146491"/>
              <a:gd name="connsiteY0" fmla="*/ 0 h 5144526"/>
              <a:gd name="connsiteX1" fmla="*/ 9146491 w 9146491"/>
              <a:gd name="connsiteY1" fmla="*/ 0 h 5144526"/>
              <a:gd name="connsiteX2" fmla="*/ 9146491 w 9146491"/>
              <a:gd name="connsiteY2" fmla="*/ 5143500 h 5144526"/>
              <a:gd name="connsiteX3" fmla="*/ 8686799 w 9146491"/>
              <a:gd name="connsiteY3" fmla="*/ 5144526 h 5144526"/>
              <a:gd name="connsiteX4" fmla="*/ 8684455 w 9146491"/>
              <a:gd name="connsiteY4" fmla="*/ 431556 h 5144526"/>
              <a:gd name="connsiteX5" fmla="*/ 0 w 9146491"/>
              <a:gd name="connsiteY5" fmla="*/ 435366 h 5144526"/>
              <a:gd name="connsiteX6" fmla="*/ 2491 w 9146491"/>
              <a:gd name="connsiteY6" fmla="*/ 0 h 5144526"/>
              <a:gd name="connsiteX0" fmla="*/ 2491 w 9146491"/>
              <a:gd name="connsiteY0" fmla="*/ 0 h 5144526"/>
              <a:gd name="connsiteX1" fmla="*/ 9146491 w 9146491"/>
              <a:gd name="connsiteY1" fmla="*/ 0 h 5144526"/>
              <a:gd name="connsiteX2" fmla="*/ 9146491 w 9146491"/>
              <a:gd name="connsiteY2" fmla="*/ 5143500 h 5144526"/>
              <a:gd name="connsiteX3" fmla="*/ 8686799 w 9146491"/>
              <a:gd name="connsiteY3" fmla="*/ 5144526 h 5144526"/>
              <a:gd name="connsiteX4" fmla="*/ 8690170 w 9146491"/>
              <a:gd name="connsiteY4" fmla="*/ 433461 h 5144526"/>
              <a:gd name="connsiteX5" fmla="*/ 0 w 9146491"/>
              <a:gd name="connsiteY5" fmla="*/ 435366 h 5144526"/>
              <a:gd name="connsiteX6" fmla="*/ 2491 w 9146491"/>
              <a:gd name="connsiteY6" fmla="*/ 0 h 5144526"/>
              <a:gd name="connsiteX0" fmla="*/ 2491 w 9146491"/>
              <a:gd name="connsiteY0" fmla="*/ 0 h 5144526"/>
              <a:gd name="connsiteX1" fmla="*/ 9146491 w 9146491"/>
              <a:gd name="connsiteY1" fmla="*/ 0 h 5144526"/>
              <a:gd name="connsiteX2" fmla="*/ 9146491 w 9146491"/>
              <a:gd name="connsiteY2" fmla="*/ 5143500 h 5144526"/>
              <a:gd name="connsiteX3" fmla="*/ 8686799 w 9146491"/>
              <a:gd name="connsiteY3" fmla="*/ 5144526 h 5144526"/>
              <a:gd name="connsiteX4" fmla="*/ 8678740 w 9146491"/>
              <a:gd name="connsiteY4" fmla="*/ 435366 h 5144526"/>
              <a:gd name="connsiteX5" fmla="*/ 0 w 9146491"/>
              <a:gd name="connsiteY5" fmla="*/ 435366 h 5144526"/>
              <a:gd name="connsiteX6" fmla="*/ 2491 w 9146491"/>
              <a:gd name="connsiteY6" fmla="*/ 0 h 5144526"/>
              <a:gd name="connsiteX0" fmla="*/ 2491 w 9146491"/>
              <a:gd name="connsiteY0" fmla="*/ 0 h 5144526"/>
              <a:gd name="connsiteX1" fmla="*/ 9146491 w 9146491"/>
              <a:gd name="connsiteY1" fmla="*/ 0 h 5144526"/>
              <a:gd name="connsiteX2" fmla="*/ 9146491 w 9146491"/>
              <a:gd name="connsiteY2" fmla="*/ 5143500 h 5144526"/>
              <a:gd name="connsiteX3" fmla="*/ 8686799 w 9146491"/>
              <a:gd name="connsiteY3" fmla="*/ 5144526 h 5144526"/>
              <a:gd name="connsiteX4" fmla="*/ 8680645 w 9146491"/>
              <a:gd name="connsiteY4" fmla="*/ 433461 h 5144526"/>
              <a:gd name="connsiteX5" fmla="*/ 0 w 9146491"/>
              <a:gd name="connsiteY5" fmla="*/ 435366 h 5144526"/>
              <a:gd name="connsiteX6" fmla="*/ 2491 w 9146491"/>
              <a:gd name="connsiteY6" fmla="*/ 0 h 5144526"/>
              <a:gd name="connsiteX0" fmla="*/ 2491 w 9146491"/>
              <a:gd name="connsiteY0" fmla="*/ 0 h 5144526"/>
              <a:gd name="connsiteX1" fmla="*/ 9146491 w 9146491"/>
              <a:gd name="connsiteY1" fmla="*/ 0 h 5144526"/>
              <a:gd name="connsiteX2" fmla="*/ 9146491 w 9146491"/>
              <a:gd name="connsiteY2" fmla="*/ 5143500 h 5144526"/>
              <a:gd name="connsiteX3" fmla="*/ 8686799 w 9146491"/>
              <a:gd name="connsiteY3" fmla="*/ 5144526 h 5144526"/>
              <a:gd name="connsiteX4" fmla="*/ 8680645 w 9146491"/>
              <a:gd name="connsiteY4" fmla="*/ 439176 h 5144526"/>
              <a:gd name="connsiteX5" fmla="*/ 0 w 9146491"/>
              <a:gd name="connsiteY5" fmla="*/ 435366 h 5144526"/>
              <a:gd name="connsiteX6" fmla="*/ 2491 w 9146491"/>
              <a:gd name="connsiteY6" fmla="*/ 0 h 5144526"/>
              <a:gd name="connsiteX0" fmla="*/ 2491 w 9146491"/>
              <a:gd name="connsiteY0" fmla="*/ 0 h 5144526"/>
              <a:gd name="connsiteX1" fmla="*/ 9146491 w 9146491"/>
              <a:gd name="connsiteY1" fmla="*/ 0 h 5144526"/>
              <a:gd name="connsiteX2" fmla="*/ 9146491 w 9146491"/>
              <a:gd name="connsiteY2" fmla="*/ 5143500 h 5144526"/>
              <a:gd name="connsiteX3" fmla="*/ 8686799 w 9146491"/>
              <a:gd name="connsiteY3" fmla="*/ 5144526 h 5144526"/>
              <a:gd name="connsiteX4" fmla="*/ 8682550 w 9146491"/>
              <a:gd name="connsiteY4" fmla="*/ 439176 h 5144526"/>
              <a:gd name="connsiteX5" fmla="*/ 0 w 9146491"/>
              <a:gd name="connsiteY5" fmla="*/ 435366 h 5144526"/>
              <a:gd name="connsiteX6" fmla="*/ 2491 w 9146491"/>
              <a:gd name="connsiteY6" fmla="*/ 0 h 5144526"/>
              <a:gd name="connsiteX0" fmla="*/ 2491 w 9146491"/>
              <a:gd name="connsiteY0" fmla="*/ 0 h 5144526"/>
              <a:gd name="connsiteX1" fmla="*/ 9146491 w 9146491"/>
              <a:gd name="connsiteY1" fmla="*/ 0 h 5144526"/>
              <a:gd name="connsiteX2" fmla="*/ 9146491 w 9146491"/>
              <a:gd name="connsiteY2" fmla="*/ 5143500 h 5144526"/>
              <a:gd name="connsiteX3" fmla="*/ 8686799 w 9146491"/>
              <a:gd name="connsiteY3" fmla="*/ 5144526 h 5144526"/>
              <a:gd name="connsiteX4" fmla="*/ 8686360 w 9146491"/>
              <a:gd name="connsiteY4" fmla="*/ 439176 h 5144526"/>
              <a:gd name="connsiteX5" fmla="*/ 0 w 9146491"/>
              <a:gd name="connsiteY5" fmla="*/ 435366 h 5144526"/>
              <a:gd name="connsiteX6" fmla="*/ 2491 w 9146491"/>
              <a:gd name="connsiteY6" fmla="*/ 0 h 5144526"/>
              <a:gd name="connsiteX0" fmla="*/ 586 w 9144586"/>
              <a:gd name="connsiteY0" fmla="*/ 0 h 5144526"/>
              <a:gd name="connsiteX1" fmla="*/ 9144586 w 9144586"/>
              <a:gd name="connsiteY1" fmla="*/ 0 h 5144526"/>
              <a:gd name="connsiteX2" fmla="*/ 9144586 w 9144586"/>
              <a:gd name="connsiteY2" fmla="*/ 5143500 h 5144526"/>
              <a:gd name="connsiteX3" fmla="*/ 8684894 w 9144586"/>
              <a:gd name="connsiteY3" fmla="*/ 5144526 h 5144526"/>
              <a:gd name="connsiteX4" fmla="*/ 8684455 w 9144586"/>
              <a:gd name="connsiteY4" fmla="*/ 439176 h 5144526"/>
              <a:gd name="connsiteX5" fmla="*/ 0 w 9144586"/>
              <a:gd name="connsiteY5" fmla="*/ 435366 h 5144526"/>
              <a:gd name="connsiteX6" fmla="*/ 586 w 9144586"/>
              <a:gd name="connsiteY6" fmla="*/ 0 h 5144526"/>
              <a:gd name="connsiteX0" fmla="*/ 2491 w 9146491"/>
              <a:gd name="connsiteY0" fmla="*/ 0 h 5144526"/>
              <a:gd name="connsiteX1" fmla="*/ 9146491 w 9146491"/>
              <a:gd name="connsiteY1" fmla="*/ 0 h 5144526"/>
              <a:gd name="connsiteX2" fmla="*/ 9146491 w 9146491"/>
              <a:gd name="connsiteY2" fmla="*/ 5143500 h 5144526"/>
              <a:gd name="connsiteX3" fmla="*/ 8686799 w 9146491"/>
              <a:gd name="connsiteY3" fmla="*/ 5144526 h 5144526"/>
              <a:gd name="connsiteX4" fmla="*/ 8686360 w 9146491"/>
              <a:gd name="connsiteY4" fmla="*/ 439176 h 5144526"/>
              <a:gd name="connsiteX5" fmla="*/ 0 w 9146491"/>
              <a:gd name="connsiteY5" fmla="*/ 437271 h 5144526"/>
              <a:gd name="connsiteX6" fmla="*/ 2491 w 9146491"/>
              <a:gd name="connsiteY6" fmla="*/ 0 h 5144526"/>
              <a:gd name="connsiteX0" fmla="*/ 2491 w 9146491"/>
              <a:gd name="connsiteY0" fmla="*/ 0 h 5144526"/>
              <a:gd name="connsiteX1" fmla="*/ 9146491 w 9146491"/>
              <a:gd name="connsiteY1" fmla="*/ 0 h 5144526"/>
              <a:gd name="connsiteX2" fmla="*/ 9146491 w 9146491"/>
              <a:gd name="connsiteY2" fmla="*/ 5143500 h 5144526"/>
              <a:gd name="connsiteX3" fmla="*/ 8686799 w 9146491"/>
              <a:gd name="connsiteY3" fmla="*/ 5144526 h 5144526"/>
              <a:gd name="connsiteX4" fmla="*/ 8686360 w 9146491"/>
              <a:gd name="connsiteY4" fmla="*/ 439176 h 5144526"/>
              <a:gd name="connsiteX5" fmla="*/ 0 w 9146491"/>
              <a:gd name="connsiteY5" fmla="*/ 439176 h 5144526"/>
              <a:gd name="connsiteX6" fmla="*/ 2491 w 9146491"/>
              <a:gd name="connsiteY6" fmla="*/ 0 h 5144526"/>
              <a:gd name="connsiteX0" fmla="*/ 2491 w 9146491"/>
              <a:gd name="connsiteY0" fmla="*/ 0 h 5144526"/>
              <a:gd name="connsiteX1" fmla="*/ 9146491 w 9146491"/>
              <a:gd name="connsiteY1" fmla="*/ 0 h 5144526"/>
              <a:gd name="connsiteX2" fmla="*/ 9146491 w 9146491"/>
              <a:gd name="connsiteY2" fmla="*/ 5143500 h 5144526"/>
              <a:gd name="connsiteX3" fmla="*/ 8686799 w 9146491"/>
              <a:gd name="connsiteY3" fmla="*/ 5144526 h 5144526"/>
              <a:gd name="connsiteX4" fmla="*/ 8686360 w 9146491"/>
              <a:gd name="connsiteY4" fmla="*/ 439176 h 5144526"/>
              <a:gd name="connsiteX5" fmla="*/ 0 w 9146491"/>
              <a:gd name="connsiteY5" fmla="*/ 439176 h 5144526"/>
              <a:gd name="connsiteX6" fmla="*/ 2491 w 9146491"/>
              <a:gd name="connsiteY6" fmla="*/ 0 h 51445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46491" h="5144526">
                <a:moveTo>
                  <a:pt x="2491" y="0"/>
                </a:moveTo>
                <a:lnTo>
                  <a:pt x="9146491" y="0"/>
                </a:lnTo>
                <a:lnTo>
                  <a:pt x="9146491" y="5143500"/>
                </a:lnTo>
                <a:lnTo>
                  <a:pt x="8686799" y="5144526"/>
                </a:lnTo>
                <a:cubicBezTo>
                  <a:pt x="8685383" y="3571631"/>
                  <a:pt x="8687776" y="2012071"/>
                  <a:pt x="8686360" y="439176"/>
                </a:cubicBezTo>
                <a:lnTo>
                  <a:pt x="0" y="439176"/>
                </a:lnTo>
                <a:cubicBezTo>
                  <a:pt x="830" y="353109"/>
                  <a:pt x="1661" y="145122"/>
                  <a:pt x="2491" y="0"/>
                </a:cubicBezTo>
                <a:close/>
              </a:path>
            </a:pathLst>
          </a:custGeom>
          <a:solidFill>
            <a:schemeClr val="bg2">
              <a:lumMod val="90000"/>
            </a:schemeClr>
          </a:solidFill>
        </p:spPr>
        <p:txBody>
          <a:bodyPr/>
          <a:lstStyle>
            <a:lvl1pPr marL="0" indent="0" algn="ctr">
              <a:buNone/>
              <a:defRPr/>
            </a:lvl1pPr>
          </a:lstStyle>
          <a:p>
            <a:r>
              <a:rPr lang="en-US"/>
              <a:t>Click icon to add picture</a:t>
            </a:r>
          </a:p>
        </p:txBody>
      </p:sp>
      <p:sp>
        <p:nvSpPr>
          <p:cNvPr id="5" name="Slide Number Placeholder 4"/>
          <p:cNvSpPr>
            <a:spLocks noGrp="1"/>
          </p:cNvSpPr>
          <p:nvPr>
            <p:ph type="sldNum" sz="quarter" idx="12"/>
          </p:nvPr>
        </p:nvSpPr>
        <p:spPr/>
        <p:txBody>
          <a:bodyPr/>
          <a:lstStyle/>
          <a:p>
            <a:fld id="{46D584E9-81E4-493B-AD1D-A460B5445953}" type="slidenum">
              <a:rPr lang="en-US" smtClean="0"/>
              <a:t>‹#›</a:t>
            </a:fld>
            <a:endParaRPr lang="en-US"/>
          </a:p>
        </p:txBody>
      </p:sp>
      <p:sp>
        <p:nvSpPr>
          <p:cNvPr id="11" name="Freeform 5">
            <a:extLst>
              <a:ext uri="{FF2B5EF4-FFF2-40B4-BE49-F238E27FC236}">
                <a16:creationId xmlns:a16="http://schemas.microsoft.com/office/drawing/2014/main" id="{3E27C736-095E-4C51-9197-AD588C450B8D}"/>
              </a:ext>
            </a:extLst>
          </p:cNvPr>
          <p:cNvSpPr>
            <a:spLocks noEditPoints="1"/>
          </p:cNvSpPr>
          <p:nvPr/>
        </p:nvSpPr>
        <p:spPr bwMode="auto">
          <a:xfrm>
            <a:off x="725855" y="6393957"/>
            <a:ext cx="1669365" cy="312609"/>
          </a:xfrm>
          <a:custGeom>
            <a:avLst/>
            <a:gdLst>
              <a:gd name="T0" fmla="*/ 225 w 1440"/>
              <a:gd name="T1" fmla="*/ 110 h 267"/>
              <a:gd name="T2" fmla="*/ 317 w 1440"/>
              <a:gd name="T3" fmla="*/ 7 h 267"/>
              <a:gd name="T4" fmla="*/ 475 w 1440"/>
              <a:gd name="T5" fmla="*/ 19 h 267"/>
              <a:gd name="T6" fmla="*/ 830 w 1440"/>
              <a:gd name="T7" fmla="*/ 7 h 267"/>
              <a:gd name="T8" fmla="*/ 130 w 1440"/>
              <a:gd name="T9" fmla="*/ 210 h 267"/>
              <a:gd name="T10" fmla="*/ 437 w 1440"/>
              <a:gd name="T11" fmla="*/ 209 h 267"/>
              <a:gd name="T12" fmla="*/ 493 w 1440"/>
              <a:gd name="T13" fmla="*/ 198 h 267"/>
              <a:gd name="T14" fmla="*/ 866 w 1440"/>
              <a:gd name="T15" fmla="*/ 171 h 267"/>
              <a:gd name="T16" fmla="*/ 737 w 1440"/>
              <a:gd name="T17" fmla="*/ 261 h 267"/>
              <a:gd name="T18" fmla="*/ 958 w 1440"/>
              <a:gd name="T19" fmla="*/ 172 h 267"/>
              <a:gd name="T20" fmla="*/ 906 w 1440"/>
              <a:gd name="T21" fmla="*/ 254 h 267"/>
              <a:gd name="T22" fmla="*/ 309 w 1440"/>
              <a:gd name="T23" fmla="*/ 260 h 267"/>
              <a:gd name="T24" fmla="*/ 1053 w 1440"/>
              <a:gd name="T25" fmla="*/ 31 h 267"/>
              <a:gd name="T26" fmla="*/ 1075 w 1440"/>
              <a:gd name="T27" fmla="*/ 44 h 267"/>
              <a:gd name="T28" fmla="*/ 1091 w 1440"/>
              <a:gd name="T29" fmla="*/ 22 h 267"/>
              <a:gd name="T30" fmla="*/ 1107 w 1440"/>
              <a:gd name="T31" fmla="*/ 27 h 267"/>
              <a:gd name="T32" fmla="*/ 1125 w 1440"/>
              <a:gd name="T33" fmla="*/ 55 h 267"/>
              <a:gd name="T34" fmla="*/ 1159 w 1440"/>
              <a:gd name="T35" fmla="*/ 53 h 267"/>
              <a:gd name="T36" fmla="*/ 1160 w 1440"/>
              <a:gd name="T37" fmla="*/ 57 h 267"/>
              <a:gd name="T38" fmla="*/ 1177 w 1440"/>
              <a:gd name="T39" fmla="*/ 23 h 267"/>
              <a:gd name="T40" fmla="*/ 1207 w 1440"/>
              <a:gd name="T41" fmla="*/ 58 h 267"/>
              <a:gd name="T42" fmla="*/ 1245 w 1440"/>
              <a:gd name="T43" fmla="*/ 27 h 267"/>
              <a:gd name="T44" fmla="*/ 1225 w 1440"/>
              <a:gd name="T45" fmla="*/ 43 h 267"/>
              <a:gd name="T46" fmla="*/ 1271 w 1440"/>
              <a:gd name="T47" fmla="*/ 19 h 267"/>
              <a:gd name="T48" fmla="*/ 1259 w 1440"/>
              <a:gd name="T49" fmla="*/ 32 h 267"/>
              <a:gd name="T50" fmla="*/ 1290 w 1440"/>
              <a:gd name="T51" fmla="*/ 54 h 267"/>
              <a:gd name="T52" fmla="*/ 1310 w 1440"/>
              <a:gd name="T53" fmla="*/ 25 h 267"/>
              <a:gd name="T54" fmla="*/ 1059 w 1440"/>
              <a:gd name="T55" fmla="*/ 110 h 267"/>
              <a:gd name="T56" fmla="*/ 1099 w 1440"/>
              <a:gd name="T57" fmla="*/ 134 h 267"/>
              <a:gd name="T58" fmla="*/ 1120 w 1440"/>
              <a:gd name="T59" fmla="*/ 156 h 267"/>
              <a:gd name="T60" fmla="*/ 1141 w 1440"/>
              <a:gd name="T61" fmla="*/ 123 h 267"/>
              <a:gd name="T62" fmla="*/ 1148 w 1440"/>
              <a:gd name="T63" fmla="*/ 175 h 267"/>
              <a:gd name="T64" fmla="*/ 1184 w 1440"/>
              <a:gd name="T65" fmla="*/ 119 h 267"/>
              <a:gd name="T66" fmla="*/ 1181 w 1440"/>
              <a:gd name="T67" fmla="*/ 153 h 267"/>
              <a:gd name="T68" fmla="*/ 1201 w 1440"/>
              <a:gd name="T69" fmla="*/ 125 h 267"/>
              <a:gd name="T70" fmla="*/ 1230 w 1440"/>
              <a:gd name="T71" fmla="*/ 157 h 267"/>
              <a:gd name="T72" fmla="*/ 1260 w 1440"/>
              <a:gd name="T73" fmla="*/ 154 h 267"/>
              <a:gd name="T74" fmla="*/ 1261 w 1440"/>
              <a:gd name="T75" fmla="*/ 158 h 267"/>
              <a:gd name="T76" fmla="*/ 1284 w 1440"/>
              <a:gd name="T77" fmla="*/ 152 h 267"/>
              <a:gd name="T78" fmla="*/ 1294 w 1440"/>
              <a:gd name="T79" fmla="*/ 123 h 267"/>
              <a:gd name="T80" fmla="*/ 1317 w 1440"/>
              <a:gd name="T81" fmla="*/ 125 h 267"/>
              <a:gd name="T82" fmla="*/ 1342 w 1440"/>
              <a:gd name="T83" fmla="*/ 121 h 267"/>
              <a:gd name="T84" fmla="*/ 1351 w 1440"/>
              <a:gd name="T85" fmla="*/ 112 h 267"/>
              <a:gd name="T86" fmla="*/ 1364 w 1440"/>
              <a:gd name="T87" fmla="*/ 159 h 267"/>
              <a:gd name="T88" fmla="*/ 1399 w 1440"/>
              <a:gd name="T89" fmla="*/ 156 h 267"/>
              <a:gd name="T90" fmla="*/ 1432 w 1440"/>
              <a:gd name="T91" fmla="*/ 120 h 267"/>
              <a:gd name="T92" fmla="*/ 1410 w 1440"/>
              <a:gd name="T93" fmla="*/ 176 h 267"/>
              <a:gd name="T94" fmla="*/ 1076 w 1440"/>
              <a:gd name="T95" fmla="*/ 242 h 267"/>
              <a:gd name="T96" fmla="*/ 1062 w 1440"/>
              <a:gd name="T97" fmla="*/ 225 h 267"/>
              <a:gd name="T98" fmla="*/ 1091 w 1440"/>
              <a:gd name="T99" fmla="*/ 208 h 267"/>
              <a:gd name="T100" fmla="*/ 1112 w 1440"/>
              <a:gd name="T101" fmla="*/ 233 h 267"/>
              <a:gd name="T102" fmla="*/ 1128 w 1440"/>
              <a:gd name="T103" fmla="*/ 224 h 267"/>
              <a:gd name="T104" fmla="*/ 1168 w 1440"/>
              <a:gd name="T105" fmla="*/ 255 h 267"/>
              <a:gd name="T106" fmla="*/ 1154 w 1440"/>
              <a:gd name="T107" fmla="*/ 236 h 267"/>
              <a:gd name="T108" fmla="*/ 1203 w 1440"/>
              <a:gd name="T109" fmla="*/ 256 h 267"/>
              <a:gd name="T110" fmla="*/ 1200 w 1440"/>
              <a:gd name="T111" fmla="*/ 213 h 267"/>
              <a:gd name="T112" fmla="*/ 1227 w 1440"/>
              <a:gd name="T113" fmla="*/ 256 h 267"/>
              <a:gd name="T114" fmla="*/ 1249 w 1440"/>
              <a:gd name="T115" fmla="*/ 260 h 267"/>
              <a:gd name="T116" fmla="*/ 1255 w 1440"/>
              <a:gd name="T117" fmla="*/ 205 h 267"/>
              <a:gd name="T118" fmla="*/ 1297 w 1440"/>
              <a:gd name="T119" fmla="*/ 226 h 267"/>
              <a:gd name="T120" fmla="*/ 1303 w 1440"/>
              <a:gd name="T121" fmla="*/ 243 h 267"/>
              <a:gd name="T122" fmla="*/ 1344 w 1440"/>
              <a:gd name="T123" fmla="*/ 229 h 267"/>
              <a:gd name="T124" fmla="*/ 1328 w 1440"/>
              <a:gd name="T125" fmla="*/ 239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440" h="267">
                <a:moveTo>
                  <a:pt x="17" y="110"/>
                </a:moveTo>
                <a:cubicBezTo>
                  <a:pt x="3" y="110"/>
                  <a:pt x="3" y="110"/>
                  <a:pt x="3" y="110"/>
                </a:cubicBezTo>
                <a:cubicBezTo>
                  <a:pt x="3" y="1"/>
                  <a:pt x="3" y="1"/>
                  <a:pt x="3" y="1"/>
                </a:cubicBezTo>
                <a:cubicBezTo>
                  <a:pt x="81" y="83"/>
                  <a:pt x="81" y="83"/>
                  <a:pt x="81" y="83"/>
                </a:cubicBezTo>
                <a:cubicBezTo>
                  <a:pt x="81" y="7"/>
                  <a:pt x="81" y="7"/>
                  <a:pt x="81" y="7"/>
                </a:cubicBezTo>
                <a:cubicBezTo>
                  <a:pt x="95" y="7"/>
                  <a:pt x="95" y="7"/>
                  <a:pt x="95" y="7"/>
                </a:cubicBezTo>
                <a:cubicBezTo>
                  <a:pt x="95" y="117"/>
                  <a:pt x="95" y="117"/>
                  <a:pt x="95" y="117"/>
                </a:cubicBezTo>
                <a:cubicBezTo>
                  <a:pt x="17" y="35"/>
                  <a:pt x="17" y="35"/>
                  <a:pt x="17" y="35"/>
                </a:cubicBezTo>
                <a:lnTo>
                  <a:pt x="17" y="110"/>
                </a:lnTo>
                <a:close/>
                <a:moveTo>
                  <a:pt x="130" y="110"/>
                </a:moveTo>
                <a:cubicBezTo>
                  <a:pt x="145" y="110"/>
                  <a:pt x="145" y="110"/>
                  <a:pt x="145" y="110"/>
                </a:cubicBezTo>
                <a:cubicBezTo>
                  <a:pt x="178" y="33"/>
                  <a:pt x="178" y="33"/>
                  <a:pt x="178" y="33"/>
                </a:cubicBezTo>
                <a:cubicBezTo>
                  <a:pt x="210" y="109"/>
                  <a:pt x="210" y="109"/>
                  <a:pt x="210" y="109"/>
                </a:cubicBezTo>
                <a:cubicBezTo>
                  <a:pt x="210" y="110"/>
                  <a:pt x="210" y="110"/>
                  <a:pt x="210" y="110"/>
                </a:cubicBezTo>
                <a:cubicBezTo>
                  <a:pt x="225" y="110"/>
                  <a:pt x="225" y="110"/>
                  <a:pt x="225" y="110"/>
                </a:cubicBezTo>
                <a:cubicBezTo>
                  <a:pt x="178" y="0"/>
                  <a:pt x="178" y="0"/>
                  <a:pt x="178" y="0"/>
                </a:cubicBezTo>
                <a:lnTo>
                  <a:pt x="130" y="110"/>
                </a:lnTo>
                <a:close/>
                <a:moveTo>
                  <a:pt x="700" y="110"/>
                </a:moveTo>
                <a:cubicBezTo>
                  <a:pt x="715" y="110"/>
                  <a:pt x="715" y="110"/>
                  <a:pt x="715" y="110"/>
                </a:cubicBezTo>
                <a:cubicBezTo>
                  <a:pt x="748" y="33"/>
                  <a:pt x="748" y="33"/>
                  <a:pt x="748" y="33"/>
                </a:cubicBezTo>
                <a:cubicBezTo>
                  <a:pt x="780" y="109"/>
                  <a:pt x="780" y="109"/>
                  <a:pt x="780" y="109"/>
                </a:cubicBezTo>
                <a:cubicBezTo>
                  <a:pt x="780" y="110"/>
                  <a:pt x="780" y="110"/>
                  <a:pt x="780" y="110"/>
                </a:cubicBezTo>
                <a:cubicBezTo>
                  <a:pt x="795" y="110"/>
                  <a:pt x="795" y="110"/>
                  <a:pt x="795" y="110"/>
                </a:cubicBezTo>
                <a:cubicBezTo>
                  <a:pt x="748" y="0"/>
                  <a:pt x="748" y="0"/>
                  <a:pt x="748" y="0"/>
                </a:cubicBezTo>
                <a:lnTo>
                  <a:pt x="700" y="110"/>
                </a:lnTo>
                <a:close/>
                <a:moveTo>
                  <a:pt x="273" y="110"/>
                </a:moveTo>
                <a:cubicBezTo>
                  <a:pt x="286" y="110"/>
                  <a:pt x="286" y="110"/>
                  <a:pt x="286" y="110"/>
                </a:cubicBezTo>
                <a:cubicBezTo>
                  <a:pt x="286" y="20"/>
                  <a:pt x="286" y="20"/>
                  <a:pt x="286" y="20"/>
                </a:cubicBezTo>
                <a:cubicBezTo>
                  <a:pt x="317" y="20"/>
                  <a:pt x="317" y="20"/>
                  <a:pt x="317" y="20"/>
                </a:cubicBezTo>
                <a:cubicBezTo>
                  <a:pt x="317" y="7"/>
                  <a:pt x="317" y="7"/>
                  <a:pt x="317" y="7"/>
                </a:cubicBezTo>
                <a:cubicBezTo>
                  <a:pt x="242" y="7"/>
                  <a:pt x="242" y="7"/>
                  <a:pt x="242" y="7"/>
                </a:cubicBezTo>
                <a:cubicBezTo>
                  <a:pt x="242" y="20"/>
                  <a:pt x="242" y="20"/>
                  <a:pt x="242" y="20"/>
                </a:cubicBezTo>
                <a:cubicBezTo>
                  <a:pt x="273" y="20"/>
                  <a:pt x="273" y="20"/>
                  <a:pt x="273" y="20"/>
                </a:cubicBezTo>
                <a:lnTo>
                  <a:pt x="273" y="110"/>
                </a:lnTo>
                <a:close/>
                <a:moveTo>
                  <a:pt x="374" y="7"/>
                </a:moveTo>
                <a:cubicBezTo>
                  <a:pt x="360" y="7"/>
                  <a:pt x="360" y="7"/>
                  <a:pt x="360" y="7"/>
                </a:cubicBezTo>
                <a:cubicBezTo>
                  <a:pt x="360" y="110"/>
                  <a:pt x="360" y="110"/>
                  <a:pt x="360" y="110"/>
                </a:cubicBezTo>
                <a:cubicBezTo>
                  <a:pt x="374" y="110"/>
                  <a:pt x="374" y="110"/>
                  <a:pt x="374" y="110"/>
                </a:cubicBezTo>
                <a:lnTo>
                  <a:pt x="374" y="7"/>
                </a:lnTo>
                <a:close/>
                <a:moveTo>
                  <a:pt x="475" y="112"/>
                </a:moveTo>
                <a:cubicBezTo>
                  <a:pt x="445" y="112"/>
                  <a:pt x="421" y="88"/>
                  <a:pt x="421" y="59"/>
                </a:cubicBezTo>
                <a:cubicBezTo>
                  <a:pt x="421" y="29"/>
                  <a:pt x="445" y="5"/>
                  <a:pt x="475" y="5"/>
                </a:cubicBezTo>
                <a:cubicBezTo>
                  <a:pt x="505" y="5"/>
                  <a:pt x="528" y="29"/>
                  <a:pt x="528" y="59"/>
                </a:cubicBezTo>
                <a:cubicBezTo>
                  <a:pt x="528" y="88"/>
                  <a:pt x="505" y="112"/>
                  <a:pt x="475" y="112"/>
                </a:cubicBezTo>
                <a:close/>
                <a:moveTo>
                  <a:pt x="475" y="19"/>
                </a:moveTo>
                <a:cubicBezTo>
                  <a:pt x="453" y="19"/>
                  <a:pt x="435" y="37"/>
                  <a:pt x="435" y="59"/>
                </a:cubicBezTo>
                <a:cubicBezTo>
                  <a:pt x="435" y="81"/>
                  <a:pt x="453" y="99"/>
                  <a:pt x="475" y="99"/>
                </a:cubicBezTo>
                <a:cubicBezTo>
                  <a:pt x="497" y="99"/>
                  <a:pt x="514" y="81"/>
                  <a:pt x="514" y="59"/>
                </a:cubicBezTo>
                <a:cubicBezTo>
                  <a:pt x="514" y="37"/>
                  <a:pt x="497" y="19"/>
                  <a:pt x="475" y="19"/>
                </a:cubicBezTo>
                <a:close/>
                <a:moveTo>
                  <a:pt x="586" y="35"/>
                </a:moveTo>
                <a:cubicBezTo>
                  <a:pt x="664" y="117"/>
                  <a:pt x="664" y="117"/>
                  <a:pt x="664" y="117"/>
                </a:cubicBezTo>
                <a:cubicBezTo>
                  <a:pt x="664" y="7"/>
                  <a:pt x="664" y="7"/>
                  <a:pt x="664" y="7"/>
                </a:cubicBezTo>
                <a:cubicBezTo>
                  <a:pt x="650" y="7"/>
                  <a:pt x="650" y="7"/>
                  <a:pt x="650" y="7"/>
                </a:cubicBezTo>
                <a:cubicBezTo>
                  <a:pt x="650" y="83"/>
                  <a:pt x="650" y="83"/>
                  <a:pt x="650" y="83"/>
                </a:cubicBezTo>
                <a:cubicBezTo>
                  <a:pt x="572" y="1"/>
                  <a:pt x="572" y="1"/>
                  <a:pt x="572" y="1"/>
                </a:cubicBezTo>
                <a:cubicBezTo>
                  <a:pt x="572" y="110"/>
                  <a:pt x="572" y="110"/>
                  <a:pt x="572" y="110"/>
                </a:cubicBezTo>
                <a:cubicBezTo>
                  <a:pt x="586" y="110"/>
                  <a:pt x="586" y="110"/>
                  <a:pt x="586" y="110"/>
                </a:cubicBezTo>
                <a:lnTo>
                  <a:pt x="586" y="35"/>
                </a:lnTo>
                <a:close/>
                <a:moveTo>
                  <a:pt x="843" y="7"/>
                </a:moveTo>
                <a:cubicBezTo>
                  <a:pt x="830" y="7"/>
                  <a:pt x="830" y="7"/>
                  <a:pt x="830" y="7"/>
                </a:cubicBezTo>
                <a:cubicBezTo>
                  <a:pt x="830" y="110"/>
                  <a:pt x="830" y="110"/>
                  <a:pt x="830" y="110"/>
                </a:cubicBezTo>
                <a:cubicBezTo>
                  <a:pt x="885" y="110"/>
                  <a:pt x="885" y="110"/>
                  <a:pt x="885" y="110"/>
                </a:cubicBezTo>
                <a:cubicBezTo>
                  <a:pt x="885" y="97"/>
                  <a:pt x="885" y="97"/>
                  <a:pt x="885" y="97"/>
                </a:cubicBezTo>
                <a:cubicBezTo>
                  <a:pt x="843" y="97"/>
                  <a:pt x="843" y="97"/>
                  <a:pt x="843" y="97"/>
                </a:cubicBezTo>
                <a:lnTo>
                  <a:pt x="843" y="7"/>
                </a:lnTo>
                <a:close/>
                <a:moveTo>
                  <a:pt x="169" y="156"/>
                </a:moveTo>
                <a:cubicBezTo>
                  <a:pt x="139" y="156"/>
                  <a:pt x="116" y="179"/>
                  <a:pt x="116" y="209"/>
                </a:cubicBezTo>
                <a:cubicBezTo>
                  <a:pt x="116" y="240"/>
                  <a:pt x="139" y="262"/>
                  <a:pt x="169" y="262"/>
                </a:cubicBezTo>
                <a:cubicBezTo>
                  <a:pt x="175" y="262"/>
                  <a:pt x="188" y="261"/>
                  <a:pt x="200" y="252"/>
                </a:cubicBezTo>
                <a:cubicBezTo>
                  <a:pt x="200" y="252"/>
                  <a:pt x="200" y="252"/>
                  <a:pt x="200" y="252"/>
                </a:cubicBezTo>
                <a:cubicBezTo>
                  <a:pt x="200" y="234"/>
                  <a:pt x="200" y="234"/>
                  <a:pt x="200" y="234"/>
                </a:cubicBezTo>
                <a:cubicBezTo>
                  <a:pt x="198" y="236"/>
                  <a:pt x="198" y="236"/>
                  <a:pt x="198" y="236"/>
                </a:cubicBezTo>
                <a:cubicBezTo>
                  <a:pt x="196" y="239"/>
                  <a:pt x="192" y="242"/>
                  <a:pt x="187" y="245"/>
                </a:cubicBezTo>
                <a:cubicBezTo>
                  <a:pt x="181" y="247"/>
                  <a:pt x="175" y="249"/>
                  <a:pt x="169" y="249"/>
                </a:cubicBezTo>
                <a:cubicBezTo>
                  <a:pt x="142" y="249"/>
                  <a:pt x="130" y="226"/>
                  <a:pt x="130" y="210"/>
                </a:cubicBezTo>
                <a:cubicBezTo>
                  <a:pt x="130" y="187"/>
                  <a:pt x="147" y="169"/>
                  <a:pt x="169" y="169"/>
                </a:cubicBezTo>
                <a:cubicBezTo>
                  <a:pt x="174" y="169"/>
                  <a:pt x="180" y="170"/>
                  <a:pt x="185" y="173"/>
                </a:cubicBezTo>
                <a:cubicBezTo>
                  <a:pt x="190" y="175"/>
                  <a:pt x="194" y="178"/>
                  <a:pt x="198" y="182"/>
                </a:cubicBezTo>
                <a:cubicBezTo>
                  <a:pt x="200" y="184"/>
                  <a:pt x="200" y="184"/>
                  <a:pt x="200" y="184"/>
                </a:cubicBezTo>
                <a:cubicBezTo>
                  <a:pt x="200" y="166"/>
                  <a:pt x="200" y="166"/>
                  <a:pt x="200" y="166"/>
                </a:cubicBezTo>
                <a:cubicBezTo>
                  <a:pt x="200" y="166"/>
                  <a:pt x="200" y="166"/>
                  <a:pt x="200" y="166"/>
                </a:cubicBezTo>
                <a:cubicBezTo>
                  <a:pt x="191" y="159"/>
                  <a:pt x="181" y="156"/>
                  <a:pt x="169" y="156"/>
                </a:cubicBezTo>
                <a:close/>
                <a:moveTo>
                  <a:pt x="437" y="209"/>
                </a:moveTo>
                <a:cubicBezTo>
                  <a:pt x="437" y="225"/>
                  <a:pt x="431" y="238"/>
                  <a:pt x="419" y="249"/>
                </a:cubicBezTo>
                <a:cubicBezTo>
                  <a:pt x="409" y="257"/>
                  <a:pt x="399" y="261"/>
                  <a:pt x="382" y="261"/>
                </a:cubicBezTo>
                <a:cubicBezTo>
                  <a:pt x="360" y="261"/>
                  <a:pt x="360" y="261"/>
                  <a:pt x="360" y="261"/>
                </a:cubicBezTo>
                <a:cubicBezTo>
                  <a:pt x="360" y="157"/>
                  <a:pt x="360" y="157"/>
                  <a:pt x="360" y="157"/>
                </a:cubicBezTo>
                <a:cubicBezTo>
                  <a:pt x="382" y="157"/>
                  <a:pt x="382" y="157"/>
                  <a:pt x="382" y="157"/>
                </a:cubicBezTo>
                <a:cubicBezTo>
                  <a:pt x="393" y="157"/>
                  <a:pt x="407" y="159"/>
                  <a:pt x="420" y="170"/>
                </a:cubicBezTo>
                <a:cubicBezTo>
                  <a:pt x="426" y="175"/>
                  <a:pt x="437" y="187"/>
                  <a:pt x="437" y="209"/>
                </a:cubicBezTo>
                <a:close/>
                <a:moveTo>
                  <a:pt x="423" y="209"/>
                </a:moveTo>
                <a:cubicBezTo>
                  <a:pt x="423" y="186"/>
                  <a:pt x="407" y="171"/>
                  <a:pt x="382" y="171"/>
                </a:cubicBezTo>
                <a:cubicBezTo>
                  <a:pt x="374" y="171"/>
                  <a:pt x="374" y="171"/>
                  <a:pt x="374" y="171"/>
                </a:cubicBezTo>
                <a:cubicBezTo>
                  <a:pt x="374" y="247"/>
                  <a:pt x="374" y="247"/>
                  <a:pt x="374" y="247"/>
                </a:cubicBezTo>
                <a:cubicBezTo>
                  <a:pt x="382" y="247"/>
                  <a:pt x="382" y="247"/>
                  <a:pt x="382" y="247"/>
                </a:cubicBezTo>
                <a:cubicBezTo>
                  <a:pt x="390" y="247"/>
                  <a:pt x="401" y="246"/>
                  <a:pt x="410" y="239"/>
                </a:cubicBezTo>
                <a:cubicBezTo>
                  <a:pt x="416" y="234"/>
                  <a:pt x="423" y="224"/>
                  <a:pt x="423" y="209"/>
                </a:cubicBezTo>
                <a:close/>
                <a:moveTo>
                  <a:pt x="479" y="261"/>
                </a:moveTo>
                <a:cubicBezTo>
                  <a:pt x="541" y="261"/>
                  <a:pt x="541" y="261"/>
                  <a:pt x="541" y="261"/>
                </a:cubicBezTo>
                <a:cubicBezTo>
                  <a:pt x="541" y="247"/>
                  <a:pt x="541" y="247"/>
                  <a:pt x="541" y="247"/>
                </a:cubicBezTo>
                <a:cubicBezTo>
                  <a:pt x="493" y="247"/>
                  <a:pt x="493" y="247"/>
                  <a:pt x="493" y="247"/>
                </a:cubicBezTo>
                <a:cubicBezTo>
                  <a:pt x="493" y="211"/>
                  <a:pt x="493" y="211"/>
                  <a:pt x="493" y="211"/>
                </a:cubicBezTo>
                <a:cubicBezTo>
                  <a:pt x="535" y="211"/>
                  <a:pt x="535" y="211"/>
                  <a:pt x="535" y="211"/>
                </a:cubicBezTo>
                <a:cubicBezTo>
                  <a:pt x="535" y="198"/>
                  <a:pt x="535" y="198"/>
                  <a:pt x="535" y="198"/>
                </a:cubicBezTo>
                <a:cubicBezTo>
                  <a:pt x="493" y="198"/>
                  <a:pt x="493" y="198"/>
                  <a:pt x="493" y="198"/>
                </a:cubicBezTo>
                <a:cubicBezTo>
                  <a:pt x="493" y="171"/>
                  <a:pt x="493" y="171"/>
                  <a:pt x="493" y="171"/>
                </a:cubicBezTo>
                <a:cubicBezTo>
                  <a:pt x="541" y="171"/>
                  <a:pt x="541" y="171"/>
                  <a:pt x="541" y="171"/>
                </a:cubicBezTo>
                <a:cubicBezTo>
                  <a:pt x="541" y="157"/>
                  <a:pt x="541" y="157"/>
                  <a:pt x="541" y="157"/>
                </a:cubicBezTo>
                <a:cubicBezTo>
                  <a:pt x="479" y="157"/>
                  <a:pt x="479" y="157"/>
                  <a:pt x="479" y="157"/>
                </a:cubicBezTo>
                <a:lnTo>
                  <a:pt x="479" y="261"/>
                </a:lnTo>
                <a:close/>
                <a:moveTo>
                  <a:pt x="805" y="261"/>
                </a:moveTo>
                <a:cubicBezTo>
                  <a:pt x="866" y="261"/>
                  <a:pt x="866" y="261"/>
                  <a:pt x="866" y="261"/>
                </a:cubicBezTo>
                <a:cubicBezTo>
                  <a:pt x="866" y="247"/>
                  <a:pt x="866" y="247"/>
                  <a:pt x="866" y="247"/>
                </a:cubicBezTo>
                <a:cubicBezTo>
                  <a:pt x="819" y="247"/>
                  <a:pt x="819" y="247"/>
                  <a:pt x="819" y="247"/>
                </a:cubicBezTo>
                <a:cubicBezTo>
                  <a:pt x="819" y="211"/>
                  <a:pt x="819" y="211"/>
                  <a:pt x="819" y="211"/>
                </a:cubicBezTo>
                <a:cubicBezTo>
                  <a:pt x="860" y="211"/>
                  <a:pt x="860" y="211"/>
                  <a:pt x="860" y="211"/>
                </a:cubicBezTo>
                <a:cubicBezTo>
                  <a:pt x="860" y="198"/>
                  <a:pt x="860" y="198"/>
                  <a:pt x="860" y="198"/>
                </a:cubicBezTo>
                <a:cubicBezTo>
                  <a:pt x="819" y="198"/>
                  <a:pt x="819" y="198"/>
                  <a:pt x="819" y="198"/>
                </a:cubicBezTo>
                <a:cubicBezTo>
                  <a:pt x="819" y="171"/>
                  <a:pt x="819" y="171"/>
                  <a:pt x="819" y="171"/>
                </a:cubicBezTo>
                <a:cubicBezTo>
                  <a:pt x="866" y="171"/>
                  <a:pt x="866" y="171"/>
                  <a:pt x="866" y="171"/>
                </a:cubicBezTo>
                <a:cubicBezTo>
                  <a:pt x="866" y="157"/>
                  <a:pt x="866" y="157"/>
                  <a:pt x="866" y="157"/>
                </a:cubicBezTo>
                <a:cubicBezTo>
                  <a:pt x="805" y="157"/>
                  <a:pt x="805" y="157"/>
                  <a:pt x="805" y="157"/>
                </a:cubicBezTo>
                <a:lnTo>
                  <a:pt x="805" y="261"/>
                </a:lnTo>
                <a:close/>
                <a:moveTo>
                  <a:pt x="634" y="235"/>
                </a:moveTo>
                <a:cubicBezTo>
                  <a:pt x="595" y="149"/>
                  <a:pt x="595" y="149"/>
                  <a:pt x="595" y="149"/>
                </a:cubicBezTo>
                <a:cubicBezTo>
                  <a:pt x="578" y="261"/>
                  <a:pt x="578" y="261"/>
                  <a:pt x="578" y="261"/>
                </a:cubicBezTo>
                <a:cubicBezTo>
                  <a:pt x="592" y="261"/>
                  <a:pt x="592" y="261"/>
                  <a:pt x="592" y="261"/>
                </a:cubicBezTo>
                <a:cubicBezTo>
                  <a:pt x="601" y="194"/>
                  <a:pt x="601" y="194"/>
                  <a:pt x="601" y="194"/>
                </a:cubicBezTo>
                <a:cubicBezTo>
                  <a:pt x="634" y="267"/>
                  <a:pt x="634" y="267"/>
                  <a:pt x="634" y="267"/>
                </a:cubicBezTo>
                <a:cubicBezTo>
                  <a:pt x="668" y="194"/>
                  <a:pt x="668" y="194"/>
                  <a:pt x="668" y="194"/>
                </a:cubicBezTo>
                <a:cubicBezTo>
                  <a:pt x="677" y="261"/>
                  <a:pt x="677" y="261"/>
                  <a:pt x="677" y="261"/>
                </a:cubicBezTo>
                <a:cubicBezTo>
                  <a:pt x="691" y="261"/>
                  <a:pt x="691" y="261"/>
                  <a:pt x="691" y="261"/>
                </a:cubicBezTo>
                <a:cubicBezTo>
                  <a:pt x="674" y="148"/>
                  <a:pt x="674" y="148"/>
                  <a:pt x="674" y="148"/>
                </a:cubicBezTo>
                <a:lnTo>
                  <a:pt x="634" y="235"/>
                </a:lnTo>
                <a:close/>
                <a:moveTo>
                  <a:pt x="737" y="261"/>
                </a:moveTo>
                <a:cubicBezTo>
                  <a:pt x="751" y="261"/>
                  <a:pt x="751" y="261"/>
                  <a:pt x="751" y="261"/>
                </a:cubicBezTo>
                <a:cubicBezTo>
                  <a:pt x="751" y="157"/>
                  <a:pt x="751" y="157"/>
                  <a:pt x="751" y="157"/>
                </a:cubicBezTo>
                <a:cubicBezTo>
                  <a:pt x="737" y="157"/>
                  <a:pt x="737" y="157"/>
                  <a:pt x="737" y="157"/>
                </a:cubicBezTo>
                <a:lnTo>
                  <a:pt x="737" y="261"/>
                </a:lnTo>
                <a:close/>
                <a:moveTo>
                  <a:pt x="955" y="211"/>
                </a:moveTo>
                <a:cubicBezTo>
                  <a:pt x="950" y="207"/>
                  <a:pt x="945" y="204"/>
                  <a:pt x="939" y="201"/>
                </a:cubicBezTo>
                <a:cubicBezTo>
                  <a:pt x="929" y="197"/>
                  <a:pt x="929" y="197"/>
                  <a:pt x="929" y="197"/>
                </a:cubicBezTo>
                <a:cubicBezTo>
                  <a:pt x="925" y="195"/>
                  <a:pt x="922" y="194"/>
                  <a:pt x="919" y="191"/>
                </a:cubicBezTo>
                <a:cubicBezTo>
                  <a:pt x="916" y="189"/>
                  <a:pt x="916" y="187"/>
                  <a:pt x="916" y="183"/>
                </a:cubicBezTo>
                <a:cubicBezTo>
                  <a:pt x="916" y="175"/>
                  <a:pt x="922" y="169"/>
                  <a:pt x="931" y="169"/>
                </a:cubicBezTo>
                <a:cubicBezTo>
                  <a:pt x="936" y="169"/>
                  <a:pt x="940" y="171"/>
                  <a:pt x="942" y="172"/>
                </a:cubicBezTo>
                <a:cubicBezTo>
                  <a:pt x="944" y="174"/>
                  <a:pt x="946" y="177"/>
                  <a:pt x="947" y="179"/>
                </a:cubicBezTo>
                <a:cubicBezTo>
                  <a:pt x="948" y="181"/>
                  <a:pt x="948" y="181"/>
                  <a:pt x="948" y="181"/>
                </a:cubicBezTo>
                <a:cubicBezTo>
                  <a:pt x="959" y="173"/>
                  <a:pt x="959" y="173"/>
                  <a:pt x="959" y="173"/>
                </a:cubicBezTo>
                <a:cubicBezTo>
                  <a:pt x="958" y="172"/>
                  <a:pt x="958" y="172"/>
                  <a:pt x="958" y="172"/>
                </a:cubicBezTo>
                <a:cubicBezTo>
                  <a:pt x="956" y="167"/>
                  <a:pt x="952" y="163"/>
                  <a:pt x="948" y="161"/>
                </a:cubicBezTo>
                <a:cubicBezTo>
                  <a:pt x="943" y="157"/>
                  <a:pt x="938" y="156"/>
                  <a:pt x="931" y="156"/>
                </a:cubicBezTo>
                <a:cubicBezTo>
                  <a:pt x="914" y="156"/>
                  <a:pt x="902" y="167"/>
                  <a:pt x="902" y="183"/>
                </a:cubicBezTo>
                <a:cubicBezTo>
                  <a:pt x="902" y="190"/>
                  <a:pt x="904" y="195"/>
                  <a:pt x="909" y="200"/>
                </a:cubicBezTo>
                <a:cubicBezTo>
                  <a:pt x="913" y="205"/>
                  <a:pt x="918" y="207"/>
                  <a:pt x="922" y="209"/>
                </a:cubicBezTo>
                <a:cubicBezTo>
                  <a:pt x="932" y="213"/>
                  <a:pt x="932" y="213"/>
                  <a:pt x="932" y="213"/>
                </a:cubicBezTo>
                <a:cubicBezTo>
                  <a:pt x="937" y="215"/>
                  <a:pt x="941" y="217"/>
                  <a:pt x="944" y="220"/>
                </a:cubicBezTo>
                <a:cubicBezTo>
                  <a:pt x="947" y="223"/>
                  <a:pt x="948" y="226"/>
                  <a:pt x="948" y="231"/>
                </a:cubicBezTo>
                <a:cubicBezTo>
                  <a:pt x="948" y="240"/>
                  <a:pt x="942" y="249"/>
                  <a:pt x="929" y="249"/>
                </a:cubicBezTo>
                <a:cubicBezTo>
                  <a:pt x="924" y="249"/>
                  <a:pt x="919" y="247"/>
                  <a:pt x="916" y="244"/>
                </a:cubicBezTo>
                <a:cubicBezTo>
                  <a:pt x="913" y="241"/>
                  <a:pt x="911" y="236"/>
                  <a:pt x="910" y="232"/>
                </a:cubicBezTo>
                <a:cubicBezTo>
                  <a:pt x="910" y="230"/>
                  <a:pt x="910" y="230"/>
                  <a:pt x="910" y="230"/>
                </a:cubicBezTo>
                <a:cubicBezTo>
                  <a:pt x="896" y="234"/>
                  <a:pt x="896" y="234"/>
                  <a:pt x="896" y="234"/>
                </a:cubicBezTo>
                <a:cubicBezTo>
                  <a:pt x="897" y="235"/>
                  <a:pt x="897" y="235"/>
                  <a:pt x="897" y="235"/>
                </a:cubicBezTo>
                <a:cubicBezTo>
                  <a:pt x="898" y="243"/>
                  <a:pt x="902" y="249"/>
                  <a:pt x="906" y="254"/>
                </a:cubicBezTo>
                <a:cubicBezTo>
                  <a:pt x="912" y="260"/>
                  <a:pt x="920" y="262"/>
                  <a:pt x="929" y="262"/>
                </a:cubicBezTo>
                <a:cubicBezTo>
                  <a:pt x="948" y="262"/>
                  <a:pt x="962" y="249"/>
                  <a:pt x="962" y="230"/>
                </a:cubicBezTo>
                <a:cubicBezTo>
                  <a:pt x="962" y="222"/>
                  <a:pt x="960" y="216"/>
                  <a:pt x="955" y="211"/>
                </a:cubicBezTo>
                <a:close/>
                <a:moveTo>
                  <a:pt x="0" y="261"/>
                </a:moveTo>
                <a:cubicBezTo>
                  <a:pt x="15" y="261"/>
                  <a:pt x="15" y="261"/>
                  <a:pt x="15" y="261"/>
                </a:cubicBezTo>
                <a:cubicBezTo>
                  <a:pt x="48" y="184"/>
                  <a:pt x="48" y="184"/>
                  <a:pt x="48" y="184"/>
                </a:cubicBezTo>
                <a:cubicBezTo>
                  <a:pt x="79" y="260"/>
                  <a:pt x="79" y="260"/>
                  <a:pt x="79" y="260"/>
                </a:cubicBezTo>
                <a:cubicBezTo>
                  <a:pt x="80" y="261"/>
                  <a:pt x="80" y="261"/>
                  <a:pt x="80" y="261"/>
                </a:cubicBezTo>
                <a:cubicBezTo>
                  <a:pt x="95" y="261"/>
                  <a:pt x="95" y="261"/>
                  <a:pt x="95" y="261"/>
                </a:cubicBezTo>
                <a:cubicBezTo>
                  <a:pt x="48" y="151"/>
                  <a:pt x="48" y="151"/>
                  <a:pt x="48" y="151"/>
                </a:cubicBezTo>
                <a:lnTo>
                  <a:pt x="0" y="261"/>
                </a:lnTo>
                <a:close/>
                <a:moveTo>
                  <a:pt x="229" y="261"/>
                </a:moveTo>
                <a:cubicBezTo>
                  <a:pt x="244" y="261"/>
                  <a:pt x="244" y="261"/>
                  <a:pt x="244" y="261"/>
                </a:cubicBezTo>
                <a:cubicBezTo>
                  <a:pt x="277" y="184"/>
                  <a:pt x="277" y="184"/>
                  <a:pt x="277" y="184"/>
                </a:cubicBezTo>
                <a:cubicBezTo>
                  <a:pt x="309" y="260"/>
                  <a:pt x="309" y="260"/>
                  <a:pt x="309" y="260"/>
                </a:cubicBezTo>
                <a:cubicBezTo>
                  <a:pt x="309" y="261"/>
                  <a:pt x="309" y="261"/>
                  <a:pt x="309" y="261"/>
                </a:cubicBezTo>
                <a:cubicBezTo>
                  <a:pt x="324" y="261"/>
                  <a:pt x="324" y="261"/>
                  <a:pt x="324" y="261"/>
                </a:cubicBezTo>
                <a:cubicBezTo>
                  <a:pt x="277" y="151"/>
                  <a:pt x="277" y="151"/>
                  <a:pt x="277" y="151"/>
                </a:cubicBezTo>
                <a:lnTo>
                  <a:pt x="229" y="261"/>
                </a:lnTo>
                <a:close/>
                <a:moveTo>
                  <a:pt x="1071" y="11"/>
                </a:moveTo>
                <a:cubicBezTo>
                  <a:pt x="1071" y="18"/>
                  <a:pt x="1071" y="18"/>
                  <a:pt x="1071" y="18"/>
                </a:cubicBezTo>
                <a:cubicBezTo>
                  <a:pt x="1075" y="18"/>
                  <a:pt x="1075" y="18"/>
                  <a:pt x="1075" y="18"/>
                </a:cubicBezTo>
                <a:cubicBezTo>
                  <a:pt x="1077" y="9"/>
                  <a:pt x="1077" y="9"/>
                  <a:pt x="1077" y="9"/>
                </a:cubicBezTo>
                <a:cubicBezTo>
                  <a:pt x="1076" y="8"/>
                  <a:pt x="1074" y="7"/>
                  <a:pt x="1072" y="6"/>
                </a:cubicBezTo>
                <a:cubicBezTo>
                  <a:pt x="1070" y="6"/>
                  <a:pt x="1067" y="6"/>
                  <a:pt x="1064" y="6"/>
                </a:cubicBezTo>
                <a:cubicBezTo>
                  <a:pt x="1061" y="6"/>
                  <a:pt x="1058" y="6"/>
                  <a:pt x="1056" y="7"/>
                </a:cubicBezTo>
                <a:cubicBezTo>
                  <a:pt x="1053" y="9"/>
                  <a:pt x="1051" y="10"/>
                  <a:pt x="1049" y="12"/>
                </a:cubicBezTo>
                <a:cubicBezTo>
                  <a:pt x="1048" y="14"/>
                  <a:pt x="1047" y="17"/>
                  <a:pt x="1047" y="20"/>
                </a:cubicBezTo>
                <a:cubicBezTo>
                  <a:pt x="1047" y="22"/>
                  <a:pt x="1048" y="24"/>
                  <a:pt x="1049" y="26"/>
                </a:cubicBezTo>
                <a:cubicBezTo>
                  <a:pt x="1050" y="28"/>
                  <a:pt x="1051" y="30"/>
                  <a:pt x="1053" y="31"/>
                </a:cubicBezTo>
                <a:cubicBezTo>
                  <a:pt x="1055" y="32"/>
                  <a:pt x="1057" y="34"/>
                  <a:pt x="1059" y="35"/>
                </a:cubicBezTo>
                <a:cubicBezTo>
                  <a:pt x="1062" y="37"/>
                  <a:pt x="1064" y="39"/>
                  <a:pt x="1066" y="40"/>
                </a:cubicBezTo>
                <a:cubicBezTo>
                  <a:pt x="1067" y="42"/>
                  <a:pt x="1068" y="44"/>
                  <a:pt x="1068" y="47"/>
                </a:cubicBezTo>
                <a:cubicBezTo>
                  <a:pt x="1068" y="49"/>
                  <a:pt x="1067" y="52"/>
                  <a:pt x="1065" y="53"/>
                </a:cubicBezTo>
                <a:cubicBezTo>
                  <a:pt x="1062" y="55"/>
                  <a:pt x="1060" y="56"/>
                  <a:pt x="1057" y="56"/>
                </a:cubicBezTo>
                <a:cubicBezTo>
                  <a:pt x="1055" y="56"/>
                  <a:pt x="1053" y="56"/>
                  <a:pt x="1052" y="55"/>
                </a:cubicBezTo>
                <a:cubicBezTo>
                  <a:pt x="1050" y="55"/>
                  <a:pt x="1049" y="54"/>
                  <a:pt x="1048" y="54"/>
                </a:cubicBezTo>
                <a:cubicBezTo>
                  <a:pt x="1048" y="46"/>
                  <a:pt x="1048" y="46"/>
                  <a:pt x="1048" y="46"/>
                </a:cubicBezTo>
                <a:cubicBezTo>
                  <a:pt x="1044" y="46"/>
                  <a:pt x="1044" y="46"/>
                  <a:pt x="1044" y="46"/>
                </a:cubicBezTo>
                <a:cubicBezTo>
                  <a:pt x="1042" y="56"/>
                  <a:pt x="1042" y="56"/>
                  <a:pt x="1042" y="56"/>
                </a:cubicBezTo>
                <a:cubicBezTo>
                  <a:pt x="1043" y="57"/>
                  <a:pt x="1045" y="58"/>
                  <a:pt x="1048" y="58"/>
                </a:cubicBezTo>
                <a:cubicBezTo>
                  <a:pt x="1051" y="59"/>
                  <a:pt x="1054" y="59"/>
                  <a:pt x="1057" y="59"/>
                </a:cubicBezTo>
                <a:cubicBezTo>
                  <a:pt x="1060" y="59"/>
                  <a:pt x="1063" y="59"/>
                  <a:pt x="1066" y="57"/>
                </a:cubicBezTo>
                <a:cubicBezTo>
                  <a:pt x="1069" y="56"/>
                  <a:pt x="1071" y="54"/>
                  <a:pt x="1073" y="52"/>
                </a:cubicBezTo>
                <a:cubicBezTo>
                  <a:pt x="1074" y="50"/>
                  <a:pt x="1075" y="47"/>
                  <a:pt x="1075" y="44"/>
                </a:cubicBezTo>
                <a:cubicBezTo>
                  <a:pt x="1075" y="42"/>
                  <a:pt x="1074" y="40"/>
                  <a:pt x="1073" y="38"/>
                </a:cubicBezTo>
                <a:cubicBezTo>
                  <a:pt x="1072" y="36"/>
                  <a:pt x="1071" y="35"/>
                  <a:pt x="1069" y="34"/>
                </a:cubicBezTo>
                <a:cubicBezTo>
                  <a:pt x="1068" y="32"/>
                  <a:pt x="1066" y="31"/>
                  <a:pt x="1064" y="29"/>
                </a:cubicBezTo>
                <a:cubicBezTo>
                  <a:pt x="1060" y="27"/>
                  <a:pt x="1058" y="25"/>
                  <a:pt x="1056" y="24"/>
                </a:cubicBezTo>
                <a:cubicBezTo>
                  <a:pt x="1055" y="22"/>
                  <a:pt x="1054" y="20"/>
                  <a:pt x="1054" y="17"/>
                </a:cubicBezTo>
                <a:cubicBezTo>
                  <a:pt x="1054" y="15"/>
                  <a:pt x="1055" y="13"/>
                  <a:pt x="1057" y="11"/>
                </a:cubicBezTo>
                <a:cubicBezTo>
                  <a:pt x="1059" y="10"/>
                  <a:pt x="1061" y="9"/>
                  <a:pt x="1064" y="9"/>
                </a:cubicBezTo>
                <a:cubicBezTo>
                  <a:pt x="1065" y="9"/>
                  <a:pt x="1067" y="9"/>
                  <a:pt x="1068" y="10"/>
                </a:cubicBezTo>
                <a:cubicBezTo>
                  <a:pt x="1069" y="10"/>
                  <a:pt x="1070" y="10"/>
                  <a:pt x="1071" y="11"/>
                </a:cubicBezTo>
                <a:close/>
                <a:moveTo>
                  <a:pt x="1107" y="27"/>
                </a:moveTo>
                <a:cubicBezTo>
                  <a:pt x="1108" y="27"/>
                  <a:pt x="1108" y="27"/>
                  <a:pt x="1108" y="27"/>
                </a:cubicBezTo>
                <a:cubicBezTo>
                  <a:pt x="1110" y="20"/>
                  <a:pt x="1110" y="20"/>
                  <a:pt x="1110" y="20"/>
                </a:cubicBezTo>
                <a:cubicBezTo>
                  <a:pt x="1109" y="20"/>
                  <a:pt x="1108" y="19"/>
                  <a:pt x="1107" y="19"/>
                </a:cubicBezTo>
                <a:cubicBezTo>
                  <a:pt x="1105" y="19"/>
                  <a:pt x="1104" y="19"/>
                  <a:pt x="1102" y="19"/>
                </a:cubicBezTo>
                <a:cubicBezTo>
                  <a:pt x="1098" y="19"/>
                  <a:pt x="1094" y="20"/>
                  <a:pt x="1091" y="22"/>
                </a:cubicBezTo>
                <a:cubicBezTo>
                  <a:pt x="1088" y="25"/>
                  <a:pt x="1086" y="28"/>
                  <a:pt x="1084" y="32"/>
                </a:cubicBezTo>
                <a:cubicBezTo>
                  <a:pt x="1083" y="36"/>
                  <a:pt x="1082" y="40"/>
                  <a:pt x="1082" y="43"/>
                </a:cubicBezTo>
                <a:cubicBezTo>
                  <a:pt x="1082" y="48"/>
                  <a:pt x="1083" y="52"/>
                  <a:pt x="1085" y="55"/>
                </a:cubicBezTo>
                <a:cubicBezTo>
                  <a:pt x="1087" y="58"/>
                  <a:pt x="1091" y="59"/>
                  <a:pt x="1094" y="59"/>
                </a:cubicBezTo>
                <a:cubicBezTo>
                  <a:pt x="1098" y="59"/>
                  <a:pt x="1100" y="59"/>
                  <a:pt x="1102" y="57"/>
                </a:cubicBezTo>
                <a:cubicBezTo>
                  <a:pt x="1105" y="56"/>
                  <a:pt x="1106" y="54"/>
                  <a:pt x="1108" y="53"/>
                </a:cubicBezTo>
                <a:cubicBezTo>
                  <a:pt x="1106" y="50"/>
                  <a:pt x="1106" y="50"/>
                  <a:pt x="1106" y="50"/>
                </a:cubicBezTo>
                <a:cubicBezTo>
                  <a:pt x="1105" y="52"/>
                  <a:pt x="1103" y="53"/>
                  <a:pt x="1102" y="54"/>
                </a:cubicBezTo>
                <a:cubicBezTo>
                  <a:pt x="1100" y="54"/>
                  <a:pt x="1099" y="55"/>
                  <a:pt x="1097" y="55"/>
                </a:cubicBezTo>
                <a:cubicBezTo>
                  <a:pt x="1094" y="55"/>
                  <a:pt x="1092" y="54"/>
                  <a:pt x="1091" y="52"/>
                </a:cubicBezTo>
                <a:cubicBezTo>
                  <a:pt x="1090" y="50"/>
                  <a:pt x="1089" y="47"/>
                  <a:pt x="1089" y="43"/>
                </a:cubicBezTo>
                <a:cubicBezTo>
                  <a:pt x="1089" y="39"/>
                  <a:pt x="1090" y="35"/>
                  <a:pt x="1091" y="32"/>
                </a:cubicBezTo>
                <a:cubicBezTo>
                  <a:pt x="1092" y="30"/>
                  <a:pt x="1093" y="27"/>
                  <a:pt x="1095" y="26"/>
                </a:cubicBezTo>
                <a:cubicBezTo>
                  <a:pt x="1097" y="24"/>
                  <a:pt x="1099" y="23"/>
                  <a:pt x="1101" y="23"/>
                </a:cubicBezTo>
                <a:cubicBezTo>
                  <a:pt x="1102" y="23"/>
                  <a:pt x="1105" y="24"/>
                  <a:pt x="1107" y="27"/>
                </a:cubicBezTo>
                <a:close/>
                <a:moveTo>
                  <a:pt x="1124" y="52"/>
                </a:moveTo>
                <a:cubicBezTo>
                  <a:pt x="1129" y="19"/>
                  <a:pt x="1129" y="19"/>
                  <a:pt x="1129" y="19"/>
                </a:cubicBezTo>
                <a:cubicBezTo>
                  <a:pt x="1128" y="19"/>
                  <a:pt x="1128" y="19"/>
                  <a:pt x="1128" y="19"/>
                </a:cubicBezTo>
                <a:cubicBezTo>
                  <a:pt x="1118" y="20"/>
                  <a:pt x="1118" y="20"/>
                  <a:pt x="1118" y="20"/>
                </a:cubicBezTo>
                <a:cubicBezTo>
                  <a:pt x="1117" y="23"/>
                  <a:pt x="1117" y="23"/>
                  <a:pt x="1117" y="23"/>
                </a:cubicBezTo>
                <a:cubicBezTo>
                  <a:pt x="1122" y="24"/>
                  <a:pt x="1122" y="24"/>
                  <a:pt x="1122" y="24"/>
                </a:cubicBezTo>
                <a:cubicBezTo>
                  <a:pt x="1121" y="31"/>
                  <a:pt x="1120" y="37"/>
                  <a:pt x="1119" y="41"/>
                </a:cubicBezTo>
                <a:cubicBezTo>
                  <a:pt x="1118" y="49"/>
                  <a:pt x="1117" y="54"/>
                  <a:pt x="1117" y="55"/>
                </a:cubicBezTo>
                <a:cubicBezTo>
                  <a:pt x="1117" y="56"/>
                  <a:pt x="1118" y="57"/>
                  <a:pt x="1118" y="58"/>
                </a:cubicBezTo>
                <a:cubicBezTo>
                  <a:pt x="1119" y="59"/>
                  <a:pt x="1120" y="59"/>
                  <a:pt x="1122" y="59"/>
                </a:cubicBezTo>
                <a:cubicBezTo>
                  <a:pt x="1124" y="59"/>
                  <a:pt x="1125" y="59"/>
                  <a:pt x="1127" y="58"/>
                </a:cubicBezTo>
                <a:cubicBezTo>
                  <a:pt x="1128" y="57"/>
                  <a:pt x="1129" y="55"/>
                  <a:pt x="1130" y="54"/>
                </a:cubicBezTo>
                <a:cubicBezTo>
                  <a:pt x="1129" y="53"/>
                  <a:pt x="1129" y="53"/>
                  <a:pt x="1129" y="53"/>
                </a:cubicBezTo>
                <a:cubicBezTo>
                  <a:pt x="1128" y="54"/>
                  <a:pt x="1128" y="54"/>
                  <a:pt x="1127" y="54"/>
                </a:cubicBezTo>
                <a:cubicBezTo>
                  <a:pt x="1126" y="55"/>
                  <a:pt x="1126" y="55"/>
                  <a:pt x="1125" y="55"/>
                </a:cubicBezTo>
                <a:cubicBezTo>
                  <a:pt x="1125" y="55"/>
                  <a:pt x="1125" y="55"/>
                  <a:pt x="1125" y="54"/>
                </a:cubicBezTo>
                <a:cubicBezTo>
                  <a:pt x="1124" y="54"/>
                  <a:pt x="1124" y="54"/>
                  <a:pt x="1124" y="53"/>
                </a:cubicBezTo>
                <a:lnTo>
                  <a:pt x="1124" y="52"/>
                </a:lnTo>
                <a:close/>
                <a:moveTo>
                  <a:pt x="1127" y="11"/>
                </a:moveTo>
                <a:cubicBezTo>
                  <a:pt x="1128" y="11"/>
                  <a:pt x="1129" y="11"/>
                  <a:pt x="1130" y="10"/>
                </a:cubicBezTo>
                <a:cubicBezTo>
                  <a:pt x="1131" y="9"/>
                  <a:pt x="1131" y="7"/>
                  <a:pt x="1131" y="6"/>
                </a:cubicBezTo>
                <a:cubicBezTo>
                  <a:pt x="1131" y="5"/>
                  <a:pt x="1131" y="4"/>
                  <a:pt x="1130" y="3"/>
                </a:cubicBezTo>
                <a:cubicBezTo>
                  <a:pt x="1130" y="3"/>
                  <a:pt x="1129" y="2"/>
                  <a:pt x="1128" y="2"/>
                </a:cubicBezTo>
                <a:cubicBezTo>
                  <a:pt x="1126" y="2"/>
                  <a:pt x="1125" y="3"/>
                  <a:pt x="1124" y="4"/>
                </a:cubicBezTo>
                <a:cubicBezTo>
                  <a:pt x="1123" y="5"/>
                  <a:pt x="1123" y="6"/>
                  <a:pt x="1123" y="7"/>
                </a:cubicBezTo>
                <a:cubicBezTo>
                  <a:pt x="1123" y="8"/>
                  <a:pt x="1123" y="9"/>
                  <a:pt x="1124" y="10"/>
                </a:cubicBezTo>
                <a:cubicBezTo>
                  <a:pt x="1125" y="11"/>
                  <a:pt x="1126" y="11"/>
                  <a:pt x="1127" y="11"/>
                </a:cubicBezTo>
                <a:close/>
                <a:moveTo>
                  <a:pt x="1166" y="52"/>
                </a:moveTo>
                <a:cubicBezTo>
                  <a:pt x="1165" y="49"/>
                  <a:pt x="1165" y="49"/>
                  <a:pt x="1165" y="49"/>
                </a:cubicBezTo>
                <a:cubicBezTo>
                  <a:pt x="1163" y="51"/>
                  <a:pt x="1161" y="52"/>
                  <a:pt x="1159" y="53"/>
                </a:cubicBezTo>
                <a:cubicBezTo>
                  <a:pt x="1157" y="54"/>
                  <a:pt x="1155" y="55"/>
                  <a:pt x="1153" y="55"/>
                </a:cubicBezTo>
                <a:cubicBezTo>
                  <a:pt x="1150" y="55"/>
                  <a:pt x="1148" y="54"/>
                  <a:pt x="1147" y="51"/>
                </a:cubicBezTo>
                <a:cubicBezTo>
                  <a:pt x="1145" y="49"/>
                  <a:pt x="1145" y="46"/>
                  <a:pt x="1145" y="43"/>
                </a:cubicBezTo>
                <a:cubicBezTo>
                  <a:pt x="1148" y="43"/>
                  <a:pt x="1151" y="42"/>
                  <a:pt x="1155" y="41"/>
                </a:cubicBezTo>
                <a:cubicBezTo>
                  <a:pt x="1158" y="40"/>
                  <a:pt x="1162" y="38"/>
                  <a:pt x="1164" y="36"/>
                </a:cubicBezTo>
                <a:cubicBezTo>
                  <a:pt x="1167" y="33"/>
                  <a:pt x="1168" y="31"/>
                  <a:pt x="1168" y="27"/>
                </a:cubicBezTo>
                <a:cubicBezTo>
                  <a:pt x="1168" y="25"/>
                  <a:pt x="1167" y="23"/>
                  <a:pt x="1166" y="21"/>
                </a:cubicBezTo>
                <a:cubicBezTo>
                  <a:pt x="1164" y="19"/>
                  <a:pt x="1162" y="19"/>
                  <a:pt x="1158" y="19"/>
                </a:cubicBezTo>
                <a:cubicBezTo>
                  <a:pt x="1154" y="19"/>
                  <a:pt x="1151" y="20"/>
                  <a:pt x="1148" y="22"/>
                </a:cubicBezTo>
                <a:cubicBezTo>
                  <a:pt x="1145" y="24"/>
                  <a:pt x="1142" y="28"/>
                  <a:pt x="1140" y="31"/>
                </a:cubicBezTo>
                <a:cubicBezTo>
                  <a:pt x="1138" y="35"/>
                  <a:pt x="1138" y="40"/>
                  <a:pt x="1138" y="44"/>
                </a:cubicBezTo>
                <a:cubicBezTo>
                  <a:pt x="1138" y="47"/>
                  <a:pt x="1138" y="49"/>
                  <a:pt x="1139" y="52"/>
                </a:cubicBezTo>
                <a:cubicBezTo>
                  <a:pt x="1140" y="54"/>
                  <a:pt x="1142" y="56"/>
                  <a:pt x="1144" y="57"/>
                </a:cubicBezTo>
                <a:cubicBezTo>
                  <a:pt x="1146" y="59"/>
                  <a:pt x="1148" y="59"/>
                  <a:pt x="1151" y="59"/>
                </a:cubicBezTo>
                <a:cubicBezTo>
                  <a:pt x="1155" y="59"/>
                  <a:pt x="1158" y="58"/>
                  <a:pt x="1160" y="57"/>
                </a:cubicBezTo>
                <a:cubicBezTo>
                  <a:pt x="1163" y="55"/>
                  <a:pt x="1165" y="54"/>
                  <a:pt x="1166" y="52"/>
                </a:cubicBezTo>
                <a:close/>
                <a:moveTo>
                  <a:pt x="1157" y="22"/>
                </a:moveTo>
                <a:cubicBezTo>
                  <a:pt x="1158" y="22"/>
                  <a:pt x="1159" y="23"/>
                  <a:pt x="1160" y="24"/>
                </a:cubicBezTo>
                <a:cubicBezTo>
                  <a:pt x="1161" y="25"/>
                  <a:pt x="1161" y="26"/>
                  <a:pt x="1161" y="28"/>
                </a:cubicBezTo>
                <a:cubicBezTo>
                  <a:pt x="1161" y="30"/>
                  <a:pt x="1161" y="32"/>
                  <a:pt x="1159" y="34"/>
                </a:cubicBezTo>
                <a:cubicBezTo>
                  <a:pt x="1157" y="35"/>
                  <a:pt x="1155" y="37"/>
                  <a:pt x="1152" y="38"/>
                </a:cubicBezTo>
                <a:cubicBezTo>
                  <a:pt x="1150" y="39"/>
                  <a:pt x="1147" y="39"/>
                  <a:pt x="1145" y="39"/>
                </a:cubicBezTo>
                <a:cubicBezTo>
                  <a:pt x="1145" y="37"/>
                  <a:pt x="1146" y="34"/>
                  <a:pt x="1147" y="32"/>
                </a:cubicBezTo>
                <a:cubicBezTo>
                  <a:pt x="1148" y="29"/>
                  <a:pt x="1149" y="27"/>
                  <a:pt x="1151" y="25"/>
                </a:cubicBezTo>
                <a:cubicBezTo>
                  <a:pt x="1152" y="23"/>
                  <a:pt x="1154" y="22"/>
                  <a:pt x="1157" y="22"/>
                </a:cubicBezTo>
                <a:close/>
                <a:moveTo>
                  <a:pt x="1187" y="28"/>
                </a:moveTo>
                <a:cubicBezTo>
                  <a:pt x="1188" y="19"/>
                  <a:pt x="1188" y="19"/>
                  <a:pt x="1188" y="19"/>
                </a:cubicBezTo>
                <a:cubicBezTo>
                  <a:pt x="1186" y="19"/>
                  <a:pt x="1186" y="19"/>
                  <a:pt x="1186" y="19"/>
                </a:cubicBezTo>
                <a:cubicBezTo>
                  <a:pt x="1178" y="20"/>
                  <a:pt x="1178" y="20"/>
                  <a:pt x="1178" y="20"/>
                </a:cubicBezTo>
                <a:cubicBezTo>
                  <a:pt x="1177" y="23"/>
                  <a:pt x="1177" y="23"/>
                  <a:pt x="1177" y="23"/>
                </a:cubicBezTo>
                <a:cubicBezTo>
                  <a:pt x="1180" y="25"/>
                  <a:pt x="1180" y="25"/>
                  <a:pt x="1180" y="25"/>
                </a:cubicBezTo>
                <a:cubicBezTo>
                  <a:pt x="1176" y="58"/>
                  <a:pt x="1176" y="58"/>
                  <a:pt x="1176" y="58"/>
                </a:cubicBezTo>
                <a:cubicBezTo>
                  <a:pt x="1183" y="58"/>
                  <a:pt x="1183" y="58"/>
                  <a:pt x="1183" y="58"/>
                </a:cubicBezTo>
                <a:cubicBezTo>
                  <a:pt x="1186" y="33"/>
                  <a:pt x="1186" y="33"/>
                  <a:pt x="1186" y="33"/>
                </a:cubicBezTo>
                <a:cubicBezTo>
                  <a:pt x="1188" y="31"/>
                  <a:pt x="1190" y="28"/>
                  <a:pt x="1192" y="26"/>
                </a:cubicBezTo>
                <a:cubicBezTo>
                  <a:pt x="1194" y="25"/>
                  <a:pt x="1196" y="24"/>
                  <a:pt x="1198" y="24"/>
                </a:cubicBezTo>
                <a:cubicBezTo>
                  <a:pt x="1200" y="24"/>
                  <a:pt x="1201" y="24"/>
                  <a:pt x="1202" y="25"/>
                </a:cubicBezTo>
                <a:cubicBezTo>
                  <a:pt x="1202" y="26"/>
                  <a:pt x="1203" y="27"/>
                  <a:pt x="1203" y="29"/>
                </a:cubicBezTo>
                <a:cubicBezTo>
                  <a:pt x="1203" y="31"/>
                  <a:pt x="1202" y="33"/>
                  <a:pt x="1202" y="35"/>
                </a:cubicBezTo>
                <a:cubicBezTo>
                  <a:pt x="1202" y="37"/>
                  <a:pt x="1201" y="39"/>
                  <a:pt x="1201" y="41"/>
                </a:cubicBezTo>
                <a:cubicBezTo>
                  <a:pt x="1201" y="43"/>
                  <a:pt x="1201" y="43"/>
                  <a:pt x="1201" y="43"/>
                </a:cubicBezTo>
                <a:cubicBezTo>
                  <a:pt x="1200" y="46"/>
                  <a:pt x="1200" y="46"/>
                  <a:pt x="1200" y="46"/>
                </a:cubicBezTo>
                <a:cubicBezTo>
                  <a:pt x="1199" y="51"/>
                  <a:pt x="1199" y="54"/>
                  <a:pt x="1199" y="55"/>
                </a:cubicBezTo>
                <a:cubicBezTo>
                  <a:pt x="1199" y="58"/>
                  <a:pt x="1200" y="59"/>
                  <a:pt x="1203" y="59"/>
                </a:cubicBezTo>
                <a:cubicBezTo>
                  <a:pt x="1205" y="59"/>
                  <a:pt x="1206" y="59"/>
                  <a:pt x="1207" y="58"/>
                </a:cubicBezTo>
                <a:cubicBezTo>
                  <a:pt x="1208" y="58"/>
                  <a:pt x="1209" y="57"/>
                  <a:pt x="1210" y="57"/>
                </a:cubicBezTo>
                <a:cubicBezTo>
                  <a:pt x="1210" y="56"/>
                  <a:pt x="1211" y="55"/>
                  <a:pt x="1211" y="55"/>
                </a:cubicBezTo>
                <a:cubicBezTo>
                  <a:pt x="1210" y="53"/>
                  <a:pt x="1210" y="53"/>
                  <a:pt x="1210" y="53"/>
                </a:cubicBezTo>
                <a:cubicBezTo>
                  <a:pt x="1209" y="54"/>
                  <a:pt x="1208" y="55"/>
                  <a:pt x="1207" y="55"/>
                </a:cubicBezTo>
                <a:cubicBezTo>
                  <a:pt x="1206" y="55"/>
                  <a:pt x="1206" y="54"/>
                  <a:pt x="1206" y="53"/>
                </a:cubicBezTo>
                <a:cubicBezTo>
                  <a:pt x="1206" y="51"/>
                  <a:pt x="1206" y="48"/>
                  <a:pt x="1207" y="45"/>
                </a:cubicBezTo>
                <a:cubicBezTo>
                  <a:pt x="1208" y="41"/>
                  <a:pt x="1208" y="41"/>
                  <a:pt x="1208" y="41"/>
                </a:cubicBezTo>
                <a:cubicBezTo>
                  <a:pt x="1208" y="40"/>
                  <a:pt x="1208" y="40"/>
                  <a:pt x="1208" y="40"/>
                </a:cubicBezTo>
                <a:cubicBezTo>
                  <a:pt x="1209" y="34"/>
                  <a:pt x="1210" y="31"/>
                  <a:pt x="1210" y="29"/>
                </a:cubicBezTo>
                <a:cubicBezTo>
                  <a:pt x="1210" y="25"/>
                  <a:pt x="1209" y="23"/>
                  <a:pt x="1207" y="21"/>
                </a:cubicBezTo>
                <a:cubicBezTo>
                  <a:pt x="1206" y="19"/>
                  <a:pt x="1204" y="19"/>
                  <a:pt x="1201" y="19"/>
                </a:cubicBezTo>
                <a:cubicBezTo>
                  <a:pt x="1199" y="19"/>
                  <a:pt x="1196" y="19"/>
                  <a:pt x="1193" y="21"/>
                </a:cubicBezTo>
                <a:cubicBezTo>
                  <a:pt x="1191" y="23"/>
                  <a:pt x="1189" y="25"/>
                  <a:pt x="1187" y="28"/>
                </a:cubicBezTo>
                <a:close/>
                <a:moveTo>
                  <a:pt x="1243" y="27"/>
                </a:moveTo>
                <a:cubicBezTo>
                  <a:pt x="1245" y="27"/>
                  <a:pt x="1245" y="27"/>
                  <a:pt x="1245" y="27"/>
                </a:cubicBezTo>
                <a:cubicBezTo>
                  <a:pt x="1247" y="20"/>
                  <a:pt x="1247" y="20"/>
                  <a:pt x="1247" y="20"/>
                </a:cubicBezTo>
                <a:cubicBezTo>
                  <a:pt x="1246" y="20"/>
                  <a:pt x="1244" y="19"/>
                  <a:pt x="1243" y="19"/>
                </a:cubicBezTo>
                <a:cubicBezTo>
                  <a:pt x="1241" y="19"/>
                  <a:pt x="1240" y="19"/>
                  <a:pt x="1239" y="19"/>
                </a:cubicBezTo>
                <a:cubicBezTo>
                  <a:pt x="1234" y="19"/>
                  <a:pt x="1231" y="20"/>
                  <a:pt x="1228" y="22"/>
                </a:cubicBezTo>
                <a:cubicBezTo>
                  <a:pt x="1224" y="25"/>
                  <a:pt x="1222" y="28"/>
                  <a:pt x="1220" y="32"/>
                </a:cubicBezTo>
                <a:cubicBezTo>
                  <a:pt x="1219" y="36"/>
                  <a:pt x="1218" y="40"/>
                  <a:pt x="1218" y="43"/>
                </a:cubicBezTo>
                <a:cubicBezTo>
                  <a:pt x="1218" y="48"/>
                  <a:pt x="1219" y="52"/>
                  <a:pt x="1221" y="55"/>
                </a:cubicBezTo>
                <a:cubicBezTo>
                  <a:pt x="1224" y="58"/>
                  <a:pt x="1227" y="59"/>
                  <a:pt x="1231" y="59"/>
                </a:cubicBezTo>
                <a:cubicBezTo>
                  <a:pt x="1234" y="59"/>
                  <a:pt x="1236" y="59"/>
                  <a:pt x="1239" y="57"/>
                </a:cubicBezTo>
                <a:cubicBezTo>
                  <a:pt x="1241" y="56"/>
                  <a:pt x="1243" y="54"/>
                  <a:pt x="1244" y="53"/>
                </a:cubicBezTo>
                <a:cubicBezTo>
                  <a:pt x="1242" y="50"/>
                  <a:pt x="1242" y="50"/>
                  <a:pt x="1242" y="50"/>
                </a:cubicBezTo>
                <a:cubicBezTo>
                  <a:pt x="1241" y="52"/>
                  <a:pt x="1239" y="53"/>
                  <a:pt x="1238" y="54"/>
                </a:cubicBezTo>
                <a:cubicBezTo>
                  <a:pt x="1236" y="54"/>
                  <a:pt x="1235" y="55"/>
                  <a:pt x="1233" y="55"/>
                </a:cubicBezTo>
                <a:cubicBezTo>
                  <a:pt x="1230" y="55"/>
                  <a:pt x="1228" y="54"/>
                  <a:pt x="1227" y="52"/>
                </a:cubicBezTo>
                <a:cubicBezTo>
                  <a:pt x="1226" y="50"/>
                  <a:pt x="1225" y="47"/>
                  <a:pt x="1225" y="43"/>
                </a:cubicBezTo>
                <a:cubicBezTo>
                  <a:pt x="1225" y="39"/>
                  <a:pt x="1226" y="35"/>
                  <a:pt x="1227" y="32"/>
                </a:cubicBezTo>
                <a:cubicBezTo>
                  <a:pt x="1228" y="30"/>
                  <a:pt x="1229" y="27"/>
                  <a:pt x="1231" y="26"/>
                </a:cubicBezTo>
                <a:cubicBezTo>
                  <a:pt x="1233" y="24"/>
                  <a:pt x="1235" y="23"/>
                  <a:pt x="1237" y="23"/>
                </a:cubicBezTo>
                <a:cubicBezTo>
                  <a:pt x="1239" y="23"/>
                  <a:pt x="1241" y="24"/>
                  <a:pt x="1243" y="27"/>
                </a:cubicBezTo>
                <a:close/>
                <a:moveTo>
                  <a:pt x="1279" y="52"/>
                </a:moveTo>
                <a:cubicBezTo>
                  <a:pt x="1277" y="49"/>
                  <a:pt x="1277" y="49"/>
                  <a:pt x="1277" y="49"/>
                </a:cubicBezTo>
                <a:cubicBezTo>
                  <a:pt x="1276" y="51"/>
                  <a:pt x="1274" y="52"/>
                  <a:pt x="1272" y="53"/>
                </a:cubicBezTo>
                <a:cubicBezTo>
                  <a:pt x="1270" y="54"/>
                  <a:pt x="1268" y="55"/>
                  <a:pt x="1266" y="55"/>
                </a:cubicBezTo>
                <a:cubicBezTo>
                  <a:pt x="1263" y="55"/>
                  <a:pt x="1261" y="54"/>
                  <a:pt x="1259" y="51"/>
                </a:cubicBezTo>
                <a:cubicBezTo>
                  <a:pt x="1258" y="49"/>
                  <a:pt x="1257" y="46"/>
                  <a:pt x="1258" y="43"/>
                </a:cubicBezTo>
                <a:cubicBezTo>
                  <a:pt x="1260" y="43"/>
                  <a:pt x="1264" y="42"/>
                  <a:pt x="1267" y="41"/>
                </a:cubicBezTo>
                <a:cubicBezTo>
                  <a:pt x="1271" y="40"/>
                  <a:pt x="1274" y="38"/>
                  <a:pt x="1277" y="36"/>
                </a:cubicBezTo>
                <a:cubicBezTo>
                  <a:pt x="1280" y="33"/>
                  <a:pt x="1281" y="31"/>
                  <a:pt x="1281" y="27"/>
                </a:cubicBezTo>
                <a:cubicBezTo>
                  <a:pt x="1281" y="25"/>
                  <a:pt x="1280" y="23"/>
                  <a:pt x="1278" y="21"/>
                </a:cubicBezTo>
                <a:cubicBezTo>
                  <a:pt x="1277" y="19"/>
                  <a:pt x="1274" y="19"/>
                  <a:pt x="1271" y="19"/>
                </a:cubicBezTo>
                <a:cubicBezTo>
                  <a:pt x="1267" y="19"/>
                  <a:pt x="1264" y="20"/>
                  <a:pt x="1260" y="22"/>
                </a:cubicBezTo>
                <a:cubicBezTo>
                  <a:pt x="1257" y="24"/>
                  <a:pt x="1255" y="28"/>
                  <a:pt x="1253" y="31"/>
                </a:cubicBezTo>
                <a:cubicBezTo>
                  <a:pt x="1251" y="35"/>
                  <a:pt x="1250" y="40"/>
                  <a:pt x="1250" y="44"/>
                </a:cubicBezTo>
                <a:cubicBezTo>
                  <a:pt x="1250" y="47"/>
                  <a:pt x="1251" y="49"/>
                  <a:pt x="1252" y="52"/>
                </a:cubicBezTo>
                <a:cubicBezTo>
                  <a:pt x="1253" y="54"/>
                  <a:pt x="1254" y="56"/>
                  <a:pt x="1256" y="57"/>
                </a:cubicBezTo>
                <a:cubicBezTo>
                  <a:pt x="1258" y="59"/>
                  <a:pt x="1261" y="59"/>
                  <a:pt x="1264" y="59"/>
                </a:cubicBezTo>
                <a:cubicBezTo>
                  <a:pt x="1267" y="59"/>
                  <a:pt x="1270" y="58"/>
                  <a:pt x="1273" y="57"/>
                </a:cubicBezTo>
                <a:cubicBezTo>
                  <a:pt x="1276" y="55"/>
                  <a:pt x="1278" y="54"/>
                  <a:pt x="1279" y="52"/>
                </a:cubicBezTo>
                <a:close/>
                <a:moveTo>
                  <a:pt x="1269" y="22"/>
                </a:moveTo>
                <a:cubicBezTo>
                  <a:pt x="1271" y="22"/>
                  <a:pt x="1272" y="23"/>
                  <a:pt x="1273" y="24"/>
                </a:cubicBezTo>
                <a:cubicBezTo>
                  <a:pt x="1274" y="25"/>
                  <a:pt x="1274" y="26"/>
                  <a:pt x="1274" y="28"/>
                </a:cubicBezTo>
                <a:cubicBezTo>
                  <a:pt x="1274" y="30"/>
                  <a:pt x="1273" y="32"/>
                  <a:pt x="1272" y="34"/>
                </a:cubicBezTo>
                <a:cubicBezTo>
                  <a:pt x="1270" y="35"/>
                  <a:pt x="1268" y="37"/>
                  <a:pt x="1265" y="38"/>
                </a:cubicBezTo>
                <a:cubicBezTo>
                  <a:pt x="1263" y="39"/>
                  <a:pt x="1260" y="39"/>
                  <a:pt x="1258" y="39"/>
                </a:cubicBezTo>
                <a:cubicBezTo>
                  <a:pt x="1258" y="37"/>
                  <a:pt x="1259" y="34"/>
                  <a:pt x="1259" y="32"/>
                </a:cubicBezTo>
                <a:cubicBezTo>
                  <a:pt x="1260" y="29"/>
                  <a:pt x="1262" y="27"/>
                  <a:pt x="1263" y="25"/>
                </a:cubicBezTo>
                <a:cubicBezTo>
                  <a:pt x="1265" y="23"/>
                  <a:pt x="1267" y="22"/>
                  <a:pt x="1269" y="22"/>
                </a:cubicBezTo>
                <a:close/>
                <a:moveTo>
                  <a:pt x="1310" y="25"/>
                </a:moveTo>
                <a:cubicBezTo>
                  <a:pt x="1311" y="20"/>
                  <a:pt x="1311" y="20"/>
                  <a:pt x="1311" y="20"/>
                </a:cubicBezTo>
                <a:cubicBezTo>
                  <a:pt x="1311" y="20"/>
                  <a:pt x="1309" y="19"/>
                  <a:pt x="1308" y="19"/>
                </a:cubicBezTo>
                <a:cubicBezTo>
                  <a:pt x="1306" y="19"/>
                  <a:pt x="1304" y="19"/>
                  <a:pt x="1303" y="19"/>
                </a:cubicBezTo>
                <a:cubicBezTo>
                  <a:pt x="1300" y="19"/>
                  <a:pt x="1298" y="19"/>
                  <a:pt x="1296" y="20"/>
                </a:cubicBezTo>
                <a:cubicBezTo>
                  <a:pt x="1293" y="21"/>
                  <a:pt x="1292" y="22"/>
                  <a:pt x="1291" y="24"/>
                </a:cubicBezTo>
                <a:cubicBezTo>
                  <a:pt x="1289" y="26"/>
                  <a:pt x="1289" y="27"/>
                  <a:pt x="1289" y="30"/>
                </a:cubicBezTo>
                <a:cubicBezTo>
                  <a:pt x="1289" y="34"/>
                  <a:pt x="1291" y="38"/>
                  <a:pt x="1296" y="41"/>
                </a:cubicBezTo>
                <a:cubicBezTo>
                  <a:pt x="1298" y="43"/>
                  <a:pt x="1300" y="44"/>
                  <a:pt x="1301" y="45"/>
                </a:cubicBezTo>
                <a:cubicBezTo>
                  <a:pt x="1302" y="46"/>
                  <a:pt x="1303" y="48"/>
                  <a:pt x="1303" y="50"/>
                </a:cubicBezTo>
                <a:cubicBezTo>
                  <a:pt x="1303" y="51"/>
                  <a:pt x="1302" y="53"/>
                  <a:pt x="1301" y="54"/>
                </a:cubicBezTo>
                <a:cubicBezTo>
                  <a:pt x="1299" y="55"/>
                  <a:pt x="1297" y="55"/>
                  <a:pt x="1295" y="55"/>
                </a:cubicBezTo>
                <a:cubicBezTo>
                  <a:pt x="1293" y="55"/>
                  <a:pt x="1292" y="55"/>
                  <a:pt x="1290" y="54"/>
                </a:cubicBezTo>
                <a:cubicBezTo>
                  <a:pt x="1288" y="53"/>
                  <a:pt x="1287" y="53"/>
                  <a:pt x="1286" y="52"/>
                </a:cubicBezTo>
                <a:cubicBezTo>
                  <a:pt x="1285" y="57"/>
                  <a:pt x="1285" y="57"/>
                  <a:pt x="1285" y="57"/>
                </a:cubicBezTo>
                <a:cubicBezTo>
                  <a:pt x="1285" y="58"/>
                  <a:pt x="1287" y="58"/>
                  <a:pt x="1289" y="58"/>
                </a:cubicBezTo>
                <a:cubicBezTo>
                  <a:pt x="1291" y="59"/>
                  <a:pt x="1293" y="59"/>
                  <a:pt x="1295" y="59"/>
                </a:cubicBezTo>
                <a:cubicBezTo>
                  <a:pt x="1299" y="59"/>
                  <a:pt x="1303" y="58"/>
                  <a:pt x="1305" y="56"/>
                </a:cubicBezTo>
                <a:cubicBezTo>
                  <a:pt x="1308" y="54"/>
                  <a:pt x="1309" y="52"/>
                  <a:pt x="1309" y="48"/>
                </a:cubicBezTo>
                <a:cubicBezTo>
                  <a:pt x="1309" y="46"/>
                  <a:pt x="1309" y="45"/>
                  <a:pt x="1308" y="43"/>
                </a:cubicBezTo>
                <a:cubicBezTo>
                  <a:pt x="1307" y="42"/>
                  <a:pt x="1306" y="41"/>
                  <a:pt x="1305" y="40"/>
                </a:cubicBezTo>
                <a:cubicBezTo>
                  <a:pt x="1304" y="39"/>
                  <a:pt x="1303" y="38"/>
                  <a:pt x="1301" y="36"/>
                </a:cubicBezTo>
                <a:cubicBezTo>
                  <a:pt x="1299" y="35"/>
                  <a:pt x="1298" y="34"/>
                  <a:pt x="1297" y="32"/>
                </a:cubicBezTo>
                <a:cubicBezTo>
                  <a:pt x="1296" y="31"/>
                  <a:pt x="1295" y="30"/>
                  <a:pt x="1295" y="28"/>
                </a:cubicBezTo>
                <a:cubicBezTo>
                  <a:pt x="1295" y="26"/>
                  <a:pt x="1296" y="25"/>
                  <a:pt x="1297" y="24"/>
                </a:cubicBezTo>
                <a:cubicBezTo>
                  <a:pt x="1299" y="23"/>
                  <a:pt x="1300" y="23"/>
                  <a:pt x="1303" y="23"/>
                </a:cubicBezTo>
                <a:cubicBezTo>
                  <a:pt x="1304" y="23"/>
                  <a:pt x="1306" y="23"/>
                  <a:pt x="1307" y="24"/>
                </a:cubicBezTo>
                <a:cubicBezTo>
                  <a:pt x="1309" y="24"/>
                  <a:pt x="1310" y="25"/>
                  <a:pt x="1310" y="25"/>
                </a:cubicBezTo>
                <a:close/>
                <a:moveTo>
                  <a:pt x="1047" y="110"/>
                </a:moveTo>
                <a:cubicBezTo>
                  <a:pt x="1052" y="111"/>
                  <a:pt x="1052" y="111"/>
                  <a:pt x="1052" y="111"/>
                </a:cubicBezTo>
                <a:cubicBezTo>
                  <a:pt x="1046" y="156"/>
                  <a:pt x="1046" y="156"/>
                  <a:pt x="1046" y="156"/>
                </a:cubicBezTo>
                <a:cubicBezTo>
                  <a:pt x="1041" y="157"/>
                  <a:pt x="1041" y="157"/>
                  <a:pt x="1041" y="157"/>
                </a:cubicBezTo>
                <a:cubicBezTo>
                  <a:pt x="1041" y="159"/>
                  <a:pt x="1041" y="159"/>
                  <a:pt x="1041" y="159"/>
                </a:cubicBezTo>
                <a:cubicBezTo>
                  <a:pt x="1078" y="159"/>
                  <a:pt x="1078" y="159"/>
                  <a:pt x="1078" y="159"/>
                </a:cubicBezTo>
                <a:cubicBezTo>
                  <a:pt x="1081" y="147"/>
                  <a:pt x="1081" y="147"/>
                  <a:pt x="1081" y="147"/>
                </a:cubicBezTo>
                <a:cubicBezTo>
                  <a:pt x="1077" y="146"/>
                  <a:pt x="1077" y="146"/>
                  <a:pt x="1077" y="146"/>
                </a:cubicBezTo>
                <a:cubicBezTo>
                  <a:pt x="1073" y="155"/>
                  <a:pt x="1073" y="155"/>
                  <a:pt x="1073" y="155"/>
                </a:cubicBezTo>
                <a:cubicBezTo>
                  <a:pt x="1053" y="156"/>
                  <a:pt x="1053" y="156"/>
                  <a:pt x="1053" y="156"/>
                </a:cubicBezTo>
                <a:cubicBezTo>
                  <a:pt x="1056" y="134"/>
                  <a:pt x="1056" y="134"/>
                  <a:pt x="1056" y="134"/>
                </a:cubicBezTo>
                <a:cubicBezTo>
                  <a:pt x="1072" y="135"/>
                  <a:pt x="1072" y="135"/>
                  <a:pt x="1072" y="135"/>
                </a:cubicBezTo>
                <a:cubicBezTo>
                  <a:pt x="1073" y="130"/>
                  <a:pt x="1073" y="130"/>
                  <a:pt x="1073" y="130"/>
                </a:cubicBezTo>
                <a:cubicBezTo>
                  <a:pt x="1057" y="130"/>
                  <a:pt x="1057" y="130"/>
                  <a:pt x="1057" y="130"/>
                </a:cubicBezTo>
                <a:cubicBezTo>
                  <a:pt x="1059" y="110"/>
                  <a:pt x="1059" y="110"/>
                  <a:pt x="1059" y="110"/>
                </a:cubicBezTo>
                <a:cubicBezTo>
                  <a:pt x="1075" y="111"/>
                  <a:pt x="1075" y="111"/>
                  <a:pt x="1075" y="111"/>
                </a:cubicBezTo>
                <a:cubicBezTo>
                  <a:pt x="1076" y="118"/>
                  <a:pt x="1076" y="118"/>
                  <a:pt x="1076" y="118"/>
                </a:cubicBezTo>
                <a:cubicBezTo>
                  <a:pt x="1080" y="118"/>
                  <a:pt x="1080" y="118"/>
                  <a:pt x="1080" y="118"/>
                </a:cubicBezTo>
                <a:cubicBezTo>
                  <a:pt x="1081" y="107"/>
                  <a:pt x="1081" y="107"/>
                  <a:pt x="1081" y="107"/>
                </a:cubicBezTo>
                <a:cubicBezTo>
                  <a:pt x="1048" y="107"/>
                  <a:pt x="1048" y="107"/>
                  <a:pt x="1048" y="107"/>
                </a:cubicBezTo>
                <a:lnTo>
                  <a:pt x="1047" y="110"/>
                </a:lnTo>
                <a:close/>
                <a:moveTo>
                  <a:pt x="1100" y="129"/>
                </a:moveTo>
                <a:cubicBezTo>
                  <a:pt x="1100" y="120"/>
                  <a:pt x="1100" y="120"/>
                  <a:pt x="1100" y="120"/>
                </a:cubicBezTo>
                <a:cubicBezTo>
                  <a:pt x="1099" y="119"/>
                  <a:pt x="1099" y="119"/>
                  <a:pt x="1099" y="119"/>
                </a:cubicBezTo>
                <a:cubicBezTo>
                  <a:pt x="1090" y="121"/>
                  <a:pt x="1090" y="121"/>
                  <a:pt x="1090" y="121"/>
                </a:cubicBezTo>
                <a:cubicBezTo>
                  <a:pt x="1090" y="124"/>
                  <a:pt x="1090" y="124"/>
                  <a:pt x="1090" y="124"/>
                </a:cubicBezTo>
                <a:cubicBezTo>
                  <a:pt x="1093" y="125"/>
                  <a:pt x="1093" y="125"/>
                  <a:pt x="1093" y="125"/>
                </a:cubicBezTo>
                <a:cubicBezTo>
                  <a:pt x="1089" y="159"/>
                  <a:pt x="1089" y="159"/>
                  <a:pt x="1089" y="159"/>
                </a:cubicBezTo>
                <a:cubicBezTo>
                  <a:pt x="1095" y="159"/>
                  <a:pt x="1095" y="159"/>
                  <a:pt x="1095" y="159"/>
                </a:cubicBezTo>
                <a:cubicBezTo>
                  <a:pt x="1099" y="134"/>
                  <a:pt x="1099" y="134"/>
                  <a:pt x="1099" y="134"/>
                </a:cubicBezTo>
                <a:cubicBezTo>
                  <a:pt x="1101" y="131"/>
                  <a:pt x="1103" y="129"/>
                  <a:pt x="1105" y="127"/>
                </a:cubicBezTo>
                <a:cubicBezTo>
                  <a:pt x="1107" y="125"/>
                  <a:pt x="1109" y="124"/>
                  <a:pt x="1111" y="124"/>
                </a:cubicBezTo>
                <a:cubicBezTo>
                  <a:pt x="1113" y="124"/>
                  <a:pt x="1114" y="125"/>
                  <a:pt x="1114" y="126"/>
                </a:cubicBezTo>
                <a:cubicBezTo>
                  <a:pt x="1115" y="127"/>
                  <a:pt x="1115" y="128"/>
                  <a:pt x="1115" y="130"/>
                </a:cubicBezTo>
                <a:cubicBezTo>
                  <a:pt x="1115" y="132"/>
                  <a:pt x="1115" y="134"/>
                  <a:pt x="1115" y="135"/>
                </a:cubicBezTo>
                <a:cubicBezTo>
                  <a:pt x="1115" y="137"/>
                  <a:pt x="1114" y="140"/>
                  <a:pt x="1114" y="142"/>
                </a:cubicBezTo>
                <a:cubicBezTo>
                  <a:pt x="1114" y="144"/>
                  <a:pt x="1114" y="144"/>
                  <a:pt x="1114" y="144"/>
                </a:cubicBezTo>
                <a:cubicBezTo>
                  <a:pt x="1113" y="147"/>
                  <a:pt x="1113" y="147"/>
                  <a:pt x="1113" y="147"/>
                </a:cubicBezTo>
                <a:cubicBezTo>
                  <a:pt x="1112" y="151"/>
                  <a:pt x="1112" y="154"/>
                  <a:pt x="1112" y="156"/>
                </a:cubicBezTo>
                <a:cubicBezTo>
                  <a:pt x="1112" y="159"/>
                  <a:pt x="1113" y="160"/>
                  <a:pt x="1116" y="160"/>
                </a:cubicBezTo>
                <a:cubicBezTo>
                  <a:pt x="1117" y="160"/>
                  <a:pt x="1119" y="160"/>
                  <a:pt x="1120" y="159"/>
                </a:cubicBezTo>
                <a:cubicBezTo>
                  <a:pt x="1121" y="159"/>
                  <a:pt x="1122" y="158"/>
                  <a:pt x="1123" y="157"/>
                </a:cubicBezTo>
                <a:cubicBezTo>
                  <a:pt x="1123" y="157"/>
                  <a:pt x="1124" y="156"/>
                  <a:pt x="1124" y="156"/>
                </a:cubicBezTo>
                <a:cubicBezTo>
                  <a:pt x="1123" y="154"/>
                  <a:pt x="1123" y="154"/>
                  <a:pt x="1123" y="154"/>
                </a:cubicBezTo>
                <a:cubicBezTo>
                  <a:pt x="1122" y="155"/>
                  <a:pt x="1121" y="156"/>
                  <a:pt x="1120" y="156"/>
                </a:cubicBezTo>
                <a:cubicBezTo>
                  <a:pt x="1119" y="156"/>
                  <a:pt x="1119" y="155"/>
                  <a:pt x="1119" y="154"/>
                </a:cubicBezTo>
                <a:cubicBezTo>
                  <a:pt x="1119" y="152"/>
                  <a:pt x="1119" y="149"/>
                  <a:pt x="1120" y="145"/>
                </a:cubicBezTo>
                <a:cubicBezTo>
                  <a:pt x="1121" y="142"/>
                  <a:pt x="1121" y="142"/>
                  <a:pt x="1121" y="142"/>
                </a:cubicBezTo>
                <a:cubicBezTo>
                  <a:pt x="1121" y="140"/>
                  <a:pt x="1121" y="140"/>
                  <a:pt x="1121" y="140"/>
                </a:cubicBezTo>
                <a:cubicBezTo>
                  <a:pt x="1122" y="135"/>
                  <a:pt x="1122" y="132"/>
                  <a:pt x="1122" y="130"/>
                </a:cubicBezTo>
                <a:cubicBezTo>
                  <a:pt x="1122" y="126"/>
                  <a:pt x="1122" y="123"/>
                  <a:pt x="1120" y="122"/>
                </a:cubicBezTo>
                <a:cubicBezTo>
                  <a:pt x="1119" y="120"/>
                  <a:pt x="1117" y="119"/>
                  <a:pt x="1114" y="119"/>
                </a:cubicBezTo>
                <a:cubicBezTo>
                  <a:pt x="1112" y="119"/>
                  <a:pt x="1109" y="120"/>
                  <a:pt x="1106" y="122"/>
                </a:cubicBezTo>
                <a:cubicBezTo>
                  <a:pt x="1104" y="124"/>
                  <a:pt x="1102" y="126"/>
                  <a:pt x="1100" y="129"/>
                </a:cubicBezTo>
                <a:close/>
                <a:moveTo>
                  <a:pt x="1159" y="162"/>
                </a:moveTo>
                <a:cubicBezTo>
                  <a:pt x="1165" y="119"/>
                  <a:pt x="1165" y="119"/>
                  <a:pt x="1165" y="119"/>
                </a:cubicBezTo>
                <a:cubicBezTo>
                  <a:pt x="1160" y="121"/>
                  <a:pt x="1160" y="121"/>
                  <a:pt x="1160" y="121"/>
                </a:cubicBezTo>
                <a:cubicBezTo>
                  <a:pt x="1159" y="121"/>
                  <a:pt x="1158" y="120"/>
                  <a:pt x="1157" y="120"/>
                </a:cubicBezTo>
                <a:cubicBezTo>
                  <a:pt x="1155" y="120"/>
                  <a:pt x="1154" y="119"/>
                  <a:pt x="1153" y="119"/>
                </a:cubicBezTo>
                <a:cubicBezTo>
                  <a:pt x="1148" y="119"/>
                  <a:pt x="1144" y="121"/>
                  <a:pt x="1141" y="123"/>
                </a:cubicBezTo>
                <a:cubicBezTo>
                  <a:pt x="1137" y="126"/>
                  <a:pt x="1135" y="129"/>
                  <a:pt x="1133" y="133"/>
                </a:cubicBezTo>
                <a:cubicBezTo>
                  <a:pt x="1131" y="137"/>
                  <a:pt x="1130" y="141"/>
                  <a:pt x="1130" y="145"/>
                </a:cubicBezTo>
                <a:cubicBezTo>
                  <a:pt x="1130" y="150"/>
                  <a:pt x="1131" y="153"/>
                  <a:pt x="1133" y="156"/>
                </a:cubicBezTo>
                <a:cubicBezTo>
                  <a:pt x="1135" y="159"/>
                  <a:pt x="1138" y="160"/>
                  <a:pt x="1142" y="160"/>
                </a:cubicBezTo>
                <a:cubicBezTo>
                  <a:pt x="1144" y="160"/>
                  <a:pt x="1146" y="159"/>
                  <a:pt x="1148" y="158"/>
                </a:cubicBezTo>
                <a:cubicBezTo>
                  <a:pt x="1150" y="157"/>
                  <a:pt x="1152" y="156"/>
                  <a:pt x="1153" y="155"/>
                </a:cubicBezTo>
                <a:cubicBezTo>
                  <a:pt x="1151" y="164"/>
                  <a:pt x="1151" y="164"/>
                  <a:pt x="1151" y="164"/>
                </a:cubicBezTo>
                <a:cubicBezTo>
                  <a:pt x="1151" y="167"/>
                  <a:pt x="1150" y="169"/>
                  <a:pt x="1149" y="170"/>
                </a:cubicBezTo>
                <a:cubicBezTo>
                  <a:pt x="1147" y="172"/>
                  <a:pt x="1145" y="172"/>
                  <a:pt x="1142" y="172"/>
                </a:cubicBezTo>
                <a:cubicBezTo>
                  <a:pt x="1140" y="172"/>
                  <a:pt x="1139" y="172"/>
                  <a:pt x="1137" y="171"/>
                </a:cubicBezTo>
                <a:cubicBezTo>
                  <a:pt x="1136" y="171"/>
                  <a:pt x="1134" y="170"/>
                  <a:pt x="1133" y="170"/>
                </a:cubicBezTo>
                <a:cubicBezTo>
                  <a:pt x="1132" y="175"/>
                  <a:pt x="1132" y="175"/>
                  <a:pt x="1132" y="175"/>
                </a:cubicBezTo>
                <a:cubicBezTo>
                  <a:pt x="1132" y="176"/>
                  <a:pt x="1134" y="176"/>
                  <a:pt x="1135" y="176"/>
                </a:cubicBezTo>
                <a:cubicBezTo>
                  <a:pt x="1137" y="177"/>
                  <a:pt x="1138" y="177"/>
                  <a:pt x="1140" y="177"/>
                </a:cubicBezTo>
                <a:cubicBezTo>
                  <a:pt x="1142" y="177"/>
                  <a:pt x="1145" y="176"/>
                  <a:pt x="1148" y="175"/>
                </a:cubicBezTo>
                <a:cubicBezTo>
                  <a:pt x="1150" y="174"/>
                  <a:pt x="1153" y="173"/>
                  <a:pt x="1155" y="170"/>
                </a:cubicBezTo>
                <a:cubicBezTo>
                  <a:pt x="1157" y="168"/>
                  <a:pt x="1158" y="165"/>
                  <a:pt x="1159" y="162"/>
                </a:cubicBezTo>
                <a:close/>
                <a:moveTo>
                  <a:pt x="1157" y="125"/>
                </a:moveTo>
                <a:cubicBezTo>
                  <a:pt x="1154" y="150"/>
                  <a:pt x="1154" y="150"/>
                  <a:pt x="1154" y="150"/>
                </a:cubicBezTo>
                <a:cubicBezTo>
                  <a:pt x="1152" y="151"/>
                  <a:pt x="1151" y="153"/>
                  <a:pt x="1149" y="154"/>
                </a:cubicBezTo>
                <a:cubicBezTo>
                  <a:pt x="1148" y="155"/>
                  <a:pt x="1146" y="155"/>
                  <a:pt x="1144" y="155"/>
                </a:cubicBezTo>
                <a:cubicBezTo>
                  <a:pt x="1142" y="155"/>
                  <a:pt x="1140" y="155"/>
                  <a:pt x="1139" y="153"/>
                </a:cubicBezTo>
                <a:cubicBezTo>
                  <a:pt x="1138" y="151"/>
                  <a:pt x="1138" y="148"/>
                  <a:pt x="1138" y="145"/>
                </a:cubicBezTo>
                <a:cubicBezTo>
                  <a:pt x="1138" y="142"/>
                  <a:pt x="1138" y="138"/>
                  <a:pt x="1139" y="135"/>
                </a:cubicBezTo>
                <a:cubicBezTo>
                  <a:pt x="1140" y="132"/>
                  <a:pt x="1142" y="129"/>
                  <a:pt x="1144" y="127"/>
                </a:cubicBezTo>
                <a:cubicBezTo>
                  <a:pt x="1146" y="124"/>
                  <a:pt x="1149" y="123"/>
                  <a:pt x="1152" y="123"/>
                </a:cubicBezTo>
                <a:cubicBezTo>
                  <a:pt x="1154" y="123"/>
                  <a:pt x="1156" y="124"/>
                  <a:pt x="1157" y="125"/>
                </a:cubicBezTo>
                <a:close/>
                <a:moveTo>
                  <a:pt x="1181" y="153"/>
                </a:moveTo>
                <a:cubicBezTo>
                  <a:pt x="1185" y="120"/>
                  <a:pt x="1185" y="120"/>
                  <a:pt x="1185" y="120"/>
                </a:cubicBezTo>
                <a:cubicBezTo>
                  <a:pt x="1184" y="119"/>
                  <a:pt x="1184" y="119"/>
                  <a:pt x="1184" y="119"/>
                </a:cubicBezTo>
                <a:cubicBezTo>
                  <a:pt x="1174" y="121"/>
                  <a:pt x="1174" y="121"/>
                  <a:pt x="1174" y="121"/>
                </a:cubicBezTo>
                <a:cubicBezTo>
                  <a:pt x="1173" y="123"/>
                  <a:pt x="1173" y="123"/>
                  <a:pt x="1173" y="123"/>
                </a:cubicBezTo>
                <a:cubicBezTo>
                  <a:pt x="1178" y="125"/>
                  <a:pt x="1178" y="125"/>
                  <a:pt x="1178" y="125"/>
                </a:cubicBezTo>
                <a:cubicBezTo>
                  <a:pt x="1177" y="132"/>
                  <a:pt x="1176" y="138"/>
                  <a:pt x="1175" y="142"/>
                </a:cubicBezTo>
                <a:cubicBezTo>
                  <a:pt x="1174" y="150"/>
                  <a:pt x="1174" y="154"/>
                  <a:pt x="1173" y="156"/>
                </a:cubicBezTo>
                <a:cubicBezTo>
                  <a:pt x="1173" y="157"/>
                  <a:pt x="1174" y="158"/>
                  <a:pt x="1174" y="159"/>
                </a:cubicBezTo>
                <a:cubicBezTo>
                  <a:pt x="1175" y="160"/>
                  <a:pt x="1176" y="160"/>
                  <a:pt x="1178" y="160"/>
                </a:cubicBezTo>
                <a:cubicBezTo>
                  <a:pt x="1180" y="160"/>
                  <a:pt x="1182" y="159"/>
                  <a:pt x="1183" y="158"/>
                </a:cubicBezTo>
                <a:cubicBezTo>
                  <a:pt x="1184" y="157"/>
                  <a:pt x="1185" y="156"/>
                  <a:pt x="1186" y="155"/>
                </a:cubicBezTo>
                <a:cubicBezTo>
                  <a:pt x="1185" y="154"/>
                  <a:pt x="1185" y="154"/>
                  <a:pt x="1185" y="154"/>
                </a:cubicBezTo>
                <a:cubicBezTo>
                  <a:pt x="1184" y="154"/>
                  <a:pt x="1184" y="155"/>
                  <a:pt x="1183" y="155"/>
                </a:cubicBezTo>
                <a:cubicBezTo>
                  <a:pt x="1183" y="156"/>
                  <a:pt x="1182" y="156"/>
                  <a:pt x="1182" y="156"/>
                </a:cubicBezTo>
                <a:cubicBezTo>
                  <a:pt x="1181" y="156"/>
                  <a:pt x="1181" y="156"/>
                  <a:pt x="1181" y="155"/>
                </a:cubicBezTo>
                <a:cubicBezTo>
                  <a:pt x="1181" y="155"/>
                  <a:pt x="1180" y="155"/>
                  <a:pt x="1180" y="154"/>
                </a:cubicBezTo>
                <a:lnTo>
                  <a:pt x="1181" y="153"/>
                </a:lnTo>
                <a:close/>
                <a:moveTo>
                  <a:pt x="1183" y="112"/>
                </a:moveTo>
                <a:cubicBezTo>
                  <a:pt x="1184" y="112"/>
                  <a:pt x="1185" y="111"/>
                  <a:pt x="1186" y="110"/>
                </a:cubicBezTo>
                <a:cubicBezTo>
                  <a:pt x="1187" y="109"/>
                  <a:pt x="1188" y="108"/>
                  <a:pt x="1188" y="107"/>
                </a:cubicBezTo>
                <a:cubicBezTo>
                  <a:pt x="1188" y="106"/>
                  <a:pt x="1187" y="105"/>
                  <a:pt x="1187" y="104"/>
                </a:cubicBezTo>
                <a:cubicBezTo>
                  <a:pt x="1186" y="103"/>
                  <a:pt x="1185" y="103"/>
                  <a:pt x="1184" y="103"/>
                </a:cubicBezTo>
                <a:cubicBezTo>
                  <a:pt x="1182" y="103"/>
                  <a:pt x="1181" y="103"/>
                  <a:pt x="1180" y="104"/>
                </a:cubicBezTo>
                <a:cubicBezTo>
                  <a:pt x="1180" y="105"/>
                  <a:pt x="1179" y="107"/>
                  <a:pt x="1179" y="108"/>
                </a:cubicBezTo>
                <a:cubicBezTo>
                  <a:pt x="1179" y="109"/>
                  <a:pt x="1179" y="110"/>
                  <a:pt x="1180" y="111"/>
                </a:cubicBezTo>
                <a:cubicBezTo>
                  <a:pt x="1181" y="111"/>
                  <a:pt x="1182" y="112"/>
                  <a:pt x="1183" y="112"/>
                </a:cubicBezTo>
                <a:close/>
                <a:moveTo>
                  <a:pt x="1207" y="129"/>
                </a:moveTo>
                <a:cubicBezTo>
                  <a:pt x="1208" y="120"/>
                  <a:pt x="1208" y="120"/>
                  <a:pt x="1208" y="120"/>
                </a:cubicBezTo>
                <a:cubicBezTo>
                  <a:pt x="1207" y="119"/>
                  <a:pt x="1207" y="119"/>
                  <a:pt x="1207" y="119"/>
                </a:cubicBezTo>
                <a:cubicBezTo>
                  <a:pt x="1198" y="121"/>
                  <a:pt x="1198" y="121"/>
                  <a:pt x="1198" y="121"/>
                </a:cubicBezTo>
                <a:cubicBezTo>
                  <a:pt x="1198" y="124"/>
                  <a:pt x="1198" y="124"/>
                  <a:pt x="1198" y="124"/>
                </a:cubicBezTo>
                <a:cubicBezTo>
                  <a:pt x="1201" y="125"/>
                  <a:pt x="1201" y="125"/>
                  <a:pt x="1201" y="125"/>
                </a:cubicBezTo>
                <a:cubicBezTo>
                  <a:pt x="1196" y="159"/>
                  <a:pt x="1196" y="159"/>
                  <a:pt x="1196" y="159"/>
                </a:cubicBezTo>
                <a:cubicBezTo>
                  <a:pt x="1203" y="159"/>
                  <a:pt x="1203" y="159"/>
                  <a:pt x="1203" y="159"/>
                </a:cubicBezTo>
                <a:cubicBezTo>
                  <a:pt x="1207" y="134"/>
                  <a:pt x="1207" y="134"/>
                  <a:pt x="1207" y="134"/>
                </a:cubicBezTo>
                <a:cubicBezTo>
                  <a:pt x="1208" y="131"/>
                  <a:pt x="1210" y="129"/>
                  <a:pt x="1213" y="127"/>
                </a:cubicBezTo>
                <a:cubicBezTo>
                  <a:pt x="1215" y="125"/>
                  <a:pt x="1217" y="124"/>
                  <a:pt x="1219" y="124"/>
                </a:cubicBezTo>
                <a:cubicBezTo>
                  <a:pt x="1220" y="124"/>
                  <a:pt x="1221" y="125"/>
                  <a:pt x="1222" y="126"/>
                </a:cubicBezTo>
                <a:cubicBezTo>
                  <a:pt x="1223" y="127"/>
                  <a:pt x="1223" y="128"/>
                  <a:pt x="1223" y="130"/>
                </a:cubicBezTo>
                <a:cubicBezTo>
                  <a:pt x="1223" y="132"/>
                  <a:pt x="1223" y="134"/>
                  <a:pt x="1223" y="135"/>
                </a:cubicBezTo>
                <a:cubicBezTo>
                  <a:pt x="1222" y="137"/>
                  <a:pt x="1222" y="140"/>
                  <a:pt x="1222" y="142"/>
                </a:cubicBezTo>
                <a:cubicBezTo>
                  <a:pt x="1221" y="144"/>
                  <a:pt x="1221" y="144"/>
                  <a:pt x="1221" y="144"/>
                </a:cubicBezTo>
                <a:cubicBezTo>
                  <a:pt x="1221" y="147"/>
                  <a:pt x="1221" y="147"/>
                  <a:pt x="1221" y="147"/>
                </a:cubicBezTo>
                <a:cubicBezTo>
                  <a:pt x="1220" y="151"/>
                  <a:pt x="1219" y="154"/>
                  <a:pt x="1219" y="156"/>
                </a:cubicBezTo>
                <a:cubicBezTo>
                  <a:pt x="1219" y="159"/>
                  <a:pt x="1221" y="160"/>
                  <a:pt x="1224" y="160"/>
                </a:cubicBezTo>
                <a:cubicBezTo>
                  <a:pt x="1225" y="160"/>
                  <a:pt x="1226" y="160"/>
                  <a:pt x="1227" y="159"/>
                </a:cubicBezTo>
                <a:cubicBezTo>
                  <a:pt x="1228" y="159"/>
                  <a:pt x="1229" y="158"/>
                  <a:pt x="1230" y="157"/>
                </a:cubicBezTo>
                <a:cubicBezTo>
                  <a:pt x="1231" y="157"/>
                  <a:pt x="1231" y="156"/>
                  <a:pt x="1232" y="156"/>
                </a:cubicBezTo>
                <a:cubicBezTo>
                  <a:pt x="1231" y="154"/>
                  <a:pt x="1231" y="154"/>
                  <a:pt x="1231" y="154"/>
                </a:cubicBezTo>
                <a:cubicBezTo>
                  <a:pt x="1229" y="155"/>
                  <a:pt x="1228" y="156"/>
                  <a:pt x="1227" y="156"/>
                </a:cubicBezTo>
                <a:cubicBezTo>
                  <a:pt x="1227" y="156"/>
                  <a:pt x="1227" y="155"/>
                  <a:pt x="1227" y="154"/>
                </a:cubicBezTo>
                <a:cubicBezTo>
                  <a:pt x="1227" y="152"/>
                  <a:pt x="1227" y="149"/>
                  <a:pt x="1228" y="145"/>
                </a:cubicBezTo>
                <a:cubicBezTo>
                  <a:pt x="1228" y="142"/>
                  <a:pt x="1228" y="142"/>
                  <a:pt x="1228" y="142"/>
                </a:cubicBezTo>
                <a:cubicBezTo>
                  <a:pt x="1229" y="140"/>
                  <a:pt x="1229" y="140"/>
                  <a:pt x="1229" y="140"/>
                </a:cubicBezTo>
                <a:cubicBezTo>
                  <a:pt x="1230" y="135"/>
                  <a:pt x="1230" y="132"/>
                  <a:pt x="1230" y="130"/>
                </a:cubicBezTo>
                <a:cubicBezTo>
                  <a:pt x="1230" y="126"/>
                  <a:pt x="1229" y="123"/>
                  <a:pt x="1228" y="122"/>
                </a:cubicBezTo>
                <a:cubicBezTo>
                  <a:pt x="1227" y="120"/>
                  <a:pt x="1225" y="119"/>
                  <a:pt x="1222" y="119"/>
                </a:cubicBezTo>
                <a:cubicBezTo>
                  <a:pt x="1219" y="119"/>
                  <a:pt x="1217" y="120"/>
                  <a:pt x="1214" y="122"/>
                </a:cubicBezTo>
                <a:cubicBezTo>
                  <a:pt x="1211" y="124"/>
                  <a:pt x="1209" y="126"/>
                  <a:pt x="1207" y="129"/>
                </a:cubicBezTo>
                <a:close/>
                <a:moveTo>
                  <a:pt x="1267" y="153"/>
                </a:moveTo>
                <a:cubicBezTo>
                  <a:pt x="1266" y="150"/>
                  <a:pt x="1266" y="150"/>
                  <a:pt x="1266" y="150"/>
                </a:cubicBezTo>
                <a:cubicBezTo>
                  <a:pt x="1264" y="152"/>
                  <a:pt x="1262" y="153"/>
                  <a:pt x="1260" y="154"/>
                </a:cubicBezTo>
                <a:cubicBezTo>
                  <a:pt x="1258" y="155"/>
                  <a:pt x="1256" y="156"/>
                  <a:pt x="1254" y="156"/>
                </a:cubicBezTo>
                <a:cubicBezTo>
                  <a:pt x="1251" y="156"/>
                  <a:pt x="1249" y="154"/>
                  <a:pt x="1248" y="152"/>
                </a:cubicBezTo>
                <a:cubicBezTo>
                  <a:pt x="1246" y="150"/>
                  <a:pt x="1246" y="147"/>
                  <a:pt x="1246" y="143"/>
                </a:cubicBezTo>
                <a:cubicBezTo>
                  <a:pt x="1249" y="143"/>
                  <a:pt x="1252" y="143"/>
                  <a:pt x="1256" y="142"/>
                </a:cubicBezTo>
                <a:cubicBezTo>
                  <a:pt x="1259" y="140"/>
                  <a:pt x="1263" y="139"/>
                  <a:pt x="1265" y="136"/>
                </a:cubicBezTo>
                <a:cubicBezTo>
                  <a:pt x="1268" y="134"/>
                  <a:pt x="1269" y="131"/>
                  <a:pt x="1269" y="128"/>
                </a:cubicBezTo>
                <a:cubicBezTo>
                  <a:pt x="1269" y="125"/>
                  <a:pt x="1268" y="123"/>
                  <a:pt x="1267" y="122"/>
                </a:cubicBezTo>
                <a:cubicBezTo>
                  <a:pt x="1265" y="120"/>
                  <a:pt x="1263" y="119"/>
                  <a:pt x="1259" y="119"/>
                </a:cubicBezTo>
                <a:cubicBezTo>
                  <a:pt x="1255" y="119"/>
                  <a:pt x="1252" y="121"/>
                  <a:pt x="1249" y="123"/>
                </a:cubicBezTo>
                <a:cubicBezTo>
                  <a:pt x="1246" y="125"/>
                  <a:pt x="1243" y="128"/>
                  <a:pt x="1241" y="132"/>
                </a:cubicBezTo>
                <a:cubicBezTo>
                  <a:pt x="1240" y="136"/>
                  <a:pt x="1239" y="140"/>
                  <a:pt x="1239" y="145"/>
                </a:cubicBezTo>
                <a:cubicBezTo>
                  <a:pt x="1239" y="147"/>
                  <a:pt x="1239" y="150"/>
                  <a:pt x="1240" y="152"/>
                </a:cubicBezTo>
                <a:cubicBezTo>
                  <a:pt x="1241" y="155"/>
                  <a:pt x="1243" y="156"/>
                  <a:pt x="1245" y="158"/>
                </a:cubicBezTo>
                <a:cubicBezTo>
                  <a:pt x="1247" y="159"/>
                  <a:pt x="1249" y="160"/>
                  <a:pt x="1253" y="160"/>
                </a:cubicBezTo>
                <a:cubicBezTo>
                  <a:pt x="1256" y="160"/>
                  <a:pt x="1259" y="159"/>
                  <a:pt x="1261" y="158"/>
                </a:cubicBezTo>
                <a:cubicBezTo>
                  <a:pt x="1264" y="156"/>
                  <a:pt x="1266" y="154"/>
                  <a:pt x="1267" y="153"/>
                </a:cubicBezTo>
                <a:close/>
                <a:moveTo>
                  <a:pt x="1258" y="123"/>
                </a:moveTo>
                <a:cubicBezTo>
                  <a:pt x="1259" y="123"/>
                  <a:pt x="1260" y="124"/>
                  <a:pt x="1261" y="125"/>
                </a:cubicBezTo>
                <a:cubicBezTo>
                  <a:pt x="1262" y="125"/>
                  <a:pt x="1263" y="127"/>
                  <a:pt x="1263" y="129"/>
                </a:cubicBezTo>
                <a:cubicBezTo>
                  <a:pt x="1263" y="131"/>
                  <a:pt x="1262" y="133"/>
                  <a:pt x="1260" y="135"/>
                </a:cubicBezTo>
                <a:cubicBezTo>
                  <a:pt x="1258" y="136"/>
                  <a:pt x="1256" y="138"/>
                  <a:pt x="1253" y="139"/>
                </a:cubicBezTo>
                <a:cubicBezTo>
                  <a:pt x="1251" y="139"/>
                  <a:pt x="1248" y="140"/>
                  <a:pt x="1246" y="140"/>
                </a:cubicBezTo>
                <a:cubicBezTo>
                  <a:pt x="1246" y="138"/>
                  <a:pt x="1247" y="135"/>
                  <a:pt x="1248" y="132"/>
                </a:cubicBezTo>
                <a:cubicBezTo>
                  <a:pt x="1249" y="130"/>
                  <a:pt x="1250" y="127"/>
                  <a:pt x="1252" y="126"/>
                </a:cubicBezTo>
                <a:cubicBezTo>
                  <a:pt x="1254" y="124"/>
                  <a:pt x="1255" y="123"/>
                  <a:pt x="1258" y="123"/>
                </a:cubicBezTo>
                <a:close/>
                <a:moveTo>
                  <a:pt x="1303" y="153"/>
                </a:moveTo>
                <a:cubicBezTo>
                  <a:pt x="1302" y="150"/>
                  <a:pt x="1302" y="150"/>
                  <a:pt x="1302" y="150"/>
                </a:cubicBezTo>
                <a:cubicBezTo>
                  <a:pt x="1300" y="152"/>
                  <a:pt x="1298" y="153"/>
                  <a:pt x="1296" y="154"/>
                </a:cubicBezTo>
                <a:cubicBezTo>
                  <a:pt x="1294" y="155"/>
                  <a:pt x="1292" y="156"/>
                  <a:pt x="1290" y="156"/>
                </a:cubicBezTo>
                <a:cubicBezTo>
                  <a:pt x="1287" y="156"/>
                  <a:pt x="1285" y="154"/>
                  <a:pt x="1284" y="152"/>
                </a:cubicBezTo>
                <a:cubicBezTo>
                  <a:pt x="1282" y="150"/>
                  <a:pt x="1282" y="147"/>
                  <a:pt x="1282" y="143"/>
                </a:cubicBezTo>
                <a:cubicBezTo>
                  <a:pt x="1285" y="143"/>
                  <a:pt x="1288" y="143"/>
                  <a:pt x="1292" y="142"/>
                </a:cubicBezTo>
                <a:cubicBezTo>
                  <a:pt x="1295" y="140"/>
                  <a:pt x="1299" y="139"/>
                  <a:pt x="1301" y="136"/>
                </a:cubicBezTo>
                <a:cubicBezTo>
                  <a:pt x="1304" y="134"/>
                  <a:pt x="1305" y="131"/>
                  <a:pt x="1305" y="128"/>
                </a:cubicBezTo>
                <a:cubicBezTo>
                  <a:pt x="1305" y="125"/>
                  <a:pt x="1304" y="123"/>
                  <a:pt x="1303" y="122"/>
                </a:cubicBezTo>
                <a:cubicBezTo>
                  <a:pt x="1301" y="120"/>
                  <a:pt x="1299" y="119"/>
                  <a:pt x="1295" y="119"/>
                </a:cubicBezTo>
                <a:cubicBezTo>
                  <a:pt x="1291" y="119"/>
                  <a:pt x="1288" y="121"/>
                  <a:pt x="1285" y="123"/>
                </a:cubicBezTo>
                <a:cubicBezTo>
                  <a:pt x="1282" y="125"/>
                  <a:pt x="1279" y="128"/>
                  <a:pt x="1277" y="132"/>
                </a:cubicBezTo>
                <a:cubicBezTo>
                  <a:pt x="1275" y="136"/>
                  <a:pt x="1275" y="140"/>
                  <a:pt x="1275" y="145"/>
                </a:cubicBezTo>
                <a:cubicBezTo>
                  <a:pt x="1275" y="147"/>
                  <a:pt x="1275" y="150"/>
                  <a:pt x="1276" y="152"/>
                </a:cubicBezTo>
                <a:cubicBezTo>
                  <a:pt x="1277" y="155"/>
                  <a:pt x="1279" y="156"/>
                  <a:pt x="1281" y="158"/>
                </a:cubicBezTo>
                <a:cubicBezTo>
                  <a:pt x="1283" y="159"/>
                  <a:pt x="1285" y="160"/>
                  <a:pt x="1288" y="160"/>
                </a:cubicBezTo>
                <a:cubicBezTo>
                  <a:pt x="1292" y="160"/>
                  <a:pt x="1295" y="159"/>
                  <a:pt x="1297" y="158"/>
                </a:cubicBezTo>
                <a:cubicBezTo>
                  <a:pt x="1300" y="156"/>
                  <a:pt x="1302" y="154"/>
                  <a:pt x="1303" y="153"/>
                </a:cubicBezTo>
                <a:close/>
                <a:moveTo>
                  <a:pt x="1294" y="123"/>
                </a:moveTo>
                <a:cubicBezTo>
                  <a:pt x="1295" y="123"/>
                  <a:pt x="1296" y="124"/>
                  <a:pt x="1297" y="125"/>
                </a:cubicBezTo>
                <a:cubicBezTo>
                  <a:pt x="1298" y="125"/>
                  <a:pt x="1298" y="127"/>
                  <a:pt x="1298" y="129"/>
                </a:cubicBezTo>
                <a:cubicBezTo>
                  <a:pt x="1298" y="131"/>
                  <a:pt x="1298" y="133"/>
                  <a:pt x="1296" y="135"/>
                </a:cubicBezTo>
                <a:cubicBezTo>
                  <a:pt x="1294" y="136"/>
                  <a:pt x="1292" y="138"/>
                  <a:pt x="1289" y="139"/>
                </a:cubicBezTo>
                <a:cubicBezTo>
                  <a:pt x="1287" y="139"/>
                  <a:pt x="1284" y="140"/>
                  <a:pt x="1282" y="140"/>
                </a:cubicBezTo>
                <a:cubicBezTo>
                  <a:pt x="1282" y="138"/>
                  <a:pt x="1283" y="135"/>
                  <a:pt x="1284" y="132"/>
                </a:cubicBezTo>
                <a:cubicBezTo>
                  <a:pt x="1285" y="130"/>
                  <a:pt x="1286" y="127"/>
                  <a:pt x="1288" y="126"/>
                </a:cubicBezTo>
                <a:cubicBezTo>
                  <a:pt x="1289" y="124"/>
                  <a:pt x="1291" y="123"/>
                  <a:pt x="1294" y="123"/>
                </a:cubicBezTo>
                <a:close/>
                <a:moveTo>
                  <a:pt x="1322" y="129"/>
                </a:moveTo>
                <a:cubicBezTo>
                  <a:pt x="1323" y="127"/>
                  <a:pt x="1323" y="127"/>
                  <a:pt x="1323" y="127"/>
                </a:cubicBezTo>
                <a:cubicBezTo>
                  <a:pt x="1323" y="120"/>
                  <a:pt x="1323" y="120"/>
                  <a:pt x="1323" y="120"/>
                </a:cubicBezTo>
                <a:cubicBezTo>
                  <a:pt x="1322" y="119"/>
                  <a:pt x="1322" y="119"/>
                  <a:pt x="1322" y="119"/>
                </a:cubicBezTo>
                <a:cubicBezTo>
                  <a:pt x="1314" y="121"/>
                  <a:pt x="1314" y="121"/>
                  <a:pt x="1314" y="121"/>
                </a:cubicBezTo>
                <a:cubicBezTo>
                  <a:pt x="1313" y="124"/>
                  <a:pt x="1313" y="124"/>
                  <a:pt x="1313" y="124"/>
                </a:cubicBezTo>
                <a:cubicBezTo>
                  <a:pt x="1317" y="125"/>
                  <a:pt x="1317" y="125"/>
                  <a:pt x="1317" y="125"/>
                </a:cubicBezTo>
                <a:cubicBezTo>
                  <a:pt x="1312" y="159"/>
                  <a:pt x="1312" y="159"/>
                  <a:pt x="1312" y="159"/>
                </a:cubicBezTo>
                <a:cubicBezTo>
                  <a:pt x="1319" y="159"/>
                  <a:pt x="1319" y="159"/>
                  <a:pt x="1319" y="159"/>
                </a:cubicBezTo>
                <a:cubicBezTo>
                  <a:pt x="1322" y="134"/>
                  <a:pt x="1322" y="134"/>
                  <a:pt x="1322" y="134"/>
                </a:cubicBezTo>
                <a:cubicBezTo>
                  <a:pt x="1323" y="132"/>
                  <a:pt x="1325" y="130"/>
                  <a:pt x="1327" y="129"/>
                </a:cubicBezTo>
                <a:cubicBezTo>
                  <a:pt x="1329" y="127"/>
                  <a:pt x="1331" y="127"/>
                  <a:pt x="1333" y="127"/>
                </a:cubicBezTo>
                <a:cubicBezTo>
                  <a:pt x="1334" y="127"/>
                  <a:pt x="1335" y="127"/>
                  <a:pt x="1336" y="127"/>
                </a:cubicBezTo>
                <a:cubicBezTo>
                  <a:pt x="1338" y="120"/>
                  <a:pt x="1338" y="120"/>
                  <a:pt x="1338" y="120"/>
                </a:cubicBezTo>
                <a:cubicBezTo>
                  <a:pt x="1337" y="120"/>
                  <a:pt x="1336" y="119"/>
                  <a:pt x="1335" y="119"/>
                </a:cubicBezTo>
                <a:cubicBezTo>
                  <a:pt x="1333" y="119"/>
                  <a:pt x="1331" y="120"/>
                  <a:pt x="1330" y="121"/>
                </a:cubicBezTo>
                <a:cubicBezTo>
                  <a:pt x="1328" y="122"/>
                  <a:pt x="1326" y="123"/>
                  <a:pt x="1325" y="125"/>
                </a:cubicBezTo>
                <a:cubicBezTo>
                  <a:pt x="1324" y="126"/>
                  <a:pt x="1323" y="128"/>
                  <a:pt x="1322" y="129"/>
                </a:cubicBezTo>
                <a:close/>
                <a:moveTo>
                  <a:pt x="1349" y="153"/>
                </a:moveTo>
                <a:cubicBezTo>
                  <a:pt x="1354" y="120"/>
                  <a:pt x="1354" y="120"/>
                  <a:pt x="1354" y="120"/>
                </a:cubicBezTo>
                <a:cubicBezTo>
                  <a:pt x="1352" y="119"/>
                  <a:pt x="1352" y="119"/>
                  <a:pt x="1352" y="119"/>
                </a:cubicBezTo>
                <a:cubicBezTo>
                  <a:pt x="1342" y="121"/>
                  <a:pt x="1342" y="121"/>
                  <a:pt x="1342" y="121"/>
                </a:cubicBezTo>
                <a:cubicBezTo>
                  <a:pt x="1342" y="123"/>
                  <a:pt x="1342" y="123"/>
                  <a:pt x="1342" y="123"/>
                </a:cubicBezTo>
                <a:cubicBezTo>
                  <a:pt x="1346" y="125"/>
                  <a:pt x="1346" y="125"/>
                  <a:pt x="1346" y="125"/>
                </a:cubicBezTo>
                <a:cubicBezTo>
                  <a:pt x="1345" y="132"/>
                  <a:pt x="1345" y="138"/>
                  <a:pt x="1344" y="142"/>
                </a:cubicBezTo>
                <a:cubicBezTo>
                  <a:pt x="1343" y="150"/>
                  <a:pt x="1342" y="154"/>
                  <a:pt x="1342" y="156"/>
                </a:cubicBezTo>
                <a:cubicBezTo>
                  <a:pt x="1342" y="157"/>
                  <a:pt x="1342" y="158"/>
                  <a:pt x="1343" y="159"/>
                </a:cubicBezTo>
                <a:cubicBezTo>
                  <a:pt x="1344" y="160"/>
                  <a:pt x="1345" y="160"/>
                  <a:pt x="1347" y="160"/>
                </a:cubicBezTo>
                <a:cubicBezTo>
                  <a:pt x="1349" y="160"/>
                  <a:pt x="1350" y="159"/>
                  <a:pt x="1352" y="158"/>
                </a:cubicBezTo>
                <a:cubicBezTo>
                  <a:pt x="1353" y="157"/>
                  <a:pt x="1354" y="156"/>
                  <a:pt x="1355" y="155"/>
                </a:cubicBezTo>
                <a:cubicBezTo>
                  <a:pt x="1354" y="154"/>
                  <a:pt x="1354" y="154"/>
                  <a:pt x="1354" y="154"/>
                </a:cubicBezTo>
                <a:cubicBezTo>
                  <a:pt x="1353" y="154"/>
                  <a:pt x="1352" y="155"/>
                  <a:pt x="1352" y="155"/>
                </a:cubicBezTo>
                <a:cubicBezTo>
                  <a:pt x="1351" y="156"/>
                  <a:pt x="1351" y="156"/>
                  <a:pt x="1350" y="156"/>
                </a:cubicBezTo>
                <a:cubicBezTo>
                  <a:pt x="1350" y="156"/>
                  <a:pt x="1350" y="156"/>
                  <a:pt x="1349" y="155"/>
                </a:cubicBezTo>
                <a:cubicBezTo>
                  <a:pt x="1349" y="155"/>
                  <a:pt x="1349" y="155"/>
                  <a:pt x="1349" y="154"/>
                </a:cubicBezTo>
                <a:lnTo>
                  <a:pt x="1349" y="153"/>
                </a:lnTo>
                <a:close/>
                <a:moveTo>
                  <a:pt x="1351" y="112"/>
                </a:moveTo>
                <a:cubicBezTo>
                  <a:pt x="1353" y="112"/>
                  <a:pt x="1354" y="111"/>
                  <a:pt x="1355" y="110"/>
                </a:cubicBezTo>
                <a:cubicBezTo>
                  <a:pt x="1356" y="109"/>
                  <a:pt x="1356" y="108"/>
                  <a:pt x="1356" y="107"/>
                </a:cubicBezTo>
                <a:cubicBezTo>
                  <a:pt x="1356" y="106"/>
                  <a:pt x="1356" y="105"/>
                  <a:pt x="1355" y="104"/>
                </a:cubicBezTo>
                <a:cubicBezTo>
                  <a:pt x="1354" y="103"/>
                  <a:pt x="1353" y="103"/>
                  <a:pt x="1352" y="103"/>
                </a:cubicBezTo>
                <a:cubicBezTo>
                  <a:pt x="1351" y="103"/>
                  <a:pt x="1350" y="103"/>
                  <a:pt x="1349" y="104"/>
                </a:cubicBezTo>
                <a:cubicBezTo>
                  <a:pt x="1348" y="105"/>
                  <a:pt x="1348" y="107"/>
                  <a:pt x="1348" y="108"/>
                </a:cubicBezTo>
                <a:cubicBezTo>
                  <a:pt x="1348" y="109"/>
                  <a:pt x="1348" y="110"/>
                  <a:pt x="1349" y="111"/>
                </a:cubicBezTo>
                <a:cubicBezTo>
                  <a:pt x="1350" y="111"/>
                  <a:pt x="1350" y="112"/>
                  <a:pt x="1351" y="112"/>
                </a:cubicBezTo>
                <a:close/>
                <a:moveTo>
                  <a:pt x="1374" y="129"/>
                </a:moveTo>
                <a:cubicBezTo>
                  <a:pt x="1375" y="120"/>
                  <a:pt x="1375" y="120"/>
                  <a:pt x="1375" y="120"/>
                </a:cubicBezTo>
                <a:cubicBezTo>
                  <a:pt x="1374" y="119"/>
                  <a:pt x="1374" y="119"/>
                  <a:pt x="1374" y="119"/>
                </a:cubicBezTo>
                <a:cubicBezTo>
                  <a:pt x="1365" y="121"/>
                  <a:pt x="1365" y="121"/>
                  <a:pt x="1365" y="121"/>
                </a:cubicBezTo>
                <a:cubicBezTo>
                  <a:pt x="1365" y="124"/>
                  <a:pt x="1365" y="124"/>
                  <a:pt x="1365" y="124"/>
                </a:cubicBezTo>
                <a:cubicBezTo>
                  <a:pt x="1368" y="125"/>
                  <a:pt x="1368" y="125"/>
                  <a:pt x="1368" y="125"/>
                </a:cubicBezTo>
                <a:cubicBezTo>
                  <a:pt x="1364" y="159"/>
                  <a:pt x="1364" y="159"/>
                  <a:pt x="1364" y="159"/>
                </a:cubicBezTo>
                <a:cubicBezTo>
                  <a:pt x="1370" y="159"/>
                  <a:pt x="1370" y="159"/>
                  <a:pt x="1370" y="159"/>
                </a:cubicBezTo>
                <a:cubicBezTo>
                  <a:pt x="1374" y="134"/>
                  <a:pt x="1374" y="134"/>
                  <a:pt x="1374" y="134"/>
                </a:cubicBezTo>
                <a:cubicBezTo>
                  <a:pt x="1375" y="131"/>
                  <a:pt x="1377" y="129"/>
                  <a:pt x="1380" y="127"/>
                </a:cubicBezTo>
                <a:cubicBezTo>
                  <a:pt x="1382" y="125"/>
                  <a:pt x="1384" y="124"/>
                  <a:pt x="1386" y="124"/>
                </a:cubicBezTo>
                <a:cubicBezTo>
                  <a:pt x="1388" y="124"/>
                  <a:pt x="1389" y="125"/>
                  <a:pt x="1389" y="126"/>
                </a:cubicBezTo>
                <a:cubicBezTo>
                  <a:pt x="1390" y="127"/>
                  <a:pt x="1390" y="128"/>
                  <a:pt x="1390" y="130"/>
                </a:cubicBezTo>
                <a:cubicBezTo>
                  <a:pt x="1390" y="132"/>
                  <a:pt x="1390" y="134"/>
                  <a:pt x="1390" y="135"/>
                </a:cubicBezTo>
                <a:cubicBezTo>
                  <a:pt x="1390" y="137"/>
                  <a:pt x="1389" y="140"/>
                  <a:pt x="1389" y="142"/>
                </a:cubicBezTo>
                <a:cubicBezTo>
                  <a:pt x="1388" y="144"/>
                  <a:pt x="1388" y="144"/>
                  <a:pt x="1388" y="144"/>
                </a:cubicBezTo>
                <a:cubicBezTo>
                  <a:pt x="1388" y="147"/>
                  <a:pt x="1388" y="147"/>
                  <a:pt x="1388" y="147"/>
                </a:cubicBezTo>
                <a:cubicBezTo>
                  <a:pt x="1387" y="151"/>
                  <a:pt x="1387" y="154"/>
                  <a:pt x="1387" y="156"/>
                </a:cubicBezTo>
                <a:cubicBezTo>
                  <a:pt x="1387" y="159"/>
                  <a:pt x="1388" y="160"/>
                  <a:pt x="1391" y="160"/>
                </a:cubicBezTo>
                <a:cubicBezTo>
                  <a:pt x="1392" y="160"/>
                  <a:pt x="1394" y="160"/>
                  <a:pt x="1395" y="159"/>
                </a:cubicBezTo>
                <a:cubicBezTo>
                  <a:pt x="1396" y="159"/>
                  <a:pt x="1397" y="158"/>
                  <a:pt x="1397" y="157"/>
                </a:cubicBezTo>
                <a:cubicBezTo>
                  <a:pt x="1398" y="157"/>
                  <a:pt x="1399" y="156"/>
                  <a:pt x="1399" y="156"/>
                </a:cubicBezTo>
                <a:cubicBezTo>
                  <a:pt x="1398" y="154"/>
                  <a:pt x="1398" y="154"/>
                  <a:pt x="1398" y="154"/>
                </a:cubicBezTo>
                <a:cubicBezTo>
                  <a:pt x="1397" y="155"/>
                  <a:pt x="1396" y="156"/>
                  <a:pt x="1395" y="156"/>
                </a:cubicBezTo>
                <a:cubicBezTo>
                  <a:pt x="1394" y="156"/>
                  <a:pt x="1394" y="155"/>
                  <a:pt x="1394" y="154"/>
                </a:cubicBezTo>
                <a:cubicBezTo>
                  <a:pt x="1394" y="152"/>
                  <a:pt x="1394" y="149"/>
                  <a:pt x="1395" y="145"/>
                </a:cubicBezTo>
                <a:cubicBezTo>
                  <a:pt x="1395" y="142"/>
                  <a:pt x="1395" y="142"/>
                  <a:pt x="1395" y="142"/>
                </a:cubicBezTo>
                <a:cubicBezTo>
                  <a:pt x="1396" y="140"/>
                  <a:pt x="1396" y="140"/>
                  <a:pt x="1396" y="140"/>
                </a:cubicBezTo>
                <a:cubicBezTo>
                  <a:pt x="1397" y="135"/>
                  <a:pt x="1397" y="132"/>
                  <a:pt x="1397" y="130"/>
                </a:cubicBezTo>
                <a:cubicBezTo>
                  <a:pt x="1397" y="126"/>
                  <a:pt x="1397" y="123"/>
                  <a:pt x="1395" y="122"/>
                </a:cubicBezTo>
                <a:cubicBezTo>
                  <a:pt x="1394" y="120"/>
                  <a:pt x="1392" y="119"/>
                  <a:pt x="1389" y="119"/>
                </a:cubicBezTo>
                <a:cubicBezTo>
                  <a:pt x="1386" y="119"/>
                  <a:pt x="1384" y="120"/>
                  <a:pt x="1381" y="122"/>
                </a:cubicBezTo>
                <a:cubicBezTo>
                  <a:pt x="1379" y="124"/>
                  <a:pt x="1376" y="126"/>
                  <a:pt x="1374" y="129"/>
                </a:cubicBezTo>
                <a:close/>
                <a:moveTo>
                  <a:pt x="1433" y="162"/>
                </a:moveTo>
                <a:cubicBezTo>
                  <a:pt x="1440" y="119"/>
                  <a:pt x="1440" y="119"/>
                  <a:pt x="1440" y="119"/>
                </a:cubicBezTo>
                <a:cubicBezTo>
                  <a:pt x="1435" y="121"/>
                  <a:pt x="1435" y="121"/>
                  <a:pt x="1435" y="121"/>
                </a:cubicBezTo>
                <a:cubicBezTo>
                  <a:pt x="1434" y="121"/>
                  <a:pt x="1433" y="120"/>
                  <a:pt x="1432" y="120"/>
                </a:cubicBezTo>
                <a:cubicBezTo>
                  <a:pt x="1430" y="120"/>
                  <a:pt x="1429" y="119"/>
                  <a:pt x="1428" y="119"/>
                </a:cubicBezTo>
                <a:cubicBezTo>
                  <a:pt x="1423" y="119"/>
                  <a:pt x="1419" y="121"/>
                  <a:pt x="1416" y="123"/>
                </a:cubicBezTo>
                <a:cubicBezTo>
                  <a:pt x="1412" y="126"/>
                  <a:pt x="1410" y="129"/>
                  <a:pt x="1408" y="133"/>
                </a:cubicBezTo>
                <a:cubicBezTo>
                  <a:pt x="1406" y="137"/>
                  <a:pt x="1405" y="141"/>
                  <a:pt x="1405" y="145"/>
                </a:cubicBezTo>
                <a:cubicBezTo>
                  <a:pt x="1405" y="150"/>
                  <a:pt x="1406" y="153"/>
                  <a:pt x="1408" y="156"/>
                </a:cubicBezTo>
                <a:cubicBezTo>
                  <a:pt x="1410" y="159"/>
                  <a:pt x="1413" y="160"/>
                  <a:pt x="1417" y="160"/>
                </a:cubicBezTo>
                <a:cubicBezTo>
                  <a:pt x="1419" y="160"/>
                  <a:pt x="1421" y="159"/>
                  <a:pt x="1423" y="158"/>
                </a:cubicBezTo>
                <a:cubicBezTo>
                  <a:pt x="1425" y="157"/>
                  <a:pt x="1426" y="156"/>
                  <a:pt x="1428" y="155"/>
                </a:cubicBezTo>
                <a:cubicBezTo>
                  <a:pt x="1426" y="164"/>
                  <a:pt x="1426" y="164"/>
                  <a:pt x="1426" y="164"/>
                </a:cubicBezTo>
                <a:cubicBezTo>
                  <a:pt x="1426" y="167"/>
                  <a:pt x="1425" y="169"/>
                  <a:pt x="1424" y="170"/>
                </a:cubicBezTo>
                <a:cubicBezTo>
                  <a:pt x="1422" y="172"/>
                  <a:pt x="1420" y="172"/>
                  <a:pt x="1417" y="172"/>
                </a:cubicBezTo>
                <a:cubicBezTo>
                  <a:pt x="1415" y="172"/>
                  <a:pt x="1414" y="172"/>
                  <a:pt x="1412" y="171"/>
                </a:cubicBezTo>
                <a:cubicBezTo>
                  <a:pt x="1410" y="171"/>
                  <a:pt x="1409" y="170"/>
                  <a:pt x="1408" y="170"/>
                </a:cubicBezTo>
                <a:cubicBezTo>
                  <a:pt x="1406" y="175"/>
                  <a:pt x="1406" y="175"/>
                  <a:pt x="1406" y="175"/>
                </a:cubicBezTo>
                <a:cubicBezTo>
                  <a:pt x="1407" y="176"/>
                  <a:pt x="1408" y="176"/>
                  <a:pt x="1410" y="176"/>
                </a:cubicBezTo>
                <a:cubicBezTo>
                  <a:pt x="1411" y="177"/>
                  <a:pt x="1413" y="177"/>
                  <a:pt x="1414" y="177"/>
                </a:cubicBezTo>
                <a:cubicBezTo>
                  <a:pt x="1417" y="177"/>
                  <a:pt x="1420" y="176"/>
                  <a:pt x="1423" y="175"/>
                </a:cubicBezTo>
                <a:cubicBezTo>
                  <a:pt x="1425" y="174"/>
                  <a:pt x="1428" y="173"/>
                  <a:pt x="1430" y="170"/>
                </a:cubicBezTo>
                <a:cubicBezTo>
                  <a:pt x="1432" y="168"/>
                  <a:pt x="1433" y="165"/>
                  <a:pt x="1433" y="162"/>
                </a:cubicBezTo>
                <a:close/>
                <a:moveTo>
                  <a:pt x="1432" y="125"/>
                </a:moveTo>
                <a:cubicBezTo>
                  <a:pt x="1428" y="150"/>
                  <a:pt x="1428" y="150"/>
                  <a:pt x="1428" y="150"/>
                </a:cubicBezTo>
                <a:cubicBezTo>
                  <a:pt x="1427" y="151"/>
                  <a:pt x="1426" y="153"/>
                  <a:pt x="1424" y="154"/>
                </a:cubicBezTo>
                <a:cubicBezTo>
                  <a:pt x="1423" y="155"/>
                  <a:pt x="1421" y="155"/>
                  <a:pt x="1419" y="155"/>
                </a:cubicBezTo>
                <a:cubicBezTo>
                  <a:pt x="1417" y="155"/>
                  <a:pt x="1415" y="155"/>
                  <a:pt x="1414" y="153"/>
                </a:cubicBezTo>
                <a:cubicBezTo>
                  <a:pt x="1413" y="151"/>
                  <a:pt x="1412" y="148"/>
                  <a:pt x="1412" y="145"/>
                </a:cubicBezTo>
                <a:cubicBezTo>
                  <a:pt x="1412" y="142"/>
                  <a:pt x="1413" y="138"/>
                  <a:pt x="1414" y="135"/>
                </a:cubicBezTo>
                <a:cubicBezTo>
                  <a:pt x="1415" y="132"/>
                  <a:pt x="1417" y="129"/>
                  <a:pt x="1419" y="127"/>
                </a:cubicBezTo>
                <a:cubicBezTo>
                  <a:pt x="1421" y="124"/>
                  <a:pt x="1424" y="123"/>
                  <a:pt x="1427" y="123"/>
                </a:cubicBezTo>
                <a:cubicBezTo>
                  <a:pt x="1429" y="123"/>
                  <a:pt x="1431" y="124"/>
                  <a:pt x="1432" y="125"/>
                </a:cubicBezTo>
                <a:close/>
                <a:moveTo>
                  <a:pt x="1076" y="242"/>
                </a:moveTo>
                <a:cubicBezTo>
                  <a:pt x="1072" y="249"/>
                  <a:pt x="1072" y="249"/>
                  <a:pt x="1072" y="249"/>
                </a:cubicBezTo>
                <a:cubicBezTo>
                  <a:pt x="1072" y="242"/>
                  <a:pt x="1072" y="242"/>
                  <a:pt x="1072" y="242"/>
                </a:cubicBezTo>
                <a:cubicBezTo>
                  <a:pt x="1066" y="208"/>
                  <a:pt x="1066" y="208"/>
                  <a:pt x="1066" y="208"/>
                </a:cubicBezTo>
                <a:cubicBezTo>
                  <a:pt x="1050" y="208"/>
                  <a:pt x="1050" y="208"/>
                  <a:pt x="1050" y="208"/>
                </a:cubicBezTo>
                <a:cubicBezTo>
                  <a:pt x="1049" y="211"/>
                  <a:pt x="1049" y="211"/>
                  <a:pt x="1049" y="211"/>
                </a:cubicBezTo>
                <a:cubicBezTo>
                  <a:pt x="1056" y="212"/>
                  <a:pt x="1056" y="212"/>
                  <a:pt x="1056" y="212"/>
                </a:cubicBezTo>
                <a:cubicBezTo>
                  <a:pt x="1045" y="256"/>
                  <a:pt x="1045" y="256"/>
                  <a:pt x="1045" y="256"/>
                </a:cubicBezTo>
                <a:cubicBezTo>
                  <a:pt x="1039" y="257"/>
                  <a:pt x="1039" y="257"/>
                  <a:pt x="1039" y="257"/>
                </a:cubicBezTo>
                <a:cubicBezTo>
                  <a:pt x="1039" y="260"/>
                  <a:pt x="1039" y="260"/>
                  <a:pt x="1039" y="260"/>
                </a:cubicBezTo>
                <a:cubicBezTo>
                  <a:pt x="1057" y="260"/>
                  <a:pt x="1057" y="260"/>
                  <a:pt x="1057" y="260"/>
                </a:cubicBezTo>
                <a:cubicBezTo>
                  <a:pt x="1057" y="257"/>
                  <a:pt x="1057" y="257"/>
                  <a:pt x="1057" y="257"/>
                </a:cubicBezTo>
                <a:cubicBezTo>
                  <a:pt x="1050" y="256"/>
                  <a:pt x="1050" y="256"/>
                  <a:pt x="1050" y="256"/>
                </a:cubicBezTo>
                <a:cubicBezTo>
                  <a:pt x="1057" y="225"/>
                  <a:pt x="1057" y="225"/>
                  <a:pt x="1057" y="225"/>
                </a:cubicBezTo>
                <a:cubicBezTo>
                  <a:pt x="1060" y="211"/>
                  <a:pt x="1060" y="211"/>
                  <a:pt x="1060" y="211"/>
                </a:cubicBezTo>
                <a:cubicBezTo>
                  <a:pt x="1062" y="225"/>
                  <a:pt x="1062" y="225"/>
                  <a:pt x="1062" y="225"/>
                </a:cubicBezTo>
                <a:cubicBezTo>
                  <a:pt x="1068" y="261"/>
                  <a:pt x="1068" y="261"/>
                  <a:pt x="1068" y="261"/>
                </a:cubicBezTo>
                <a:cubicBezTo>
                  <a:pt x="1072" y="260"/>
                  <a:pt x="1072" y="260"/>
                  <a:pt x="1072" y="260"/>
                </a:cubicBezTo>
                <a:cubicBezTo>
                  <a:pt x="1088" y="224"/>
                  <a:pt x="1088" y="224"/>
                  <a:pt x="1088" y="224"/>
                </a:cubicBezTo>
                <a:cubicBezTo>
                  <a:pt x="1094" y="211"/>
                  <a:pt x="1094" y="211"/>
                  <a:pt x="1094" y="211"/>
                </a:cubicBezTo>
                <a:cubicBezTo>
                  <a:pt x="1093" y="225"/>
                  <a:pt x="1093" y="225"/>
                  <a:pt x="1093" y="225"/>
                </a:cubicBezTo>
                <a:cubicBezTo>
                  <a:pt x="1091" y="256"/>
                  <a:pt x="1091" y="256"/>
                  <a:pt x="1091" y="256"/>
                </a:cubicBezTo>
                <a:cubicBezTo>
                  <a:pt x="1085" y="257"/>
                  <a:pt x="1085" y="257"/>
                  <a:pt x="1085" y="257"/>
                </a:cubicBezTo>
                <a:cubicBezTo>
                  <a:pt x="1084" y="260"/>
                  <a:pt x="1084" y="260"/>
                  <a:pt x="1084" y="260"/>
                </a:cubicBezTo>
                <a:cubicBezTo>
                  <a:pt x="1104" y="260"/>
                  <a:pt x="1104" y="260"/>
                  <a:pt x="1104" y="260"/>
                </a:cubicBezTo>
                <a:cubicBezTo>
                  <a:pt x="1104" y="257"/>
                  <a:pt x="1104" y="257"/>
                  <a:pt x="1104" y="257"/>
                </a:cubicBezTo>
                <a:cubicBezTo>
                  <a:pt x="1098" y="256"/>
                  <a:pt x="1098" y="256"/>
                  <a:pt x="1098" y="256"/>
                </a:cubicBezTo>
                <a:cubicBezTo>
                  <a:pt x="1099" y="212"/>
                  <a:pt x="1099" y="212"/>
                  <a:pt x="1099" y="212"/>
                </a:cubicBezTo>
                <a:cubicBezTo>
                  <a:pt x="1106" y="211"/>
                  <a:pt x="1106" y="211"/>
                  <a:pt x="1106" y="211"/>
                </a:cubicBezTo>
                <a:cubicBezTo>
                  <a:pt x="1106" y="208"/>
                  <a:pt x="1106" y="208"/>
                  <a:pt x="1106" y="208"/>
                </a:cubicBezTo>
                <a:cubicBezTo>
                  <a:pt x="1091" y="208"/>
                  <a:pt x="1091" y="208"/>
                  <a:pt x="1091" y="208"/>
                </a:cubicBezTo>
                <a:cubicBezTo>
                  <a:pt x="1090" y="211"/>
                  <a:pt x="1087" y="217"/>
                  <a:pt x="1083" y="225"/>
                </a:cubicBezTo>
                <a:cubicBezTo>
                  <a:pt x="1079" y="233"/>
                  <a:pt x="1077" y="239"/>
                  <a:pt x="1076" y="242"/>
                </a:cubicBezTo>
                <a:close/>
                <a:moveTo>
                  <a:pt x="1138" y="253"/>
                </a:moveTo>
                <a:cubicBezTo>
                  <a:pt x="1136" y="251"/>
                  <a:pt x="1136" y="251"/>
                  <a:pt x="1136" y="251"/>
                </a:cubicBezTo>
                <a:cubicBezTo>
                  <a:pt x="1134" y="253"/>
                  <a:pt x="1133" y="254"/>
                  <a:pt x="1131" y="255"/>
                </a:cubicBezTo>
                <a:cubicBezTo>
                  <a:pt x="1129" y="256"/>
                  <a:pt x="1126" y="256"/>
                  <a:pt x="1124" y="256"/>
                </a:cubicBezTo>
                <a:cubicBezTo>
                  <a:pt x="1121" y="256"/>
                  <a:pt x="1119" y="255"/>
                  <a:pt x="1118" y="253"/>
                </a:cubicBezTo>
                <a:cubicBezTo>
                  <a:pt x="1117" y="250"/>
                  <a:pt x="1116" y="247"/>
                  <a:pt x="1116" y="244"/>
                </a:cubicBezTo>
                <a:cubicBezTo>
                  <a:pt x="1119" y="244"/>
                  <a:pt x="1123" y="244"/>
                  <a:pt x="1126" y="242"/>
                </a:cubicBezTo>
                <a:cubicBezTo>
                  <a:pt x="1130" y="241"/>
                  <a:pt x="1133" y="240"/>
                  <a:pt x="1136" y="237"/>
                </a:cubicBezTo>
                <a:cubicBezTo>
                  <a:pt x="1138" y="235"/>
                  <a:pt x="1140" y="232"/>
                  <a:pt x="1140" y="229"/>
                </a:cubicBezTo>
                <a:cubicBezTo>
                  <a:pt x="1140" y="226"/>
                  <a:pt x="1139" y="224"/>
                  <a:pt x="1137" y="223"/>
                </a:cubicBezTo>
                <a:cubicBezTo>
                  <a:pt x="1135" y="221"/>
                  <a:pt x="1133" y="220"/>
                  <a:pt x="1130" y="220"/>
                </a:cubicBezTo>
                <a:cubicBezTo>
                  <a:pt x="1126" y="220"/>
                  <a:pt x="1122" y="221"/>
                  <a:pt x="1119" y="224"/>
                </a:cubicBezTo>
                <a:cubicBezTo>
                  <a:pt x="1116" y="226"/>
                  <a:pt x="1114" y="229"/>
                  <a:pt x="1112" y="233"/>
                </a:cubicBezTo>
                <a:cubicBezTo>
                  <a:pt x="1110" y="237"/>
                  <a:pt x="1109" y="241"/>
                  <a:pt x="1109" y="246"/>
                </a:cubicBezTo>
                <a:cubicBezTo>
                  <a:pt x="1109" y="248"/>
                  <a:pt x="1110" y="251"/>
                  <a:pt x="1111" y="253"/>
                </a:cubicBezTo>
                <a:cubicBezTo>
                  <a:pt x="1111" y="255"/>
                  <a:pt x="1113" y="257"/>
                  <a:pt x="1115" y="259"/>
                </a:cubicBezTo>
                <a:cubicBezTo>
                  <a:pt x="1117" y="260"/>
                  <a:pt x="1120" y="261"/>
                  <a:pt x="1123" y="261"/>
                </a:cubicBezTo>
                <a:cubicBezTo>
                  <a:pt x="1126" y="261"/>
                  <a:pt x="1129" y="260"/>
                  <a:pt x="1132" y="258"/>
                </a:cubicBezTo>
                <a:cubicBezTo>
                  <a:pt x="1135" y="257"/>
                  <a:pt x="1136" y="255"/>
                  <a:pt x="1138" y="253"/>
                </a:cubicBezTo>
                <a:close/>
                <a:moveTo>
                  <a:pt x="1128" y="224"/>
                </a:moveTo>
                <a:cubicBezTo>
                  <a:pt x="1130" y="224"/>
                  <a:pt x="1131" y="224"/>
                  <a:pt x="1132" y="225"/>
                </a:cubicBezTo>
                <a:cubicBezTo>
                  <a:pt x="1132" y="226"/>
                  <a:pt x="1133" y="228"/>
                  <a:pt x="1133" y="229"/>
                </a:cubicBezTo>
                <a:cubicBezTo>
                  <a:pt x="1133" y="232"/>
                  <a:pt x="1132" y="234"/>
                  <a:pt x="1130" y="235"/>
                </a:cubicBezTo>
                <a:cubicBezTo>
                  <a:pt x="1129" y="237"/>
                  <a:pt x="1126" y="238"/>
                  <a:pt x="1124" y="239"/>
                </a:cubicBezTo>
                <a:cubicBezTo>
                  <a:pt x="1121" y="240"/>
                  <a:pt x="1119" y="241"/>
                  <a:pt x="1116" y="241"/>
                </a:cubicBezTo>
                <a:cubicBezTo>
                  <a:pt x="1117" y="238"/>
                  <a:pt x="1117" y="236"/>
                  <a:pt x="1118" y="233"/>
                </a:cubicBezTo>
                <a:cubicBezTo>
                  <a:pt x="1119" y="230"/>
                  <a:pt x="1121" y="228"/>
                  <a:pt x="1122" y="226"/>
                </a:cubicBezTo>
                <a:cubicBezTo>
                  <a:pt x="1124" y="225"/>
                  <a:pt x="1126" y="224"/>
                  <a:pt x="1128" y="224"/>
                </a:cubicBezTo>
                <a:close/>
                <a:moveTo>
                  <a:pt x="1175" y="254"/>
                </a:moveTo>
                <a:cubicBezTo>
                  <a:pt x="1182" y="204"/>
                  <a:pt x="1182" y="204"/>
                  <a:pt x="1182" y="204"/>
                </a:cubicBezTo>
                <a:cubicBezTo>
                  <a:pt x="1181" y="204"/>
                  <a:pt x="1181" y="204"/>
                  <a:pt x="1181" y="204"/>
                </a:cubicBezTo>
                <a:cubicBezTo>
                  <a:pt x="1171" y="205"/>
                  <a:pt x="1171" y="205"/>
                  <a:pt x="1171" y="205"/>
                </a:cubicBezTo>
                <a:cubicBezTo>
                  <a:pt x="1170" y="207"/>
                  <a:pt x="1170" y="207"/>
                  <a:pt x="1170" y="207"/>
                </a:cubicBezTo>
                <a:cubicBezTo>
                  <a:pt x="1175" y="208"/>
                  <a:pt x="1175" y="208"/>
                  <a:pt x="1175" y="208"/>
                </a:cubicBezTo>
                <a:cubicBezTo>
                  <a:pt x="1173" y="221"/>
                  <a:pt x="1173" y="221"/>
                  <a:pt x="1173" y="221"/>
                </a:cubicBezTo>
                <a:cubicBezTo>
                  <a:pt x="1171" y="220"/>
                  <a:pt x="1169" y="220"/>
                  <a:pt x="1168" y="220"/>
                </a:cubicBezTo>
                <a:cubicBezTo>
                  <a:pt x="1163" y="220"/>
                  <a:pt x="1159" y="222"/>
                  <a:pt x="1156" y="224"/>
                </a:cubicBezTo>
                <a:cubicBezTo>
                  <a:pt x="1152" y="227"/>
                  <a:pt x="1150" y="230"/>
                  <a:pt x="1148" y="234"/>
                </a:cubicBezTo>
                <a:cubicBezTo>
                  <a:pt x="1146" y="238"/>
                  <a:pt x="1145" y="242"/>
                  <a:pt x="1145" y="246"/>
                </a:cubicBezTo>
                <a:cubicBezTo>
                  <a:pt x="1145" y="250"/>
                  <a:pt x="1146" y="254"/>
                  <a:pt x="1148" y="257"/>
                </a:cubicBezTo>
                <a:cubicBezTo>
                  <a:pt x="1150" y="259"/>
                  <a:pt x="1153" y="261"/>
                  <a:pt x="1157" y="261"/>
                </a:cubicBezTo>
                <a:cubicBezTo>
                  <a:pt x="1159" y="261"/>
                  <a:pt x="1162" y="260"/>
                  <a:pt x="1163" y="259"/>
                </a:cubicBezTo>
                <a:cubicBezTo>
                  <a:pt x="1165" y="258"/>
                  <a:pt x="1167" y="256"/>
                  <a:pt x="1168" y="255"/>
                </a:cubicBezTo>
                <a:cubicBezTo>
                  <a:pt x="1168" y="256"/>
                  <a:pt x="1168" y="256"/>
                  <a:pt x="1168" y="256"/>
                </a:cubicBezTo>
                <a:cubicBezTo>
                  <a:pt x="1168" y="259"/>
                  <a:pt x="1170" y="261"/>
                  <a:pt x="1173" y="261"/>
                </a:cubicBezTo>
                <a:cubicBezTo>
                  <a:pt x="1174" y="261"/>
                  <a:pt x="1176" y="260"/>
                  <a:pt x="1177" y="259"/>
                </a:cubicBezTo>
                <a:cubicBezTo>
                  <a:pt x="1178" y="258"/>
                  <a:pt x="1179" y="257"/>
                  <a:pt x="1180" y="256"/>
                </a:cubicBezTo>
                <a:cubicBezTo>
                  <a:pt x="1179" y="255"/>
                  <a:pt x="1179" y="255"/>
                  <a:pt x="1179" y="255"/>
                </a:cubicBezTo>
                <a:cubicBezTo>
                  <a:pt x="1178" y="256"/>
                  <a:pt x="1177" y="256"/>
                  <a:pt x="1176" y="256"/>
                </a:cubicBezTo>
                <a:cubicBezTo>
                  <a:pt x="1175" y="256"/>
                  <a:pt x="1175" y="256"/>
                  <a:pt x="1175" y="255"/>
                </a:cubicBezTo>
                <a:cubicBezTo>
                  <a:pt x="1175" y="254"/>
                  <a:pt x="1175" y="254"/>
                  <a:pt x="1175" y="254"/>
                </a:cubicBezTo>
                <a:close/>
                <a:moveTo>
                  <a:pt x="1172" y="225"/>
                </a:moveTo>
                <a:cubicBezTo>
                  <a:pt x="1169" y="250"/>
                  <a:pt x="1169" y="250"/>
                  <a:pt x="1169" y="250"/>
                </a:cubicBezTo>
                <a:cubicBezTo>
                  <a:pt x="1168" y="252"/>
                  <a:pt x="1166" y="253"/>
                  <a:pt x="1164" y="254"/>
                </a:cubicBezTo>
                <a:cubicBezTo>
                  <a:pt x="1163" y="256"/>
                  <a:pt x="1161" y="256"/>
                  <a:pt x="1159" y="256"/>
                </a:cubicBezTo>
                <a:cubicBezTo>
                  <a:pt x="1157" y="256"/>
                  <a:pt x="1155" y="255"/>
                  <a:pt x="1154" y="253"/>
                </a:cubicBezTo>
                <a:cubicBezTo>
                  <a:pt x="1153" y="252"/>
                  <a:pt x="1153" y="249"/>
                  <a:pt x="1153" y="246"/>
                </a:cubicBezTo>
                <a:cubicBezTo>
                  <a:pt x="1153" y="242"/>
                  <a:pt x="1153" y="239"/>
                  <a:pt x="1154" y="236"/>
                </a:cubicBezTo>
                <a:cubicBezTo>
                  <a:pt x="1155" y="232"/>
                  <a:pt x="1157" y="230"/>
                  <a:pt x="1159" y="227"/>
                </a:cubicBezTo>
                <a:cubicBezTo>
                  <a:pt x="1161" y="225"/>
                  <a:pt x="1164" y="224"/>
                  <a:pt x="1167" y="224"/>
                </a:cubicBezTo>
                <a:cubicBezTo>
                  <a:pt x="1169" y="224"/>
                  <a:pt x="1171" y="224"/>
                  <a:pt x="1172" y="225"/>
                </a:cubicBezTo>
                <a:close/>
                <a:moveTo>
                  <a:pt x="1198" y="254"/>
                </a:moveTo>
                <a:cubicBezTo>
                  <a:pt x="1202" y="221"/>
                  <a:pt x="1202" y="221"/>
                  <a:pt x="1202" y="221"/>
                </a:cubicBezTo>
                <a:cubicBezTo>
                  <a:pt x="1201" y="220"/>
                  <a:pt x="1201" y="220"/>
                  <a:pt x="1201" y="220"/>
                </a:cubicBezTo>
                <a:cubicBezTo>
                  <a:pt x="1191" y="222"/>
                  <a:pt x="1191" y="222"/>
                  <a:pt x="1191" y="222"/>
                </a:cubicBezTo>
                <a:cubicBezTo>
                  <a:pt x="1190" y="224"/>
                  <a:pt x="1190" y="224"/>
                  <a:pt x="1190" y="224"/>
                </a:cubicBezTo>
                <a:cubicBezTo>
                  <a:pt x="1195" y="226"/>
                  <a:pt x="1195" y="226"/>
                  <a:pt x="1195" y="226"/>
                </a:cubicBezTo>
                <a:cubicBezTo>
                  <a:pt x="1194" y="233"/>
                  <a:pt x="1193" y="239"/>
                  <a:pt x="1192" y="243"/>
                </a:cubicBezTo>
                <a:cubicBezTo>
                  <a:pt x="1191" y="251"/>
                  <a:pt x="1191" y="255"/>
                  <a:pt x="1191" y="256"/>
                </a:cubicBezTo>
                <a:cubicBezTo>
                  <a:pt x="1190" y="258"/>
                  <a:pt x="1191" y="259"/>
                  <a:pt x="1192" y="260"/>
                </a:cubicBezTo>
                <a:cubicBezTo>
                  <a:pt x="1192" y="260"/>
                  <a:pt x="1194" y="261"/>
                  <a:pt x="1195" y="261"/>
                </a:cubicBezTo>
                <a:cubicBezTo>
                  <a:pt x="1197" y="261"/>
                  <a:pt x="1199" y="260"/>
                  <a:pt x="1200" y="259"/>
                </a:cubicBezTo>
                <a:cubicBezTo>
                  <a:pt x="1202" y="258"/>
                  <a:pt x="1203" y="257"/>
                  <a:pt x="1203" y="256"/>
                </a:cubicBezTo>
                <a:cubicBezTo>
                  <a:pt x="1202" y="254"/>
                  <a:pt x="1202" y="254"/>
                  <a:pt x="1202" y="254"/>
                </a:cubicBezTo>
                <a:cubicBezTo>
                  <a:pt x="1202" y="255"/>
                  <a:pt x="1201" y="256"/>
                  <a:pt x="1200" y="256"/>
                </a:cubicBezTo>
                <a:cubicBezTo>
                  <a:pt x="1200" y="256"/>
                  <a:pt x="1199" y="256"/>
                  <a:pt x="1199" y="256"/>
                </a:cubicBezTo>
                <a:cubicBezTo>
                  <a:pt x="1198" y="256"/>
                  <a:pt x="1198" y="256"/>
                  <a:pt x="1198" y="256"/>
                </a:cubicBezTo>
                <a:cubicBezTo>
                  <a:pt x="1198" y="256"/>
                  <a:pt x="1198" y="255"/>
                  <a:pt x="1198" y="255"/>
                </a:cubicBezTo>
                <a:lnTo>
                  <a:pt x="1198" y="254"/>
                </a:lnTo>
                <a:close/>
                <a:moveTo>
                  <a:pt x="1200" y="213"/>
                </a:moveTo>
                <a:cubicBezTo>
                  <a:pt x="1201" y="213"/>
                  <a:pt x="1202" y="212"/>
                  <a:pt x="1203" y="211"/>
                </a:cubicBezTo>
                <a:cubicBezTo>
                  <a:pt x="1204" y="210"/>
                  <a:pt x="1205" y="209"/>
                  <a:pt x="1205" y="207"/>
                </a:cubicBezTo>
                <a:cubicBezTo>
                  <a:pt x="1205" y="206"/>
                  <a:pt x="1204" y="206"/>
                  <a:pt x="1204" y="205"/>
                </a:cubicBezTo>
                <a:cubicBezTo>
                  <a:pt x="1203" y="204"/>
                  <a:pt x="1202" y="204"/>
                  <a:pt x="1201" y="204"/>
                </a:cubicBezTo>
                <a:cubicBezTo>
                  <a:pt x="1200" y="204"/>
                  <a:pt x="1198" y="204"/>
                  <a:pt x="1198" y="205"/>
                </a:cubicBezTo>
                <a:cubicBezTo>
                  <a:pt x="1197" y="206"/>
                  <a:pt x="1196" y="207"/>
                  <a:pt x="1196" y="209"/>
                </a:cubicBezTo>
                <a:cubicBezTo>
                  <a:pt x="1196" y="210"/>
                  <a:pt x="1197" y="211"/>
                  <a:pt x="1197" y="212"/>
                </a:cubicBezTo>
                <a:cubicBezTo>
                  <a:pt x="1198" y="212"/>
                  <a:pt x="1199" y="213"/>
                  <a:pt x="1200" y="213"/>
                </a:cubicBezTo>
                <a:close/>
                <a:moveTo>
                  <a:pt x="1237" y="228"/>
                </a:moveTo>
                <a:cubicBezTo>
                  <a:pt x="1238" y="229"/>
                  <a:pt x="1238" y="229"/>
                  <a:pt x="1238" y="229"/>
                </a:cubicBezTo>
                <a:cubicBezTo>
                  <a:pt x="1240" y="222"/>
                  <a:pt x="1240" y="222"/>
                  <a:pt x="1240" y="222"/>
                </a:cubicBezTo>
                <a:cubicBezTo>
                  <a:pt x="1239" y="221"/>
                  <a:pt x="1238" y="221"/>
                  <a:pt x="1237" y="221"/>
                </a:cubicBezTo>
                <a:cubicBezTo>
                  <a:pt x="1235" y="220"/>
                  <a:pt x="1234" y="220"/>
                  <a:pt x="1232" y="220"/>
                </a:cubicBezTo>
                <a:cubicBezTo>
                  <a:pt x="1228" y="220"/>
                  <a:pt x="1224" y="221"/>
                  <a:pt x="1221" y="224"/>
                </a:cubicBezTo>
                <a:cubicBezTo>
                  <a:pt x="1218" y="227"/>
                  <a:pt x="1216" y="230"/>
                  <a:pt x="1214" y="234"/>
                </a:cubicBezTo>
                <a:cubicBezTo>
                  <a:pt x="1213" y="237"/>
                  <a:pt x="1212" y="241"/>
                  <a:pt x="1212" y="245"/>
                </a:cubicBezTo>
                <a:cubicBezTo>
                  <a:pt x="1212" y="250"/>
                  <a:pt x="1213" y="254"/>
                  <a:pt x="1215" y="257"/>
                </a:cubicBezTo>
                <a:cubicBezTo>
                  <a:pt x="1217" y="259"/>
                  <a:pt x="1220" y="261"/>
                  <a:pt x="1224" y="261"/>
                </a:cubicBezTo>
                <a:cubicBezTo>
                  <a:pt x="1227" y="261"/>
                  <a:pt x="1230" y="260"/>
                  <a:pt x="1232" y="259"/>
                </a:cubicBezTo>
                <a:cubicBezTo>
                  <a:pt x="1235" y="257"/>
                  <a:pt x="1236" y="256"/>
                  <a:pt x="1238" y="254"/>
                </a:cubicBezTo>
                <a:cubicBezTo>
                  <a:pt x="1236" y="252"/>
                  <a:pt x="1236" y="252"/>
                  <a:pt x="1236" y="252"/>
                </a:cubicBezTo>
                <a:cubicBezTo>
                  <a:pt x="1235" y="253"/>
                  <a:pt x="1233" y="254"/>
                  <a:pt x="1232" y="255"/>
                </a:cubicBezTo>
                <a:cubicBezTo>
                  <a:pt x="1230" y="256"/>
                  <a:pt x="1229" y="256"/>
                  <a:pt x="1227" y="256"/>
                </a:cubicBezTo>
                <a:cubicBezTo>
                  <a:pt x="1224" y="256"/>
                  <a:pt x="1222" y="255"/>
                  <a:pt x="1221" y="253"/>
                </a:cubicBezTo>
                <a:cubicBezTo>
                  <a:pt x="1220" y="251"/>
                  <a:pt x="1219" y="248"/>
                  <a:pt x="1219" y="244"/>
                </a:cubicBezTo>
                <a:cubicBezTo>
                  <a:pt x="1219" y="240"/>
                  <a:pt x="1219" y="237"/>
                  <a:pt x="1221" y="234"/>
                </a:cubicBezTo>
                <a:cubicBezTo>
                  <a:pt x="1222" y="231"/>
                  <a:pt x="1223" y="229"/>
                  <a:pt x="1225" y="227"/>
                </a:cubicBezTo>
                <a:cubicBezTo>
                  <a:pt x="1227" y="225"/>
                  <a:pt x="1229" y="225"/>
                  <a:pt x="1231" y="225"/>
                </a:cubicBezTo>
                <a:cubicBezTo>
                  <a:pt x="1232" y="225"/>
                  <a:pt x="1235" y="226"/>
                  <a:pt x="1237" y="228"/>
                </a:cubicBezTo>
                <a:close/>
                <a:moveTo>
                  <a:pt x="1255" y="254"/>
                </a:moveTo>
                <a:cubicBezTo>
                  <a:pt x="1260" y="221"/>
                  <a:pt x="1260" y="221"/>
                  <a:pt x="1260" y="221"/>
                </a:cubicBezTo>
                <a:cubicBezTo>
                  <a:pt x="1259" y="220"/>
                  <a:pt x="1259" y="220"/>
                  <a:pt x="1259" y="220"/>
                </a:cubicBezTo>
                <a:cubicBezTo>
                  <a:pt x="1249" y="222"/>
                  <a:pt x="1249" y="222"/>
                  <a:pt x="1249" y="222"/>
                </a:cubicBezTo>
                <a:cubicBezTo>
                  <a:pt x="1248" y="224"/>
                  <a:pt x="1248" y="224"/>
                  <a:pt x="1248" y="224"/>
                </a:cubicBezTo>
                <a:cubicBezTo>
                  <a:pt x="1253" y="226"/>
                  <a:pt x="1253" y="226"/>
                  <a:pt x="1253" y="226"/>
                </a:cubicBezTo>
                <a:cubicBezTo>
                  <a:pt x="1252" y="233"/>
                  <a:pt x="1251" y="239"/>
                  <a:pt x="1250" y="243"/>
                </a:cubicBezTo>
                <a:cubicBezTo>
                  <a:pt x="1249" y="251"/>
                  <a:pt x="1248" y="255"/>
                  <a:pt x="1248" y="256"/>
                </a:cubicBezTo>
                <a:cubicBezTo>
                  <a:pt x="1248" y="258"/>
                  <a:pt x="1249" y="259"/>
                  <a:pt x="1249" y="260"/>
                </a:cubicBezTo>
                <a:cubicBezTo>
                  <a:pt x="1250" y="260"/>
                  <a:pt x="1251" y="261"/>
                  <a:pt x="1253" y="261"/>
                </a:cubicBezTo>
                <a:cubicBezTo>
                  <a:pt x="1255" y="261"/>
                  <a:pt x="1256" y="260"/>
                  <a:pt x="1258" y="259"/>
                </a:cubicBezTo>
                <a:cubicBezTo>
                  <a:pt x="1259" y="258"/>
                  <a:pt x="1260" y="257"/>
                  <a:pt x="1261" y="256"/>
                </a:cubicBezTo>
                <a:cubicBezTo>
                  <a:pt x="1260" y="254"/>
                  <a:pt x="1260" y="254"/>
                  <a:pt x="1260" y="254"/>
                </a:cubicBezTo>
                <a:cubicBezTo>
                  <a:pt x="1259" y="255"/>
                  <a:pt x="1259" y="256"/>
                  <a:pt x="1258" y="256"/>
                </a:cubicBezTo>
                <a:cubicBezTo>
                  <a:pt x="1258" y="256"/>
                  <a:pt x="1257" y="256"/>
                  <a:pt x="1256" y="256"/>
                </a:cubicBezTo>
                <a:cubicBezTo>
                  <a:pt x="1256" y="256"/>
                  <a:pt x="1256" y="256"/>
                  <a:pt x="1256" y="256"/>
                </a:cubicBezTo>
                <a:cubicBezTo>
                  <a:pt x="1255" y="256"/>
                  <a:pt x="1255" y="255"/>
                  <a:pt x="1255" y="255"/>
                </a:cubicBezTo>
                <a:lnTo>
                  <a:pt x="1255" y="254"/>
                </a:lnTo>
                <a:close/>
                <a:moveTo>
                  <a:pt x="1258" y="213"/>
                </a:moveTo>
                <a:cubicBezTo>
                  <a:pt x="1259" y="213"/>
                  <a:pt x="1260" y="212"/>
                  <a:pt x="1261" y="211"/>
                </a:cubicBezTo>
                <a:cubicBezTo>
                  <a:pt x="1262" y="210"/>
                  <a:pt x="1262" y="209"/>
                  <a:pt x="1262" y="207"/>
                </a:cubicBezTo>
                <a:cubicBezTo>
                  <a:pt x="1262" y="206"/>
                  <a:pt x="1262" y="206"/>
                  <a:pt x="1261" y="205"/>
                </a:cubicBezTo>
                <a:cubicBezTo>
                  <a:pt x="1261" y="204"/>
                  <a:pt x="1260" y="204"/>
                  <a:pt x="1259" y="204"/>
                </a:cubicBezTo>
                <a:cubicBezTo>
                  <a:pt x="1257" y="204"/>
                  <a:pt x="1256" y="204"/>
                  <a:pt x="1255" y="205"/>
                </a:cubicBezTo>
                <a:cubicBezTo>
                  <a:pt x="1254" y="206"/>
                  <a:pt x="1254" y="207"/>
                  <a:pt x="1254" y="209"/>
                </a:cubicBezTo>
                <a:cubicBezTo>
                  <a:pt x="1254" y="210"/>
                  <a:pt x="1254" y="211"/>
                  <a:pt x="1255" y="212"/>
                </a:cubicBezTo>
                <a:cubicBezTo>
                  <a:pt x="1256" y="212"/>
                  <a:pt x="1257" y="213"/>
                  <a:pt x="1258" y="213"/>
                </a:cubicBezTo>
                <a:close/>
                <a:moveTo>
                  <a:pt x="1282" y="229"/>
                </a:moveTo>
                <a:cubicBezTo>
                  <a:pt x="1283" y="221"/>
                  <a:pt x="1283" y="221"/>
                  <a:pt x="1283" y="221"/>
                </a:cubicBezTo>
                <a:cubicBezTo>
                  <a:pt x="1281" y="220"/>
                  <a:pt x="1281" y="220"/>
                  <a:pt x="1281" y="220"/>
                </a:cubicBezTo>
                <a:cubicBezTo>
                  <a:pt x="1273" y="222"/>
                  <a:pt x="1273" y="222"/>
                  <a:pt x="1273" y="222"/>
                </a:cubicBezTo>
                <a:cubicBezTo>
                  <a:pt x="1272" y="224"/>
                  <a:pt x="1272" y="224"/>
                  <a:pt x="1272" y="224"/>
                </a:cubicBezTo>
                <a:cubicBezTo>
                  <a:pt x="1275" y="226"/>
                  <a:pt x="1275" y="226"/>
                  <a:pt x="1275" y="226"/>
                </a:cubicBezTo>
                <a:cubicBezTo>
                  <a:pt x="1271" y="260"/>
                  <a:pt x="1271" y="260"/>
                  <a:pt x="1271" y="260"/>
                </a:cubicBezTo>
                <a:cubicBezTo>
                  <a:pt x="1278" y="260"/>
                  <a:pt x="1278" y="260"/>
                  <a:pt x="1278" y="260"/>
                </a:cubicBezTo>
                <a:cubicBezTo>
                  <a:pt x="1281" y="235"/>
                  <a:pt x="1281" y="235"/>
                  <a:pt x="1281" y="235"/>
                </a:cubicBezTo>
                <a:cubicBezTo>
                  <a:pt x="1283" y="232"/>
                  <a:pt x="1285" y="230"/>
                  <a:pt x="1287" y="228"/>
                </a:cubicBezTo>
                <a:cubicBezTo>
                  <a:pt x="1289" y="226"/>
                  <a:pt x="1291" y="225"/>
                  <a:pt x="1293" y="225"/>
                </a:cubicBezTo>
                <a:cubicBezTo>
                  <a:pt x="1295" y="225"/>
                  <a:pt x="1296" y="226"/>
                  <a:pt x="1297" y="226"/>
                </a:cubicBezTo>
                <a:cubicBezTo>
                  <a:pt x="1297" y="227"/>
                  <a:pt x="1298" y="229"/>
                  <a:pt x="1298" y="231"/>
                </a:cubicBezTo>
                <a:cubicBezTo>
                  <a:pt x="1298" y="233"/>
                  <a:pt x="1297" y="234"/>
                  <a:pt x="1297" y="236"/>
                </a:cubicBezTo>
                <a:cubicBezTo>
                  <a:pt x="1297" y="238"/>
                  <a:pt x="1297" y="240"/>
                  <a:pt x="1296" y="243"/>
                </a:cubicBezTo>
                <a:cubicBezTo>
                  <a:pt x="1296" y="245"/>
                  <a:pt x="1296" y="245"/>
                  <a:pt x="1296" y="245"/>
                </a:cubicBezTo>
                <a:cubicBezTo>
                  <a:pt x="1295" y="248"/>
                  <a:pt x="1295" y="248"/>
                  <a:pt x="1295" y="248"/>
                </a:cubicBezTo>
                <a:cubicBezTo>
                  <a:pt x="1294" y="252"/>
                  <a:pt x="1294" y="255"/>
                  <a:pt x="1294" y="256"/>
                </a:cubicBezTo>
                <a:cubicBezTo>
                  <a:pt x="1294" y="259"/>
                  <a:pt x="1295" y="261"/>
                  <a:pt x="1298" y="261"/>
                </a:cubicBezTo>
                <a:cubicBezTo>
                  <a:pt x="1300" y="261"/>
                  <a:pt x="1301" y="260"/>
                  <a:pt x="1302" y="260"/>
                </a:cubicBezTo>
                <a:cubicBezTo>
                  <a:pt x="1303" y="259"/>
                  <a:pt x="1304" y="259"/>
                  <a:pt x="1305" y="258"/>
                </a:cubicBezTo>
                <a:cubicBezTo>
                  <a:pt x="1305" y="258"/>
                  <a:pt x="1306" y="257"/>
                  <a:pt x="1306" y="257"/>
                </a:cubicBezTo>
                <a:cubicBezTo>
                  <a:pt x="1305" y="255"/>
                  <a:pt x="1305" y="255"/>
                  <a:pt x="1305" y="255"/>
                </a:cubicBezTo>
                <a:cubicBezTo>
                  <a:pt x="1304" y="256"/>
                  <a:pt x="1303" y="256"/>
                  <a:pt x="1302" y="256"/>
                </a:cubicBezTo>
                <a:cubicBezTo>
                  <a:pt x="1301" y="256"/>
                  <a:pt x="1301" y="256"/>
                  <a:pt x="1301" y="255"/>
                </a:cubicBezTo>
                <a:cubicBezTo>
                  <a:pt x="1301" y="253"/>
                  <a:pt x="1301" y="250"/>
                  <a:pt x="1302" y="246"/>
                </a:cubicBezTo>
                <a:cubicBezTo>
                  <a:pt x="1303" y="243"/>
                  <a:pt x="1303" y="243"/>
                  <a:pt x="1303" y="243"/>
                </a:cubicBezTo>
                <a:cubicBezTo>
                  <a:pt x="1303" y="241"/>
                  <a:pt x="1303" y="241"/>
                  <a:pt x="1303" y="241"/>
                </a:cubicBezTo>
                <a:cubicBezTo>
                  <a:pt x="1304" y="236"/>
                  <a:pt x="1305" y="232"/>
                  <a:pt x="1305" y="230"/>
                </a:cubicBezTo>
                <a:cubicBezTo>
                  <a:pt x="1305" y="227"/>
                  <a:pt x="1304" y="224"/>
                  <a:pt x="1302" y="223"/>
                </a:cubicBezTo>
                <a:cubicBezTo>
                  <a:pt x="1301" y="221"/>
                  <a:pt x="1299" y="220"/>
                  <a:pt x="1296" y="220"/>
                </a:cubicBezTo>
                <a:cubicBezTo>
                  <a:pt x="1294" y="220"/>
                  <a:pt x="1291" y="221"/>
                  <a:pt x="1289" y="223"/>
                </a:cubicBezTo>
                <a:cubicBezTo>
                  <a:pt x="1286" y="224"/>
                  <a:pt x="1284" y="227"/>
                  <a:pt x="1282" y="229"/>
                </a:cubicBezTo>
                <a:close/>
                <a:moveTo>
                  <a:pt x="1342" y="253"/>
                </a:moveTo>
                <a:cubicBezTo>
                  <a:pt x="1340" y="251"/>
                  <a:pt x="1340" y="251"/>
                  <a:pt x="1340" y="251"/>
                </a:cubicBezTo>
                <a:cubicBezTo>
                  <a:pt x="1339" y="253"/>
                  <a:pt x="1337" y="254"/>
                  <a:pt x="1335" y="255"/>
                </a:cubicBezTo>
                <a:cubicBezTo>
                  <a:pt x="1333" y="256"/>
                  <a:pt x="1331" y="256"/>
                  <a:pt x="1329" y="256"/>
                </a:cubicBezTo>
                <a:cubicBezTo>
                  <a:pt x="1326" y="256"/>
                  <a:pt x="1323" y="255"/>
                  <a:pt x="1322" y="253"/>
                </a:cubicBezTo>
                <a:cubicBezTo>
                  <a:pt x="1321" y="250"/>
                  <a:pt x="1320" y="247"/>
                  <a:pt x="1320" y="244"/>
                </a:cubicBezTo>
                <a:cubicBezTo>
                  <a:pt x="1323" y="244"/>
                  <a:pt x="1327" y="244"/>
                  <a:pt x="1330" y="242"/>
                </a:cubicBezTo>
                <a:cubicBezTo>
                  <a:pt x="1334" y="241"/>
                  <a:pt x="1337" y="240"/>
                  <a:pt x="1340" y="237"/>
                </a:cubicBezTo>
                <a:cubicBezTo>
                  <a:pt x="1342" y="235"/>
                  <a:pt x="1344" y="232"/>
                  <a:pt x="1344" y="229"/>
                </a:cubicBezTo>
                <a:cubicBezTo>
                  <a:pt x="1344" y="226"/>
                  <a:pt x="1343" y="224"/>
                  <a:pt x="1341" y="223"/>
                </a:cubicBezTo>
                <a:cubicBezTo>
                  <a:pt x="1340" y="221"/>
                  <a:pt x="1337" y="220"/>
                  <a:pt x="1334" y="220"/>
                </a:cubicBezTo>
                <a:cubicBezTo>
                  <a:pt x="1330" y="220"/>
                  <a:pt x="1326" y="221"/>
                  <a:pt x="1323" y="224"/>
                </a:cubicBezTo>
                <a:cubicBezTo>
                  <a:pt x="1320" y="226"/>
                  <a:pt x="1318" y="229"/>
                  <a:pt x="1316" y="233"/>
                </a:cubicBezTo>
                <a:cubicBezTo>
                  <a:pt x="1314" y="237"/>
                  <a:pt x="1313" y="241"/>
                  <a:pt x="1313" y="246"/>
                </a:cubicBezTo>
                <a:cubicBezTo>
                  <a:pt x="1313" y="248"/>
                  <a:pt x="1314" y="251"/>
                  <a:pt x="1315" y="253"/>
                </a:cubicBezTo>
                <a:cubicBezTo>
                  <a:pt x="1316" y="255"/>
                  <a:pt x="1317" y="257"/>
                  <a:pt x="1319" y="259"/>
                </a:cubicBezTo>
                <a:cubicBezTo>
                  <a:pt x="1321" y="260"/>
                  <a:pt x="1324" y="261"/>
                  <a:pt x="1327" y="261"/>
                </a:cubicBezTo>
                <a:cubicBezTo>
                  <a:pt x="1330" y="261"/>
                  <a:pt x="1333" y="260"/>
                  <a:pt x="1336" y="258"/>
                </a:cubicBezTo>
                <a:cubicBezTo>
                  <a:pt x="1339" y="257"/>
                  <a:pt x="1341" y="255"/>
                  <a:pt x="1342" y="253"/>
                </a:cubicBezTo>
                <a:close/>
                <a:moveTo>
                  <a:pt x="1332" y="224"/>
                </a:moveTo>
                <a:cubicBezTo>
                  <a:pt x="1334" y="224"/>
                  <a:pt x="1335" y="224"/>
                  <a:pt x="1336" y="225"/>
                </a:cubicBezTo>
                <a:cubicBezTo>
                  <a:pt x="1337" y="226"/>
                  <a:pt x="1337" y="228"/>
                  <a:pt x="1337" y="229"/>
                </a:cubicBezTo>
                <a:cubicBezTo>
                  <a:pt x="1337" y="232"/>
                  <a:pt x="1336" y="234"/>
                  <a:pt x="1334" y="235"/>
                </a:cubicBezTo>
                <a:cubicBezTo>
                  <a:pt x="1333" y="237"/>
                  <a:pt x="1331" y="238"/>
                  <a:pt x="1328" y="239"/>
                </a:cubicBezTo>
                <a:cubicBezTo>
                  <a:pt x="1325" y="240"/>
                  <a:pt x="1323" y="241"/>
                  <a:pt x="1321" y="241"/>
                </a:cubicBezTo>
                <a:cubicBezTo>
                  <a:pt x="1321" y="238"/>
                  <a:pt x="1321" y="236"/>
                  <a:pt x="1322" y="233"/>
                </a:cubicBezTo>
                <a:cubicBezTo>
                  <a:pt x="1323" y="230"/>
                  <a:pt x="1325" y="228"/>
                  <a:pt x="1326" y="226"/>
                </a:cubicBezTo>
                <a:cubicBezTo>
                  <a:pt x="1328" y="225"/>
                  <a:pt x="1330" y="224"/>
                  <a:pt x="1332" y="224"/>
                </a:cubicBezTo>
                <a:close/>
              </a:path>
            </a:pathLst>
          </a:custGeom>
          <a:solidFill>
            <a:schemeClr val="tx2"/>
          </a:solidFill>
          <a:ln>
            <a:noFill/>
          </a:ln>
        </p:spPr>
        <p:txBody>
          <a:bodyPr vert="horz" wrap="square" lIns="121920" tIns="60960" rIns="121920" bIns="60960" numCol="1" anchor="t" anchorCtr="0" compatLnSpc="1">
            <a:prstTxWarp prst="textNoShape">
              <a:avLst/>
            </a:prstTxWarp>
          </a:bodyPr>
          <a:lstStyle/>
          <a:p>
            <a:endParaRPr lang="en-US" sz="2400"/>
          </a:p>
        </p:txBody>
      </p:sp>
      <p:sp>
        <p:nvSpPr>
          <p:cNvPr id="2" name="Title 1"/>
          <p:cNvSpPr>
            <a:spLocks noGrp="1"/>
          </p:cNvSpPr>
          <p:nvPr>
            <p:ph type="title"/>
          </p:nvPr>
        </p:nvSpPr>
        <p:spPr>
          <a:xfrm>
            <a:off x="660400" y="1463632"/>
            <a:ext cx="9601200" cy="929749"/>
          </a:xfrm>
        </p:spPr>
        <p:txBody>
          <a:bodyPr/>
          <a:lstStyle/>
          <a:p>
            <a:r>
              <a:rPr lang="en-US"/>
              <a:t>Click to edit Master title style</a:t>
            </a:r>
          </a:p>
        </p:txBody>
      </p:sp>
      <p:sp>
        <p:nvSpPr>
          <p:cNvPr id="12" name="Text Placeholder 11">
            <a:extLst>
              <a:ext uri="{FF2B5EF4-FFF2-40B4-BE49-F238E27FC236}">
                <a16:creationId xmlns:a16="http://schemas.microsoft.com/office/drawing/2014/main" id="{C612CE87-21AB-4B74-A011-BD24041C27F6}"/>
              </a:ext>
            </a:extLst>
          </p:cNvPr>
          <p:cNvSpPr>
            <a:spLocks noGrp="1"/>
          </p:cNvSpPr>
          <p:nvPr>
            <p:ph type="body" sz="quarter" idx="14"/>
          </p:nvPr>
        </p:nvSpPr>
        <p:spPr>
          <a:xfrm>
            <a:off x="660401" y="3020102"/>
            <a:ext cx="2614084" cy="3110189"/>
          </a:xfrm>
        </p:spPr>
        <p:txBody>
          <a:bodyPr/>
          <a:lstStyle>
            <a:lvl1pPr marL="0" indent="0">
              <a:lnSpc>
                <a:spcPct val="120000"/>
              </a:lnSpc>
              <a:buNone/>
              <a:defRPr>
                <a:solidFill>
                  <a:schemeClr val="tx2"/>
                </a:solidFill>
              </a:defRPr>
            </a:lvl1pPr>
            <a:lvl2pPr marL="304792" indent="-304792">
              <a:lnSpc>
                <a:spcPct val="100000"/>
              </a:lnSpc>
              <a:spcBef>
                <a:spcPts val="400"/>
              </a:spcBef>
              <a:buFont typeface="Arial" panose="020B0604020202020204" pitchFamily="34" charset="0"/>
              <a:buChar char="•"/>
              <a:defRPr>
                <a:solidFill>
                  <a:schemeClr val="tx2"/>
                </a:solidFill>
              </a:defRPr>
            </a:lvl2pPr>
          </a:lstStyle>
          <a:p>
            <a:pPr lvl="0"/>
            <a:r>
              <a:rPr lang="en-US"/>
              <a:t>Edit Master text styles</a:t>
            </a:r>
          </a:p>
          <a:p>
            <a:pPr lvl="1"/>
            <a:r>
              <a:rPr lang="en-US"/>
              <a:t>Second level</a:t>
            </a:r>
          </a:p>
        </p:txBody>
      </p:sp>
    </p:spTree>
    <p:extLst>
      <p:ext uri="{BB962C8B-B14F-4D97-AF65-F5344CB8AC3E}">
        <p14:creationId xmlns:p14="http://schemas.microsoft.com/office/powerpoint/2010/main" val="1180138600"/>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type="obj" preserve="1">
  <p:cSld name="Chart_Table an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660400" y="1483785"/>
            <a:ext cx="4815840" cy="4661919"/>
          </a:xfrm>
        </p:spPr>
        <p:txBody>
          <a:bodyPr/>
          <a:lstStyle>
            <a:lvl1pPr marL="230712" indent="-230712">
              <a:lnSpc>
                <a:spcPct val="100000"/>
              </a:lnSpc>
              <a:spcBef>
                <a:spcPts val="400"/>
              </a:spcBef>
              <a:defRPr sz="1600"/>
            </a:lvl1pPr>
            <a:lvl2pPr marL="459306" indent="-228594">
              <a:lnSpc>
                <a:spcPct val="100000"/>
              </a:lnSpc>
              <a:spcBef>
                <a:spcPts val="400"/>
              </a:spcBef>
              <a:defRPr sz="1467"/>
            </a:lvl2pPr>
            <a:lvl3pPr marL="690016" indent="-230712">
              <a:lnSpc>
                <a:spcPct val="100000"/>
              </a:lnSpc>
              <a:spcBef>
                <a:spcPts val="400"/>
              </a:spcBef>
              <a:defRPr sz="1333"/>
            </a:lvl3pPr>
            <a:lvl4pPr marL="920728" indent="-230712">
              <a:lnSpc>
                <a:spcPct val="100000"/>
              </a:lnSpc>
              <a:spcBef>
                <a:spcPts val="400"/>
              </a:spcBef>
              <a:defRPr sz="1200"/>
            </a:lvl4pPr>
            <a:lvl5pPr marL="1138738" indent="-218012">
              <a:lnSpc>
                <a:spcPct val="100000"/>
              </a:lnSpc>
              <a:spcBef>
                <a:spcPts val="400"/>
              </a:spcBef>
              <a:defRPr sz="1067"/>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46D584E9-81E4-493B-AD1D-A460B5445953}" type="slidenum">
              <a:rPr lang="en-US" smtClean="0"/>
              <a:t>‹#›</a:t>
            </a:fld>
            <a:endParaRPr lang="en-US"/>
          </a:p>
        </p:txBody>
      </p:sp>
      <p:sp>
        <p:nvSpPr>
          <p:cNvPr id="5" name="Content Placeholder 2">
            <a:extLst>
              <a:ext uri="{FF2B5EF4-FFF2-40B4-BE49-F238E27FC236}">
                <a16:creationId xmlns:a16="http://schemas.microsoft.com/office/drawing/2014/main" id="{07CECDB5-813F-44A7-A308-C2E59BAB2159}"/>
              </a:ext>
            </a:extLst>
          </p:cNvPr>
          <p:cNvSpPr>
            <a:spLocks noGrp="1"/>
          </p:cNvSpPr>
          <p:nvPr>
            <p:ph idx="13"/>
          </p:nvPr>
        </p:nvSpPr>
        <p:spPr>
          <a:xfrm>
            <a:off x="5927060" y="1483785"/>
            <a:ext cx="4815840" cy="4661919"/>
          </a:xfrm>
        </p:spPr>
        <p:txBody>
          <a:bodyPr/>
          <a:lstStyle>
            <a:lvl1pPr marL="230712" indent="-230712">
              <a:lnSpc>
                <a:spcPct val="100000"/>
              </a:lnSpc>
              <a:spcBef>
                <a:spcPts val="400"/>
              </a:spcBef>
              <a:defRPr sz="1600"/>
            </a:lvl1pPr>
            <a:lvl2pPr marL="459306" indent="-228594">
              <a:lnSpc>
                <a:spcPct val="100000"/>
              </a:lnSpc>
              <a:spcBef>
                <a:spcPts val="400"/>
              </a:spcBef>
              <a:defRPr sz="1467"/>
            </a:lvl2pPr>
            <a:lvl3pPr marL="690016" indent="-230712">
              <a:lnSpc>
                <a:spcPct val="100000"/>
              </a:lnSpc>
              <a:spcBef>
                <a:spcPts val="400"/>
              </a:spcBef>
              <a:defRPr sz="1333"/>
            </a:lvl3pPr>
            <a:lvl4pPr marL="920728" indent="-230712">
              <a:lnSpc>
                <a:spcPct val="100000"/>
              </a:lnSpc>
              <a:spcBef>
                <a:spcPts val="400"/>
              </a:spcBef>
              <a:defRPr sz="1200"/>
            </a:lvl4pPr>
            <a:lvl5pPr marL="1138738" indent="-218012">
              <a:lnSpc>
                <a:spcPct val="100000"/>
              </a:lnSpc>
              <a:spcBef>
                <a:spcPts val="400"/>
              </a:spcBef>
              <a:defRPr sz="1067"/>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80199417"/>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type="obj" preserve="1">
  <p:cSld name="Four Char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660400" y="1483785"/>
            <a:ext cx="4815840" cy="2173816"/>
          </a:xfrm>
        </p:spPr>
        <p:txBody>
          <a:bodyPr/>
          <a:lstStyle>
            <a:lvl1pPr marL="230712" indent="-230712">
              <a:lnSpc>
                <a:spcPct val="100000"/>
              </a:lnSpc>
              <a:spcBef>
                <a:spcPts val="400"/>
              </a:spcBef>
              <a:defRPr sz="1600"/>
            </a:lvl1pPr>
            <a:lvl2pPr marL="459306" indent="-228594">
              <a:lnSpc>
                <a:spcPct val="100000"/>
              </a:lnSpc>
              <a:spcBef>
                <a:spcPts val="400"/>
              </a:spcBef>
              <a:defRPr sz="1467"/>
            </a:lvl2pPr>
            <a:lvl3pPr marL="690016" indent="-230712">
              <a:lnSpc>
                <a:spcPct val="100000"/>
              </a:lnSpc>
              <a:spcBef>
                <a:spcPts val="400"/>
              </a:spcBef>
              <a:defRPr sz="1333"/>
            </a:lvl3pPr>
            <a:lvl4pPr marL="920728" indent="-230712">
              <a:lnSpc>
                <a:spcPct val="100000"/>
              </a:lnSpc>
              <a:spcBef>
                <a:spcPts val="400"/>
              </a:spcBef>
              <a:defRPr sz="1200"/>
            </a:lvl4pPr>
            <a:lvl5pPr marL="1138738" indent="-218012">
              <a:lnSpc>
                <a:spcPct val="100000"/>
              </a:lnSpc>
              <a:spcBef>
                <a:spcPts val="400"/>
              </a:spcBef>
              <a:defRPr sz="1067"/>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46D584E9-81E4-493B-AD1D-A460B5445953}" type="slidenum">
              <a:rPr lang="en-US" smtClean="0"/>
              <a:t>‹#›</a:t>
            </a:fld>
            <a:endParaRPr lang="en-US"/>
          </a:p>
        </p:txBody>
      </p:sp>
      <p:sp>
        <p:nvSpPr>
          <p:cNvPr id="5" name="Content Placeholder 2">
            <a:extLst>
              <a:ext uri="{FF2B5EF4-FFF2-40B4-BE49-F238E27FC236}">
                <a16:creationId xmlns:a16="http://schemas.microsoft.com/office/drawing/2014/main" id="{07CECDB5-813F-44A7-A308-C2E59BAB2159}"/>
              </a:ext>
            </a:extLst>
          </p:cNvPr>
          <p:cNvSpPr>
            <a:spLocks noGrp="1"/>
          </p:cNvSpPr>
          <p:nvPr>
            <p:ph idx="13"/>
          </p:nvPr>
        </p:nvSpPr>
        <p:spPr>
          <a:xfrm>
            <a:off x="6400799" y="1483785"/>
            <a:ext cx="4815840" cy="2173816"/>
          </a:xfrm>
        </p:spPr>
        <p:txBody>
          <a:bodyPr/>
          <a:lstStyle>
            <a:lvl1pPr marL="230712" indent="-230712">
              <a:lnSpc>
                <a:spcPct val="100000"/>
              </a:lnSpc>
              <a:spcBef>
                <a:spcPts val="400"/>
              </a:spcBef>
              <a:defRPr sz="1600"/>
            </a:lvl1pPr>
            <a:lvl2pPr marL="459306" indent="-228594">
              <a:lnSpc>
                <a:spcPct val="100000"/>
              </a:lnSpc>
              <a:spcBef>
                <a:spcPts val="400"/>
              </a:spcBef>
              <a:defRPr sz="1467"/>
            </a:lvl2pPr>
            <a:lvl3pPr marL="690016" indent="-230712">
              <a:lnSpc>
                <a:spcPct val="100000"/>
              </a:lnSpc>
              <a:spcBef>
                <a:spcPts val="400"/>
              </a:spcBef>
              <a:defRPr sz="1333"/>
            </a:lvl3pPr>
            <a:lvl4pPr marL="920728" indent="-230712">
              <a:lnSpc>
                <a:spcPct val="100000"/>
              </a:lnSpc>
              <a:spcBef>
                <a:spcPts val="400"/>
              </a:spcBef>
              <a:defRPr sz="1200"/>
            </a:lvl4pPr>
            <a:lvl5pPr marL="1138738" indent="-218012">
              <a:lnSpc>
                <a:spcPct val="100000"/>
              </a:lnSpc>
              <a:spcBef>
                <a:spcPts val="400"/>
              </a:spcBef>
              <a:defRPr sz="1067"/>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2">
            <a:extLst>
              <a:ext uri="{FF2B5EF4-FFF2-40B4-BE49-F238E27FC236}">
                <a16:creationId xmlns:a16="http://schemas.microsoft.com/office/drawing/2014/main" id="{FACA3486-D945-4810-86FB-CFE25496D8CE}"/>
              </a:ext>
            </a:extLst>
          </p:cNvPr>
          <p:cNvSpPr>
            <a:spLocks noGrp="1"/>
          </p:cNvSpPr>
          <p:nvPr>
            <p:ph idx="14"/>
          </p:nvPr>
        </p:nvSpPr>
        <p:spPr>
          <a:xfrm>
            <a:off x="660400" y="3961479"/>
            <a:ext cx="4815840" cy="2173816"/>
          </a:xfrm>
        </p:spPr>
        <p:txBody>
          <a:bodyPr/>
          <a:lstStyle>
            <a:lvl1pPr marL="230712" indent="-230712">
              <a:lnSpc>
                <a:spcPct val="100000"/>
              </a:lnSpc>
              <a:spcBef>
                <a:spcPts val="400"/>
              </a:spcBef>
              <a:defRPr sz="1600"/>
            </a:lvl1pPr>
            <a:lvl2pPr marL="459306" indent="-228594">
              <a:lnSpc>
                <a:spcPct val="100000"/>
              </a:lnSpc>
              <a:spcBef>
                <a:spcPts val="400"/>
              </a:spcBef>
              <a:defRPr sz="1467"/>
            </a:lvl2pPr>
            <a:lvl3pPr marL="690016" indent="-230712">
              <a:lnSpc>
                <a:spcPct val="100000"/>
              </a:lnSpc>
              <a:spcBef>
                <a:spcPts val="400"/>
              </a:spcBef>
              <a:defRPr sz="1333"/>
            </a:lvl3pPr>
            <a:lvl4pPr marL="920728" indent="-230712">
              <a:lnSpc>
                <a:spcPct val="100000"/>
              </a:lnSpc>
              <a:spcBef>
                <a:spcPts val="400"/>
              </a:spcBef>
              <a:defRPr sz="1200"/>
            </a:lvl4pPr>
            <a:lvl5pPr marL="1138738" indent="-218012">
              <a:lnSpc>
                <a:spcPct val="100000"/>
              </a:lnSpc>
              <a:spcBef>
                <a:spcPts val="400"/>
              </a:spcBef>
              <a:defRPr sz="1067"/>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Content Placeholder 2">
            <a:extLst>
              <a:ext uri="{FF2B5EF4-FFF2-40B4-BE49-F238E27FC236}">
                <a16:creationId xmlns:a16="http://schemas.microsoft.com/office/drawing/2014/main" id="{CC97F3C2-9B44-4B13-92ED-0E8BB5C6D9DC}"/>
              </a:ext>
            </a:extLst>
          </p:cNvPr>
          <p:cNvSpPr>
            <a:spLocks noGrp="1"/>
          </p:cNvSpPr>
          <p:nvPr>
            <p:ph idx="15"/>
          </p:nvPr>
        </p:nvSpPr>
        <p:spPr>
          <a:xfrm>
            <a:off x="6400799" y="3961479"/>
            <a:ext cx="4815840" cy="2173816"/>
          </a:xfrm>
        </p:spPr>
        <p:txBody>
          <a:bodyPr/>
          <a:lstStyle>
            <a:lvl1pPr marL="230712" indent="-230712">
              <a:lnSpc>
                <a:spcPct val="100000"/>
              </a:lnSpc>
              <a:spcBef>
                <a:spcPts val="400"/>
              </a:spcBef>
              <a:defRPr sz="1600"/>
            </a:lvl1pPr>
            <a:lvl2pPr marL="459306" indent="-228594">
              <a:lnSpc>
                <a:spcPct val="100000"/>
              </a:lnSpc>
              <a:spcBef>
                <a:spcPts val="400"/>
              </a:spcBef>
              <a:defRPr sz="1467"/>
            </a:lvl2pPr>
            <a:lvl3pPr marL="690016" indent="-230712">
              <a:lnSpc>
                <a:spcPct val="100000"/>
              </a:lnSpc>
              <a:spcBef>
                <a:spcPts val="400"/>
              </a:spcBef>
              <a:defRPr sz="1333"/>
            </a:lvl3pPr>
            <a:lvl4pPr marL="920728" indent="-230712">
              <a:lnSpc>
                <a:spcPct val="100000"/>
              </a:lnSpc>
              <a:spcBef>
                <a:spcPts val="400"/>
              </a:spcBef>
              <a:defRPr sz="1200"/>
            </a:lvl4pPr>
            <a:lvl5pPr marL="1138738" indent="-218012">
              <a:lnSpc>
                <a:spcPct val="100000"/>
              </a:lnSpc>
              <a:spcBef>
                <a:spcPts val="400"/>
              </a:spcBef>
              <a:defRPr sz="1067"/>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32552612"/>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p:cSld name="Title Only w/picture">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B527E53A-D5D5-477E-B569-A07974DC097C}"/>
              </a:ext>
            </a:extLst>
          </p:cNvPr>
          <p:cNvSpPr>
            <a:spLocks noGrp="1"/>
          </p:cNvSpPr>
          <p:nvPr>
            <p:ph type="pic" sz="quarter" idx="13"/>
          </p:nvPr>
        </p:nvSpPr>
        <p:spPr>
          <a:xfrm>
            <a:off x="11594592" y="0"/>
            <a:ext cx="597408" cy="6858000"/>
          </a:xfrm>
          <a:solidFill>
            <a:schemeClr val="bg2"/>
          </a:solidFill>
        </p:spPr>
        <p:txBody>
          <a:bodyPr tIns="1005840" anchor="t" anchorCtr="0"/>
          <a:lstStyle>
            <a:lvl1pPr marL="0" indent="0" algn="ctr">
              <a:buNone/>
              <a:defRPr sz="1400"/>
            </a:lvl1pPr>
          </a:lstStyle>
          <a:p>
            <a:r>
              <a:rPr lang="en-US"/>
              <a:t>Click icon to add picture</a:t>
            </a:r>
          </a:p>
        </p:txBody>
      </p:sp>
      <p:sp>
        <p:nvSpPr>
          <p:cNvPr id="2" name="Title 1"/>
          <p:cNvSpPr>
            <a:spLocks noGrp="1"/>
          </p:cNvSpPr>
          <p:nvPr>
            <p:ph type="title"/>
          </p:nvPr>
        </p:nvSpPr>
        <p:spPr/>
        <p:txBody>
          <a:bodyPr/>
          <a:lstStyle/>
          <a:p>
            <a:r>
              <a:rPr lang="en-US"/>
              <a:t>Click to edit Master title style</a:t>
            </a:r>
          </a:p>
        </p:txBody>
      </p:sp>
      <p:sp>
        <p:nvSpPr>
          <p:cNvPr id="5" name="Slide Number Placeholder 4"/>
          <p:cNvSpPr>
            <a:spLocks noGrp="1"/>
          </p:cNvSpPr>
          <p:nvPr>
            <p:ph type="sldNum" sz="quarter" idx="12"/>
          </p:nvPr>
        </p:nvSpPr>
        <p:spPr/>
        <p:txBody>
          <a:bodyPr/>
          <a:lstStyle/>
          <a:p>
            <a:fld id="{46D584E9-81E4-493B-AD1D-A460B5445953}" type="slidenum">
              <a:rPr lang="en-US" smtClean="0"/>
              <a:t>‹#›</a:t>
            </a:fld>
            <a:endParaRPr lang="en-US"/>
          </a:p>
        </p:txBody>
      </p:sp>
    </p:spTree>
    <p:extLst>
      <p:ext uri="{BB962C8B-B14F-4D97-AF65-F5344CB8AC3E}">
        <p14:creationId xmlns:p14="http://schemas.microsoft.com/office/powerpoint/2010/main" val="2804634771"/>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46D584E9-81E4-493B-AD1D-A460B5445953}" type="slidenum">
              <a:rPr lang="en-US" smtClean="0"/>
              <a:t>‹#›</a:t>
            </a:fld>
            <a:endParaRPr lang="en-US"/>
          </a:p>
        </p:txBody>
      </p:sp>
    </p:spTree>
    <p:extLst>
      <p:ext uri="{BB962C8B-B14F-4D97-AF65-F5344CB8AC3E}">
        <p14:creationId xmlns:p14="http://schemas.microsoft.com/office/powerpoint/2010/main" val="2380385357"/>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6D584E9-81E4-493B-AD1D-A460B5445953}" type="slidenum">
              <a:rPr lang="en-US" smtClean="0"/>
              <a:t>‹#›</a:t>
            </a:fld>
            <a:endParaRPr lang="en-US"/>
          </a:p>
        </p:txBody>
      </p:sp>
    </p:spTree>
    <p:extLst>
      <p:ext uri="{BB962C8B-B14F-4D97-AF65-F5344CB8AC3E}">
        <p14:creationId xmlns:p14="http://schemas.microsoft.com/office/powerpoint/2010/main" val="312112698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2.xml"/><Relationship Id="rId3" Type="http://schemas.openxmlformats.org/officeDocument/2006/relationships/slideLayout" Target="../slideLayouts/slideLayout17.xml"/><Relationship Id="rId7" Type="http://schemas.openxmlformats.org/officeDocument/2006/relationships/slideLayout" Target="../slideLayouts/slideLayout21.xml"/><Relationship Id="rId12" Type="http://schemas.openxmlformats.org/officeDocument/2006/relationships/theme" Target="../theme/theme2.xml"/><Relationship Id="rId2" Type="http://schemas.openxmlformats.org/officeDocument/2006/relationships/slideLayout" Target="../slideLayouts/slideLayout16.xml"/><Relationship Id="rId1" Type="http://schemas.openxmlformats.org/officeDocument/2006/relationships/slideLayout" Target="../slideLayouts/slideLayout15.xml"/><Relationship Id="rId6" Type="http://schemas.openxmlformats.org/officeDocument/2006/relationships/slideLayout" Target="../slideLayouts/slideLayout20.xml"/><Relationship Id="rId11" Type="http://schemas.openxmlformats.org/officeDocument/2006/relationships/slideLayout" Target="../slideLayouts/slideLayout25.xml"/><Relationship Id="rId5" Type="http://schemas.openxmlformats.org/officeDocument/2006/relationships/slideLayout" Target="../slideLayouts/slideLayout19.xml"/><Relationship Id="rId10" Type="http://schemas.openxmlformats.org/officeDocument/2006/relationships/slideLayout" Target="../slideLayouts/slideLayout24.xml"/><Relationship Id="rId4" Type="http://schemas.openxmlformats.org/officeDocument/2006/relationships/slideLayout" Target="../slideLayouts/slideLayout18.xml"/><Relationship Id="rId9" Type="http://schemas.openxmlformats.org/officeDocument/2006/relationships/slideLayout" Target="../slideLayouts/slideLayout23.xml"/></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28.xml"/><Relationship Id="rId7" Type="http://schemas.openxmlformats.org/officeDocument/2006/relationships/theme" Target="../theme/theme3.xml"/><Relationship Id="rId2" Type="http://schemas.openxmlformats.org/officeDocument/2006/relationships/slideLayout" Target="../slideLayouts/slideLayout27.xml"/><Relationship Id="rId1" Type="http://schemas.openxmlformats.org/officeDocument/2006/relationships/slideLayout" Target="../slideLayouts/slideLayout26.xml"/><Relationship Id="rId6" Type="http://schemas.openxmlformats.org/officeDocument/2006/relationships/slideLayout" Target="../slideLayouts/slideLayout31.xml"/><Relationship Id="rId5" Type="http://schemas.openxmlformats.org/officeDocument/2006/relationships/slideLayout" Target="../slideLayouts/slideLayout30.xml"/><Relationship Id="rId4" Type="http://schemas.openxmlformats.org/officeDocument/2006/relationships/slideLayout" Target="../slideLayouts/slideLayout29.xml"/></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44.xml"/><Relationship Id="rId18" Type="http://schemas.openxmlformats.org/officeDocument/2006/relationships/slideLayout" Target="../slideLayouts/slideLayout49.xml"/><Relationship Id="rId26" Type="http://schemas.openxmlformats.org/officeDocument/2006/relationships/slideLayout" Target="../slideLayouts/slideLayout57.xml"/><Relationship Id="rId3" Type="http://schemas.openxmlformats.org/officeDocument/2006/relationships/slideLayout" Target="../slideLayouts/slideLayout34.xml"/><Relationship Id="rId21" Type="http://schemas.openxmlformats.org/officeDocument/2006/relationships/slideLayout" Target="../slideLayouts/slideLayout52.xml"/><Relationship Id="rId34" Type="http://schemas.openxmlformats.org/officeDocument/2006/relationships/slideLayout" Target="../slideLayouts/slideLayout65.xml"/><Relationship Id="rId7" Type="http://schemas.openxmlformats.org/officeDocument/2006/relationships/slideLayout" Target="../slideLayouts/slideLayout38.xml"/><Relationship Id="rId12" Type="http://schemas.openxmlformats.org/officeDocument/2006/relationships/slideLayout" Target="../slideLayouts/slideLayout43.xml"/><Relationship Id="rId17" Type="http://schemas.openxmlformats.org/officeDocument/2006/relationships/slideLayout" Target="../slideLayouts/slideLayout48.xml"/><Relationship Id="rId25" Type="http://schemas.openxmlformats.org/officeDocument/2006/relationships/slideLayout" Target="../slideLayouts/slideLayout56.xml"/><Relationship Id="rId33" Type="http://schemas.openxmlformats.org/officeDocument/2006/relationships/slideLayout" Target="../slideLayouts/slideLayout64.xml"/><Relationship Id="rId2" Type="http://schemas.openxmlformats.org/officeDocument/2006/relationships/slideLayout" Target="../slideLayouts/slideLayout33.xml"/><Relationship Id="rId16" Type="http://schemas.openxmlformats.org/officeDocument/2006/relationships/slideLayout" Target="../slideLayouts/slideLayout47.xml"/><Relationship Id="rId20" Type="http://schemas.openxmlformats.org/officeDocument/2006/relationships/slideLayout" Target="../slideLayouts/slideLayout51.xml"/><Relationship Id="rId29" Type="http://schemas.openxmlformats.org/officeDocument/2006/relationships/slideLayout" Target="../slideLayouts/slideLayout60.xml"/><Relationship Id="rId1" Type="http://schemas.openxmlformats.org/officeDocument/2006/relationships/slideLayout" Target="../slideLayouts/slideLayout32.xml"/><Relationship Id="rId6" Type="http://schemas.openxmlformats.org/officeDocument/2006/relationships/slideLayout" Target="../slideLayouts/slideLayout37.xml"/><Relationship Id="rId11" Type="http://schemas.openxmlformats.org/officeDocument/2006/relationships/slideLayout" Target="../slideLayouts/slideLayout42.xml"/><Relationship Id="rId24" Type="http://schemas.openxmlformats.org/officeDocument/2006/relationships/slideLayout" Target="../slideLayouts/slideLayout55.xml"/><Relationship Id="rId32" Type="http://schemas.openxmlformats.org/officeDocument/2006/relationships/slideLayout" Target="../slideLayouts/slideLayout63.xml"/><Relationship Id="rId5" Type="http://schemas.openxmlformats.org/officeDocument/2006/relationships/slideLayout" Target="../slideLayouts/slideLayout36.xml"/><Relationship Id="rId15" Type="http://schemas.openxmlformats.org/officeDocument/2006/relationships/slideLayout" Target="../slideLayouts/slideLayout46.xml"/><Relationship Id="rId23" Type="http://schemas.openxmlformats.org/officeDocument/2006/relationships/slideLayout" Target="../slideLayouts/slideLayout54.xml"/><Relationship Id="rId28" Type="http://schemas.openxmlformats.org/officeDocument/2006/relationships/slideLayout" Target="../slideLayouts/slideLayout59.xml"/><Relationship Id="rId10" Type="http://schemas.openxmlformats.org/officeDocument/2006/relationships/slideLayout" Target="../slideLayouts/slideLayout41.xml"/><Relationship Id="rId19" Type="http://schemas.openxmlformats.org/officeDocument/2006/relationships/slideLayout" Target="../slideLayouts/slideLayout50.xml"/><Relationship Id="rId31" Type="http://schemas.openxmlformats.org/officeDocument/2006/relationships/slideLayout" Target="../slideLayouts/slideLayout62.xml"/><Relationship Id="rId4" Type="http://schemas.openxmlformats.org/officeDocument/2006/relationships/slideLayout" Target="../slideLayouts/slideLayout35.xml"/><Relationship Id="rId9" Type="http://schemas.openxmlformats.org/officeDocument/2006/relationships/slideLayout" Target="../slideLayouts/slideLayout40.xml"/><Relationship Id="rId14" Type="http://schemas.openxmlformats.org/officeDocument/2006/relationships/slideLayout" Target="../slideLayouts/slideLayout45.xml"/><Relationship Id="rId22" Type="http://schemas.openxmlformats.org/officeDocument/2006/relationships/slideLayout" Target="../slideLayouts/slideLayout53.xml"/><Relationship Id="rId27" Type="http://schemas.openxmlformats.org/officeDocument/2006/relationships/slideLayout" Target="../slideLayouts/slideLayout58.xml"/><Relationship Id="rId30" Type="http://schemas.openxmlformats.org/officeDocument/2006/relationships/slideLayout" Target="../slideLayouts/slideLayout61.xml"/><Relationship Id="rId35" Type="http://schemas.openxmlformats.org/officeDocument/2006/relationships/theme" Target="../theme/theme4.xml"/><Relationship Id="rId8" Type="http://schemas.openxmlformats.org/officeDocument/2006/relationships/slideLayout" Target="../slideLayouts/slideLayout39.xml"/></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78.xml"/><Relationship Id="rId18" Type="http://schemas.openxmlformats.org/officeDocument/2006/relationships/slideLayout" Target="../slideLayouts/slideLayout83.xml"/><Relationship Id="rId26" Type="http://schemas.openxmlformats.org/officeDocument/2006/relationships/slideLayout" Target="../slideLayouts/slideLayout91.xml"/><Relationship Id="rId3" Type="http://schemas.openxmlformats.org/officeDocument/2006/relationships/slideLayout" Target="../slideLayouts/slideLayout68.xml"/><Relationship Id="rId21" Type="http://schemas.openxmlformats.org/officeDocument/2006/relationships/slideLayout" Target="../slideLayouts/slideLayout86.xml"/><Relationship Id="rId34" Type="http://schemas.openxmlformats.org/officeDocument/2006/relationships/slideLayout" Target="../slideLayouts/slideLayout99.xml"/><Relationship Id="rId7" Type="http://schemas.openxmlformats.org/officeDocument/2006/relationships/slideLayout" Target="../slideLayouts/slideLayout72.xml"/><Relationship Id="rId12" Type="http://schemas.openxmlformats.org/officeDocument/2006/relationships/slideLayout" Target="../slideLayouts/slideLayout77.xml"/><Relationship Id="rId17" Type="http://schemas.openxmlformats.org/officeDocument/2006/relationships/slideLayout" Target="../slideLayouts/slideLayout82.xml"/><Relationship Id="rId25" Type="http://schemas.openxmlformats.org/officeDocument/2006/relationships/slideLayout" Target="../slideLayouts/slideLayout90.xml"/><Relationship Id="rId33" Type="http://schemas.openxmlformats.org/officeDocument/2006/relationships/slideLayout" Target="../slideLayouts/slideLayout98.xml"/><Relationship Id="rId2" Type="http://schemas.openxmlformats.org/officeDocument/2006/relationships/slideLayout" Target="../slideLayouts/slideLayout67.xml"/><Relationship Id="rId16" Type="http://schemas.openxmlformats.org/officeDocument/2006/relationships/slideLayout" Target="../slideLayouts/slideLayout81.xml"/><Relationship Id="rId20" Type="http://schemas.openxmlformats.org/officeDocument/2006/relationships/slideLayout" Target="../slideLayouts/slideLayout85.xml"/><Relationship Id="rId29" Type="http://schemas.openxmlformats.org/officeDocument/2006/relationships/slideLayout" Target="../slideLayouts/slideLayout94.xml"/><Relationship Id="rId1" Type="http://schemas.openxmlformats.org/officeDocument/2006/relationships/slideLayout" Target="../slideLayouts/slideLayout66.xml"/><Relationship Id="rId6" Type="http://schemas.openxmlformats.org/officeDocument/2006/relationships/slideLayout" Target="../slideLayouts/slideLayout71.xml"/><Relationship Id="rId11" Type="http://schemas.openxmlformats.org/officeDocument/2006/relationships/slideLayout" Target="../slideLayouts/slideLayout76.xml"/><Relationship Id="rId24" Type="http://schemas.openxmlformats.org/officeDocument/2006/relationships/slideLayout" Target="../slideLayouts/slideLayout89.xml"/><Relationship Id="rId32" Type="http://schemas.openxmlformats.org/officeDocument/2006/relationships/slideLayout" Target="../slideLayouts/slideLayout97.xml"/><Relationship Id="rId5" Type="http://schemas.openxmlformats.org/officeDocument/2006/relationships/slideLayout" Target="../slideLayouts/slideLayout70.xml"/><Relationship Id="rId15" Type="http://schemas.openxmlformats.org/officeDocument/2006/relationships/slideLayout" Target="../slideLayouts/slideLayout80.xml"/><Relationship Id="rId23" Type="http://schemas.openxmlformats.org/officeDocument/2006/relationships/slideLayout" Target="../slideLayouts/slideLayout88.xml"/><Relationship Id="rId28" Type="http://schemas.openxmlformats.org/officeDocument/2006/relationships/slideLayout" Target="../slideLayouts/slideLayout93.xml"/><Relationship Id="rId10" Type="http://schemas.openxmlformats.org/officeDocument/2006/relationships/slideLayout" Target="../slideLayouts/slideLayout75.xml"/><Relationship Id="rId19" Type="http://schemas.openxmlformats.org/officeDocument/2006/relationships/slideLayout" Target="../slideLayouts/slideLayout84.xml"/><Relationship Id="rId31" Type="http://schemas.openxmlformats.org/officeDocument/2006/relationships/slideLayout" Target="../slideLayouts/slideLayout96.xml"/><Relationship Id="rId4" Type="http://schemas.openxmlformats.org/officeDocument/2006/relationships/slideLayout" Target="../slideLayouts/slideLayout69.xml"/><Relationship Id="rId9" Type="http://schemas.openxmlformats.org/officeDocument/2006/relationships/slideLayout" Target="../slideLayouts/slideLayout74.xml"/><Relationship Id="rId14" Type="http://schemas.openxmlformats.org/officeDocument/2006/relationships/slideLayout" Target="../slideLayouts/slideLayout79.xml"/><Relationship Id="rId22" Type="http://schemas.openxmlformats.org/officeDocument/2006/relationships/slideLayout" Target="../slideLayouts/slideLayout87.xml"/><Relationship Id="rId27" Type="http://schemas.openxmlformats.org/officeDocument/2006/relationships/slideLayout" Target="../slideLayouts/slideLayout92.xml"/><Relationship Id="rId30" Type="http://schemas.openxmlformats.org/officeDocument/2006/relationships/slideLayout" Target="../slideLayouts/slideLayout95.xml"/><Relationship Id="rId35" Type="http://schemas.openxmlformats.org/officeDocument/2006/relationships/theme" Target="../theme/theme5.xml"/><Relationship Id="rId8" Type="http://schemas.openxmlformats.org/officeDocument/2006/relationships/slideLayout" Target="../slideLayouts/slideLayout73.xml"/></Relationships>
</file>

<file path=ppt/slideMasters/_rels/slideMaster6.xml.rels><?xml version="1.0" encoding="UTF-8" standalone="yes"?>
<Relationships xmlns="http://schemas.openxmlformats.org/package/2006/relationships"><Relationship Id="rId13" Type="http://schemas.openxmlformats.org/officeDocument/2006/relationships/slideLayout" Target="../slideLayouts/slideLayout112.xml"/><Relationship Id="rId18" Type="http://schemas.openxmlformats.org/officeDocument/2006/relationships/slideLayout" Target="../slideLayouts/slideLayout117.xml"/><Relationship Id="rId26" Type="http://schemas.openxmlformats.org/officeDocument/2006/relationships/tags" Target="../tags/tag4.xml"/><Relationship Id="rId39" Type="http://schemas.openxmlformats.org/officeDocument/2006/relationships/tags" Target="../tags/tag17.xml"/><Relationship Id="rId21" Type="http://schemas.openxmlformats.org/officeDocument/2006/relationships/theme" Target="../theme/theme6.xml"/><Relationship Id="rId34" Type="http://schemas.openxmlformats.org/officeDocument/2006/relationships/tags" Target="../tags/tag12.xml"/><Relationship Id="rId42" Type="http://schemas.openxmlformats.org/officeDocument/2006/relationships/tags" Target="../tags/tag20.xml"/><Relationship Id="rId7" Type="http://schemas.openxmlformats.org/officeDocument/2006/relationships/slideLayout" Target="../slideLayouts/slideLayout106.xml"/><Relationship Id="rId2" Type="http://schemas.openxmlformats.org/officeDocument/2006/relationships/slideLayout" Target="../slideLayouts/slideLayout101.xml"/><Relationship Id="rId16" Type="http://schemas.openxmlformats.org/officeDocument/2006/relationships/slideLayout" Target="../slideLayouts/slideLayout115.xml"/><Relationship Id="rId29" Type="http://schemas.openxmlformats.org/officeDocument/2006/relationships/tags" Target="../tags/tag7.xml"/><Relationship Id="rId1" Type="http://schemas.openxmlformats.org/officeDocument/2006/relationships/slideLayout" Target="../slideLayouts/slideLayout100.xml"/><Relationship Id="rId6" Type="http://schemas.openxmlformats.org/officeDocument/2006/relationships/slideLayout" Target="../slideLayouts/slideLayout105.xml"/><Relationship Id="rId11" Type="http://schemas.openxmlformats.org/officeDocument/2006/relationships/slideLayout" Target="../slideLayouts/slideLayout110.xml"/><Relationship Id="rId24" Type="http://schemas.openxmlformats.org/officeDocument/2006/relationships/tags" Target="../tags/tag2.xml"/><Relationship Id="rId32" Type="http://schemas.openxmlformats.org/officeDocument/2006/relationships/tags" Target="../tags/tag10.xml"/><Relationship Id="rId37" Type="http://schemas.openxmlformats.org/officeDocument/2006/relationships/tags" Target="../tags/tag15.xml"/><Relationship Id="rId40" Type="http://schemas.openxmlformats.org/officeDocument/2006/relationships/tags" Target="../tags/tag18.xml"/><Relationship Id="rId45" Type="http://schemas.openxmlformats.org/officeDocument/2006/relationships/image" Target="../media/image5.png"/><Relationship Id="rId5" Type="http://schemas.openxmlformats.org/officeDocument/2006/relationships/slideLayout" Target="../slideLayouts/slideLayout104.xml"/><Relationship Id="rId15" Type="http://schemas.openxmlformats.org/officeDocument/2006/relationships/slideLayout" Target="../slideLayouts/slideLayout114.xml"/><Relationship Id="rId23" Type="http://schemas.openxmlformats.org/officeDocument/2006/relationships/tags" Target="../tags/tag1.xml"/><Relationship Id="rId28" Type="http://schemas.openxmlformats.org/officeDocument/2006/relationships/tags" Target="../tags/tag6.xml"/><Relationship Id="rId36" Type="http://schemas.openxmlformats.org/officeDocument/2006/relationships/tags" Target="../tags/tag14.xml"/><Relationship Id="rId10" Type="http://schemas.openxmlformats.org/officeDocument/2006/relationships/slideLayout" Target="../slideLayouts/slideLayout109.xml"/><Relationship Id="rId19" Type="http://schemas.openxmlformats.org/officeDocument/2006/relationships/slideLayout" Target="../slideLayouts/slideLayout118.xml"/><Relationship Id="rId31" Type="http://schemas.openxmlformats.org/officeDocument/2006/relationships/tags" Target="../tags/tag9.xml"/><Relationship Id="rId44" Type="http://schemas.openxmlformats.org/officeDocument/2006/relationships/image" Target="../media/image4.emf"/><Relationship Id="rId4" Type="http://schemas.openxmlformats.org/officeDocument/2006/relationships/slideLayout" Target="../slideLayouts/slideLayout103.xml"/><Relationship Id="rId9" Type="http://schemas.openxmlformats.org/officeDocument/2006/relationships/slideLayout" Target="../slideLayouts/slideLayout108.xml"/><Relationship Id="rId14" Type="http://schemas.openxmlformats.org/officeDocument/2006/relationships/slideLayout" Target="../slideLayouts/slideLayout113.xml"/><Relationship Id="rId22" Type="http://schemas.openxmlformats.org/officeDocument/2006/relationships/vmlDrawing" Target="../drawings/vmlDrawing1.vml"/><Relationship Id="rId27" Type="http://schemas.openxmlformats.org/officeDocument/2006/relationships/tags" Target="../tags/tag5.xml"/><Relationship Id="rId30" Type="http://schemas.openxmlformats.org/officeDocument/2006/relationships/tags" Target="../tags/tag8.xml"/><Relationship Id="rId35" Type="http://schemas.openxmlformats.org/officeDocument/2006/relationships/tags" Target="../tags/tag13.xml"/><Relationship Id="rId43" Type="http://schemas.openxmlformats.org/officeDocument/2006/relationships/oleObject" Target="../embeddings/oleObject1.bin"/><Relationship Id="rId8" Type="http://schemas.openxmlformats.org/officeDocument/2006/relationships/slideLayout" Target="../slideLayouts/slideLayout107.xml"/><Relationship Id="rId3" Type="http://schemas.openxmlformats.org/officeDocument/2006/relationships/slideLayout" Target="../slideLayouts/slideLayout102.xml"/><Relationship Id="rId12" Type="http://schemas.openxmlformats.org/officeDocument/2006/relationships/slideLayout" Target="../slideLayouts/slideLayout111.xml"/><Relationship Id="rId17" Type="http://schemas.openxmlformats.org/officeDocument/2006/relationships/slideLayout" Target="../slideLayouts/slideLayout116.xml"/><Relationship Id="rId25" Type="http://schemas.openxmlformats.org/officeDocument/2006/relationships/tags" Target="../tags/tag3.xml"/><Relationship Id="rId33" Type="http://schemas.openxmlformats.org/officeDocument/2006/relationships/tags" Target="../tags/tag11.xml"/><Relationship Id="rId38" Type="http://schemas.openxmlformats.org/officeDocument/2006/relationships/tags" Target="../tags/tag16.xml"/><Relationship Id="rId20" Type="http://schemas.openxmlformats.org/officeDocument/2006/relationships/slideLayout" Target="../slideLayouts/slideLayout119.xml"/><Relationship Id="rId41" Type="http://schemas.openxmlformats.org/officeDocument/2006/relationships/tags" Target="../tags/tag19.xml"/></Relationships>
</file>

<file path=ppt/slideMasters/_rels/slideMaster7.xml.rels><?xml version="1.0" encoding="UTF-8" standalone="yes"?>
<Relationships xmlns="http://schemas.openxmlformats.org/package/2006/relationships"><Relationship Id="rId13" Type="http://schemas.openxmlformats.org/officeDocument/2006/relationships/slideLayout" Target="../slideLayouts/slideLayout132.xml"/><Relationship Id="rId18" Type="http://schemas.openxmlformats.org/officeDocument/2006/relationships/slideLayout" Target="../slideLayouts/slideLayout137.xml"/><Relationship Id="rId26" Type="http://schemas.openxmlformats.org/officeDocument/2006/relationships/tags" Target="../tags/tag123.xml"/><Relationship Id="rId39" Type="http://schemas.openxmlformats.org/officeDocument/2006/relationships/tags" Target="../tags/tag136.xml"/><Relationship Id="rId21" Type="http://schemas.openxmlformats.org/officeDocument/2006/relationships/slideLayout" Target="../slideLayouts/slideLayout140.xml"/><Relationship Id="rId34" Type="http://schemas.openxmlformats.org/officeDocument/2006/relationships/tags" Target="../tags/tag131.xml"/><Relationship Id="rId42" Type="http://schemas.openxmlformats.org/officeDocument/2006/relationships/tags" Target="../tags/tag139.xml"/><Relationship Id="rId47" Type="http://schemas.openxmlformats.org/officeDocument/2006/relationships/image" Target="../media/image5.png"/><Relationship Id="rId7" Type="http://schemas.openxmlformats.org/officeDocument/2006/relationships/slideLayout" Target="../slideLayouts/slideLayout126.xml"/><Relationship Id="rId2" Type="http://schemas.openxmlformats.org/officeDocument/2006/relationships/slideLayout" Target="../slideLayouts/slideLayout121.xml"/><Relationship Id="rId16" Type="http://schemas.openxmlformats.org/officeDocument/2006/relationships/slideLayout" Target="../slideLayouts/slideLayout135.xml"/><Relationship Id="rId29" Type="http://schemas.openxmlformats.org/officeDocument/2006/relationships/tags" Target="../tags/tag126.xml"/><Relationship Id="rId1" Type="http://schemas.openxmlformats.org/officeDocument/2006/relationships/slideLayout" Target="../slideLayouts/slideLayout120.xml"/><Relationship Id="rId6" Type="http://schemas.openxmlformats.org/officeDocument/2006/relationships/slideLayout" Target="../slideLayouts/slideLayout125.xml"/><Relationship Id="rId11" Type="http://schemas.openxmlformats.org/officeDocument/2006/relationships/slideLayout" Target="../slideLayouts/slideLayout130.xml"/><Relationship Id="rId24" Type="http://schemas.openxmlformats.org/officeDocument/2006/relationships/vmlDrawing" Target="../drawings/vmlDrawing21.vml"/><Relationship Id="rId32" Type="http://schemas.openxmlformats.org/officeDocument/2006/relationships/tags" Target="../tags/tag129.xml"/><Relationship Id="rId37" Type="http://schemas.openxmlformats.org/officeDocument/2006/relationships/tags" Target="../tags/tag134.xml"/><Relationship Id="rId40" Type="http://schemas.openxmlformats.org/officeDocument/2006/relationships/tags" Target="../tags/tag137.xml"/><Relationship Id="rId45" Type="http://schemas.openxmlformats.org/officeDocument/2006/relationships/oleObject" Target="../embeddings/oleObject21.bin"/><Relationship Id="rId5" Type="http://schemas.openxmlformats.org/officeDocument/2006/relationships/slideLayout" Target="../slideLayouts/slideLayout124.xml"/><Relationship Id="rId15" Type="http://schemas.openxmlformats.org/officeDocument/2006/relationships/slideLayout" Target="../slideLayouts/slideLayout134.xml"/><Relationship Id="rId23" Type="http://schemas.openxmlformats.org/officeDocument/2006/relationships/theme" Target="../theme/theme7.xml"/><Relationship Id="rId28" Type="http://schemas.openxmlformats.org/officeDocument/2006/relationships/tags" Target="../tags/tag125.xml"/><Relationship Id="rId36" Type="http://schemas.openxmlformats.org/officeDocument/2006/relationships/tags" Target="../tags/tag133.xml"/><Relationship Id="rId10" Type="http://schemas.openxmlformats.org/officeDocument/2006/relationships/slideLayout" Target="../slideLayouts/slideLayout129.xml"/><Relationship Id="rId19" Type="http://schemas.openxmlformats.org/officeDocument/2006/relationships/slideLayout" Target="../slideLayouts/slideLayout138.xml"/><Relationship Id="rId31" Type="http://schemas.openxmlformats.org/officeDocument/2006/relationships/tags" Target="../tags/tag128.xml"/><Relationship Id="rId44" Type="http://schemas.openxmlformats.org/officeDocument/2006/relationships/tags" Target="../tags/tag141.xml"/><Relationship Id="rId4" Type="http://schemas.openxmlformats.org/officeDocument/2006/relationships/slideLayout" Target="../slideLayouts/slideLayout123.xml"/><Relationship Id="rId9" Type="http://schemas.openxmlformats.org/officeDocument/2006/relationships/slideLayout" Target="../slideLayouts/slideLayout128.xml"/><Relationship Id="rId14" Type="http://schemas.openxmlformats.org/officeDocument/2006/relationships/slideLayout" Target="../slideLayouts/slideLayout133.xml"/><Relationship Id="rId22" Type="http://schemas.openxmlformats.org/officeDocument/2006/relationships/slideLayout" Target="../slideLayouts/slideLayout141.xml"/><Relationship Id="rId27" Type="http://schemas.openxmlformats.org/officeDocument/2006/relationships/tags" Target="../tags/tag124.xml"/><Relationship Id="rId30" Type="http://schemas.openxmlformats.org/officeDocument/2006/relationships/tags" Target="../tags/tag127.xml"/><Relationship Id="rId35" Type="http://schemas.openxmlformats.org/officeDocument/2006/relationships/tags" Target="../tags/tag132.xml"/><Relationship Id="rId43" Type="http://schemas.openxmlformats.org/officeDocument/2006/relationships/tags" Target="../tags/tag140.xml"/><Relationship Id="rId8" Type="http://schemas.openxmlformats.org/officeDocument/2006/relationships/slideLayout" Target="../slideLayouts/slideLayout127.xml"/><Relationship Id="rId3" Type="http://schemas.openxmlformats.org/officeDocument/2006/relationships/slideLayout" Target="../slideLayouts/slideLayout122.xml"/><Relationship Id="rId12" Type="http://schemas.openxmlformats.org/officeDocument/2006/relationships/slideLayout" Target="../slideLayouts/slideLayout131.xml"/><Relationship Id="rId17" Type="http://schemas.openxmlformats.org/officeDocument/2006/relationships/slideLayout" Target="../slideLayouts/slideLayout136.xml"/><Relationship Id="rId25" Type="http://schemas.openxmlformats.org/officeDocument/2006/relationships/tags" Target="../tags/tag122.xml"/><Relationship Id="rId33" Type="http://schemas.openxmlformats.org/officeDocument/2006/relationships/tags" Target="../tags/tag130.xml"/><Relationship Id="rId38" Type="http://schemas.openxmlformats.org/officeDocument/2006/relationships/tags" Target="../tags/tag135.xml"/><Relationship Id="rId46" Type="http://schemas.openxmlformats.org/officeDocument/2006/relationships/image" Target="../media/image4.emf"/><Relationship Id="rId20" Type="http://schemas.openxmlformats.org/officeDocument/2006/relationships/slideLayout" Target="../slideLayouts/slideLayout139.xml"/><Relationship Id="rId41" Type="http://schemas.openxmlformats.org/officeDocument/2006/relationships/tags" Target="../tags/tag13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Title Placeholder 1">
            <a:extLst>
              <a:ext uri="{FF2B5EF4-FFF2-40B4-BE49-F238E27FC236}">
                <a16:creationId xmlns:a16="http://schemas.microsoft.com/office/drawing/2014/main" id="{3839FEB1-7586-010A-459C-546DA753144A}"/>
              </a:ext>
            </a:extLst>
          </p:cNvPr>
          <p:cNvSpPr>
            <a:spLocks noGrp="1"/>
          </p:cNvSpPr>
          <p:nvPr>
            <p:ph type="title"/>
          </p:nvPr>
        </p:nvSpPr>
        <p:spPr bwMode="auto">
          <a:xfrm>
            <a:off x="838200" y="365125"/>
            <a:ext cx="10515600" cy="1325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a:t>Click to edit Master title style</a:t>
            </a:r>
          </a:p>
        </p:txBody>
      </p:sp>
      <p:sp>
        <p:nvSpPr>
          <p:cNvPr id="1027" name="Text Placeholder 2">
            <a:extLst>
              <a:ext uri="{FF2B5EF4-FFF2-40B4-BE49-F238E27FC236}">
                <a16:creationId xmlns:a16="http://schemas.microsoft.com/office/drawing/2014/main" id="{38F6B2A6-4F61-9BE0-138C-520B795992D7}"/>
              </a:ext>
            </a:extLst>
          </p:cNvPr>
          <p:cNvSpPr>
            <a:spLocks noGrp="1"/>
          </p:cNvSpPr>
          <p:nvPr>
            <p:ph type="body" idx="1"/>
          </p:nvPr>
        </p:nvSpPr>
        <p:spPr bwMode="auto">
          <a:xfrm>
            <a:off x="838200" y="1825625"/>
            <a:ext cx="10515600" cy="4351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4" name="Date Placeholder 3">
            <a:extLst>
              <a:ext uri="{FF2B5EF4-FFF2-40B4-BE49-F238E27FC236}">
                <a16:creationId xmlns:a16="http://schemas.microsoft.com/office/drawing/2014/main" id="{EA02EB1A-8AAF-8C55-8B07-C9A5F2E4DAA2}"/>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eaLnBrk="1" fontAlgn="auto" hangingPunct="1">
              <a:spcBef>
                <a:spcPts val="0"/>
              </a:spcBef>
              <a:spcAft>
                <a:spcPts val="0"/>
              </a:spcAft>
              <a:defRPr sz="900" dirty="0">
                <a:solidFill>
                  <a:srgbClr val="214877">
                    <a:tint val="75000"/>
                  </a:srgbClr>
                </a:solidFill>
                <a:latin typeface="+mn-lt"/>
              </a:defRPr>
            </a:lvl1pPr>
          </a:lstStyle>
          <a:p>
            <a:pPr>
              <a:defRPr/>
            </a:pPr>
            <a:r>
              <a:rPr lang="en-US"/>
              <a:t>June 2</a:t>
            </a:r>
          </a:p>
          <a:p>
            <a:pPr>
              <a:defRPr/>
            </a:pPr>
            <a:r>
              <a:rPr lang="en-US"/>
              <a:t>, 2020</a:t>
            </a:r>
          </a:p>
        </p:txBody>
      </p:sp>
      <p:sp>
        <p:nvSpPr>
          <p:cNvPr id="5" name="Footer Placeholder 4">
            <a:extLst>
              <a:ext uri="{FF2B5EF4-FFF2-40B4-BE49-F238E27FC236}">
                <a16:creationId xmlns:a16="http://schemas.microsoft.com/office/drawing/2014/main" id="{397CFB2B-1840-F58C-E474-49FE255082B1}"/>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eaLnBrk="1" fontAlgn="auto" hangingPunct="1">
              <a:spcBef>
                <a:spcPts val="0"/>
              </a:spcBef>
              <a:spcAft>
                <a:spcPts val="0"/>
              </a:spcAft>
              <a:defRPr sz="900">
                <a:solidFill>
                  <a:srgbClr val="214877">
                    <a:tint val="75000"/>
                  </a:srgbClr>
                </a:solidFill>
                <a:latin typeface="+mn-lt"/>
              </a:defRPr>
            </a:lvl1pPr>
          </a:lstStyle>
          <a:p>
            <a:pPr>
              <a:defRPr/>
            </a:pPr>
            <a:r>
              <a:rPr lang="en-US"/>
              <a:t>FY 2022 Strategy Session  [Name of Campaign] Campaign</a:t>
            </a:r>
          </a:p>
        </p:txBody>
      </p:sp>
      <p:sp>
        <p:nvSpPr>
          <p:cNvPr id="6" name="Slide Number Placeholder 5">
            <a:extLst>
              <a:ext uri="{FF2B5EF4-FFF2-40B4-BE49-F238E27FC236}">
                <a16:creationId xmlns:a16="http://schemas.microsoft.com/office/drawing/2014/main" id="{6DBCAE05-B3C7-015A-2063-97C60BA97F26}"/>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eaLnBrk="1" fontAlgn="auto" hangingPunct="1">
              <a:spcBef>
                <a:spcPts val="0"/>
              </a:spcBef>
              <a:spcAft>
                <a:spcPts val="0"/>
              </a:spcAft>
              <a:defRPr sz="900">
                <a:solidFill>
                  <a:srgbClr val="214877">
                    <a:tint val="75000"/>
                  </a:srgbClr>
                </a:solidFill>
                <a:latin typeface="+mn-lt"/>
              </a:defRPr>
            </a:lvl1pPr>
          </a:lstStyle>
          <a:p>
            <a:pPr>
              <a:defRPr/>
            </a:pPr>
            <a:fld id="{FF0C1D3B-5F58-412B-91BB-3B3D44405507}" type="slidenum">
              <a:rPr lang="en-US"/>
              <a:pPr>
                <a:defRPr/>
              </a:pPr>
              <a:t>‹#›</a:t>
            </a:fld>
            <a:endParaRPr lang="en-US"/>
          </a:p>
        </p:txBody>
      </p:sp>
    </p:spTree>
  </p:cSld>
  <p:clrMap bg1="lt1" tx1="dk1" bg2="lt2" tx2="dk2" accent1="accent1" accent2="accent2" accent3="accent3" accent4="accent4" accent5="accent5" accent6="accent6" hlink="hlink" folHlink="folHlink"/>
  <p:sldLayoutIdLst>
    <p:sldLayoutId id="2147483724" r:id="rId1"/>
    <p:sldLayoutId id="2147483725" r:id="rId2"/>
    <p:sldLayoutId id="2147483726" r:id="rId3"/>
    <p:sldLayoutId id="2147483727" r:id="rId4"/>
    <p:sldLayoutId id="2147483728" r:id="rId5"/>
    <p:sldLayoutId id="2147483729" r:id="rId6"/>
    <p:sldLayoutId id="2147483730" r:id="rId7"/>
    <p:sldLayoutId id="2147483731" r:id="rId8"/>
    <p:sldLayoutId id="2147483732" r:id="rId9"/>
    <p:sldLayoutId id="2147483733" r:id="rId10"/>
    <p:sldLayoutId id="2147483734" r:id="rId11"/>
    <p:sldLayoutId id="2147483735" r:id="rId12"/>
    <p:sldLayoutId id="2147483736" r:id="rId13"/>
    <p:sldLayoutId id="2147483737" r:id="rId14"/>
  </p:sldLayoutIdLst>
  <p:hf hdr="0"/>
  <p:txStyles>
    <p:titleStyle>
      <a:lvl1pPr algn="l" rtl="0" eaLnBrk="0" fontAlgn="base" hangingPunct="0">
        <a:lnSpc>
          <a:spcPct val="90000"/>
        </a:lnSpc>
        <a:spcBef>
          <a:spcPct val="0"/>
        </a:spcBef>
        <a:spcAft>
          <a:spcPct val="0"/>
        </a:spcAft>
        <a:defRPr sz="3300" kern="1200">
          <a:solidFill>
            <a:schemeClr val="tx1"/>
          </a:solidFill>
          <a:latin typeface="+mj-lt"/>
          <a:ea typeface="+mj-ea"/>
          <a:cs typeface="+mj-cs"/>
        </a:defRPr>
      </a:lvl1pPr>
      <a:lvl2pPr algn="l" rtl="0" eaLnBrk="0" fontAlgn="base" hangingPunct="0">
        <a:lnSpc>
          <a:spcPct val="90000"/>
        </a:lnSpc>
        <a:spcBef>
          <a:spcPct val="0"/>
        </a:spcBef>
        <a:spcAft>
          <a:spcPct val="0"/>
        </a:spcAft>
        <a:defRPr sz="3300">
          <a:solidFill>
            <a:schemeClr val="tx1"/>
          </a:solidFill>
          <a:latin typeface="Franklin Gothic Demi Cond" panose="020B0706030402020204" pitchFamily="34" charset="0"/>
        </a:defRPr>
      </a:lvl2pPr>
      <a:lvl3pPr algn="l" rtl="0" eaLnBrk="0" fontAlgn="base" hangingPunct="0">
        <a:lnSpc>
          <a:spcPct val="90000"/>
        </a:lnSpc>
        <a:spcBef>
          <a:spcPct val="0"/>
        </a:spcBef>
        <a:spcAft>
          <a:spcPct val="0"/>
        </a:spcAft>
        <a:defRPr sz="3300">
          <a:solidFill>
            <a:schemeClr val="tx1"/>
          </a:solidFill>
          <a:latin typeface="Franklin Gothic Demi Cond" panose="020B0706030402020204" pitchFamily="34" charset="0"/>
        </a:defRPr>
      </a:lvl3pPr>
      <a:lvl4pPr algn="l" rtl="0" eaLnBrk="0" fontAlgn="base" hangingPunct="0">
        <a:lnSpc>
          <a:spcPct val="90000"/>
        </a:lnSpc>
        <a:spcBef>
          <a:spcPct val="0"/>
        </a:spcBef>
        <a:spcAft>
          <a:spcPct val="0"/>
        </a:spcAft>
        <a:defRPr sz="3300">
          <a:solidFill>
            <a:schemeClr val="tx1"/>
          </a:solidFill>
          <a:latin typeface="Franklin Gothic Demi Cond" panose="020B0706030402020204" pitchFamily="34" charset="0"/>
        </a:defRPr>
      </a:lvl4pPr>
      <a:lvl5pPr algn="l" rtl="0" eaLnBrk="0" fontAlgn="base" hangingPunct="0">
        <a:lnSpc>
          <a:spcPct val="90000"/>
        </a:lnSpc>
        <a:spcBef>
          <a:spcPct val="0"/>
        </a:spcBef>
        <a:spcAft>
          <a:spcPct val="0"/>
        </a:spcAft>
        <a:defRPr sz="3300">
          <a:solidFill>
            <a:schemeClr val="tx1"/>
          </a:solidFill>
          <a:latin typeface="Franklin Gothic Demi Cond" panose="020B0706030402020204" pitchFamily="34" charset="0"/>
        </a:defRPr>
      </a:lvl5pPr>
      <a:lvl6pPr marL="342900" algn="l" rtl="0" fontAlgn="base">
        <a:lnSpc>
          <a:spcPct val="90000"/>
        </a:lnSpc>
        <a:spcBef>
          <a:spcPct val="0"/>
        </a:spcBef>
        <a:spcAft>
          <a:spcPct val="0"/>
        </a:spcAft>
        <a:defRPr sz="3300">
          <a:solidFill>
            <a:schemeClr val="tx1"/>
          </a:solidFill>
          <a:latin typeface="Franklin Gothic Demi Cond" panose="020B0706030402020204" pitchFamily="34" charset="0"/>
        </a:defRPr>
      </a:lvl6pPr>
      <a:lvl7pPr marL="685800" algn="l" rtl="0" fontAlgn="base">
        <a:lnSpc>
          <a:spcPct val="90000"/>
        </a:lnSpc>
        <a:spcBef>
          <a:spcPct val="0"/>
        </a:spcBef>
        <a:spcAft>
          <a:spcPct val="0"/>
        </a:spcAft>
        <a:defRPr sz="3300">
          <a:solidFill>
            <a:schemeClr val="tx1"/>
          </a:solidFill>
          <a:latin typeface="Franklin Gothic Demi Cond" panose="020B0706030402020204" pitchFamily="34" charset="0"/>
        </a:defRPr>
      </a:lvl7pPr>
      <a:lvl8pPr marL="1028700" algn="l" rtl="0" fontAlgn="base">
        <a:lnSpc>
          <a:spcPct val="90000"/>
        </a:lnSpc>
        <a:spcBef>
          <a:spcPct val="0"/>
        </a:spcBef>
        <a:spcAft>
          <a:spcPct val="0"/>
        </a:spcAft>
        <a:defRPr sz="3300">
          <a:solidFill>
            <a:schemeClr val="tx1"/>
          </a:solidFill>
          <a:latin typeface="Franklin Gothic Demi Cond" panose="020B0706030402020204" pitchFamily="34" charset="0"/>
        </a:defRPr>
      </a:lvl8pPr>
      <a:lvl9pPr marL="1371600" algn="l" rtl="0" fontAlgn="base">
        <a:lnSpc>
          <a:spcPct val="90000"/>
        </a:lnSpc>
        <a:spcBef>
          <a:spcPct val="0"/>
        </a:spcBef>
        <a:spcAft>
          <a:spcPct val="0"/>
        </a:spcAft>
        <a:defRPr sz="3300">
          <a:solidFill>
            <a:schemeClr val="tx1"/>
          </a:solidFill>
          <a:latin typeface="Franklin Gothic Demi Cond" panose="020B0706030402020204" pitchFamily="34" charset="0"/>
        </a:defRPr>
      </a:lvl9pPr>
    </p:titleStyle>
    <p:bodyStyle>
      <a:lvl1pPr marL="171450" indent="-171450" algn="l" rtl="0" eaLnBrk="0" fontAlgn="base" hangingPunct="0">
        <a:lnSpc>
          <a:spcPct val="90000"/>
        </a:lnSpc>
        <a:spcBef>
          <a:spcPts val="750"/>
        </a:spcBef>
        <a:spcAft>
          <a:spcPct val="0"/>
        </a:spcAft>
        <a:buFont typeface="Arial" panose="020B0604020202020204" pitchFamily="34" charset="0"/>
        <a:buChar char="•"/>
        <a:defRPr sz="2100" kern="1200">
          <a:solidFill>
            <a:schemeClr val="tx1"/>
          </a:solidFill>
          <a:latin typeface="+mn-lt"/>
          <a:ea typeface="+mn-ea"/>
          <a:cs typeface="+mn-cs"/>
        </a:defRPr>
      </a:lvl1pPr>
      <a:lvl2pPr marL="514350" indent="-171450" algn="l" rtl="0" eaLnBrk="0" fontAlgn="base" hangingPunct="0">
        <a:lnSpc>
          <a:spcPct val="90000"/>
        </a:lnSpc>
        <a:spcBef>
          <a:spcPts val="375"/>
        </a:spcBef>
        <a:spcAft>
          <a:spcPct val="0"/>
        </a:spcAft>
        <a:buFont typeface="Arial" panose="020B0604020202020204" pitchFamily="34" charset="0"/>
        <a:buChar char="•"/>
        <a:defRPr kern="1200">
          <a:solidFill>
            <a:schemeClr val="tx1"/>
          </a:solidFill>
          <a:latin typeface="+mn-lt"/>
          <a:ea typeface="+mn-ea"/>
          <a:cs typeface="+mn-cs"/>
        </a:defRPr>
      </a:lvl2pPr>
      <a:lvl3pPr marL="857250" indent="-171450" algn="l" rtl="0" eaLnBrk="0" fontAlgn="base" hangingPunct="0">
        <a:lnSpc>
          <a:spcPct val="90000"/>
        </a:lnSpc>
        <a:spcBef>
          <a:spcPts val="375"/>
        </a:spcBef>
        <a:spcAft>
          <a:spcPct val="0"/>
        </a:spcAft>
        <a:buFont typeface="Arial" panose="020B0604020202020204" pitchFamily="34" charset="0"/>
        <a:buChar char="•"/>
        <a:defRPr sz="1500" kern="1200">
          <a:solidFill>
            <a:schemeClr val="tx1"/>
          </a:solidFill>
          <a:latin typeface="+mn-lt"/>
          <a:ea typeface="+mn-ea"/>
          <a:cs typeface="+mn-cs"/>
        </a:defRPr>
      </a:lvl3pPr>
      <a:lvl4pPr marL="1200150" indent="-171450" algn="l" rtl="0" eaLnBrk="0" fontAlgn="base" hangingPunct="0">
        <a:lnSpc>
          <a:spcPct val="90000"/>
        </a:lnSpc>
        <a:spcBef>
          <a:spcPts val="375"/>
        </a:spcBef>
        <a:spcAft>
          <a:spcPct val="0"/>
        </a:spcAft>
        <a:buFont typeface="Arial" panose="020B0604020202020204" pitchFamily="34" charset="0"/>
        <a:buChar char="•"/>
        <a:defRPr kern="1200">
          <a:solidFill>
            <a:schemeClr val="tx1"/>
          </a:solidFill>
          <a:latin typeface="+mn-lt"/>
          <a:ea typeface="+mn-ea"/>
          <a:cs typeface="+mn-cs"/>
        </a:defRPr>
      </a:lvl4pPr>
      <a:lvl5pPr marL="1543050" indent="-171450" algn="l" rtl="0" eaLnBrk="0" fontAlgn="base" hangingPunct="0">
        <a:lnSpc>
          <a:spcPct val="90000"/>
        </a:lnSpc>
        <a:spcBef>
          <a:spcPts val="375"/>
        </a:spcBef>
        <a:spcAft>
          <a:spcPct val="0"/>
        </a:spcAft>
        <a:buFont typeface="Arial" panose="020B0604020202020204" pitchFamily="34" charset="0"/>
        <a:buChar char="•"/>
        <a:defRPr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050" name="Title Placeholder 1">
            <a:extLst>
              <a:ext uri="{FF2B5EF4-FFF2-40B4-BE49-F238E27FC236}">
                <a16:creationId xmlns:a16="http://schemas.microsoft.com/office/drawing/2014/main" id="{AA8FB26F-6C6B-36BE-4889-7246A501307B}"/>
              </a:ext>
            </a:extLst>
          </p:cNvPr>
          <p:cNvSpPr>
            <a:spLocks noGrp="1" noChangeArrowheads="1"/>
          </p:cNvSpPr>
          <p:nvPr>
            <p:ph type="title"/>
          </p:nvPr>
        </p:nvSpPr>
        <p:spPr bwMode="auto">
          <a:xfrm>
            <a:off x="838200" y="365125"/>
            <a:ext cx="10515600" cy="1325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a:t>Click to edit Master title style</a:t>
            </a:r>
          </a:p>
        </p:txBody>
      </p:sp>
      <p:sp>
        <p:nvSpPr>
          <p:cNvPr id="2051" name="Text Placeholder 2">
            <a:extLst>
              <a:ext uri="{FF2B5EF4-FFF2-40B4-BE49-F238E27FC236}">
                <a16:creationId xmlns:a16="http://schemas.microsoft.com/office/drawing/2014/main" id="{2AE6B444-A6B5-E364-F38E-B5214665F97F}"/>
              </a:ext>
            </a:extLst>
          </p:cNvPr>
          <p:cNvSpPr>
            <a:spLocks noGrp="1" noChangeArrowheads="1"/>
          </p:cNvSpPr>
          <p:nvPr>
            <p:ph type="body" idx="1"/>
          </p:nvPr>
        </p:nvSpPr>
        <p:spPr bwMode="auto">
          <a:xfrm>
            <a:off x="838200" y="1825625"/>
            <a:ext cx="10515600" cy="4351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4" name="Date Placeholder 3">
            <a:extLst>
              <a:ext uri="{FF2B5EF4-FFF2-40B4-BE49-F238E27FC236}">
                <a16:creationId xmlns:a16="http://schemas.microsoft.com/office/drawing/2014/main" id="{E40DE707-F2B5-AF51-4AC6-A4CEE35C41B6}"/>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eaLnBrk="1" fontAlgn="auto" hangingPunct="1">
              <a:spcBef>
                <a:spcPts val="0"/>
              </a:spcBef>
              <a:spcAft>
                <a:spcPts val="0"/>
              </a:spcAft>
              <a:defRPr sz="1200">
                <a:solidFill>
                  <a:srgbClr val="214877">
                    <a:tint val="75000"/>
                  </a:srgbClr>
                </a:solidFill>
                <a:latin typeface="+mn-lt"/>
              </a:defRPr>
            </a:lvl1pPr>
          </a:lstStyle>
          <a:p>
            <a:pPr>
              <a:defRPr/>
            </a:pPr>
            <a:r>
              <a:rPr lang="en-US"/>
              <a:t>May 5 and 6, 2020</a:t>
            </a:r>
          </a:p>
        </p:txBody>
      </p:sp>
      <p:sp>
        <p:nvSpPr>
          <p:cNvPr id="5" name="Footer Placeholder 4">
            <a:extLst>
              <a:ext uri="{FF2B5EF4-FFF2-40B4-BE49-F238E27FC236}">
                <a16:creationId xmlns:a16="http://schemas.microsoft.com/office/drawing/2014/main" id="{879511A4-2D03-C958-800C-9288C2050A89}"/>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eaLnBrk="1" fontAlgn="auto" hangingPunct="1">
              <a:spcBef>
                <a:spcPts val="0"/>
              </a:spcBef>
              <a:spcAft>
                <a:spcPts val="0"/>
              </a:spcAft>
              <a:defRPr sz="1200">
                <a:solidFill>
                  <a:srgbClr val="214877">
                    <a:tint val="75000"/>
                  </a:srgbClr>
                </a:solidFill>
                <a:latin typeface="+mn-lt"/>
              </a:defRPr>
            </a:lvl1pPr>
          </a:lstStyle>
          <a:p>
            <a:pPr>
              <a:defRPr/>
            </a:pPr>
            <a:r>
              <a:rPr lang="en-US"/>
              <a:t>FY 2022 Strategy Session  [Name of Campaign] Campaign</a:t>
            </a:r>
          </a:p>
        </p:txBody>
      </p:sp>
      <p:sp>
        <p:nvSpPr>
          <p:cNvPr id="6" name="Slide Number Placeholder 5">
            <a:extLst>
              <a:ext uri="{FF2B5EF4-FFF2-40B4-BE49-F238E27FC236}">
                <a16:creationId xmlns:a16="http://schemas.microsoft.com/office/drawing/2014/main" id="{C0C9BAA0-3D47-266B-ADA0-86F5AB5C9F91}"/>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eaLnBrk="1" fontAlgn="auto" hangingPunct="1">
              <a:spcBef>
                <a:spcPts val="0"/>
              </a:spcBef>
              <a:spcAft>
                <a:spcPts val="0"/>
              </a:spcAft>
              <a:defRPr sz="1200" smtClean="0">
                <a:solidFill>
                  <a:srgbClr val="214877">
                    <a:tint val="75000"/>
                  </a:srgbClr>
                </a:solidFill>
                <a:latin typeface="+mn-lt"/>
              </a:defRPr>
            </a:lvl1pPr>
          </a:lstStyle>
          <a:p>
            <a:pPr>
              <a:defRPr/>
            </a:pPr>
            <a:fld id="{6946F711-951E-4FD3-913C-917EA96D26C9}" type="slidenum">
              <a:rPr lang="en-US"/>
              <a:pPr>
                <a:defRPr/>
              </a:pPr>
              <a:t>‹#›</a:t>
            </a:fld>
            <a:endParaRPr lang="en-US"/>
          </a:p>
        </p:txBody>
      </p:sp>
    </p:spTree>
  </p:cSld>
  <p:clrMap bg1="lt1" tx1="dk1" bg2="lt2" tx2="dk2" accent1="accent1" accent2="accent2" accent3="accent3" accent4="accent4" accent5="accent5" accent6="accent6" hlink="hlink" folHlink="folHlink"/>
  <p:sldLayoutIdLst>
    <p:sldLayoutId id="2147483738" r:id="rId1"/>
    <p:sldLayoutId id="2147483739" r:id="rId2"/>
    <p:sldLayoutId id="2147483715" r:id="rId3"/>
    <p:sldLayoutId id="2147483716" r:id="rId4"/>
    <p:sldLayoutId id="2147483717" r:id="rId5"/>
    <p:sldLayoutId id="2147483718" r:id="rId6"/>
    <p:sldLayoutId id="2147483719" r:id="rId7"/>
    <p:sldLayoutId id="2147483720" r:id="rId8"/>
    <p:sldLayoutId id="2147483721" r:id="rId9"/>
    <p:sldLayoutId id="2147483722" r:id="rId10"/>
    <p:sldLayoutId id="2147483723" r:id="rId11"/>
  </p:sldLayoutIdLst>
  <p:hf hdr="0"/>
  <p:txStyles>
    <p:titleStyle>
      <a:lvl1pPr algn="l" rtl="0" fontAlgn="base">
        <a:lnSpc>
          <a:spcPct val="90000"/>
        </a:lnSpc>
        <a:spcBef>
          <a:spcPct val="0"/>
        </a:spcBef>
        <a:spcAft>
          <a:spcPct val="0"/>
        </a:spcAft>
        <a:defRPr sz="4400" kern="1200">
          <a:solidFill>
            <a:schemeClr val="tx1"/>
          </a:solidFill>
          <a:latin typeface="+mj-lt"/>
          <a:ea typeface="+mj-ea"/>
          <a:cs typeface="+mj-cs"/>
        </a:defRPr>
      </a:lvl1pPr>
      <a:lvl2pPr algn="l" rtl="0" fontAlgn="base">
        <a:lnSpc>
          <a:spcPct val="90000"/>
        </a:lnSpc>
        <a:spcBef>
          <a:spcPct val="0"/>
        </a:spcBef>
        <a:spcAft>
          <a:spcPct val="0"/>
        </a:spcAft>
        <a:defRPr sz="4400">
          <a:solidFill>
            <a:schemeClr val="tx1"/>
          </a:solidFill>
          <a:latin typeface="Calibri Light" panose="020F0302020204030204" pitchFamily="34" charset="0"/>
        </a:defRPr>
      </a:lvl2pPr>
      <a:lvl3pPr algn="l" rtl="0" fontAlgn="base">
        <a:lnSpc>
          <a:spcPct val="90000"/>
        </a:lnSpc>
        <a:spcBef>
          <a:spcPct val="0"/>
        </a:spcBef>
        <a:spcAft>
          <a:spcPct val="0"/>
        </a:spcAft>
        <a:defRPr sz="4400">
          <a:solidFill>
            <a:schemeClr val="tx1"/>
          </a:solidFill>
          <a:latin typeface="Calibri Light" panose="020F0302020204030204" pitchFamily="34" charset="0"/>
        </a:defRPr>
      </a:lvl3pPr>
      <a:lvl4pPr algn="l" rtl="0" fontAlgn="base">
        <a:lnSpc>
          <a:spcPct val="90000"/>
        </a:lnSpc>
        <a:spcBef>
          <a:spcPct val="0"/>
        </a:spcBef>
        <a:spcAft>
          <a:spcPct val="0"/>
        </a:spcAft>
        <a:defRPr sz="4400">
          <a:solidFill>
            <a:schemeClr val="tx1"/>
          </a:solidFill>
          <a:latin typeface="Calibri Light" panose="020F0302020204030204" pitchFamily="34" charset="0"/>
        </a:defRPr>
      </a:lvl4pPr>
      <a:lvl5pPr algn="l" rtl="0" fontAlgn="base">
        <a:lnSpc>
          <a:spcPct val="90000"/>
        </a:lnSpc>
        <a:spcBef>
          <a:spcPct val="0"/>
        </a:spcBef>
        <a:spcAft>
          <a:spcPct val="0"/>
        </a:spcAft>
        <a:defRPr sz="4400">
          <a:solidFill>
            <a:schemeClr val="tx1"/>
          </a:solidFill>
          <a:latin typeface="Calibri Light" panose="020F0302020204030204" pitchFamily="34" charset="0"/>
        </a:defRPr>
      </a:lvl5pPr>
      <a:lvl6pPr marL="457200" algn="l" rtl="0" fontAlgn="base">
        <a:lnSpc>
          <a:spcPct val="90000"/>
        </a:lnSpc>
        <a:spcBef>
          <a:spcPct val="0"/>
        </a:spcBef>
        <a:spcAft>
          <a:spcPct val="0"/>
        </a:spcAft>
        <a:defRPr sz="4400">
          <a:solidFill>
            <a:schemeClr val="tx1"/>
          </a:solidFill>
          <a:latin typeface="Calibri Light" panose="020F0302020204030204" pitchFamily="34" charset="0"/>
        </a:defRPr>
      </a:lvl6pPr>
      <a:lvl7pPr marL="914400" algn="l" rtl="0" fontAlgn="base">
        <a:lnSpc>
          <a:spcPct val="90000"/>
        </a:lnSpc>
        <a:spcBef>
          <a:spcPct val="0"/>
        </a:spcBef>
        <a:spcAft>
          <a:spcPct val="0"/>
        </a:spcAft>
        <a:defRPr sz="4400">
          <a:solidFill>
            <a:schemeClr val="tx1"/>
          </a:solidFill>
          <a:latin typeface="Calibri Light" panose="020F0302020204030204" pitchFamily="34" charset="0"/>
        </a:defRPr>
      </a:lvl7pPr>
      <a:lvl8pPr marL="1371600" algn="l" rtl="0" fontAlgn="base">
        <a:lnSpc>
          <a:spcPct val="90000"/>
        </a:lnSpc>
        <a:spcBef>
          <a:spcPct val="0"/>
        </a:spcBef>
        <a:spcAft>
          <a:spcPct val="0"/>
        </a:spcAft>
        <a:defRPr sz="4400">
          <a:solidFill>
            <a:schemeClr val="tx1"/>
          </a:solidFill>
          <a:latin typeface="Calibri Light" panose="020F0302020204030204" pitchFamily="34" charset="0"/>
        </a:defRPr>
      </a:lvl8pPr>
      <a:lvl9pPr marL="1828800" algn="l" rtl="0" fontAlgn="base">
        <a:lnSpc>
          <a:spcPct val="90000"/>
        </a:lnSpc>
        <a:spcBef>
          <a:spcPct val="0"/>
        </a:spcBef>
        <a:spcAft>
          <a:spcPct val="0"/>
        </a:spcAft>
        <a:defRPr sz="4400">
          <a:solidFill>
            <a:schemeClr val="tx1"/>
          </a:solidFill>
          <a:latin typeface="Calibri Light" panose="020F0302020204030204" pitchFamily="34" charset="0"/>
        </a:defRPr>
      </a:lvl9pPr>
    </p:titleStyle>
    <p:bodyStyle>
      <a:lvl1pPr marL="228600" indent="-228600" algn="l" rtl="0" fontAlgn="base">
        <a:lnSpc>
          <a:spcPct val="90000"/>
        </a:lnSpc>
        <a:spcBef>
          <a:spcPts val="1000"/>
        </a:spcBef>
        <a:spcAft>
          <a:spcPct val="0"/>
        </a:spcAft>
        <a:buFont typeface="Arial" panose="020B0604020202020204" pitchFamily="34" charset="0"/>
        <a:buChar char="•"/>
        <a:defRPr sz="2800" kern="1200">
          <a:solidFill>
            <a:schemeClr val="tx1"/>
          </a:solidFill>
          <a:latin typeface="+mn-lt"/>
          <a:ea typeface="+mn-ea"/>
          <a:cs typeface="+mn-cs"/>
        </a:defRPr>
      </a:lvl1pPr>
      <a:lvl2pPr marL="685800" indent="-228600" algn="l" rtl="0" fontAlgn="base">
        <a:lnSpc>
          <a:spcPct val="90000"/>
        </a:lnSpc>
        <a:spcBef>
          <a:spcPts val="500"/>
        </a:spcBef>
        <a:spcAft>
          <a:spcPct val="0"/>
        </a:spcAft>
        <a:buFont typeface="Arial" panose="020B0604020202020204" pitchFamily="34" charset="0"/>
        <a:buChar char="•"/>
        <a:defRPr sz="2400" kern="1200">
          <a:solidFill>
            <a:schemeClr val="tx1"/>
          </a:solidFill>
          <a:latin typeface="+mn-lt"/>
          <a:ea typeface="+mn-ea"/>
          <a:cs typeface="+mn-cs"/>
        </a:defRPr>
      </a:lvl2pPr>
      <a:lvl3pPr marL="1143000" indent="-228600" algn="l" rtl="0" fontAlgn="base">
        <a:lnSpc>
          <a:spcPct val="90000"/>
        </a:lnSpc>
        <a:spcBef>
          <a:spcPts val="500"/>
        </a:spcBef>
        <a:spcAft>
          <a:spcPct val="0"/>
        </a:spcAft>
        <a:buFont typeface="Arial" panose="020B0604020202020204" pitchFamily="34" charset="0"/>
        <a:buChar char="•"/>
        <a:defRPr sz="2000" kern="1200">
          <a:solidFill>
            <a:schemeClr val="tx1"/>
          </a:solidFill>
          <a:latin typeface="+mn-lt"/>
          <a:ea typeface="+mn-ea"/>
          <a:cs typeface="+mn-cs"/>
        </a:defRPr>
      </a:lvl3pPr>
      <a:lvl4pPr marL="1600200" indent="-228600" algn="l" rtl="0" fontAlgn="base">
        <a:lnSpc>
          <a:spcPct val="90000"/>
        </a:lnSpc>
        <a:spcBef>
          <a:spcPts val="500"/>
        </a:spcBef>
        <a:spcAft>
          <a:spcPct val="0"/>
        </a:spcAft>
        <a:buFont typeface="Arial" panose="020B0604020202020204" pitchFamily="34" charset="0"/>
        <a:buChar char="•"/>
        <a:defRPr kern="1200">
          <a:solidFill>
            <a:schemeClr val="tx1"/>
          </a:solidFill>
          <a:latin typeface="+mn-lt"/>
          <a:ea typeface="+mn-ea"/>
          <a:cs typeface="+mn-cs"/>
        </a:defRPr>
      </a:lvl4pPr>
      <a:lvl5pPr marL="2057400" indent="-228600" algn="l" rtl="0" fontAlgn="base">
        <a:lnSpc>
          <a:spcPct val="90000"/>
        </a:lnSpc>
        <a:spcBef>
          <a:spcPts val="500"/>
        </a:spcBef>
        <a:spcAft>
          <a:spcPct val="0"/>
        </a:spcAft>
        <a:buFont typeface="Arial" panose="020B0604020202020204" pitchFamily="34" charset="0"/>
        <a:buChar char="•"/>
        <a:defRPr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07460959"/>
      </p:ext>
    </p:extLst>
  </p:cSld>
  <p:clrMap bg1="lt1" tx1="dk1" bg2="lt2" tx2="dk2" accent1="accent1" accent2="accent2" accent3="accent3" accent4="accent4" accent5="accent5" accent6="accent6" hlink="hlink" folHlink="folHlink"/>
  <p:sldLayoutIdLst>
    <p:sldLayoutId id="2147483774" r:id="rId1"/>
    <p:sldLayoutId id="2147483775" r:id="rId2"/>
    <p:sldLayoutId id="2147483776" r:id="rId3"/>
    <p:sldLayoutId id="2147483777" r:id="rId4"/>
    <p:sldLayoutId id="2147483778" r:id="rId5"/>
    <p:sldLayoutId id="2147483779" r:id="rId6"/>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3" pos="288">
          <p15:clr>
            <a:srgbClr val="F26B43"/>
          </p15:clr>
        </p15:guide>
        <p15:guide id="4" orient="horz" pos="288">
          <p15:clr>
            <a:srgbClr val="F26B43"/>
          </p15:clr>
        </p15:guide>
        <p15:guide id="5" orient="horz" pos="4032">
          <p15:clr>
            <a:srgbClr val="F26B43"/>
          </p15:clr>
        </p15:guide>
        <p15:guide id="6" pos="7392">
          <p15:clr>
            <a:srgbClr val="F26B43"/>
          </p15:clr>
        </p15:guide>
        <p15:guide id="7" orient="horz" pos="552">
          <p15:clr>
            <a:srgbClr val="F26B43"/>
          </p15:clr>
        </p15:guide>
        <p15:guide id="8" orient="horz" pos="840">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62940" y="436881"/>
            <a:ext cx="9602485" cy="858676"/>
          </a:xfrm>
          <a:prstGeom prst="rect">
            <a:avLst/>
          </a:prstGeom>
        </p:spPr>
        <p:txBody>
          <a:bodyPr vert="horz" lIns="0" tIns="0" rIns="0" bIns="0" rtlCol="0" anchor="t" anchorCtr="0">
            <a:noAutofit/>
          </a:bodyPr>
          <a:lstStyle/>
          <a:p>
            <a:r>
              <a:rPr lang="en-US"/>
              <a:t>Click to edit Master title style</a:t>
            </a:r>
          </a:p>
        </p:txBody>
      </p:sp>
      <p:sp>
        <p:nvSpPr>
          <p:cNvPr id="3" name="Text Placeholder 2"/>
          <p:cNvSpPr>
            <a:spLocks noGrp="1"/>
          </p:cNvSpPr>
          <p:nvPr>
            <p:ph type="body" idx="1"/>
          </p:nvPr>
        </p:nvSpPr>
        <p:spPr>
          <a:xfrm>
            <a:off x="660400" y="2426207"/>
            <a:ext cx="9602485" cy="3726943"/>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4"/>
          </p:nvPr>
        </p:nvSpPr>
        <p:spPr>
          <a:xfrm>
            <a:off x="10815321" y="6441450"/>
            <a:ext cx="401319" cy="194925"/>
          </a:xfrm>
          <a:prstGeom prst="rect">
            <a:avLst/>
          </a:prstGeom>
        </p:spPr>
        <p:txBody>
          <a:bodyPr vert="horz" wrap="square" lIns="0" tIns="0" rIns="0" bIns="0" rtlCol="0" anchor="ctr">
            <a:spAutoFit/>
          </a:bodyPr>
          <a:lstStyle>
            <a:lvl1pPr algn="r">
              <a:defRPr sz="1267">
                <a:solidFill>
                  <a:srgbClr val="7F7F7F"/>
                </a:solidFill>
              </a:defRPr>
            </a:lvl1pPr>
          </a:lstStyle>
          <a:p>
            <a:fld id="{2F687C33-47E0-407C-B61F-DB8DDD78F4C7}" type="slidenum">
              <a:rPr lang="en-US" smtClean="0"/>
              <a:t>‹#›</a:t>
            </a:fld>
            <a:endParaRPr lang="en-US"/>
          </a:p>
        </p:txBody>
      </p:sp>
      <p:sp>
        <p:nvSpPr>
          <p:cNvPr id="10" name="Freeform 5">
            <a:extLst>
              <a:ext uri="{FF2B5EF4-FFF2-40B4-BE49-F238E27FC236}">
                <a16:creationId xmlns:a16="http://schemas.microsoft.com/office/drawing/2014/main" id="{584AF6AD-8EEC-4BEF-8B65-D33DC6250B18}"/>
              </a:ext>
            </a:extLst>
          </p:cNvPr>
          <p:cNvSpPr>
            <a:spLocks noEditPoints="1"/>
          </p:cNvSpPr>
          <p:nvPr/>
        </p:nvSpPr>
        <p:spPr bwMode="auto">
          <a:xfrm>
            <a:off x="725855" y="6393957"/>
            <a:ext cx="1669365" cy="312609"/>
          </a:xfrm>
          <a:custGeom>
            <a:avLst/>
            <a:gdLst>
              <a:gd name="T0" fmla="*/ 225 w 1440"/>
              <a:gd name="T1" fmla="*/ 110 h 267"/>
              <a:gd name="T2" fmla="*/ 317 w 1440"/>
              <a:gd name="T3" fmla="*/ 7 h 267"/>
              <a:gd name="T4" fmla="*/ 475 w 1440"/>
              <a:gd name="T5" fmla="*/ 19 h 267"/>
              <a:gd name="T6" fmla="*/ 830 w 1440"/>
              <a:gd name="T7" fmla="*/ 7 h 267"/>
              <a:gd name="T8" fmla="*/ 130 w 1440"/>
              <a:gd name="T9" fmla="*/ 210 h 267"/>
              <a:gd name="T10" fmla="*/ 437 w 1440"/>
              <a:gd name="T11" fmla="*/ 209 h 267"/>
              <a:gd name="T12" fmla="*/ 493 w 1440"/>
              <a:gd name="T13" fmla="*/ 198 h 267"/>
              <a:gd name="T14" fmla="*/ 866 w 1440"/>
              <a:gd name="T15" fmla="*/ 171 h 267"/>
              <a:gd name="T16" fmla="*/ 737 w 1440"/>
              <a:gd name="T17" fmla="*/ 261 h 267"/>
              <a:gd name="T18" fmla="*/ 958 w 1440"/>
              <a:gd name="T19" fmla="*/ 172 h 267"/>
              <a:gd name="T20" fmla="*/ 906 w 1440"/>
              <a:gd name="T21" fmla="*/ 254 h 267"/>
              <a:gd name="T22" fmla="*/ 309 w 1440"/>
              <a:gd name="T23" fmla="*/ 260 h 267"/>
              <a:gd name="T24" fmla="*/ 1053 w 1440"/>
              <a:gd name="T25" fmla="*/ 31 h 267"/>
              <a:gd name="T26" fmla="*/ 1075 w 1440"/>
              <a:gd name="T27" fmla="*/ 44 h 267"/>
              <a:gd name="T28" fmla="*/ 1091 w 1440"/>
              <a:gd name="T29" fmla="*/ 22 h 267"/>
              <a:gd name="T30" fmla="*/ 1107 w 1440"/>
              <a:gd name="T31" fmla="*/ 27 h 267"/>
              <a:gd name="T32" fmla="*/ 1125 w 1440"/>
              <a:gd name="T33" fmla="*/ 55 h 267"/>
              <a:gd name="T34" fmla="*/ 1159 w 1440"/>
              <a:gd name="T35" fmla="*/ 53 h 267"/>
              <a:gd name="T36" fmla="*/ 1160 w 1440"/>
              <a:gd name="T37" fmla="*/ 57 h 267"/>
              <a:gd name="T38" fmla="*/ 1177 w 1440"/>
              <a:gd name="T39" fmla="*/ 23 h 267"/>
              <a:gd name="T40" fmla="*/ 1207 w 1440"/>
              <a:gd name="T41" fmla="*/ 58 h 267"/>
              <a:gd name="T42" fmla="*/ 1245 w 1440"/>
              <a:gd name="T43" fmla="*/ 27 h 267"/>
              <a:gd name="T44" fmla="*/ 1225 w 1440"/>
              <a:gd name="T45" fmla="*/ 43 h 267"/>
              <a:gd name="T46" fmla="*/ 1271 w 1440"/>
              <a:gd name="T47" fmla="*/ 19 h 267"/>
              <a:gd name="T48" fmla="*/ 1259 w 1440"/>
              <a:gd name="T49" fmla="*/ 32 h 267"/>
              <a:gd name="T50" fmla="*/ 1290 w 1440"/>
              <a:gd name="T51" fmla="*/ 54 h 267"/>
              <a:gd name="T52" fmla="*/ 1310 w 1440"/>
              <a:gd name="T53" fmla="*/ 25 h 267"/>
              <a:gd name="T54" fmla="*/ 1059 w 1440"/>
              <a:gd name="T55" fmla="*/ 110 h 267"/>
              <a:gd name="T56" fmla="*/ 1099 w 1440"/>
              <a:gd name="T57" fmla="*/ 134 h 267"/>
              <a:gd name="T58" fmla="*/ 1120 w 1440"/>
              <a:gd name="T59" fmla="*/ 156 h 267"/>
              <a:gd name="T60" fmla="*/ 1141 w 1440"/>
              <a:gd name="T61" fmla="*/ 123 h 267"/>
              <a:gd name="T62" fmla="*/ 1148 w 1440"/>
              <a:gd name="T63" fmla="*/ 175 h 267"/>
              <a:gd name="T64" fmla="*/ 1184 w 1440"/>
              <a:gd name="T65" fmla="*/ 119 h 267"/>
              <a:gd name="T66" fmla="*/ 1181 w 1440"/>
              <a:gd name="T67" fmla="*/ 153 h 267"/>
              <a:gd name="T68" fmla="*/ 1201 w 1440"/>
              <a:gd name="T69" fmla="*/ 125 h 267"/>
              <a:gd name="T70" fmla="*/ 1230 w 1440"/>
              <a:gd name="T71" fmla="*/ 157 h 267"/>
              <a:gd name="T72" fmla="*/ 1260 w 1440"/>
              <a:gd name="T73" fmla="*/ 154 h 267"/>
              <a:gd name="T74" fmla="*/ 1261 w 1440"/>
              <a:gd name="T75" fmla="*/ 158 h 267"/>
              <a:gd name="T76" fmla="*/ 1284 w 1440"/>
              <a:gd name="T77" fmla="*/ 152 h 267"/>
              <a:gd name="T78" fmla="*/ 1294 w 1440"/>
              <a:gd name="T79" fmla="*/ 123 h 267"/>
              <a:gd name="T80" fmla="*/ 1317 w 1440"/>
              <a:gd name="T81" fmla="*/ 125 h 267"/>
              <a:gd name="T82" fmla="*/ 1342 w 1440"/>
              <a:gd name="T83" fmla="*/ 121 h 267"/>
              <a:gd name="T84" fmla="*/ 1351 w 1440"/>
              <a:gd name="T85" fmla="*/ 112 h 267"/>
              <a:gd name="T86" fmla="*/ 1364 w 1440"/>
              <a:gd name="T87" fmla="*/ 159 h 267"/>
              <a:gd name="T88" fmla="*/ 1399 w 1440"/>
              <a:gd name="T89" fmla="*/ 156 h 267"/>
              <a:gd name="T90" fmla="*/ 1432 w 1440"/>
              <a:gd name="T91" fmla="*/ 120 h 267"/>
              <a:gd name="T92" fmla="*/ 1410 w 1440"/>
              <a:gd name="T93" fmla="*/ 176 h 267"/>
              <a:gd name="T94" fmla="*/ 1076 w 1440"/>
              <a:gd name="T95" fmla="*/ 242 h 267"/>
              <a:gd name="T96" fmla="*/ 1062 w 1440"/>
              <a:gd name="T97" fmla="*/ 225 h 267"/>
              <a:gd name="T98" fmla="*/ 1091 w 1440"/>
              <a:gd name="T99" fmla="*/ 208 h 267"/>
              <a:gd name="T100" fmla="*/ 1112 w 1440"/>
              <a:gd name="T101" fmla="*/ 233 h 267"/>
              <a:gd name="T102" fmla="*/ 1128 w 1440"/>
              <a:gd name="T103" fmla="*/ 224 h 267"/>
              <a:gd name="T104" fmla="*/ 1168 w 1440"/>
              <a:gd name="T105" fmla="*/ 255 h 267"/>
              <a:gd name="T106" fmla="*/ 1154 w 1440"/>
              <a:gd name="T107" fmla="*/ 236 h 267"/>
              <a:gd name="T108" fmla="*/ 1203 w 1440"/>
              <a:gd name="T109" fmla="*/ 256 h 267"/>
              <a:gd name="T110" fmla="*/ 1200 w 1440"/>
              <a:gd name="T111" fmla="*/ 213 h 267"/>
              <a:gd name="T112" fmla="*/ 1227 w 1440"/>
              <a:gd name="T113" fmla="*/ 256 h 267"/>
              <a:gd name="T114" fmla="*/ 1249 w 1440"/>
              <a:gd name="T115" fmla="*/ 260 h 267"/>
              <a:gd name="T116" fmla="*/ 1255 w 1440"/>
              <a:gd name="T117" fmla="*/ 205 h 267"/>
              <a:gd name="T118" fmla="*/ 1297 w 1440"/>
              <a:gd name="T119" fmla="*/ 226 h 267"/>
              <a:gd name="T120" fmla="*/ 1303 w 1440"/>
              <a:gd name="T121" fmla="*/ 243 h 267"/>
              <a:gd name="T122" fmla="*/ 1344 w 1440"/>
              <a:gd name="T123" fmla="*/ 229 h 267"/>
              <a:gd name="T124" fmla="*/ 1328 w 1440"/>
              <a:gd name="T125" fmla="*/ 239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440" h="267">
                <a:moveTo>
                  <a:pt x="17" y="110"/>
                </a:moveTo>
                <a:cubicBezTo>
                  <a:pt x="3" y="110"/>
                  <a:pt x="3" y="110"/>
                  <a:pt x="3" y="110"/>
                </a:cubicBezTo>
                <a:cubicBezTo>
                  <a:pt x="3" y="1"/>
                  <a:pt x="3" y="1"/>
                  <a:pt x="3" y="1"/>
                </a:cubicBezTo>
                <a:cubicBezTo>
                  <a:pt x="81" y="83"/>
                  <a:pt x="81" y="83"/>
                  <a:pt x="81" y="83"/>
                </a:cubicBezTo>
                <a:cubicBezTo>
                  <a:pt x="81" y="7"/>
                  <a:pt x="81" y="7"/>
                  <a:pt x="81" y="7"/>
                </a:cubicBezTo>
                <a:cubicBezTo>
                  <a:pt x="95" y="7"/>
                  <a:pt x="95" y="7"/>
                  <a:pt x="95" y="7"/>
                </a:cubicBezTo>
                <a:cubicBezTo>
                  <a:pt x="95" y="117"/>
                  <a:pt x="95" y="117"/>
                  <a:pt x="95" y="117"/>
                </a:cubicBezTo>
                <a:cubicBezTo>
                  <a:pt x="17" y="35"/>
                  <a:pt x="17" y="35"/>
                  <a:pt x="17" y="35"/>
                </a:cubicBezTo>
                <a:lnTo>
                  <a:pt x="17" y="110"/>
                </a:lnTo>
                <a:close/>
                <a:moveTo>
                  <a:pt x="130" y="110"/>
                </a:moveTo>
                <a:cubicBezTo>
                  <a:pt x="145" y="110"/>
                  <a:pt x="145" y="110"/>
                  <a:pt x="145" y="110"/>
                </a:cubicBezTo>
                <a:cubicBezTo>
                  <a:pt x="178" y="33"/>
                  <a:pt x="178" y="33"/>
                  <a:pt x="178" y="33"/>
                </a:cubicBezTo>
                <a:cubicBezTo>
                  <a:pt x="210" y="109"/>
                  <a:pt x="210" y="109"/>
                  <a:pt x="210" y="109"/>
                </a:cubicBezTo>
                <a:cubicBezTo>
                  <a:pt x="210" y="110"/>
                  <a:pt x="210" y="110"/>
                  <a:pt x="210" y="110"/>
                </a:cubicBezTo>
                <a:cubicBezTo>
                  <a:pt x="225" y="110"/>
                  <a:pt x="225" y="110"/>
                  <a:pt x="225" y="110"/>
                </a:cubicBezTo>
                <a:cubicBezTo>
                  <a:pt x="178" y="0"/>
                  <a:pt x="178" y="0"/>
                  <a:pt x="178" y="0"/>
                </a:cubicBezTo>
                <a:lnTo>
                  <a:pt x="130" y="110"/>
                </a:lnTo>
                <a:close/>
                <a:moveTo>
                  <a:pt x="700" y="110"/>
                </a:moveTo>
                <a:cubicBezTo>
                  <a:pt x="715" y="110"/>
                  <a:pt x="715" y="110"/>
                  <a:pt x="715" y="110"/>
                </a:cubicBezTo>
                <a:cubicBezTo>
                  <a:pt x="748" y="33"/>
                  <a:pt x="748" y="33"/>
                  <a:pt x="748" y="33"/>
                </a:cubicBezTo>
                <a:cubicBezTo>
                  <a:pt x="780" y="109"/>
                  <a:pt x="780" y="109"/>
                  <a:pt x="780" y="109"/>
                </a:cubicBezTo>
                <a:cubicBezTo>
                  <a:pt x="780" y="110"/>
                  <a:pt x="780" y="110"/>
                  <a:pt x="780" y="110"/>
                </a:cubicBezTo>
                <a:cubicBezTo>
                  <a:pt x="795" y="110"/>
                  <a:pt x="795" y="110"/>
                  <a:pt x="795" y="110"/>
                </a:cubicBezTo>
                <a:cubicBezTo>
                  <a:pt x="748" y="0"/>
                  <a:pt x="748" y="0"/>
                  <a:pt x="748" y="0"/>
                </a:cubicBezTo>
                <a:lnTo>
                  <a:pt x="700" y="110"/>
                </a:lnTo>
                <a:close/>
                <a:moveTo>
                  <a:pt x="273" y="110"/>
                </a:moveTo>
                <a:cubicBezTo>
                  <a:pt x="286" y="110"/>
                  <a:pt x="286" y="110"/>
                  <a:pt x="286" y="110"/>
                </a:cubicBezTo>
                <a:cubicBezTo>
                  <a:pt x="286" y="20"/>
                  <a:pt x="286" y="20"/>
                  <a:pt x="286" y="20"/>
                </a:cubicBezTo>
                <a:cubicBezTo>
                  <a:pt x="317" y="20"/>
                  <a:pt x="317" y="20"/>
                  <a:pt x="317" y="20"/>
                </a:cubicBezTo>
                <a:cubicBezTo>
                  <a:pt x="317" y="7"/>
                  <a:pt x="317" y="7"/>
                  <a:pt x="317" y="7"/>
                </a:cubicBezTo>
                <a:cubicBezTo>
                  <a:pt x="242" y="7"/>
                  <a:pt x="242" y="7"/>
                  <a:pt x="242" y="7"/>
                </a:cubicBezTo>
                <a:cubicBezTo>
                  <a:pt x="242" y="20"/>
                  <a:pt x="242" y="20"/>
                  <a:pt x="242" y="20"/>
                </a:cubicBezTo>
                <a:cubicBezTo>
                  <a:pt x="273" y="20"/>
                  <a:pt x="273" y="20"/>
                  <a:pt x="273" y="20"/>
                </a:cubicBezTo>
                <a:lnTo>
                  <a:pt x="273" y="110"/>
                </a:lnTo>
                <a:close/>
                <a:moveTo>
                  <a:pt x="374" y="7"/>
                </a:moveTo>
                <a:cubicBezTo>
                  <a:pt x="360" y="7"/>
                  <a:pt x="360" y="7"/>
                  <a:pt x="360" y="7"/>
                </a:cubicBezTo>
                <a:cubicBezTo>
                  <a:pt x="360" y="110"/>
                  <a:pt x="360" y="110"/>
                  <a:pt x="360" y="110"/>
                </a:cubicBezTo>
                <a:cubicBezTo>
                  <a:pt x="374" y="110"/>
                  <a:pt x="374" y="110"/>
                  <a:pt x="374" y="110"/>
                </a:cubicBezTo>
                <a:lnTo>
                  <a:pt x="374" y="7"/>
                </a:lnTo>
                <a:close/>
                <a:moveTo>
                  <a:pt x="475" y="112"/>
                </a:moveTo>
                <a:cubicBezTo>
                  <a:pt x="445" y="112"/>
                  <a:pt x="421" y="88"/>
                  <a:pt x="421" y="59"/>
                </a:cubicBezTo>
                <a:cubicBezTo>
                  <a:pt x="421" y="29"/>
                  <a:pt x="445" y="5"/>
                  <a:pt x="475" y="5"/>
                </a:cubicBezTo>
                <a:cubicBezTo>
                  <a:pt x="505" y="5"/>
                  <a:pt x="528" y="29"/>
                  <a:pt x="528" y="59"/>
                </a:cubicBezTo>
                <a:cubicBezTo>
                  <a:pt x="528" y="88"/>
                  <a:pt x="505" y="112"/>
                  <a:pt x="475" y="112"/>
                </a:cubicBezTo>
                <a:close/>
                <a:moveTo>
                  <a:pt x="475" y="19"/>
                </a:moveTo>
                <a:cubicBezTo>
                  <a:pt x="453" y="19"/>
                  <a:pt x="435" y="37"/>
                  <a:pt x="435" y="59"/>
                </a:cubicBezTo>
                <a:cubicBezTo>
                  <a:pt x="435" y="81"/>
                  <a:pt x="453" y="99"/>
                  <a:pt x="475" y="99"/>
                </a:cubicBezTo>
                <a:cubicBezTo>
                  <a:pt x="497" y="99"/>
                  <a:pt x="514" y="81"/>
                  <a:pt x="514" y="59"/>
                </a:cubicBezTo>
                <a:cubicBezTo>
                  <a:pt x="514" y="37"/>
                  <a:pt x="497" y="19"/>
                  <a:pt x="475" y="19"/>
                </a:cubicBezTo>
                <a:close/>
                <a:moveTo>
                  <a:pt x="586" y="35"/>
                </a:moveTo>
                <a:cubicBezTo>
                  <a:pt x="664" y="117"/>
                  <a:pt x="664" y="117"/>
                  <a:pt x="664" y="117"/>
                </a:cubicBezTo>
                <a:cubicBezTo>
                  <a:pt x="664" y="7"/>
                  <a:pt x="664" y="7"/>
                  <a:pt x="664" y="7"/>
                </a:cubicBezTo>
                <a:cubicBezTo>
                  <a:pt x="650" y="7"/>
                  <a:pt x="650" y="7"/>
                  <a:pt x="650" y="7"/>
                </a:cubicBezTo>
                <a:cubicBezTo>
                  <a:pt x="650" y="83"/>
                  <a:pt x="650" y="83"/>
                  <a:pt x="650" y="83"/>
                </a:cubicBezTo>
                <a:cubicBezTo>
                  <a:pt x="572" y="1"/>
                  <a:pt x="572" y="1"/>
                  <a:pt x="572" y="1"/>
                </a:cubicBezTo>
                <a:cubicBezTo>
                  <a:pt x="572" y="110"/>
                  <a:pt x="572" y="110"/>
                  <a:pt x="572" y="110"/>
                </a:cubicBezTo>
                <a:cubicBezTo>
                  <a:pt x="586" y="110"/>
                  <a:pt x="586" y="110"/>
                  <a:pt x="586" y="110"/>
                </a:cubicBezTo>
                <a:lnTo>
                  <a:pt x="586" y="35"/>
                </a:lnTo>
                <a:close/>
                <a:moveTo>
                  <a:pt x="843" y="7"/>
                </a:moveTo>
                <a:cubicBezTo>
                  <a:pt x="830" y="7"/>
                  <a:pt x="830" y="7"/>
                  <a:pt x="830" y="7"/>
                </a:cubicBezTo>
                <a:cubicBezTo>
                  <a:pt x="830" y="110"/>
                  <a:pt x="830" y="110"/>
                  <a:pt x="830" y="110"/>
                </a:cubicBezTo>
                <a:cubicBezTo>
                  <a:pt x="885" y="110"/>
                  <a:pt x="885" y="110"/>
                  <a:pt x="885" y="110"/>
                </a:cubicBezTo>
                <a:cubicBezTo>
                  <a:pt x="885" y="97"/>
                  <a:pt x="885" y="97"/>
                  <a:pt x="885" y="97"/>
                </a:cubicBezTo>
                <a:cubicBezTo>
                  <a:pt x="843" y="97"/>
                  <a:pt x="843" y="97"/>
                  <a:pt x="843" y="97"/>
                </a:cubicBezTo>
                <a:lnTo>
                  <a:pt x="843" y="7"/>
                </a:lnTo>
                <a:close/>
                <a:moveTo>
                  <a:pt x="169" y="156"/>
                </a:moveTo>
                <a:cubicBezTo>
                  <a:pt x="139" y="156"/>
                  <a:pt x="116" y="179"/>
                  <a:pt x="116" y="209"/>
                </a:cubicBezTo>
                <a:cubicBezTo>
                  <a:pt x="116" y="240"/>
                  <a:pt x="139" y="262"/>
                  <a:pt x="169" y="262"/>
                </a:cubicBezTo>
                <a:cubicBezTo>
                  <a:pt x="175" y="262"/>
                  <a:pt x="188" y="261"/>
                  <a:pt x="200" y="252"/>
                </a:cubicBezTo>
                <a:cubicBezTo>
                  <a:pt x="200" y="252"/>
                  <a:pt x="200" y="252"/>
                  <a:pt x="200" y="252"/>
                </a:cubicBezTo>
                <a:cubicBezTo>
                  <a:pt x="200" y="234"/>
                  <a:pt x="200" y="234"/>
                  <a:pt x="200" y="234"/>
                </a:cubicBezTo>
                <a:cubicBezTo>
                  <a:pt x="198" y="236"/>
                  <a:pt x="198" y="236"/>
                  <a:pt x="198" y="236"/>
                </a:cubicBezTo>
                <a:cubicBezTo>
                  <a:pt x="196" y="239"/>
                  <a:pt x="192" y="242"/>
                  <a:pt x="187" y="245"/>
                </a:cubicBezTo>
                <a:cubicBezTo>
                  <a:pt x="181" y="247"/>
                  <a:pt x="175" y="249"/>
                  <a:pt x="169" y="249"/>
                </a:cubicBezTo>
                <a:cubicBezTo>
                  <a:pt x="142" y="249"/>
                  <a:pt x="130" y="226"/>
                  <a:pt x="130" y="210"/>
                </a:cubicBezTo>
                <a:cubicBezTo>
                  <a:pt x="130" y="187"/>
                  <a:pt x="147" y="169"/>
                  <a:pt x="169" y="169"/>
                </a:cubicBezTo>
                <a:cubicBezTo>
                  <a:pt x="174" y="169"/>
                  <a:pt x="180" y="170"/>
                  <a:pt x="185" y="173"/>
                </a:cubicBezTo>
                <a:cubicBezTo>
                  <a:pt x="190" y="175"/>
                  <a:pt x="194" y="178"/>
                  <a:pt x="198" y="182"/>
                </a:cubicBezTo>
                <a:cubicBezTo>
                  <a:pt x="200" y="184"/>
                  <a:pt x="200" y="184"/>
                  <a:pt x="200" y="184"/>
                </a:cubicBezTo>
                <a:cubicBezTo>
                  <a:pt x="200" y="166"/>
                  <a:pt x="200" y="166"/>
                  <a:pt x="200" y="166"/>
                </a:cubicBezTo>
                <a:cubicBezTo>
                  <a:pt x="200" y="166"/>
                  <a:pt x="200" y="166"/>
                  <a:pt x="200" y="166"/>
                </a:cubicBezTo>
                <a:cubicBezTo>
                  <a:pt x="191" y="159"/>
                  <a:pt x="181" y="156"/>
                  <a:pt x="169" y="156"/>
                </a:cubicBezTo>
                <a:close/>
                <a:moveTo>
                  <a:pt x="437" y="209"/>
                </a:moveTo>
                <a:cubicBezTo>
                  <a:pt x="437" y="225"/>
                  <a:pt x="431" y="238"/>
                  <a:pt x="419" y="249"/>
                </a:cubicBezTo>
                <a:cubicBezTo>
                  <a:pt x="409" y="257"/>
                  <a:pt x="399" y="261"/>
                  <a:pt x="382" y="261"/>
                </a:cubicBezTo>
                <a:cubicBezTo>
                  <a:pt x="360" y="261"/>
                  <a:pt x="360" y="261"/>
                  <a:pt x="360" y="261"/>
                </a:cubicBezTo>
                <a:cubicBezTo>
                  <a:pt x="360" y="157"/>
                  <a:pt x="360" y="157"/>
                  <a:pt x="360" y="157"/>
                </a:cubicBezTo>
                <a:cubicBezTo>
                  <a:pt x="382" y="157"/>
                  <a:pt x="382" y="157"/>
                  <a:pt x="382" y="157"/>
                </a:cubicBezTo>
                <a:cubicBezTo>
                  <a:pt x="393" y="157"/>
                  <a:pt x="407" y="159"/>
                  <a:pt x="420" y="170"/>
                </a:cubicBezTo>
                <a:cubicBezTo>
                  <a:pt x="426" y="175"/>
                  <a:pt x="437" y="187"/>
                  <a:pt x="437" y="209"/>
                </a:cubicBezTo>
                <a:close/>
                <a:moveTo>
                  <a:pt x="423" y="209"/>
                </a:moveTo>
                <a:cubicBezTo>
                  <a:pt x="423" y="186"/>
                  <a:pt x="407" y="171"/>
                  <a:pt x="382" y="171"/>
                </a:cubicBezTo>
                <a:cubicBezTo>
                  <a:pt x="374" y="171"/>
                  <a:pt x="374" y="171"/>
                  <a:pt x="374" y="171"/>
                </a:cubicBezTo>
                <a:cubicBezTo>
                  <a:pt x="374" y="247"/>
                  <a:pt x="374" y="247"/>
                  <a:pt x="374" y="247"/>
                </a:cubicBezTo>
                <a:cubicBezTo>
                  <a:pt x="382" y="247"/>
                  <a:pt x="382" y="247"/>
                  <a:pt x="382" y="247"/>
                </a:cubicBezTo>
                <a:cubicBezTo>
                  <a:pt x="390" y="247"/>
                  <a:pt x="401" y="246"/>
                  <a:pt x="410" y="239"/>
                </a:cubicBezTo>
                <a:cubicBezTo>
                  <a:pt x="416" y="234"/>
                  <a:pt x="423" y="224"/>
                  <a:pt x="423" y="209"/>
                </a:cubicBezTo>
                <a:close/>
                <a:moveTo>
                  <a:pt x="479" y="261"/>
                </a:moveTo>
                <a:cubicBezTo>
                  <a:pt x="541" y="261"/>
                  <a:pt x="541" y="261"/>
                  <a:pt x="541" y="261"/>
                </a:cubicBezTo>
                <a:cubicBezTo>
                  <a:pt x="541" y="247"/>
                  <a:pt x="541" y="247"/>
                  <a:pt x="541" y="247"/>
                </a:cubicBezTo>
                <a:cubicBezTo>
                  <a:pt x="493" y="247"/>
                  <a:pt x="493" y="247"/>
                  <a:pt x="493" y="247"/>
                </a:cubicBezTo>
                <a:cubicBezTo>
                  <a:pt x="493" y="211"/>
                  <a:pt x="493" y="211"/>
                  <a:pt x="493" y="211"/>
                </a:cubicBezTo>
                <a:cubicBezTo>
                  <a:pt x="535" y="211"/>
                  <a:pt x="535" y="211"/>
                  <a:pt x="535" y="211"/>
                </a:cubicBezTo>
                <a:cubicBezTo>
                  <a:pt x="535" y="198"/>
                  <a:pt x="535" y="198"/>
                  <a:pt x="535" y="198"/>
                </a:cubicBezTo>
                <a:cubicBezTo>
                  <a:pt x="493" y="198"/>
                  <a:pt x="493" y="198"/>
                  <a:pt x="493" y="198"/>
                </a:cubicBezTo>
                <a:cubicBezTo>
                  <a:pt x="493" y="171"/>
                  <a:pt x="493" y="171"/>
                  <a:pt x="493" y="171"/>
                </a:cubicBezTo>
                <a:cubicBezTo>
                  <a:pt x="541" y="171"/>
                  <a:pt x="541" y="171"/>
                  <a:pt x="541" y="171"/>
                </a:cubicBezTo>
                <a:cubicBezTo>
                  <a:pt x="541" y="157"/>
                  <a:pt x="541" y="157"/>
                  <a:pt x="541" y="157"/>
                </a:cubicBezTo>
                <a:cubicBezTo>
                  <a:pt x="479" y="157"/>
                  <a:pt x="479" y="157"/>
                  <a:pt x="479" y="157"/>
                </a:cubicBezTo>
                <a:lnTo>
                  <a:pt x="479" y="261"/>
                </a:lnTo>
                <a:close/>
                <a:moveTo>
                  <a:pt x="805" y="261"/>
                </a:moveTo>
                <a:cubicBezTo>
                  <a:pt x="866" y="261"/>
                  <a:pt x="866" y="261"/>
                  <a:pt x="866" y="261"/>
                </a:cubicBezTo>
                <a:cubicBezTo>
                  <a:pt x="866" y="247"/>
                  <a:pt x="866" y="247"/>
                  <a:pt x="866" y="247"/>
                </a:cubicBezTo>
                <a:cubicBezTo>
                  <a:pt x="819" y="247"/>
                  <a:pt x="819" y="247"/>
                  <a:pt x="819" y="247"/>
                </a:cubicBezTo>
                <a:cubicBezTo>
                  <a:pt x="819" y="211"/>
                  <a:pt x="819" y="211"/>
                  <a:pt x="819" y="211"/>
                </a:cubicBezTo>
                <a:cubicBezTo>
                  <a:pt x="860" y="211"/>
                  <a:pt x="860" y="211"/>
                  <a:pt x="860" y="211"/>
                </a:cubicBezTo>
                <a:cubicBezTo>
                  <a:pt x="860" y="198"/>
                  <a:pt x="860" y="198"/>
                  <a:pt x="860" y="198"/>
                </a:cubicBezTo>
                <a:cubicBezTo>
                  <a:pt x="819" y="198"/>
                  <a:pt x="819" y="198"/>
                  <a:pt x="819" y="198"/>
                </a:cubicBezTo>
                <a:cubicBezTo>
                  <a:pt x="819" y="171"/>
                  <a:pt x="819" y="171"/>
                  <a:pt x="819" y="171"/>
                </a:cubicBezTo>
                <a:cubicBezTo>
                  <a:pt x="866" y="171"/>
                  <a:pt x="866" y="171"/>
                  <a:pt x="866" y="171"/>
                </a:cubicBezTo>
                <a:cubicBezTo>
                  <a:pt x="866" y="157"/>
                  <a:pt x="866" y="157"/>
                  <a:pt x="866" y="157"/>
                </a:cubicBezTo>
                <a:cubicBezTo>
                  <a:pt x="805" y="157"/>
                  <a:pt x="805" y="157"/>
                  <a:pt x="805" y="157"/>
                </a:cubicBezTo>
                <a:lnTo>
                  <a:pt x="805" y="261"/>
                </a:lnTo>
                <a:close/>
                <a:moveTo>
                  <a:pt x="634" y="235"/>
                </a:moveTo>
                <a:cubicBezTo>
                  <a:pt x="595" y="149"/>
                  <a:pt x="595" y="149"/>
                  <a:pt x="595" y="149"/>
                </a:cubicBezTo>
                <a:cubicBezTo>
                  <a:pt x="578" y="261"/>
                  <a:pt x="578" y="261"/>
                  <a:pt x="578" y="261"/>
                </a:cubicBezTo>
                <a:cubicBezTo>
                  <a:pt x="592" y="261"/>
                  <a:pt x="592" y="261"/>
                  <a:pt x="592" y="261"/>
                </a:cubicBezTo>
                <a:cubicBezTo>
                  <a:pt x="601" y="194"/>
                  <a:pt x="601" y="194"/>
                  <a:pt x="601" y="194"/>
                </a:cubicBezTo>
                <a:cubicBezTo>
                  <a:pt x="634" y="267"/>
                  <a:pt x="634" y="267"/>
                  <a:pt x="634" y="267"/>
                </a:cubicBezTo>
                <a:cubicBezTo>
                  <a:pt x="668" y="194"/>
                  <a:pt x="668" y="194"/>
                  <a:pt x="668" y="194"/>
                </a:cubicBezTo>
                <a:cubicBezTo>
                  <a:pt x="677" y="261"/>
                  <a:pt x="677" y="261"/>
                  <a:pt x="677" y="261"/>
                </a:cubicBezTo>
                <a:cubicBezTo>
                  <a:pt x="691" y="261"/>
                  <a:pt x="691" y="261"/>
                  <a:pt x="691" y="261"/>
                </a:cubicBezTo>
                <a:cubicBezTo>
                  <a:pt x="674" y="148"/>
                  <a:pt x="674" y="148"/>
                  <a:pt x="674" y="148"/>
                </a:cubicBezTo>
                <a:lnTo>
                  <a:pt x="634" y="235"/>
                </a:lnTo>
                <a:close/>
                <a:moveTo>
                  <a:pt x="737" y="261"/>
                </a:moveTo>
                <a:cubicBezTo>
                  <a:pt x="751" y="261"/>
                  <a:pt x="751" y="261"/>
                  <a:pt x="751" y="261"/>
                </a:cubicBezTo>
                <a:cubicBezTo>
                  <a:pt x="751" y="157"/>
                  <a:pt x="751" y="157"/>
                  <a:pt x="751" y="157"/>
                </a:cubicBezTo>
                <a:cubicBezTo>
                  <a:pt x="737" y="157"/>
                  <a:pt x="737" y="157"/>
                  <a:pt x="737" y="157"/>
                </a:cubicBezTo>
                <a:lnTo>
                  <a:pt x="737" y="261"/>
                </a:lnTo>
                <a:close/>
                <a:moveTo>
                  <a:pt x="955" y="211"/>
                </a:moveTo>
                <a:cubicBezTo>
                  <a:pt x="950" y="207"/>
                  <a:pt x="945" y="204"/>
                  <a:pt x="939" y="201"/>
                </a:cubicBezTo>
                <a:cubicBezTo>
                  <a:pt x="929" y="197"/>
                  <a:pt x="929" y="197"/>
                  <a:pt x="929" y="197"/>
                </a:cubicBezTo>
                <a:cubicBezTo>
                  <a:pt x="925" y="195"/>
                  <a:pt x="922" y="194"/>
                  <a:pt x="919" y="191"/>
                </a:cubicBezTo>
                <a:cubicBezTo>
                  <a:pt x="916" y="189"/>
                  <a:pt x="916" y="187"/>
                  <a:pt x="916" y="183"/>
                </a:cubicBezTo>
                <a:cubicBezTo>
                  <a:pt x="916" y="175"/>
                  <a:pt x="922" y="169"/>
                  <a:pt x="931" y="169"/>
                </a:cubicBezTo>
                <a:cubicBezTo>
                  <a:pt x="936" y="169"/>
                  <a:pt x="940" y="171"/>
                  <a:pt x="942" y="172"/>
                </a:cubicBezTo>
                <a:cubicBezTo>
                  <a:pt x="944" y="174"/>
                  <a:pt x="946" y="177"/>
                  <a:pt x="947" y="179"/>
                </a:cubicBezTo>
                <a:cubicBezTo>
                  <a:pt x="948" y="181"/>
                  <a:pt x="948" y="181"/>
                  <a:pt x="948" y="181"/>
                </a:cubicBezTo>
                <a:cubicBezTo>
                  <a:pt x="959" y="173"/>
                  <a:pt x="959" y="173"/>
                  <a:pt x="959" y="173"/>
                </a:cubicBezTo>
                <a:cubicBezTo>
                  <a:pt x="958" y="172"/>
                  <a:pt x="958" y="172"/>
                  <a:pt x="958" y="172"/>
                </a:cubicBezTo>
                <a:cubicBezTo>
                  <a:pt x="956" y="167"/>
                  <a:pt x="952" y="163"/>
                  <a:pt x="948" y="161"/>
                </a:cubicBezTo>
                <a:cubicBezTo>
                  <a:pt x="943" y="157"/>
                  <a:pt x="938" y="156"/>
                  <a:pt x="931" y="156"/>
                </a:cubicBezTo>
                <a:cubicBezTo>
                  <a:pt x="914" y="156"/>
                  <a:pt x="902" y="167"/>
                  <a:pt x="902" y="183"/>
                </a:cubicBezTo>
                <a:cubicBezTo>
                  <a:pt x="902" y="190"/>
                  <a:pt x="904" y="195"/>
                  <a:pt x="909" y="200"/>
                </a:cubicBezTo>
                <a:cubicBezTo>
                  <a:pt x="913" y="205"/>
                  <a:pt x="918" y="207"/>
                  <a:pt x="922" y="209"/>
                </a:cubicBezTo>
                <a:cubicBezTo>
                  <a:pt x="932" y="213"/>
                  <a:pt x="932" y="213"/>
                  <a:pt x="932" y="213"/>
                </a:cubicBezTo>
                <a:cubicBezTo>
                  <a:pt x="937" y="215"/>
                  <a:pt x="941" y="217"/>
                  <a:pt x="944" y="220"/>
                </a:cubicBezTo>
                <a:cubicBezTo>
                  <a:pt x="947" y="223"/>
                  <a:pt x="948" y="226"/>
                  <a:pt x="948" y="231"/>
                </a:cubicBezTo>
                <a:cubicBezTo>
                  <a:pt x="948" y="240"/>
                  <a:pt x="942" y="249"/>
                  <a:pt x="929" y="249"/>
                </a:cubicBezTo>
                <a:cubicBezTo>
                  <a:pt x="924" y="249"/>
                  <a:pt x="919" y="247"/>
                  <a:pt x="916" y="244"/>
                </a:cubicBezTo>
                <a:cubicBezTo>
                  <a:pt x="913" y="241"/>
                  <a:pt x="911" y="236"/>
                  <a:pt x="910" y="232"/>
                </a:cubicBezTo>
                <a:cubicBezTo>
                  <a:pt x="910" y="230"/>
                  <a:pt x="910" y="230"/>
                  <a:pt x="910" y="230"/>
                </a:cubicBezTo>
                <a:cubicBezTo>
                  <a:pt x="896" y="234"/>
                  <a:pt x="896" y="234"/>
                  <a:pt x="896" y="234"/>
                </a:cubicBezTo>
                <a:cubicBezTo>
                  <a:pt x="897" y="235"/>
                  <a:pt x="897" y="235"/>
                  <a:pt x="897" y="235"/>
                </a:cubicBezTo>
                <a:cubicBezTo>
                  <a:pt x="898" y="243"/>
                  <a:pt x="902" y="249"/>
                  <a:pt x="906" y="254"/>
                </a:cubicBezTo>
                <a:cubicBezTo>
                  <a:pt x="912" y="260"/>
                  <a:pt x="920" y="262"/>
                  <a:pt x="929" y="262"/>
                </a:cubicBezTo>
                <a:cubicBezTo>
                  <a:pt x="948" y="262"/>
                  <a:pt x="962" y="249"/>
                  <a:pt x="962" y="230"/>
                </a:cubicBezTo>
                <a:cubicBezTo>
                  <a:pt x="962" y="222"/>
                  <a:pt x="960" y="216"/>
                  <a:pt x="955" y="211"/>
                </a:cubicBezTo>
                <a:close/>
                <a:moveTo>
                  <a:pt x="0" y="261"/>
                </a:moveTo>
                <a:cubicBezTo>
                  <a:pt x="15" y="261"/>
                  <a:pt x="15" y="261"/>
                  <a:pt x="15" y="261"/>
                </a:cubicBezTo>
                <a:cubicBezTo>
                  <a:pt x="48" y="184"/>
                  <a:pt x="48" y="184"/>
                  <a:pt x="48" y="184"/>
                </a:cubicBezTo>
                <a:cubicBezTo>
                  <a:pt x="79" y="260"/>
                  <a:pt x="79" y="260"/>
                  <a:pt x="79" y="260"/>
                </a:cubicBezTo>
                <a:cubicBezTo>
                  <a:pt x="80" y="261"/>
                  <a:pt x="80" y="261"/>
                  <a:pt x="80" y="261"/>
                </a:cubicBezTo>
                <a:cubicBezTo>
                  <a:pt x="95" y="261"/>
                  <a:pt x="95" y="261"/>
                  <a:pt x="95" y="261"/>
                </a:cubicBezTo>
                <a:cubicBezTo>
                  <a:pt x="48" y="151"/>
                  <a:pt x="48" y="151"/>
                  <a:pt x="48" y="151"/>
                </a:cubicBezTo>
                <a:lnTo>
                  <a:pt x="0" y="261"/>
                </a:lnTo>
                <a:close/>
                <a:moveTo>
                  <a:pt x="229" y="261"/>
                </a:moveTo>
                <a:cubicBezTo>
                  <a:pt x="244" y="261"/>
                  <a:pt x="244" y="261"/>
                  <a:pt x="244" y="261"/>
                </a:cubicBezTo>
                <a:cubicBezTo>
                  <a:pt x="277" y="184"/>
                  <a:pt x="277" y="184"/>
                  <a:pt x="277" y="184"/>
                </a:cubicBezTo>
                <a:cubicBezTo>
                  <a:pt x="309" y="260"/>
                  <a:pt x="309" y="260"/>
                  <a:pt x="309" y="260"/>
                </a:cubicBezTo>
                <a:cubicBezTo>
                  <a:pt x="309" y="261"/>
                  <a:pt x="309" y="261"/>
                  <a:pt x="309" y="261"/>
                </a:cubicBezTo>
                <a:cubicBezTo>
                  <a:pt x="324" y="261"/>
                  <a:pt x="324" y="261"/>
                  <a:pt x="324" y="261"/>
                </a:cubicBezTo>
                <a:cubicBezTo>
                  <a:pt x="277" y="151"/>
                  <a:pt x="277" y="151"/>
                  <a:pt x="277" y="151"/>
                </a:cubicBezTo>
                <a:lnTo>
                  <a:pt x="229" y="261"/>
                </a:lnTo>
                <a:close/>
                <a:moveTo>
                  <a:pt x="1071" y="11"/>
                </a:moveTo>
                <a:cubicBezTo>
                  <a:pt x="1071" y="18"/>
                  <a:pt x="1071" y="18"/>
                  <a:pt x="1071" y="18"/>
                </a:cubicBezTo>
                <a:cubicBezTo>
                  <a:pt x="1075" y="18"/>
                  <a:pt x="1075" y="18"/>
                  <a:pt x="1075" y="18"/>
                </a:cubicBezTo>
                <a:cubicBezTo>
                  <a:pt x="1077" y="9"/>
                  <a:pt x="1077" y="9"/>
                  <a:pt x="1077" y="9"/>
                </a:cubicBezTo>
                <a:cubicBezTo>
                  <a:pt x="1076" y="8"/>
                  <a:pt x="1074" y="7"/>
                  <a:pt x="1072" y="6"/>
                </a:cubicBezTo>
                <a:cubicBezTo>
                  <a:pt x="1070" y="6"/>
                  <a:pt x="1067" y="6"/>
                  <a:pt x="1064" y="6"/>
                </a:cubicBezTo>
                <a:cubicBezTo>
                  <a:pt x="1061" y="6"/>
                  <a:pt x="1058" y="6"/>
                  <a:pt x="1056" y="7"/>
                </a:cubicBezTo>
                <a:cubicBezTo>
                  <a:pt x="1053" y="9"/>
                  <a:pt x="1051" y="10"/>
                  <a:pt x="1049" y="12"/>
                </a:cubicBezTo>
                <a:cubicBezTo>
                  <a:pt x="1048" y="14"/>
                  <a:pt x="1047" y="17"/>
                  <a:pt x="1047" y="20"/>
                </a:cubicBezTo>
                <a:cubicBezTo>
                  <a:pt x="1047" y="22"/>
                  <a:pt x="1048" y="24"/>
                  <a:pt x="1049" y="26"/>
                </a:cubicBezTo>
                <a:cubicBezTo>
                  <a:pt x="1050" y="28"/>
                  <a:pt x="1051" y="30"/>
                  <a:pt x="1053" y="31"/>
                </a:cubicBezTo>
                <a:cubicBezTo>
                  <a:pt x="1055" y="32"/>
                  <a:pt x="1057" y="34"/>
                  <a:pt x="1059" y="35"/>
                </a:cubicBezTo>
                <a:cubicBezTo>
                  <a:pt x="1062" y="37"/>
                  <a:pt x="1064" y="39"/>
                  <a:pt x="1066" y="40"/>
                </a:cubicBezTo>
                <a:cubicBezTo>
                  <a:pt x="1067" y="42"/>
                  <a:pt x="1068" y="44"/>
                  <a:pt x="1068" y="47"/>
                </a:cubicBezTo>
                <a:cubicBezTo>
                  <a:pt x="1068" y="49"/>
                  <a:pt x="1067" y="52"/>
                  <a:pt x="1065" y="53"/>
                </a:cubicBezTo>
                <a:cubicBezTo>
                  <a:pt x="1062" y="55"/>
                  <a:pt x="1060" y="56"/>
                  <a:pt x="1057" y="56"/>
                </a:cubicBezTo>
                <a:cubicBezTo>
                  <a:pt x="1055" y="56"/>
                  <a:pt x="1053" y="56"/>
                  <a:pt x="1052" y="55"/>
                </a:cubicBezTo>
                <a:cubicBezTo>
                  <a:pt x="1050" y="55"/>
                  <a:pt x="1049" y="54"/>
                  <a:pt x="1048" y="54"/>
                </a:cubicBezTo>
                <a:cubicBezTo>
                  <a:pt x="1048" y="46"/>
                  <a:pt x="1048" y="46"/>
                  <a:pt x="1048" y="46"/>
                </a:cubicBezTo>
                <a:cubicBezTo>
                  <a:pt x="1044" y="46"/>
                  <a:pt x="1044" y="46"/>
                  <a:pt x="1044" y="46"/>
                </a:cubicBezTo>
                <a:cubicBezTo>
                  <a:pt x="1042" y="56"/>
                  <a:pt x="1042" y="56"/>
                  <a:pt x="1042" y="56"/>
                </a:cubicBezTo>
                <a:cubicBezTo>
                  <a:pt x="1043" y="57"/>
                  <a:pt x="1045" y="58"/>
                  <a:pt x="1048" y="58"/>
                </a:cubicBezTo>
                <a:cubicBezTo>
                  <a:pt x="1051" y="59"/>
                  <a:pt x="1054" y="59"/>
                  <a:pt x="1057" y="59"/>
                </a:cubicBezTo>
                <a:cubicBezTo>
                  <a:pt x="1060" y="59"/>
                  <a:pt x="1063" y="59"/>
                  <a:pt x="1066" y="57"/>
                </a:cubicBezTo>
                <a:cubicBezTo>
                  <a:pt x="1069" y="56"/>
                  <a:pt x="1071" y="54"/>
                  <a:pt x="1073" y="52"/>
                </a:cubicBezTo>
                <a:cubicBezTo>
                  <a:pt x="1074" y="50"/>
                  <a:pt x="1075" y="47"/>
                  <a:pt x="1075" y="44"/>
                </a:cubicBezTo>
                <a:cubicBezTo>
                  <a:pt x="1075" y="42"/>
                  <a:pt x="1074" y="40"/>
                  <a:pt x="1073" y="38"/>
                </a:cubicBezTo>
                <a:cubicBezTo>
                  <a:pt x="1072" y="36"/>
                  <a:pt x="1071" y="35"/>
                  <a:pt x="1069" y="34"/>
                </a:cubicBezTo>
                <a:cubicBezTo>
                  <a:pt x="1068" y="32"/>
                  <a:pt x="1066" y="31"/>
                  <a:pt x="1064" y="29"/>
                </a:cubicBezTo>
                <a:cubicBezTo>
                  <a:pt x="1060" y="27"/>
                  <a:pt x="1058" y="25"/>
                  <a:pt x="1056" y="24"/>
                </a:cubicBezTo>
                <a:cubicBezTo>
                  <a:pt x="1055" y="22"/>
                  <a:pt x="1054" y="20"/>
                  <a:pt x="1054" y="17"/>
                </a:cubicBezTo>
                <a:cubicBezTo>
                  <a:pt x="1054" y="15"/>
                  <a:pt x="1055" y="13"/>
                  <a:pt x="1057" y="11"/>
                </a:cubicBezTo>
                <a:cubicBezTo>
                  <a:pt x="1059" y="10"/>
                  <a:pt x="1061" y="9"/>
                  <a:pt x="1064" y="9"/>
                </a:cubicBezTo>
                <a:cubicBezTo>
                  <a:pt x="1065" y="9"/>
                  <a:pt x="1067" y="9"/>
                  <a:pt x="1068" y="10"/>
                </a:cubicBezTo>
                <a:cubicBezTo>
                  <a:pt x="1069" y="10"/>
                  <a:pt x="1070" y="10"/>
                  <a:pt x="1071" y="11"/>
                </a:cubicBezTo>
                <a:close/>
                <a:moveTo>
                  <a:pt x="1107" y="27"/>
                </a:moveTo>
                <a:cubicBezTo>
                  <a:pt x="1108" y="27"/>
                  <a:pt x="1108" y="27"/>
                  <a:pt x="1108" y="27"/>
                </a:cubicBezTo>
                <a:cubicBezTo>
                  <a:pt x="1110" y="20"/>
                  <a:pt x="1110" y="20"/>
                  <a:pt x="1110" y="20"/>
                </a:cubicBezTo>
                <a:cubicBezTo>
                  <a:pt x="1109" y="20"/>
                  <a:pt x="1108" y="19"/>
                  <a:pt x="1107" y="19"/>
                </a:cubicBezTo>
                <a:cubicBezTo>
                  <a:pt x="1105" y="19"/>
                  <a:pt x="1104" y="19"/>
                  <a:pt x="1102" y="19"/>
                </a:cubicBezTo>
                <a:cubicBezTo>
                  <a:pt x="1098" y="19"/>
                  <a:pt x="1094" y="20"/>
                  <a:pt x="1091" y="22"/>
                </a:cubicBezTo>
                <a:cubicBezTo>
                  <a:pt x="1088" y="25"/>
                  <a:pt x="1086" y="28"/>
                  <a:pt x="1084" y="32"/>
                </a:cubicBezTo>
                <a:cubicBezTo>
                  <a:pt x="1083" y="36"/>
                  <a:pt x="1082" y="40"/>
                  <a:pt x="1082" y="43"/>
                </a:cubicBezTo>
                <a:cubicBezTo>
                  <a:pt x="1082" y="48"/>
                  <a:pt x="1083" y="52"/>
                  <a:pt x="1085" y="55"/>
                </a:cubicBezTo>
                <a:cubicBezTo>
                  <a:pt x="1087" y="58"/>
                  <a:pt x="1091" y="59"/>
                  <a:pt x="1094" y="59"/>
                </a:cubicBezTo>
                <a:cubicBezTo>
                  <a:pt x="1098" y="59"/>
                  <a:pt x="1100" y="59"/>
                  <a:pt x="1102" y="57"/>
                </a:cubicBezTo>
                <a:cubicBezTo>
                  <a:pt x="1105" y="56"/>
                  <a:pt x="1106" y="54"/>
                  <a:pt x="1108" y="53"/>
                </a:cubicBezTo>
                <a:cubicBezTo>
                  <a:pt x="1106" y="50"/>
                  <a:pt x="1106" y="50"/>
                  <a:pt x="1106" y="50"/>
                </a:cubicBezTo>
                <a:cubicBezTo>
                  <a:pt x="1105" y="52"/>
                  <a:pt x="1103" y="53"/>
                  <a:pt x="1102" y="54"/>
                </a:cubicBezTo>
                <a:cubicBezTo>
                  <a:pt x="1100" y="54"/>
                  <a:pt x="1099" y="55"/>
                  <a:pt x="1097" y="55"/>
                </a:cubicBezTo>
                <a:cubicBezTo>
                  <a:pt x="1094" y="55"/>
                  <a:pt x="1092" y="54"/>
                  <a:pt x="1091" y="52"/>
                </a:cubicBezTo>
                <a:cubicBezTo>
                  <a:pt x="1090" y="50"/>
                  <a:pt x="1089" y="47"/>
                  <a:pt x="1089" y="43"/>
                </a:cubicBezTo>
                <a:cubicBezTo>
                  <a:pt x="1089" y="39"/>
                  <a:pt x="1090" y="35"/>
                  <a:pt x="1091" y="32"/>
                </a:cubicBezTo>
                <a:cubicBezTo>
                  <a:pt x="1092" y="30"/>
                  <a:pt x="1093" y="27"/>
                  <a:pt x="1095" y="26"/>
                </a:cubicBezTo>
                <a:cubicBezTo>
                  <a:pt x="1097" y="24"/>
                  <a:pt x="1099" y="23"/>
                  <a:pt x="1101" y="23"/>
                </a:cubicBezTo>
                <a:cubicBezTo>
                  <a:pt x="1102" y="23"/>
                  <a:pt x="1105" y="24"/>
                  <a:pt x="1107" y="27"/>
                </a:cubicBezTo>
                <a:close/>
                <a:moveTo>
                  <a:pt x="1124" y="52"/>
                </a:moveTo>
                <a:cubicBezTo>
                  <a:pt x="1129" y="19"/>
                  <a:pt x="1129" y="19"/>
                  <a:pt x="1129" y="19"/>
                </a:cubicBezTo>
                <a:cubicBezTo>
                  <a:pt x="1128" y="19"/>
                  <a:pt x="1128" y="19"/>
                  <a:pt x="1128" y="19"/>
                </a:cubicBezTo>
                <a:cubicBezTo>
                  <a:pt x="1118" y="20"/>
                  <a:pt x="1118" y="20"/>
                  <a:pt x="1118" y="20"/>
                </a:cubicBezTo>
                <a:cubicBezTo>
                  <a:pt x="1117" y="23"/>
                  <a:pt x="1117" y="23"/>
                  <a:pt x="1117" y="23"/>
                </a:cubicBezTo>
                <a:cubicBezTo>
                  <a:pt x="1122" y="24"/>
                  <a:pt x="1122" y="24"/>
                  <a:pt x="1122" y="24"/>
                </a:cubicBezTo>
                <a:cubicBezTo>
                  <a:pt x="1121" y="31"/>
                  <a:pt x="1120" y="37"/>
                  <a:pt x="1119" y="41"/>
                </a:cubicBezTo>
                <a:cubicBezTo>
                  <a:pt x="1118" y="49"/>
                  <a:pt x="1117" y="54"/>
                  <a:pt x="1117" y="55"/>
                </a:cubicBezTo>
                <a:cubicBezTo>
                  <a:pt x="1117" y="56"/>
                  <a:pt x="1118" y="57"/>
                  <a:pt x="1118" y="58"/>
                </a:cubicBezTo>
                <a:cubicBezTo>
                  <a:pt x="1119" y="59"/>
                  <a:pt x="1120" y="59"/>
                  <a:pt x="1122" y="59"/>
                </a:cubicBezTo>
                <a:cubicBezTo>
                  <a:pt x="1124" y="59"/>
                  <a:pt x="1125" y="59"/>
                  <a:pt x="1127" y="58"/>
                </a:cubicBezTo>
                <a:cubicBezTo>
                  <a:pt x="1128" y="57"/>
                  <a:pt x="1129" y="55"/>
                  <a:pt x="1130" y="54"/>
                </a:cubicBezTo>
                <a:cubicBezTo>
                  <a:pt x="1129" y="53"/>
                  <a:pt x="1129" y="53"/>
                  <a:pt x="1129" y="53"/>
                </a:cubicBezTo>
                <a:cubicBezTo>
                  <a:pt x="1128" y="54"/>
                  <a:pt x="1128" y="54"/>
                  <a:pt x="1127" y="54"/>
                </a:cubicBezTo>
                <a:cubicBezTo>
                  <a:pt x="1126" y="55"/>
                  <a:pt x="1126" y="55"/>
                  <a:pt x="1125" y="55"/>
                </a:cubicBezTo>
                <a:cubicBezTo>
                  <a:pt x="1125" y="55"/>
                  <a:pt x="1125" y="55"/>
                  <a:pt x="1125" y="54"/>
                </a:cubicBezTo>
                <a:cubicBezTo>
                  <a:pt x="1124" y="54"/>
                  <a:pt x="1124" y="54"/>
                  <a:pt x="1124" y="53"/>
                </a:cubicBezTo>
                <a:lnTo>
                  <a:pt x="1124" y="52"/>
                </a:lnTo>
                <a:close/>
                <a:moveTo>
                  <a:pt x="1127" y="11"/>
                </a:moveTo>
                <a:cubicBezTo>
                  <a:pt x="1128" y="11"/>
                  <a:pt x="1129" y="11"/>
                  <a:pt x="1130" y="10"/>
                </a:cubicBezTo>
                <a:cubicBezTo>
                  <a:pt x="1131" y="9"/>
                  <a:pt x="1131" y="7"/>
                  <a:pt x="1131" y="6"/>
                </a:cubicBezTo>
                <a:cubicBezTo>
                  <a:pt x="1131" y="5"/>
                  <a:pt x="1131" y="4"/>
                  <a:pt x="1130" y="3"/>
                </a:cubicBezTo>
                <a:cubicBezTo>
                  <a:pt x="1130" y="3"/>
                  <a:pt x="1129" y="2"/>
                  <a:pt x="1128" y="2"/>
                </a:cubicBezTo>
                <a:cubicBezTo>
                  <a:pt x="1126" y="2"/>
                  <a:pt x="1125" y="3"/>
                  <a:pt x="1124" y="4"/>
                </a:cubicBezTo>
                <a:cubicBezTo>
                  <a:pt x="1123" y="5"/>
                  <a:pt x="1123" y="6"/>
                  <a:pt x="1123" y="7"/>
                </a:cubicBezTo>
                <a:cubicBezTo>
                  <a:pt x="1123" y="8"/>
                  <a:pt x="1123" y="9"/>
                  <a:pt x="1124" y="10"/>
                </a:cubicBezTo>
                <a:cubicBezTo>
                  <a:pt x="1125" y="11"/>
                  <a:pt x="1126" y="11"/>
                  <a:pt x="1127" y="11"/>
                </a:cubicBezTo>
                <a:close/>
                <a:moveTo>
                  <a:pt x="1166" y="52"/>
                </a:moveTo>
                <a:cubicBezTo>
                  <a:pt x="1165" y="49"/>
                  <a:pt x="1165" y="49"/>
                  <a:pt x="1165" y="49"/>
                </a:cubicBezTo>
                <a:cubicBezTo>
                  <a:pt x="1163" y="51"/>
                  <a:pt x="1161" y="52"/>
                  <a:pt x="1159" y="53"/>
                </a:cubicBezTo>
                <a:cubicBezTo>
                  <a:pt x="1157" y="54"/>
                  <a:pt x="1155" y="55"/>
                  <a:pt x="1153" y="55"/>
                </a:cubicBezTo>
                <a:cubicBezTo>
                  <a:pt x="1150" y="55"/>
                  <a:pt x="1148" y="54"/>
                  <a:pt x="1147" y="51"/>
                </a:cubicBezTo>
                <a:cubicBezTo>
                  <a:pt x="1145" y="49"/>
                  <a:pt x="1145" y="46"/>
                  <a:pt x="1145" y="43"/>
                </a:cubicBezTo>
                <a:cubicBezTo>
                  <a:pt x="1148" y="43"/>
                  <a:pt x="1151" y="42"/>
                  <a:pt x="1155" y="41"/>
                </a:cubicBezTo>
                <a:cubicBezTo>
                  <a:pt x="1158" y="40"/>
                  <a:pt x="1162" y="38"/>
                  <a:pt x="1164" y="36"/>
                </a:cubicBezTo>
                <a:cubicBezTo>
                  <a:pt x="1167" y="33"/>
                  <a:pt x="1168" y="31"/>
                  <a:pt x="1168" y="27"/>
                </a:cubicBezTo>
                <a:cubicBezTo>
                  <a:pt x="1168" y="25"/>
                  <a:pt x="1167" y="23"/>
                  <a:pt x="1166" y="21"/>
                </a:cubicBezTo>
                <a:cubicBezTo>
                  <a:pt x="1164" y="19"/>
                  <a:pt x="1162" y="19"/>
                  <a:pt x="1158" y="19"/>
                </a:cubicBezTo>
                <a:cubicBezTo>
                  <a:pt x="1154" y="19"/>
                  <a:pt x="1151" y="20"/>
                  <a:pt x="1148" y="22"/>
                </a:cubicBezTo>
                <a:cubicBezTo>
                  <a:pt x="1145" y="24"/>
                  <a:pt x="1142" y="28"/>
                  <a:pt x="1140" y="31"/>
                </a:cubicBezTo>
                <a:cubicBezTo>
                  <a:pt x="1138" y="35"/>
                  <a:pt x="1138" y="40"/>
                  <a:pt x="1138" y="44"/>
                </a:cubicBezTo>
                <a:cubicBezTo>
                  <a:pt x="1138" y="47"/>
                  <a:pt x="1138" y="49"/>
                  <a:pt x="1139" y="52"/>
                </a:cubicBezTo>
                <a:cubicBezTo>
                  <a:pt x="1140" y="54"/>
                  <a:pt x="1142" y="56"/>
                  <a:pt x="1144" y="57"/>
                </a:cubicBezTo>
                <a:cubicBezTo>
                  <a:pt x="1146" y="59"/>
                  <a:pt x="1148" y="59"/>
                  <a:pt x="1151" y="59"/>
                </a:cubicBezTo>
                <a:cubicBezTo>
                  <a:pt x="1155" y="59"/>
                  <a:pt x="1158" y="58"/>
                  <a:pt x="1160" y="57"/>
                </a:cubicBezTo>
                <a:cubicBezTo>
                  <a:pt x="1163" y="55"/>
                  <a:pt x="1165" y="54"/>
                  <a:pt x="1166" y="52"/>
                </a:cubicBezTo>
                <a:close/>
                <a:moveTo>
                  <a:pt x="1157" y="22"/>
                </a:moveTo>
                <a:cubicBezTo>
                  <a:pt x="1158" y="22"/>
                  <a:pt x="1159" y="23"/>
                  <a:pt x="1160" y="24"/>
                </a:cubicBezTo>
                <a:cubicBezTo>
                  <a:pt x="1161" y="25"/>
                  <a:pt x="1161" y="26"/>
                  <a:pt x="1161" y="28"/>
                </a:cubicBezTo>
                <a:cubicBezTo>
                  <a:pt x="1161" y="30"/>
                  <a:pt x="1161" y="32"/>
                  <a:pt x="1159" y="34"/>
                </a:cubicBezTo>
                <a:cubicBezTo>
                  <a:pt x="1157" y="35"/>
                  <a:pt x="1155" y="37"/>
                  <a:pt x="1152" y="38"/>
                </a:cubicBezTo>
                <a:cubicBezTo>
                  <a:pt x="1150" y="39"/>
                  <a:pt x="1147" y="39"/>
                  <a:pt x="1145" y="39"/>
                </a:cubicBezTo>
                <a:cubicBezTo>
                  <a:pt x="1145" y="37"/>
                  <a:pt x="1146" y="34"/>
                  <a:pt x="1147" y="32"/>
                </a:cubicBezTo>
                <a:cubicBezTo>
                  <a:pt x="1148" y="29"/>
                  <a:pt x="1149" y="27"/>
                  <a:pt x="1151" y="25"/>
                </a:cubicBezTo>
                <a:cubicBezTo>
                  <a:pt x="1152" y="23"/>
                  <a:pt x="1154" y="22"/>
                  <a:pt x="1157" y="22"/>
                </a:cubicBezTo>
                <a:close/>
                <a:moveTo>
                  <a:pt x="1187" y="28"/>
                </a:moveTo>
                <a:cubicBezTo>
                  <a:pt x="1188" y="19"/>
                  <a:pt x="1188" y="19"/>
                  <a:pt x="1188" y="19"/>
                </a:cubicBezTo>
                <a:cubicBezTo>
                  <a:pt x="1186" y="19"/>
                  <a:pt x="1186" y="19"/>
                  <a:pt x="1186" y="19"/>
                </a:cubicBezTo>
                <a:cubicBezTo>
                  <a:pt x="1178" y="20"/>
                  <a:pt x="1178" y="20"/>
                  <a:pt x="1178" y="20"/>
                </a:cubicBezTo>
                <a:cubicBezTo>
                  <a:pt x="1177" y="23"/>
                  <a:pt x="1177" y="23"/>
                  <a:pt x="1177" y="23"/>
                </a:cubicBezTo>
                <a:cubicBezTo>
                  <a:pt x="1180" y="25"/>
                  <a:pt x="1180" y="25"/>
                  <a:pt x="1180" y="25"/>
                </a:cubicBezTo>
                <a:cubicBezTo>
                  <a:pt x="1176" y="58"/>
                  <a:pt x="1176" y="58"/>
                  <a:pt x="1176" y="58"/>
                </a:cubicBezTo>
                <a:cubicBezTo>
                  <a:pt x="1183" y="58"/>
                  <a:pt x="1183" y="58"/>
                  <a:pt x="1183" y="58"/>
                </a:cubicBezTo>
                <a:cubicBezTo>
                  <a:pt x="1186" y="33"/>
                  <a:pt x="1186" y="33"/>
                  <a:pt x="1186" y="33"/>
                </a:cubicBezTo>
                <a:cubicBezTo>
                  <a:pt x="1188" y="31"/>
                  <a:pt x="1190" y="28"/>
                  <a:pt x="1192" y="26"/>
                </a:cubicBezTo>
                <a:cubicBezTo>
                  <a:pt x="1194" y="25"/>
                  <a:pt x="1196" y="24"/>
                  <a:pt x="1198" y="24"/>
                </a:cubicBezTo>
                <a:cubicBezTo>
                  <a:pt x="1200" y="24"/>
                  <a:pt x="1201" y="24"/>
                  <a:pt x="1202" y="25"/>
                </a:cubicBezTo>
                <a:cubicBezTo>
                  <a:pt x="1202" y="26"/>
                  <a:pt x="1203" y="27"/>
                  <a:pt x="1203" y="29"/>
                </a:cubicBezTo>
                <a:cubicBezTo>
                  <a:pt x="1203" y="31"/>
                  <a:pt x="1202" y="33"/>
                  <a:pt x="1202" y="35"/>
                </a:cubicBezTo>
                <a:cubicBezTo>
                  <a:pt x="1202" y="37"/>
                  <a:pt x="1201" y="39"/>
                  <a:pt x="1201" y="41"/>
                </a:cubicBezTo>
                <a:cubicBezTo>
                  <a:pt x="1201" y="43"/>
                  <a:pt x="1201" y="43"/>
                  <a:pt x="1201" y="43"/>
                </a:cubicBezTo>
                <a:cubicBezTo>
                  <a:pt x="1200" y="46"/>
                  <a:pt x="1200" y="46"/>
                  <a:pt x="1200" y="46"/>
                </a:cubicBezTo>
                <a:cubicBezTo>
                  <a:pt x="1199" y="51"/>
                  <a:pt x="1199" y="54"/>
                  <a:pt x="1199" y="55"/>
                </a:cubicBezTo>
                <a:cubicBezTo>
                  <a:pt x="1199" y="58"/>
                  <a:pt x="1200" y="59"/>
                  <a:pt x="1203" y="59"/>
                </a:cubicBezTo>
                <a:cubicBezTo>
                  <a:pt x="1205" y="59"/>
                  <a:pt x="1206" y="59"/>
                  <a:pt x="1207" y="58"/>
                </a:cubicBezTo>
                <a:cubicBezTo>
                  <a:pt x="1208" y="58"/>
                  <a:pt x="1209" y="57"/>
                  <a:pt x="1210" y="57"/>
                </a:cubicBezTo>
                <a:cubicBezTo>
                  <a:pt x="1210" y="56"/>
                  <a:pt x="1211" y="55"/>
                  <a:pt x="1211" y="55"/>
                </a:cubicBezTo>
                <a:cubicBezTo>
                  <a:pt x="1210" y="53"/>
                  <a:pt x="1210" y="53"/>
                  <a:pt x="1210" y="53"/>
                </a:cubicBezTo>
                <a:cubicBezTo>
                  <a:pt x="1209" y="54"/>
                  <a:pt x="1208" y="55"/>
                  <a:pt x="1207" y="55"/>
                </a:cubicBezTo>
                <a:cubicBezTo>
                  <a:pt x="1206" y="55"/>
                  <a:pt x="1206" y="54"/>
                  <a:pt x="1206" y="53"/>
                </a:cubicBezTo>
                <a:cubicBezTo>
                  <a:pt x="1206" y="51"/>
                  <a:pt x="1206" y="48"/>
                  <a:pt x="1207" y="45"/>
                </a:cubicBezTo>
                <a:cubicBezTo>
                  <a:pt x="1208" y="41"/>
                  <a:pt x="1208" y="41"/>
                  <a:pt x="1208" y="41"/>
                </a:cubicBezTo>
                <a:cubicBezTo>
                  <a:pt x="1208" y="40"/>
                  <a:pt x="1208" y="40"/>
                  <a:pt x="1208" y="40"/>
                </a:cubicBezTo>
                <a:cubicBezTo>
                  <a:pt x="1209" y="34"/>
                  <a:pt x="1210" y="31"/>
                  <a:pt x="1210" y="29"/>
                </a:cubicBezTo>
                <a:cubicBezTo>
                  <a:pt x="1210" y="25"/>
                  <a:pt x="1209" y="23"/>
                  <a:pt x="1207" y="21"/>
                </a:cubicBezTo>
                <a:cubicBezTo>
                  <a:pt x="1206" y="19"/>
                  <a:pt x="1204" y="19"/>
                  <a:pt x="1201" y="19"/>
                </a:cubicBezTo>
                <a:cubicBezTo>
                  <a:pt x="1199" y="19"/>
                  <a:pt x="1196" y="19"/>
                  <a:pt x="1193" y="21"/>
                </a:cubicBezTo>
                <a:cubicBezTo>
                  <a:pt x="1191" y="23"/>
                  <a:pt x="1189" y="25"/>
                  <a:pt x="1187" y="28"/>
                </a:cubicBezTo>
                <a:close/>
                <a:moveTo>
                  <a:pt x="1243" y="27"/>
                </a:moveTo>
                <a:cubicBezTo>
                  <a:pt x="1245" y="27"/>
                  <a:pt x="1245" y="27"/>
                  <a:pt x="1245" y="27"/>
                </a:cubicBezTo>
                <a:cubicBezTo>
                  <a:pt x="1247" y="20"/>
                  <a:pt x="1247" y="20"/>
                  <a:pt x="1247" y="20"/>
                </a:cubicBezTo>
                <a:cubicBezTo>
                  <a:pt x="1246" y="20"/>
                  <a:pt x="1244" y="19"/>
                  <a:pt x="1243" y="19"/>
                </a:cubicBezTo>
                <a:cubicBezTo>
                  <a:pt x="1241" y="19"/>
                  <a:pt x="1240" y="19"/>
                  <a:pt x="1239" y="19"/>
                </a:cubicBezTo>
                <a:cubicBezTo>
                  <a:pt x="1234" y="19"/>
                  <a:pt x="1231" y="20"/>
                  <a:pt x="1228" y="22"/>
                </a:cubicBezTo>
                <a:cubicBezTo>
                  <a:pt x="1224" y="25"/>
                  <a:pt x="1222" y="28"/>
                  <a:pt x="1220" y="32"/>
                </a:cubicBezTo>
                <a:cubicBezTo>
                  <a:pt x="1219" y="36"/>
                  <a:pt x="1218" y="40"/>
                  <a:pt x="1218" y="43"/>
                </a:cubicBezTo>
                <a:cubicBezTo>
                  <a:pt x="1218" y="48"/>
                  <a:pt x="1219" y="52"/>
                  <a:pt x="1221" y="55"/>
                </a:cubicBezTo>
                <a:cubicBezTo>
                  <a:pt x="1224" y="58"/>
                  <a:pt x="1227" y="59"/>
                  <a:pt x="1231" y="59"/>
                </a:cubicBezTo>
                <a:cubicBezTo>
                  <a:pt x="1234" y="59"/>
                  <a:pt x="1236" y="59"/>
                  <a:pt x="1239" y="57"/>
                </a:cubicBezTo>
                <a:cubicBezTo>
                  <a:pt x="1241" y="56"/>
                  <a:pt x="1243" y="54"/>
                  <a:pt x="1244" y="53"/>
                </a:cubicBezTo>
                <a:cubicBezTo>
                  <a:pt x="1242" y="50"/>
                  <a:pt x="1242" y="50"/>
                  <a:pt x="1242" y="50"/>
                </a:cubicBezTo>
                <a:cubicBezTo>
                  <a:pt x="1241" y="52"/>
                  <a:pt x="1239" y="53"/>
                  <a:pt x="1238" y="54"/>
                </a:cubicBezTo>
                <a:cubicBezTo>
                  <a:pt x="1236" y="54"/>
                  <a:pt x="1235" y="55"/>
                  <a:pt x="1233" y="55"/>
                </a:cubicBezTo>
                <a:cubicBezTo>
                  <a:pt x="1230" y="55"/>
                  <a:pt x="1228" y="54"/>
                  <a:pt x="1227" y="52"/>
                </a:cubicBezTo>
                <a:cubicBezTo>
                  <a:pt x="1226" y="50"/>
                  <a:pt x="1225" y="47"/>
                  <a:pt x="1225" y="43"/>
                </a:cubicBezTo>
                <a:cubicBezTo>
                  <a:pt x="1225" y="39"/>
                  <a:pt x="1226" y="35"/>
                  <a:pt x="1227" y="32"/>
                </a:cubicBezTo>
                <a:cubicBezTo>
                  <a:pt x="1228" y="30"/>
                  <a:pt x="1229" y="27"/>
                  <a:pt x="1231" y="26"/>
                </a:cubicBezTo>
                <a:cubicBezTo>
                  <a:pt x="1233" y="24"/>
                  <a:pt x="1235" y="23"/>
                  <a:pt x="1237" y="23"/>
                </a:cubicBezTo>
                <a:cubicBezTo>
                  <a:pt x="1239" y="23"/>
                  <a:pt x="1241" y="24"/>
                  <a:pt x="1243" y="27"/>
                </a:cubicBezTo>
                <a:close/>
                <a:moveTo>
                  <a:pt x="1279" y="52"/>
                </a:moveTo>
                <a:cubicBezTo>
                  <a:pt x="1277" y="49"/>
                  <a:pt x="1277" y="49"/>
                  <a:pt x="1277" y="49"/>
                </a:cubicBezTo>
                <a:cubicBezTo>
                  <a:pt x="1276" y="51"/>
                  <a:pt x="1274" y="52"/>
                  <a:pt x="1272" y="53"/>
                </a:cubicBezTo>
                <a:cubicBezTo>
                  <a:pt x="1270" y="54"/>
                  <a:pt x="1268" y="55"/>
                  <a:pt x="1266" y="55"/>
                </a:cubicBezTo>
                <a:cubicBezTo>
                  <a:pt x="1263" y="55"/>
                  <a:pt x="1261" y="54"/>
                  <a:pt x="1259" y="51"/>
                </a:cubicBezTo>
                <a:cubicBezTo>
                  <a:pt x="1258" y="49"/>
                  <a:pt x="1257" y="46"/>
                  <a:pt x="1258" y="43"/>
                </a:cubicBezTo>
                <a:cubicBezTo>
                  <a:pt x="1260" y="43"/>
                  <a:pt x="1264" y="42"/>
                  <a:pt x="1267" y="41"/>
                </a:cubicBezTo>
                <a:cubicBezTo>
                  <a:pt x="1271" y="40"/>
                  <a:pt x="1274" y="38"/>
                  <a:pt x="1277" y="36"/>
                </a:cubicBezTo>
                <a:cubicBezTo>
                  <a:pt x="1280" y="33"/>
                  <a:pt x="1281" y="31"/>
                  <a:pt x="1281" y="27"/>
                </a:cubicBezTo>
                <a:cubicBezTo>
                  <a:pt x="1281" y="25"/>
                  <a:pt x="1280" y="23"/>
                  <a:pt x="1278" y="21"/>
                </a:cubicBezTo>
                <a:cubicBezTo>
                  <a:pt x="1277" y="19"/>
                  <a:pt x="1274" y="19"/>
                  <a:pt x="1271" y="19"/>
                </a:cubicBezTo>
                <a:cubicBezTo>
                  <a:pt x="1267" y="19"/>
                  <a:pt x="1264" y="20"/>
                  <a:pt x="1260" y="22"/>
                </a:cubicBezTo>
                <a:cubicBezTo>
                  <a:pt x="1257" y="24"/>
                  <a:pt x="1255" y="28"/>
                  <a:pt x="1253" y="31"/>
                </a:cubicBezTo>
                <a:cubicBezTo>
                  <a:pt x="1251" y="35"/>
                  <a:pt x="1250" y="40"/>
                  <a:pt x="1250" y="44"/>
                </a:cubicBezTo>
                <a:cubicBezTo>
                  <a:pt x="1250" y="47"/>
                  <a:pt x="1251" y="49"/>
                  <a:pt x="1252" y="52"/>
                </a:cubicBezTo>
                <a:cubicBezTo>
                  <a:pt x="1253" y="54"/>
                  <a:pt x="1254" y="56"/>
                  <a:pt x="1256" y="57"/>
                </a:cubicBezTo>
                <a:cubicBezTo>
                  <a:pt x="1258" y="59"/>
                  <a:pt x="1261" y="59"/>
                  <a:pt x="1264" y="59"/>
                </a:cubicBezTo>
                <a:cubicBezTo>
                  <a:pt x="1267" y="59"/>
                  <a:pt x="1270" y="58"/>
                  <a:pt x="1273" y="57"/>
                </a:cubicBezTo>
                <a:cubicBezTo>
                  <a:pt x="1276" y="55"/>
                  <a:pt x="1278" y="54"/>
                  <a:pt x="1279" y="52"/>
                </a:cubicBezTo>
                <a:close/>
                <a:moveTo>
                  <a:pt x="1269" y="22"/>
                </a:moveTo>
                <a:cubicBezTo>
                  <a:pt x="1271" y="22"/>
                  <a:pt x="1272" y="23"/>
                  <a:pt x="1273" y="24"/>
                </a:cubicBezTo>
                <a:cubicBezTo>
                  <a:pt x="1274" y="25"/>
                  <a:pt x="1274" y="26"/>
                  <a:pt x="1274" y="28"/>
                </a:cubicBezTo>
                <a:cubicBezTo>
                  <a:pt x="1274" y="30"/>
                  <a:pt x="1273" y="32"/>
                  <a:pt x="1272" y="34"/>
                </a:cubicBezTo>
                <a:cubicBezTo>
                  <a:pt x="1270" y="35"/>
                  <a:pt x="1268" y="37"/>
                  <a:pt x="1265" y="38"/>
                </a:cubicBezTo>
                <a:cubicBezTo>
                  <a:pt x="1263" y="39"/>
                  <a:pt x="1260" y="39"/>
                  <a:pt x="1258" y="39"/>
                </a:cubicBezTo>
                <a:cubicBezTo>
                  <a:pt x="1258" y="37"/>
                  <a:pt x="1259" y="34"/>
                  <a:pt x="1259" y="32"/>
                </a:cubicBezTo>
                <a:cubicBezTo>
                  <a:pt x="1260" y="29"/>
                  <a:pt x="1262" y="27"/>
                  <a:pt x="1263" y="25"/>
                </a:cubicBezTo>
                <a:cubicBezTo>
                  <a:pt x="1265" y="23"/>
                  <a:pt x="1267" y="22"/>
                  <a:pt x="1269" y="22"/>
                </a:cubicBezTo>
                <a:close/>
                <a:moveTo>
                  <a:pt x="1310" y="25"/>
                </a:moveTo>
                <a:cubicBezTo>
                  <a:pt x="1311" y="20"/>
                  <a:pt x="1311" y="20"/>
                  <a:pt x="1311" y="20"/>
                </a:cubicBezTo>
                <a:cubicBezTo>
                  <a:pt x="1311" y="20"/>
                  <a:pt x="1309" y="19"/>
                  <a:pt x="1308" y="19"/>
                </a:cubicBezTo>
                <a:cubicBezTo>
                  <a:pt x="1306" y="19"/>
                  <a:pt x="1304" y="19"/>
                  <a:pt x="1303" y="19"/>
                </a:cubicBezTo>
                <a:cubicBezTo>
                  <a:pt x="1300" y="19"/>
                  <a:pt x="1298" y="19"/>
                  <a:pt x="1296" y="20"/>
                </a:cubicBezTo>
                <a:cubicBezTo>
                  <a:pt x="1293" y="21"/>
                  <a:pt x="1292" y="22"/>
                  <a:pt x="1291" y="24"/>
                </a:cubicBezTo>
                <a:cubicBezTo>
                  <a:pt x="1289" y="26"/>
                  <a:pt x="1289" y="27"/>
                  <a:pt x="1289" y="30"/>
                </a:cubicBezTo>
                <a:cubicBezTo>
                  <a:pt x="1289" y="34"/>
                  <a:pt x="1291" y="38"/>
                  <a:pt x="1296" y="41"/>
                </a:cubicBezTo>
                <a:cubicBezTo>
                  <a:pt x="1298" y="43"/>
                  <a:pt x="1300" y="44"/>
                  <a:pt x="1301" y="45"/>
                </a:cubicBezTo>
                <a:cubicBezTo>
                  <a:pt x="1302" y="46"/>
                  <a:pt x="1303" y="48"/>
                  <a:pt x="1303" y="50"/>
                </a:cubicBezTo>
                <a:cubicBezTo>
                  <a:pt x="1303" y="51"/>
                  <a:pt x="1302" y="53"/>
                  <a:pt x="1301" y="54"/>
                </a:cubicBezTo>
                <a:cubicBezTo>
                  <a:pt x="1299" y="55"/>
                  <a:pt x="1297" y="55"/>
                  <a:pt x="1295" y="55"/>
                </a:cubicBezTo>
                <a:cubicBezTo>
                  <a:pt x="1293" y="55"/>
                  <a:pt x="1292" y="55"/>
                  <a:pt x="1290" y="54"/>
                </a:cubicBezTo>
                <a:cubicBezTo>
                  <a:pt x="1288" y="53"/>
                  <a:pt x="1287" y="53"/>
                  <a:pt x="1286" y="52"/>
                </a:cubicBezTo>
                <a:cubicBezTo>
                  <a:pt x="1285" y="57"/>
                  <a:pt x="1285" y="57"/>
                  <a:pt x="1285" y="57"/>
                </a:cubicBezTo>
                <a:cubicBezTo>
                  <a:pt x="1285" y="58"/>
                  <a:pt x="1287" y="58"/>
                  <a:pt x="1289" y="58"/>
                </a:cubicBezTo>
                <a:cubicBezTo>
                  <a:pt x="1291" y="59"/>
                  <a:pt x="1293" y="59"/>
                  <a:pt x="1295" y="59"/>
                </a:cubicBezTo>
                <a:cubicBezTo>
                  <a:pt x="1299" y="59"/>
                  <a:pt x="1303" y="58"/>
                  <a:pt x="1305" y="56"/>
                </a:cubicBezTo>
                <a:cubicBezTo>
                  <a:pt x="1308" y="54"/>
                  <a:pt x="1309" y="52"/>
                  <a:pt x="1309" y="48"/>
                </a:cubicBezTo>
                <a:cubicBezTo>
                  <a:pt x="1309" y="46"/>
                  <a:pt x="1309" y="45"/>
                  <a:pt x="1308" y="43"/>
                </a:cubicBezTo>
                <a:cubicBezTo>
                  <a:pt x="1307" y="42"/>
                  <a:pt x="1306" y="41"/>
                  <a:pt x="1305" y="40"/>
                </a:cubicBezTo>
                <a:cubicBezTo>
                  <a:pt x="1304" y="39"/>
                  <a:pt x="1303" y="38"/>
                  <a:pt x="1301" y="36"/>
                </a:cubicBezTo>
                <a:cubicBezTo>
                  <a:pt x="1299" y="35"/>
                  <a:pt x="1298" y="34"/>
                  <a:pt x="1297" y="32"/>
                </a:cubicBezTo>
                <a:cubicBezTo>
                  <a:pt x="1296" y="31"/>
                  <a:pt x="1295" y="30"/>
                  <a:pt x="1295" y="28"/>
                </a:cubicBezTo>
                <a:cubicBezTo>
                  <a:pt x="1295" y="26"/>
                  <a:pt x="1296" y="25"/>
                  <a:pt x="1297" y="24"/>
                </a:cubicBezTo>
                <a:cubicBezTo>
                  <a:pt x="1299" y="23"/>
                  <a:pt x="1300" y="23"/>
                  <a:pt x="1303" y="23"/>
                </a:cubicBezTo>
                <a:cubicBezTo>
                  <a:pt x="1304" y="23"/>
                  <a:pt x="1306" y="23"/>
                  <a:pt x="1307" y="24"/>
                </a:cubicBezTo>
                <a:cubicBezTo>
                  <a:pt x="1309" y="24"/>
                  <a:pt x="1310" y="25"/>
                  <a:pt x="1310" y="25"/>
                </a:cubicBezTo>
                <a:close/>
                <a:moveTo>
                  <a:pt x="1047" y="110"/>
                </a:moveTo>
                <a:cubicBezTo>
                  <a:pt x="1052" y="111"/>
                  <a:pt x="1052" y="111"/>
                  <a:pt x="1052" y="111"/>
                </a:cubicBezTo>
                <a:cubicBezTo>
                  <a:pt x="1046" y="156"/>
                  <a:pt x="1046" y="156"/>
                  <a:pt x="1046" y="156"/>
                </a:cubicBezTo>
                <a:cubicBezTo>
                  <a:pt x="1041" y="157"/>
                  <a:pt x="1041" y="157"/>
                  <a:pt x="1041" y="157"/>
                </a:cubicBezTo>
                <a:cubicBezTo>
                  <a:pt x="1041" y="159"/>
                  <a:pt x="1041" y="159"/>
                  <a:pt x="1041" y="159"/>
                </a:cubicBezTo>
                <a:cubicBezTo>
                  <a:pt x="1078" y="159"/>
                  <a:pt x="1078" y="159"/>
                  <a:pt x="1078" y="159"/>
                </a:cubicBezTo>
                <a:cubicBezTo>
                  <a:pt x="1081" y="147"/>
                  <a:pt x="1081" y="147"/>
                  <a:pt x="1081" y="147"/>
                </a:cubicBezTo>
                <a:cubicBezTo>
                  <a:pt x="1077" y="146"/>
                  <a:pt x="1077" y="146"/>
                  <a:pt x="1077" y="146"/>
                </a:cubicBezTo>
                <a:cubicBezTo>
                  <a:pt x="1073" y="155"/>
                  <a:pt x="1073" y="155"/>
                  <a:pt x="1073" y="155"/>
                </a:cubicBezTo>
                <a:cubicBezTo>
                  <a:pt x="1053" y="156"/>
                  <a:pt x="1053" y="156"/>
                  <a:pt x="1053" y="156"/>
                </a:cubicBezTo>
                <a:cubicBezTo>
                  <a:pt x="1056" y="134"/>
                  <a:pt x="1056" y="134"/>
                  <a:pt x="1056" y="134"/>
                </a:cubicBezTo>
                <a:cubicBezTo>
                  <a:pt x="1072" y="135"/>
                  <a:pt x="1072" y="135"/>
                  <a:pt x="1072" y="135"/>
                </a:cubicBezTo>
                <a:cubicBezTo>
                  <a:pt x="1073" y="130"/>
                  <a:pt x="1073" y="130"/>
                  <a:pt x="1073" y="130"/>
                </a:cubicBezTo>
                <a:cubicBezTo>
                  <a:pt x="1057" y="130"/>
                  <a:pt x="1057" y="130"/>
                  <a:pt x="1057" y="130"/>
                </a:cubicBezTo>
                <a:cubicBezTo>
                  <a:pt x="1059" y="110"/>
                  <a:pt x="1059" y="110"/>
                  <a:pt x="1059" y="110"/>
                </a:cubicBezTo>
                <a:cubicBezTo>
                  <a:pt x="1075" y="111"/>
                  <a:pt x="1075" y="111"/>
                  <a:pt x="1075" y="111"/>
                </a:cubicBezTo>
                <a:cubicBezTo>
                  <a:pt x="1076" y="118"/>
                  <a:pt x="1076" y="118"/>
                  <a:pt x="1076" y="118"/>
                </a:cubicBezTo>
                <a:cubicBezTo>
                  <a:pt x="1080" y="118"/>
                  <a:pt x="1080" y="118"/>
                  <a:pt x="1080" y="118"/>
                </a:cubicBezTo>
                <a:cubicBezTo>
                  <a:pt x="1081" y="107"/>
                  <a:pt x="1081" y="107"/>
                  <a:pt x="1081" y="107"/>
                </a:cubicBezTo>
                <a:cubicBezTo>
                  <a:pt x="1048" y="107"/>
                  <a:pt x="1048" y="107"/>
                  <a:pt x="1048" y="107"/>
                </a:cubicBezTo>
                <a:lnTo>
                  <a:pt x="1047" y="110"/>
                </a:lnTo>
                <a:close/>
                <a:moveTo>
                  <a:pt x="1100" y="129"/>
                </a:moveTo>
                <a:cubicBezTo>
                  <a:pt x="1100" y="120"/>
                  <a:pt x="1100" y="120"/>
                  <a:pt x="1100" y="120"/>
                </a:cubicBezTo>
                <a:cubicBezTo>
                  <a:pt x="1099" y="119"/>
                  <a:pt x="1099" y="119"/>
                  <a:pt x="1099" y="119"/>
                </a:cubicBezTo>
                <a:cubicBezTo>
                  <a:pt x="1090" y="121"/>
                  <a:pt x="1090" y="121"/>
                  <a:pt x="1090" y="121"/>
                </a:cubicBezTo>
                <a:cubicBezTo>
                  <a:pt x="1090" y="124"/>
                  <a:pt x="1090" y="124"/>
                  <a:pt x="1090" y="124"/>
                </a:cubicBezTo>
                <a:cubicBezTo>
                  <a:pt x="1093" y="125"/>
                  <a:pt x="1093" y="125"/>
                  <a:pt x="1093" y="125"/>
                </a:cubicBezTo>
                <a:cubicBezTo>
                  <a:pt x="1089" y="159"/>
                  <a:pt x="1089" y="159"/>
                  <a:pt x="1089" y="159"/>
                </a:cubicBezTo>
                <a:cubicBezTo>
                  <a:pt x="1095" y="159"/>
                  <a:pt x="1095" y="159"/>
                  <a:pt x="1095" y="159"/>
                </a:cubicBezTo>
                <a:cubicBezTo>
                  <a:pt x="1099" y="134"/>
                  <a:pt x="1099" y="134"/>
                  <a:pt x="1099" y="134"/>
                </a:cubicBezTo>
                <a:cubicBezTo>
                  <a:pt x="1101" y="131"/>
                  <a:pt x="1103" y="129"/>
                  <a:pt x="1105" y="127"/>
                </a:cubicBezTo>
                <a:cubicBezTo>
                  <a:pt x="1107" y="125"/>
                  <a:pt x="1109" y="124"/>
                  <a:pt x="1111" y="124"/>
                </a:cubicBezTo>
                <a:cubicBezTo>
                  <a:pt x="1113" y="124"/>
                  <a:pt x="1114" y="125"/>
                  <a:pt x="1114" y="126"/>
                </a:cubicBezTo>
                <a:cubicBezTo>
                  <a:pt x="1115" y="127"/>
                  <a:pt x="1115" y="128"/>
                  <a:pt x="1115" y="130"/>
                </a:cubicBezTo>
                <a:cubicBezTo>
                  <a:pt x="1115" y="132"/>
                  <a:pt x="1115" y="134"/>
                  <a:pt x="1115" y="135"/>
                </a:cubicBezTo>
                <a:cubicBezTo>
                  <a:pt x="1115" y="137"/>
                  <a:pt x="1114" y="140"/>
                  <a:pt x="1114" y="142"/>
                </a:cubicBezTo>
                <a:cubicBezTo>
                  <a:pt x="1114" y="144"/>
                  <a:pt x="1114" y="144"/>
                  <a:pt x="1114" y="144"/>
                </a:cubicBezTo>
                <a:cubicBezTo>
                  <a:pt x="1113" y="147"/>
                  <a:pt x="1113" y="147"/>
                  <a:pt x="1113" y="147"/>
                </a:cubicBezTo>
                <a:cubicBezTo>
                  <a:pt x="1112" y="151"/>
                  <a:pt x="1112" y="154"/>
                  <a:pt x="1112" y="156"/>
                </a:cubicBezTo>
                <a:cubicBezTo>
                  <a:pt x="1112" y="159"/>
                  <a:pt x="1113" y="160"/>
                  <a:pt x="1116" y="160"/>
                </a:cubicBezTo>
                <a:cubicBezTo>
                  <a:pt x="1117" y="160"/>
                  <a:pt x="1119" y="160"/>
                  <a:pt x="1120" y="159"/>
                </a:cubicBezTo>
                <a:cubicBezTo>
                  <a:pt x="1121" y="159"/>
                  <a:pt x="1122" y="158"/>
                  <a:pt x="1123" y="157"/>
                </a:cubicBezTo>
                <a:cubicBezTo>
                  <a:pt x="1123" y="157"/>
                  <a:pt x="1124" y="156"/>
                  <a:pt x="1124" y="156"/>
                </a:cubicBezTo>
                <a:cubicBezTo>
                  <a:pt x="1123" y="154"/>
                  <a:pt x="1123" y="154"/>
                  <a:pt x="1123" y="154"/>
                </a:cubicBezTo>
                <a:cubicBezTo>
                  <a:pt x="1122" y="155"/>
                  <a:pt x="1121" y="156"/>
                  <a:pt x="1120" y="156"/>
                </a:cubicBezTo>
                <a:cubicBezTo>
                  <a:pt x="1119" y="156"/>
                  <a:pt x="1119" y="155"/>
                  <a:pt x="1119" y="154"/>
                </a:cubicBezTo>
                <a:cubicBezTo>
                  <a:pt x="1119" y="152"/>
                  <a:pt x="1119" y="149"/>
                  <a:pt x="1120" y="145"/>
                </a:cubicBezTo>
                <a:cubicBezTo>
                  <a:pt x="1121" y="142"/>
                  <a:pt x="1121" y="142"/>
                  <a:pt x="1121" y="142"/>
                </a:cubicBezTo>
                <a:cubicBezTo>
                  <a:pt x="1121" y="140"/>
                  <a:pt x="1121" y="140"/>
                  <a:pt x="1121" y="140"/>
                </a:cubicBezTo>
                <a:cubicBezTo>
                  <a:pt x="1122" y="135"/>
                  <a:pt x="1122" y="132"/>
                  <a:pt x="1122" y="130"/>
                </a:cubicBezTo>
                <a:cubicBezTo>
                  <a:pt x="1122" y="126"/>
                  <a:pt x="1122" y="123"/>
                  <a:pt x="1120" y="122"/>
                </a:cubicBezTo>
                <a:cubicBezTo>
                  <a:pt x="1119" y="120"/>
                  <a:pt x="1117" y="119"/>
                  <a:pt x="1114" y="119"/>
                </a:cubicBezTo>
                <a:cubicBezTo>
                  <a:pt x="1112" y="119"/>
                  <a:pt x="1109" y="120"/>
                  <a:pt x="1106" y="122"/>
                </a:cubicBezTo>
                <a:cubicBezTo>
                  <a:pt x="1104" y="124"/>
                  <a:pt x="1102" y="126"/>
                  <a:pt x="1100" y="129"/>
                </a:cubicBezTo>
                <a:close/>
                <a:moveTo>
                  <a:pt x="1159" y="162"/>
                </a:moveTo>
                <a:cubicBezTo>
                  <a:pt x="1165" y="119"/>
                  <a:pt x="1165" y="119"/>
                  <a:pt x="1165" y="119"/>
                </a:cubicBezTo>
                <a:cubicBezTo>
                  <a:pt x="1160" y="121"/>
                  <a:pt x="1160" y="121"/>
                  <a:pt x="1160" y="121"/>
                </a:cubicBezTo>
                <a:cubicBezTo>
                  <a:pt x="1159" y="121"/>
                  <a:pt x="1158" y="120"/>
                  <a:pt x="1157" y="120"/>
                </a:cubicBezTo>
                <a:cubicBezTo>
                  <a:pt x="1155" y="120"/>
                  <a:pt x="1154" y="119"/>
                  <a:pt x="1153" y="119"/>
                </a:cubicBezTo>
                <a:cubicBezTo>
                  <a:pt x="1148" y="119"/>
                  <a:pt x="1144" y="121"/>
                  <a:pt x="1141" y="123"/>
                </a:cubicBezTo>
                <a:cubicBezTo>
                  <a:pt x="1137" y="126"/>
                  <a:pt x="1135" y="129"/>
                  <a:pt x="1133" y="133"/>
                </a:cubicBezTo>
                <a:cubicBezTo>
                  <a:pt x="1131" y="137"/>
                  <a:pt x="1130" y="141"/>
                  <a:pt x="1130" y="145"/>
                </a:cubicBezTo>
                <a:cubicBezTo>
                  <a:pt x="1130" y="150"/>
                  <a:pt x="1131" y="153"/>
                  <a:pt x="1133" y="156"/>
                </a:cubicBezTo>
                <a:cubicBezTo>
                  <a:pt x="1135" y="159"/>
                  <a:pt x="1138" y="160"/>
                  <a:pt x="1142" y="160"/>
                </a:cubicBezTo>
                <a:cubicBezTo>
                  <a:pt x="1144" y="160"/>
                  <a:pt x="1146" y="159"/>
                  <a:pt x="1148" y="158"/>
                </a:cubicBezTo>
                <a:cubicBezTo>
                  <a:pt x="1150" y="157"/>
                  <a:pt x="1152" y="156"/>
                  <a:pt x="1153" y="155"/>
                </a:cubicBezTo>
                <a:cubicBezTo>
                  <a:pt x="1151" y="164"/>
                  <a:pt x="1151" y="164"/>
                  <a:pt x="1151" y="164"/>
                </a:cubicBezTo>
                <a:cubicBezTo>
                  <a:pt x="1151" y="167"/>
                  <a:pt x="1150" y="169"/>
                  <a:pt x="1149" y="170"/>
                </a:cubicBezTo>
                <a:cubicBezTo>
                  <a:pt x="1147" y="172"/>
                  <a:pt x="1145" y="172"/>
                  <a:pt x="1142" y="172"/>
                </a:cubicBezTo>
                <a:cubicBezTo>
                  <a:pt x="1140" y="172"/>
                  <a:pt x="1139" y="172"/>
                  <a:pt x="1137" y="171"/>
                </a:cubicBezTo>
                <a:cubicBezTo>
                  <a:pt x="1136" y="171"/>
                  <a:pt x="1134" y="170"/>
                  <a:pt x="1133" y="170"/>
                </a:cubicBezTo>
                <a:cubicBezTo>
                  <a:pt x="1132" y="175"/>
                  <a:pt x="1132" y="175"/>
                  <a:pt x="1132" y="175"/>
                </a:cubicBezTo>
                <a:cubicBezTo>
                  <a:pt x="1132" y="176"/>
                  <a:pt x="1134" y="176"/>
                  <a:pt x="1135" y="176"/>
                </a:cubicBezTo>
                <a:cubicBezTo>
                  <a:pt x="1137" y="177"/>
                  <a:pt x="1138" y="177"/>
                  <a:pt x="1140" y="177"/>
                </a:cubicBezTo>
                <a:cubicBezTo>
                  <a:pt x="1142" y="177"/>
                  <a:pt x="1145" y="176"/>
                  <a:pt x="1148" y="175"/>
                </a:cubicBezTo>
                <a:cubicBezTo>
                  <a:pt x="1150" y="174"/>
                  <a:pt x="1153" y="173"/>
                  <a:pt x="1155" y="170"/>
                </a:cubicBezTo>
                <a:cubicBezTo>
                  <a:pt x="1157" y="168"/>
                  <a:pt x="1158" y="165"/>
                  <a:pt x="1159" y="162"/>
                </a:cubicBezTo>
                <a:close/>
                <a:moveTo>
                  <a:pt x="1157" y="125"/>
                </a:moveTo>
                <a:cubicBezTo>
                  <a:pt x="1154" y="150"/>
                  <a:pt x="1154" y="150"/>
                  <a:pt x="1154" y="150"/>
                </a:cubicBezTo>
                <a:cubicBezTo>
                  <a:pt x="1152" y="151"/>
                  <a:pt x="1151" y="153"/>
                  <a:pt x="1149" y="154"/>
                </a:cubicBezTo>
                <a:cubicBezTo>
                  <a:pt x="1148" y="155"/>
                  <a:pt x="1146" y="155"/>
                  <a:pt x="1144" y="155"/>
                </a:cubicBezTo>
                <a:cubicBezTo>
                  <a:pt x="1142" y="155"/>
                  <a:pt x="1140" y="155"/>
                  <a:pt x="1139" y="153"/>
                </a:cubicBezTo>
                <a:cubicBezTo>
                  <a:pt x="1138" y="151"/>
                  <a:pt x="1138" y="148"/>
                  <a:pt x="1138" y="145"/>
                </a:cubicBezTo>
                <a:cubicBezTo>
                  <a:pt x="1138" y="142"/>
                  <a:pt x="1138" y="138"/>
                  <a:pt x="1139" y="135"/>
                </a:cubicBezTo>
                <a:cubicBezTo>
                  <a:pt x="1140" y="132"/>
                  <a:pt x="1142" y="129"/>
                  <a:pt x="1144" y="127"/>
                </a:cubicBezTo>
                <a:cubicBezTo>
                  <a:pt x="1146" y="124"/>
                  <a:pt x="1149" y="123"/>
                  <a:pt x="1152" y="123"/>
                </a:cubicBezTo>
                <a:cubicBezTo>
                  <a:pt x="1154" y="123"/>
                  <a:pt x="1156" y="124"/>
                  <a:pt x="1157" y="125"/>
                </a:cubicBezTo>
                <a:close/>
                <a:moveTo>
                  <a:pt x="1181" y="153"/>
                </a:moveTo>
                <a:cubicBezTo>
                  <a:pt x="1185" y="120"/>
                  <a:pt x="1185" y="120"/>
                  <a:pt x="1185" y="120"/>
                </a:cubicBezTo>
                <a:cubicBezTo>
                  <a:pt x="1184" y="119"/>
                  <a:pt x="1184" y="119"/>
                  <a:pt x="1184" y="119"/>
                </a:cubicBezTo>
                <a:cubicBezTo>
                  <a:pt x="1174" y="121"/>
                  <a:pt x="1174" y="121"/>
                  <a:pt x="1174" y="121"/>
                </a:cubicBezTo>
                <a:cubicBezTo>
                  <a:pt x="1173" y="123"/>
                  <a:pt x="1173" y="123"/>
                  <a:pt x="1173" y="123"/>
                </a:cubicBezTo>
                <a:cubicBezTo>
                  <a:pt x="1178" y="125"/>
                  <a:pt x="1178" y="125"/>
                  <a:pt x="1178" y="125"/>
                </a:cubicBezTo>
                <a:cubicBezTo>
                  <a:pt x="1177" y="132"/>
                  <a:pt x="1176" y="138"/>
                  <a:pt x="1175" y="142"/>
                </a:cubicBezTo>
                <a:cubicBezTo>
                  <a:pt x="1174" y="150"/>
                  <a:pt x="1174" y="154"/>
                  <a:pt x="1173" y="156"/>
                </a:cubicBezTo>
                <a:cubicBezTo>
                  <a:pt x="1173" y="157"/>
                  <a:pt x="1174" y="158"/>
                  <a:pt x="1174" y="159"/>
                </a:cubicBezTo>
                <a:cubicBezTo>
                  <a:pt x="1175" y="160"/>
                  <a:pt x="1176" y="160"/>
                  <a:pt x="1178" y="160"/>
                </a:cubicBezTo>
                <a:cubicBezTo>
                  <a:pt x="1180" y="160"/>
                  <a:pt x="1182" y="159"/>
                  <a:pt x="1183" y="158"/>
                </a:cubicBezTo>
                <a:cubicBezTo>
                  <a:pt x="1184" y="157"/>
                  <a:pt x="1185" y="156"/>
                  <a:pt x="1186" y="155"/>
                </a:cubicBezTo>
                <a:cubicBezTo>
                  <a:pt x="1185" y="154"/>
                  <a:pt x="1185" y="154"/>
                  <a:pt x="1185" y="154"/>
                </a:cubicBezTo>
                <a:cubicBezTo>
                  <a:pt x="1184" y="154"/>
                  <a:pt x="1184" y="155"/>
                  <a:pt x="1183" y="155"/>
                </a:cubicBezTo>
                <a:cubicBezTo>
                  <a:pt x="1183" y="156"/>
                  <a:pt x="1182" y="156"/>
                  <a:pt x="1182" y="156"/>
                </a:cubicBezTo>
                <a:cubicBezTo>
                  <a:pt x="1181" y="156"/>
                  <a:pt x="1181" y="156"/>
                  <a:pt x="1181" y="155"/>
                </a:cubicBezTo>
                <a:cubicBezTo>
                  <a:pt x="1181" y="155"/>
                  <a:pt x="1180" y="155"/>
                  <a:pt x="1180" y="154"/>
                </a:cubicBezTo>
                <a:lnTo>
                  <a:pt x="1181" y="153"/>
                </a:lnTo>
                <a:close/>
                <a:moveTo>
                  <a:pt x="1183" y="112"/>
                </a:moveTo>
                <a:cubicBezTo>
                  <a:pt x="1184" y="112"/>
                  <a:pt x="1185" y="111"/>
                  <a:pt x="1186" y="110"/>
                </a:cubicBezTo>
                <a:cubicBezTo>
                  <a:pt x="1187" y="109"/>
                  <a:pt x="1188" y="108"/>
                  <a:pt x="1188" y="107"/>
                </a:cubicBezTo>
                <a:cubicBezTo>
                  <a:pt x="1188" y="106"/>
                  <a:pt x="1187" y="105"/>
                  <a:pt x="1187" y="104"/>
                </a:cubicBezTo>
                <a:cubicBezTo>
                  <a:pt x="1186" y="103"/>
                  <a:pt x="1185" y="103"/>
                  <a:pt x="1184" y="103"/>
                </a:cubicBezTo>
                <a:cubicBezTo>
                  <a:pt x="1182" y="103"/>
                  <a:pt x="1181" y="103"/>
                  <a:pt x="1180" y="104"/>
                </a:cubicBezTo>
                <a:cubicBezTo>
                  <a:pt x="1180" y="105"/>
                  <a:pt x="1179" y="107"/>
                  <a:pt x="1179" y="108"/>
                </a:cubicBezTo>
                <a:cubicBezTo>
                  <a:pt x="1179" y="109"/>
                  <a:pt x="1179" y="110"/>
                  <a:pt x="1180" y="111"/>
                </a:cubicBezTo>
                <a:cubicBezTo>
                  <a:pt x="1181" y="111"/>
                  <a:pt x="1182" y="112"/>
                  <a:pt x="1183" y="112"/>
                </a:cubicBezTo>
                <a:close/>
                <a:moveTo>
                  <a:pt x="1207" y="129"/>
                </a:moveTo>
                <a:cubicBezTo>
                  <a:pt x="1208" y="120"/>
                  <a:pt x="1208" y="120"/>
                  <a:pt x="1208" y="120"/>
                </a:cubicBezTo>
                <a:cubicBezTo>
                  <a:pt x="1207" y="119"/>
                  <a:pt x="1207" y="119"/>
                  <a:pt x="1207" y="119"/>
                </a:cubicBezTo>
                <a:cubicBezTo>
                  <a:pt x="1198" y="121"/>
                  <a:pt x="1198" y="121"/>
                  <a:pt x="1198" y="121"/>
                </a:cubicBezTo>
                <a:cubicBezTo>
                  <a:pt x="1198" y="124"/>
                  <a:pt x="1198" y="124"/>
                  <a:pt x="1198" y="124"/>
                </a:cubicBezTo>
                <a:cubicBezTo>
                  <a:pt x="1201" y="125"/>
                  <a:pt x="1201" y="125"/>
                  <a:pt x="1201" y="125"/>
                </a:cubicBezTo>
                <a:cubicBezTo>
                  <a:pt x="1196" y="159"/>
                  <a:pt x="1196" y="159"/>
                  <a:pt x="1196" y="159"/>
                </a:cubicBezTo>
                <a:cubicBezTo>
                  <a:pt x="1203" y="159"/>
                  <a:pt x="1203" y="159"/>
                  <a:pt x="1203" y="159"/>
                </a:cubicBezTo>
                <a:cubicBezTo>
                  <a:pt x="1207" y="134"/>
                  <a:pt x="1207" y="134"/>
                  <a:pt x="1207" y="134"/>
                </a:cubicBezTo>
                <a:cubicBezTo>
                  <a:pt x="1208" y="131"/>
                  <a:pt x="1210" y="129"/>
                  <a:pt x="1213" y="127"/>
                </a:cubicBezTo>
                <a:cubicBezTo>
                  <a:pt x="1215" y="125"/>
                  <a:pt x="1217" y="124"/>
                  <a:pt x="1219" y="124"/>
                </a:cubicBezTo>
                <a:cubicBezTo>
                  <a:pt x="1220" y="124"/>
                  <a:pt x="1221" y="125"/>
                  <a:pt x="1222" y="126"/>
                </a:cubicBezTo>
                <a:cubicBezTo>
                  <a:pt x="1223" y="127"/>
                  <a:pt x="1223" y="128"/>
                  <a:pt x="1223" y="130"/>
                </a:cubicBezTo>
                <a:cubicBezTo>
                  <a:pt x="1223" y="132"/>
                  <a:pt x="1223" y="134"/>
                  <a:pt x="1223" y="135"/>
                </a:cubicBezTo>
                <a:cubicBezTo>
                  <a:pt x="1222" y="137"/>
                  <a:pt x="1222" y="140"/>
                  <a:pt x="1222" y="142"/>
                </a:cubicBezTo>
                <a:cubicBezTo>
                  <a:pt x="1221" y="144"/>
                  <a:pt x="1221" y="144"/>
                  <a:pt x="1221" y="144"/>
                </a:cubicBezTo>
                <a:cubicBezTo>
                  <a:pt x="1221" y="147"/>
                  <a:pt x="1221" y="147"/>
                  <a:pt x="1221" y="147"/>
                </a:cubicBezTo>
                <a:cubicBezTo>
                  <a:pt x="1220" y="151"/>
                  <a:pt x="1219" y="154"/>
                  <a:pt x="1219" y="156"/>
                </a:cubicBezTo>
                <a:cubicBezTo>
                  <a:pt x="1219" y="159"/>
                  <a:pt x="1221" y="160"/>
                  <a:pt x="1224" y="160"/>
                </a:cubicBezTo>
                <a:cubicBezTo>
                  <a:pt x="1225" y="160"/>
                  <a:pt x="1226" y="160"/>
                  <a:pt x="1227" y="159"/>
                </a:cubicBezTo>
                <a:cubicBezTo>
                  <a:pt x="1228" y="159"/>
                  <a:pt x="1229" y="158"/>
                  <a:pt x="1230" y="157"/>
                </a:cubicBezTo>
                <a:cubicBezTo>
                  <a:pt x="1231" y="157"/>
                  <a:pt x="1231" y="156"/>
                  <a:pt x="1232" y="156"/>
                </a:cubicBezTo>
                <a:cubicBezTo>
                  <a:pt x="1231" y="154"/>
                  <a:pt x="1231" y="154"/>
                  <a:pt x="1231" y="154"/>
                </a:cubicBezTo>
                <a:cubicBezTo>
                  <a:pt x="1229" y="155"/>
                  <a:pt x="1228" y="156"/>
                  <a:pt x="1227" y="156"/>
                </a:cubicBezTo>
                <a:cubicBezTo>
                  <a:pt x="1227" y="156"/>
                  <a:pt x="1227" y="155"/>
                  <a:pt x="1227" y="154"/>
                </a:cubicBezTo>
                <a:cubicBezTo>
                  <a:pt x="1227" y="152"/>
                  <a:pt x="1227" y="149"/>
                  <a:pt x="1228" y="145"/>
                </a:cubicBezTo>
                <a:cubicBezTo>
                  <a:pt x="1228" y="142"/>
                  <a:pt x="1228" y="142"/>
                  <a:pt x="1228" y="142"/>
                </a:cubicBezTo>
                <a:cubicBezTo>
                  <a:pt x="1229" y="140"/>
                  <a:pt x="1229" y="140"/>
                  <a:pt x="1229" y="140"/>
                </a:cubicBezTo>
                <a:cubicBezTo>
                  <a:pt x="1230" y="135"/>
                  <a:pt x="1230" y="132"/>
                  <a:pt x="1230" y="130"/>
                </a:cubicBezTo>
                <a:cubicBezTo>
                  <a:pt x="1230" y="126"/>
                  <a:pt x="1229" y="123"/>
                  <a:pt x="1228" y="122"/>
                </a:cubicBezTo>
                <a:cubicBezTo>
                  <a:pt x="1227" y="120"/>
                  <a:pt x="1225" y="119"/>
                  <a:pt x="1222" y="119"/>
                </a:cubicBezTo>
                <a:cubicBezTo>
                  <a:pt x="1219" y="119"/>
                  <a:pt x="1217" y="120"/>
                  <a:pt x="1214" y="122"/>
                </a:cubicBezTo>
                <a:cubicBezTo>
                  <a:pt x="1211" y="124"/>
                  <a:pt x="1209" y="126"/>
                  <a:pt x="1207" y="129"/>
                </a:cubicBezTo>
                <a:close/>
                <a:moveTo>
                  <a:pt x="1267" y="153"/>
                </a:moveTo>
                <a:cubicBezTo>
                  <a:pt x="1266" y="150"/>
                  <a:pt x="1266" y="150"/>
                  <a:pt x="1266" y="150"/>
                </a:cubicBezTo>
                <a:cubicBezTo>
                  <a:pt x="1264" y="152"/>
                  <a:pt x="1262" y="153"/>
                  <a:pt x="1260" y="154"/>
                </a:cubicBezTo>
                <a:cubicBezTo>
                  <a:pt x="1258" y="155"/>
                  <a:pt x="1256" y="156"/>
                  <a:pt x="1254" y="156"/>
                </a:cubicBezTo>
                <a:cubicBezTo>
                  <a:pt x="1251" y="156"/>
                  <a:pt x="1249" y="154"/>
                  <a:pt x="1248" y="152"/>
                </a:cubicBezTo>
                <a:cubicBezTo>
                  <a:pt x="1246" y="150"/>
                  <a:pt x="1246" y="147"/>
                  <a:pt x="1246" y="143"/>
                </a:cubicBezTo>
                <a:cubicBezTo>
                  <a:pt x="1249" y="143"/>
                  <a:pt x="1252" y="143"/>
                  <a:pt x="1256" y="142"/>
                </a:cubicBezTo>
                <a:cubicBezTo>
                  <a:pt x="1259" y="140"/>
                  <a:pt x="1263" y="139"/>
                  <a:pt x="1265" y="136"/>
                </a:cubicBezTo>
                <a:cubicBezTo>
                  <a:pt x="1268" y="134"/>
                  <a:pt x="1269" y="131"/>
                  <a:pt x="1269" y="128"/>
                </a:cubicBezTo>
                <a:cubicBezTo>
                  <a:pt x="1269" y="125"/>
                  <a:pt x="1268" y="123"/>
                  <a:pt x="1267" y="122"/>
                </a:cubicBezTo>
                <a:cubicBezTo>
                  <a:pt x="1265" y="120"/>
                  <a:pt x="1263" y="119"/>
                  <a:pt x="1259" y="119"/>
                </a:cubicBezTo>
                <a:cubicBezTo>
                  <a:pt x="1255" y="119"/>
                  <a:pt x="1252" y="121"/>
                  <a:pt x="1249" y="123"/>
                </a:cubicBezTo>
                <a:cubicBezTo>
                  <a:pt x="1246" y="125"/>
                  <a:pt x="1243" y="128"/>
                  <a:pt x="1241" y="132"/>
                </a:cubicBezTo>
                <a:cubicBezTo>
                  <a:pt x="1240" y="136"/>
                  <a:pt x="1239" y="140"/>
                  <a:pt x="1239" y="145"/>
                </a:cubicBezTo>
                <a:cubicBezTo>
                  <a:pt x="1239" y="147"/>
                  <a:pt x="1239" y="150"/>
                  <a:pt x="1240" y="152"/>
                </a:cubicBezTo>
                <a:cubicBezTo>
                  <a:pt x="1241" y="155"/>
                  <a:pt x="1243" y="156"/>
                  <a:pt x="1245" y="158"/>
                </a:cubicBezTo>
                <a:cubicBezTo>
                  <a:pt x="1247" y="159"/>
                  <a:pt x="1249" y="160"/>
                  <a:pt x="1253" y="160"/>
                </a:cubicBezTo>
                <a:cubicBezTo>
                  <a:pt x="1256" y="160"/>
                  <a:pt x="1259" y="159"/>
                  <a:pt x="1261" y="158"/>
                </a:cubicBezTo>
                <a:cubicBezTo>
                  <a:pt x="1264" y="156"/>
                  <a:pt x="1266" y="154"/>
                  <a:pt x="1267" y="153"/>
                </a:cubicBezTo>
                <a:close/>
                <a:moveTo>
                  <a:pt x="1258" y="123"/>
                </a:moveTo>
                <a:cubicBezTo>
                  <a:pt x="1259" y="123"/>
                  <a:pt x="1260" y="124"/>
                  <a:pt x="1261" y="125"/>
                </a:cubicBezTo>
                <a:cubicBezTo>
                  <a:pt x="1262" y="125"/>
                  <a:pt x="1263" y="127"/>
                  <a:pt x="1263" y="129"/>
                </a:cubicBezTo>
                <a:cubicBezTo>
                  <a:pt x="1263" y="131"/>
                  <a:pt x="1262" y="133"/>
                  <a:pt x="1260" y="135"/>
                </a:cubicBezTo>
                <a:cubicBezTo>
                  <a:pt x="1258" y="136"/>
                  <a:pt x="1256" y="138"/>
                  <a:pt x="1253" y="139"/>
                </a:cubicBezTo>
                <a:cubicBezTo>
                  <a:pt x="1251" y="139"/>
                  <a:pt x="1248" y="140"/>
                  <a:pt x="1246" y="140"/>
                </a:cubicBezTo>
                <a:cubicBezTo>
                  <a:pt x="1246" y="138"/>
                  <a:pt x="1247" y="135"/>
                  <a:pt x="1248" y="132"/>
                </a:cubicBezTo>
                <a:cubicBezTo>
                  <a:pt x="1249" y="130"/>
                  <a:pt x="1250" y="127"/>
                  <a:pt x="1252" y="126"/>
                </a:cubicBezTo>
                <a:cubicBezTo>
                  <a:pt x="1254" y="124"/>
                  <a:pt x="1255" y="123"/>
                  <a:pt x="1258" y="123"/>
                </a:cubicBezTo>
                <a:close/>
                <a:moveTo>
                  <a:pt x="1303" y="153"/>
                </a:moveTo>
                <a:cubicBezTo>
                  <a:pt x="1302" y="150"/>
                  <a:pt x="1302" y="150"/>
                  <a:pt x="1302" y="150"/>
                </a:cubicBezTo>
                <a:cubicBezTo>
                  <a:pt x="1300" y="152"/>
                  <a:pt x="1298" y="153"/>
                  <a:pt x="1296" y="154"/>
                </a:cubicBezTo>
                <a:cubicBezTo>
                  <a:pt x="1294" y="155"/>
                  <a:pt x="1292" y="156"/>
                  <a:pt x="1290" y="156"/>
                </a:cubicBezTo>
                <a:cubicBezTo>
                  <a:pt x="1287" y="156"/>
                  <a:pt x="1285" y="154"/>
                  <a:pt x="1284" y="152"/>
                </a:cubicBezTo>
                <a:cubicBezTo>
                  <a:pt x="1282" y="150"/>
                  <a:pt x="1282" y="147"/>
                  <a:pt x="1282" y="143"/>
                </a:cubicBezTo>
                <a:cubicBezTo>
                  <a:pt x="1285" y="143"/>
                  <a:pt x="1288" y="143"/>
                  <a:pt x="1292" y="142"/>
                </a:cubicBezTo>
                <a:cubicBezTo>
                  <a:pt x="1295" y="140"/>
                  <a:pt x="1299" y="139"/>
                  <a:pt x="1301" y="136"/>
                </a:cubicBezTo>
                <a:cubicBezTo>
                  <a:pt x="1304" y="134"/>
                  <a:pt x="1305" y="131"/>
                  <a:pt x="1305" y="128"/>
                </a:cubicBezTo>
                <a:cubicBezTo>
                  <a:pt x="1305" y="125"/>
                  <a:pt x="1304" y="123"/>
                  <a:pt x="1303" y="122"/>
                </a:cubicBezTo>
                <a:cubicBezTo>
                  <a:pt x="1301" y="120"/>
                  <a:pt x="1299" y="119"/>
                  <a:pt x="1295" y="119"/>
                </a:cubicBezTo>
                <a:cubicBezTo>
                  <a:pt x="1291" y="119"/>
                  <a:pt x="1288" y="121"/>
                  <a:pt x="1285" y="123"/>
                </a:cubicBezTo>
                <a:cubicBezTo>
                  <a:pt x="1282" y="125"/>
                  <a:pt x="1279" y="128"/>
                  <a:pt x="1277" y="132"/>
                </a:cubicBezTo>
                <a:cubicBezTo>
                  <a:pt x="1275" y="136"/>
                  <a:pt x="1275" y="140"/>
                  <a:pt x="1275" y="145"/>
                </a:cubicBezTo>
                <a:cubicBezTo>
                  <a:pt x="1275" y="147"/>
                  <a:pt x="1275" y="150"/>
                  <a:pt x="1276" y="152"/>
                </a:cubicBezTo>
                <a:cubicBezTo>
                  <a:pt x="1277" y="155"/>
                  <a:pt x="1279" y="156"/>
                  <a:pt x="1281" y="158"/>
                </a:cubicBezTo>
                <a:cubicBezTo>
                  <a:pt x="1283" y="159"/>
                  <a:pt x="1285" y="160"/>
                  <a:pt x="1288" y="160"/>
                </a:cubicBezTo>
                <a:cubicBezTo>
                  <a:pt x="1292" y="160"/>
                  <a:pt x="1295" y="159"/>
                  <a:pt x="1297" y="158"/>
                </a:cubicBezTo>
                <a:cubicBezTo>
                  <a:pt x="1300" y="156"/>
                  <a:pt x="1302" y="154"/>
                  <a:pt x="1303" y="153"/>
                </a:cubicBezTo>
                <a:close/>
                <a:moveTo>
                  <a:pt x="1294" y="123"/>
                </a:moveTo>
                <a:cubicBezTo>
                  <a:pt x="1295" y="123"/>
                  <a:pt x="1296" y="124"/>
                  <a:pt x="1297" y="125"/>
                </a:cubicBezTo>
                <a:cubicBezTo>
                  <a:pt x="1298" y="125"/>
                  <a:pt x="1298" y="127"/>
                  <a:pt x="1298" y="129"/>
                </a:cubicBezTo>
                <a:cubicBezTo>
                  <a:pt x="1298" y="131"/>
                  <a:pt x="1298" y="133"/>
                  <a:pt x="1296" y="135"/>
                </a:cubicBezTo>
                <a:cubicBezTo>
                  <a:pt x="1294" y="136"/>
                  <a:pt x="1292" y="138"/>
                  <a:pt x="1289" y="139"/>
                </a:cubicBezTo>
                <a:cubicBezTo>
                  <a:pt x="1287" y="139"/>
                  <a:pt x="1284" y="140"/>
                  <a:pt x="1282" y="140"/>
                </a:cubicBezTo>
                <a:cubicBezTo>
                  <a:pt x="1282" y="138"/>
                  <a:pt x="1283" y="135"/>
                  <a:pt x="1284" y="132"/>
                </a:cubicBezTo>
                <a:cubicBezTo>
                  <a:pt x="1285" y="130"/>
                  <a:pt x="1286" y="127"/>
                  <a:pt x="1288" y="126"/>
                </a:cubicBezTo>
                <a:cubicBezTo>
                  <a:pt x="1289" y="124"/>
                  <a:pt x="1291" y="123"/>
                  <a:pt x="1294" y="123"/>
                </a:cubicBezTo>
                <a:close/>
                <a:moveTo>
                  <a:pt x="1322" y="129"/>
                </a:moveTo>
                <a:cubicBezTo>
                  <a:pt x="1323" y="127"/>
                  <a:pt x="1323" y="127"/>
                  <a:pt x="1323" y="127"/>
                </a:cubicBezTo>
                <a:cubicBezTo>
                  <a:pt x="1323" y="120"/>
                  <a:pt x="1323" y="120"/>
                  <a:pt x="1323" y="120"/>
                </a:cubicBezTo>
                <a:cubicBezTo>
                  <a:pt x="1322" y="119"/>
                  <a:pt x="1322" y="119"/>
                  <a:pt x="1322" y="119"/>
                </a:cubicBezTo>
                <a:cubicBezTo>
                  <a:pt x="1314" y="121"/>
                  <a:pt x="1314" y="121"/>
                  <a:pt x="1314" y="121"/>
                </a:cubicBezTo>
                <a:cubicBezTo>
                  <a:pt x="1313" y="124"/>
                  <a:pt x="1313" y="124"/>
                  <a:pt x="1313" y="124"/>
                </a:cubicBezTo>
                <a:cubicBezTo>
                  <a:pt x="1317" y="125"/>
                  <a:pt x="1317" y="125"/>
                  <a:pt x="1317" y="125"/>
                </a:cubicBezTo>
                <a:cubicBezTo>
                  <a:pt x="1312" y="159"/>
                  <a:pt x="1312" y="159"/>
                  <a:pt x="1312" y="159"/>
                </a:cubicBezTo>
                <a:cubicBezTo>
                  <a:pt x="1319" y="159"/>
                  <a:pt x="1319" y="159"/>
                  <a:pt x="1319" y="159"/>
                </a:cubicBezTo>
                <a:cubicBezTo>
                  <a:pt x="1322" y="134"/>
                  <a:pt x="1322" y="134"/>
                  <a:pt x="1322" y="134"/>
                </a:cubicBezTo>
                <a:cubicBezTo>
                  <a:pt x="1323" y="132"/>
                  <a:pt x="1325" y="130"/>
                  <a:pt x="1327" y="129"/>
                </a:cubicBezTo>
                <a:cubicBezTo>
                  <a:pt x="1329" y="127"/>
                  <a:pt x="1331" y="127"/>
                  <a:pt x="1333" y="127"/>
                </a:cubicBezTo>
                <a:cubicBezTo>
                  <a:pt x="1334" y="127"/>
                  <a:pt x="1335" y="127"/>
                  <a:pt x="1336" y="127"/>
                </a:cubicBezTo>
                <a:cubicBezTo>
                  <a:pt x="1338" y="120"/>
                  <a:pt x="1338" y="120"/>
                  <a:pt x="1338" y="120"/>
                </a:cubicBezTo>
                <a:cubicBezTo>
                  <a:pt x="1337" y="120"/>
                  <a:pt x="1336" y="119"/>
                  <a:pt x="1335" y="119"/>
                </a:cubicBezTo>
                <a:cubicBezTo>
                  <a:pt x="1333" y="119"/>
                  <a:pt x="1331" y="120"/>
                  <a:pt x="1330" y="121"/>
                </a:cubicBezTo>
                <a:cubicBezTo>
                  <a:pt x="1328" y="122"/>
                  <a:pt x="1326" y="123"/>
                  <a:pt x="1325" y="125"/>
                </a:cubicBezTo>
                <a:cubicBezTo>
                  <a:pt x="1324" y="126"/>
                  <a:pt x="1323" y="128"/>
                  <a:pt x="1322" y="129"/>
                </a:cubicBezTo>
                <a:close/>
                <a:moveTo>
                  <a:pt x="1349" y="153"/>
                </a:moveTo>
                <a:cubicBezTo>
                  <a:pt x="1354" y="120"/>
                  <a:pt x="1354" y="120"/>
                  <a:pt x="1354" y="120"/>
                </a:cubicBezTo>
                <a:cubicBezTo>
                  <a:pt x="1352" y="119"/>
                  <a:pt x="1352" y="119"/>
                  <a:pt x="1352" y="119"/>
                </a:cubicBezTo>
                <a:cubicBezTo>
                  <a:pt x="1342" y="121"/>
                  <a:pt x="1342" y="121"/>
                  <a:pt x="1342" y="121"/>
                </a:cubicBezTo>
                <a:cubicBezTo>
                  <a:pt x="1342" y="123"/>
                  <a:pt x="1342" y="123"/>
                  <a:pt x="1342" y="123"/>
                </a:cubicBezTo>
                <a:cubicBezTo>
                  <a:pt x="1346" y="125"/>
                  <a:pt x="1346" y="125"/>
                  <a:pt x="1346" y="125"/>
                </a:cubicBezTo>
                <a:cubicBezTo>
                  <a:pt x="1345" y="132"/>
                  <a:pt x="1345" y="138"/>
                  <a:pt x="1344" y="142"/>
                </a:cubicBezTo>
                <a:cubicBezTo>
                  <a:pt x="1343" y="150"/>
                  <a:pt x="1342" y="154"/>
                  <a:pt x="1342" y="156"/>
                </a:cubicBezTo>
                <a:cubicBezTo>
                  <a:pt x="1342" y="157"/>
                  <a:pt x="1342" y="158"/>
                  <a:pt x="1343" y="159"/>
                </a:cubicBezTo>
                <a:cubicBezTo>
                  <a:pt x="1344" y="160"/>
                  <a:pt x="1345" y="160"/>
                  <a:pt x="1347" y="160"/>
                </a:cubicBezTo>
                <a:cubicBezTo>
                  <a:pt x="1349" y="160"/>
                  <a:pt x="1350" y="159"/>
                  <a:pt x="1352" y="158"/>
                </a:cubicBezTo>
                <a:cubicBezTo>
                  <a:pt x="1353" y="157"/>
                  <a:pt x="1354" y="156"/>
                  <a:pt x="1355" y="155"/>
                </a:cubicBezTo>
                <a:cubicBezTo>
                  <a:pt x="1354" y="154"/>
                  <a:pt x="1354" y="154"/>
                  <a:pt x="1354" y="154"/>
                </a:cubicBezTo>
                <a:cubicBezTo>
                  <a:pt x="1353" y="154"/>
                  <a:pt x="1352" y="155"/>
                  <a:pt x="1352" y="155"/>
                </a:cubicBezTo>
                <a:cubicBezTo>
                  <a:pt x="1351" y="156"/>
                  <a:pt x="1351" y="156"/>
                  <a:pt x="1350" y="156"/>
                </a:cubicBezTo>
                <a:cubicBezTo>
                  <a:pt x="1350" y="156"/>
                  <a:pt x="1350" y="156"/>
                  <a:pt x="1349" y="155"/>
                </a:cubicBezTo>
                <a:cubicBezTo>
                  <a:pt x="1349" y="155"/>
                  <a:pt x="1349" y="155"/>
                  <a:pt x="1349" y="154"/>
                </a:cubicBezTo>
                <a:lnTo>
                  <a:pt x="1349" y="153"/>
                </a:lnTo>
                <a:close/>
                <a:moveTo>
                  <a:pt x="1351" y="112"/>
                </a:moveTo>
                <a:cubicBezTo>
                  <a:pt x="1353" y="112"/>
                  <a:pt x="1354" y="111"/>
                  <a:pt x="1355" y="110"/>
                </a:cubicBezTo>
                <a:cubicBezTo>
                  <a:pt x="1356" y="109"/>
                  <a:pt x="1356" y="108"/>
                  <a:pt x="1356" y="107"/>
                </a:cubicBezTo>
                <a:cubicBezTo>
                  <a:pt x="1356" y="106"/>
                  <a:pt x="1356" y="105"/>
                  <a:pt x="1355" y="104"/>
                </a:cubicBezTo>
                <a:cubicBezTo>
                  <a:pt x="1354" y="103"/>
                  <a:pt x="1353" y="103"/>
                  <a:pt x="1352" y="103"/>
                </a:cubicBezTo>
                <a:cubicBezTo>
                  <a:pt x="1351" y="103"/>
                  <a:pt x="1350" y="103"/>
                  <a:pt x="1349" y="104"/>
                </a:cubicBezTo>
                <a:cubicBezTo>
                  <a:pt x="1348" y="105"/>
                  <a:pt x="1348" y="107"/>
                  <a:pt x="1348" y="108"/>
                </a:cubicBezTo>
                <a:cubicBezTo>
                  <a:pt x="1348" y="109"/>
                  <a:pt x="1348" y="110"/>
                  <a:pt x="1349" y="111"/>
                </a:cubicBezTo>
                <a:cubicBezTo>
                  <a:pt x="1350" y="111"/>
                  <a:pt x="1350" y="112"/>
                  <a:pt x="1351" y="112"/>
                </a:cubicBezTo>
                <a:close/>
                <a:moveTo>
                  <a:pt x="1374" y="129"/>
                </a:moveTo>
                <a:cubicBezTo>
                  <a:pt x="1375" y="120"/>
                  <a:pt x="1375" y="120"/>
                  <a:pt x="1375" y="120"/>
                </a:cubicBezTo>
                <a:cubicBezTo>
                  <a:pt x="1374" y="119"/>
                  <a:pt x="1374" y="119"/>
                  <a:pt x="1374" y="119"/>
                </a:cubicBezTo>
                <a:cubicBezTo>
                  <a:pt x="1365" y="121"/>
                  <a:pt x="1365" y="121"/>
                  <a:pt x="1365" y="121"/>
                </a:cubicBezTo>
                <a:cubicBezTo>
                  <a:pt x="1365" y="124"/>
                  <a:pt x="1365" y="124"/>
                  <a:pt x="1365" y="124"/>
                </a:cubicBezTo>
                <a:cubicBezTo>
                  <a:pt x="1368" y="125"/>
                  <a:pt x="1368" y="125"/>
                  <a:pt x="1368" y="125"/>
                </a:cubicBezTo>
                <a:cubicBezTo>
                  <a:pt x="1364" y="159"/>
                  <a:pt x="1364" y="159"/>
                  <a:pt x="1364" y="159"/>
                </a:cubicBezTo>
                <a:cubicBezTo>
                  <a:pt x="1370" y="159"/>
                  <a:pt x="1370" y="159"/>
                  <a:pt x="1370" y="159"/>
                </a:cubicBezTo>
                <a:cubicBezTo>
                  <a:pt x="1374" y="134"/>
                  <a:pt x="1374" y="134"/>
                  <a:pt x="1374" y="134"/>
                </a:cubicBezTo>
                <a:cubicBezTo>
                  <a:pt x="1375" y="131"/>
                  <a:pt x="1377" y="129"/>
                  <a:pt x="1380" y="127"/>
                </a:cubicBezTo>
                <a:cubicBezTo>
                  <a:pt x="1382" y="125"/>
                  <a:pt x="1384" y="124"/>
                  <a:pt x="1386" y="124"/>
                </a:cubicBezTo>
                <a:cubicBezTo>
                  <a:pt x="1388" y="124"/>
                  <a:pt x="1389" y="125"/>
                  <a:pt x="1389" y="126"/>
                </a:cubicBezTo>
                <a:cubicBezTo>
                  <a:pt x="1390" y="127"/>
                  <a:pt x="1390" y="128"/>
                  <a:pt x="1390" y="130"/>
                </a:cubicBezTo>
                <a:cubicBezTo>
                  <a:pt x="1390" y="132"/>
                  <a:pt x="1390" y="134"/>
                  <a:pt x="1390" y="135"/>
                </a:cubicBezTo>
                <a:cubicBezTo>
                  <a:pt x="1390" y="137"/>
                  <a:pt x="1389" y="140"/>
                  <a:pt x="1389" y="142"/>
                </a:cubicBezTo>
                <a:cubicBezTo>
                  <a:pt x="1388" y="144"/>
                  <a:pt x="1388" y="144"/>
                  <a:pt x="1388" y="144"/>
                </a:cubicBezTo>
                <a:cubicBezTo>
                  <a:pt x="1388" y="147"/>
                  <a:pt x="1388" y="147"/>
                  <a:pt x="1388" y="147"/>
                </a:cubicBezTo>
                <a:cubicBezTo>
                  <a:pt x="1387" y="151"/>
                  <a:pt x="1387" y="154"/>
                  <a:pt x="1387" y="156"/>
                </a:cubicBezTo>
                <a:cubicBezTo>
                  <a:pt x="1387" y="159"/>
                  <a:pt x="1388" y="160"/>
                  <a:pt x="1391" y="160"/>
                </a:cubicBezTo>
                <a:cubicBezTo>
                  <a:pt x="1392" y="160"/>
                  <a:pt x="1394" y="160"/>
                  <a:pt x="1395" y="159"/>
                </a:cubicBezTo>
                <a:cubicBezTo>
                  <a:pt x="1396" y="159"/>
                  <a:pt x="1397" y="158"/>
                  <a:pt x="1397" y="157"/>
                </a:cubicBezTo>
                <a:cubicBezTo>
                  <a:pt x="1398" y="157"/>
                  <a:pt x="1399" y="156"/>
                  <a:pt x="1399" y="156"/>
                </a:cubicBezTo>
                <a:cubicBezTo>
                  <a:pt x="1398" y="154"/>
                  <a:pt x="1398" y="154"/>
                  <a:pt x="1398" y="154"/>
                </a:cubicBezTo>
                <a:cubicBezTo>
                  <a:pt x="1397" y="155"/>
                  <a:pt x="1396" y="156"/>
                  <a:pt x="1395" y="156"/>
                </a:cubicBezTo>
                <a:cubicBezTo>
                  <a:pt x="1394" y="156"/>
                  <a:pt x="1394" y="155"/>
                  <a:pt x="1394" y="154"/>
                </a:cubicBezTo>
                <a:cubicBezTo>
                  <a:pt x="1394" y="152"/>
                  <a:pt x="1394" y="149"/>
                  <a:pt x="1395" y="145"/>
                </a:cubicBezTo>
                <a:cubicBezTo>
                  <a:pt x="1395" y="142"/>
                  <a:pt x="1395" y="142"/>
                  <a:pt x="1395" y="142"/>
                </a:cubicBezTo>
                <a:cubicBezTo>
                  <a:pt x="1396" y="140"/>
                  <a:pt x="1396" y="140"/>
                  <a:pt x="1396" y="140"/>
                </a:cubicBezTo>
                <a:cubicBezTo>
                  <a:pt x="1397" y="135"/>
                  <a:pt x="1397" y="132"/>
                  <a:pt x="1397" y="130"/>
                </a:cubicBezTo>
                <a:cubicBezTo>
                  <a:pt x="1397" y="126"/>
                  <a:pt x="1397" y="123"/>
                  <a:pt x="1395" y="122"/>
                </a:cubicBezTo>
                <a:cubicBezTo>
                  <a:pt x="1394" y="120"/>
                  <a:pt x="1392" y="119"/>
                  <a:pt x="1389" y="119"/>
                </a:cubicBezTo>
                <a:cubicBezTo>
                  <a:pt x="1386" y="119"/>
                  <a:pt x="1384" y="120"/>
                  <a:pt x="1381" y="122"/>
                </a:cubicBezTo>
                <a:cubicBezTo>
                  <a:pt x="1379" y="124"/>
                  <a:pt x="1376" y="126"/>
                  <a:pt x="1374" y="129"/>
                </a:cubicBezTo>
                <a:close/>
                <a:moveTo>
                  <a:pt x="1433" y="162"/>
                </a:moveTo>
                <a:cubicBezTo>
                  <a:pt x="1440" y="119"/>
                  <a:pt x="1440" y="119"/>
                  <a:pt x="1440" y="119"/>
                </a:cubicBezTo>
                <a:cubicBezTo>
                  <a:pt x="1435" y="121"/>
                  <a:pt x="1435" y="121"/>
                  <a:pt x="1435" y="121"/>
                </a:cubicBezTo>
                <a:cubicBezTo>
                  <a:pt x="1434" y="121"/>
                  <a:pt x="1433" y="120"/>
                  <a:pt x="1432" y="120"/>
                </a:cubicBezTo>
                <a:cubicBezTo>
                  <a:pt x="1430" y="120"/>
                  <a:pt x="1429" y="119"/>
                  <a:pt x="1428" y="119"/>
                </a:cubicBezTo>
                <a:cubicBezTo>
                  <a:pt x="1423" y="119"/>
                  <a:pt x="1419" y="121"/>
                  <a:pt x="1416" y="123"/>
                </a:cubicBezTo>
                <a:cubicBezTo>
                  <a:pt x="1412" y="126"/>
                  <a:pt x="1410" y="129"/>
                  <a:pt x="1408" y="133"/>
                </a:cubicBezTo>
                <a:cubicBezTo>
                  <a:pt x="1406" y="137"/>
                  <a:pt x="1405" y="141"/>
                  <a:pt x="1405" y="145"/>
                </a:cubicBezTo>
                <a:cubicBezTo>
                  <a:pt x="1405" y="150"/>
                  <a:pt x="1406" y="153"/>
                  <a:pt x="1408" y="156"/>
                </a:cubicBezTo>
                <a:cubicBezTo>
                  <a:pt x="1410" y="159"/>
                  <a:pt x="1413" y="160"/>
                  <a:pt x="1417" y="160"/>
                </a:cubicBezTo>
                <a:cubicBezTo>
                  <a:pt x="1419" y="160"/>
                  <a:pt x="1421" y="159"/>
                  <a:pt x="1423" y="158"/>
                </a:cubicBezTo>
                <a:cubicBezTo>
                  <a:pt x="1425" y="157"/>
                  <a:pt x="1426" y="156"/>
                  <a:pt x="1428" y="155"/>
                </a:cubicBezTo>
                <a:cubicBezTo>
                  <a:pt x="1426" y="164"/>
                  <a:pt x="1426" y="164"/>
                  <a:pt x="1426" y="164"/>
                </a:cubicBezTo>
                <a:cubicBezTo>
                  <a:pt x="1426" y="167"/>
                  <a:pt x="1425" y="169"/>
                  <a:pt x="1424" y="170"/>
                </a:cubicBezTo>
                <a:cubicBezTo>
                  <a:pt x="1422" y="172"/>
                  <a:pt x="1420" y="172"/>
                  <a:pt x="1417" y="172"/>
                </a:cubicBezTo>
                <a:cubicBezTo>
                  <a:pt x="1415" y="172"/>
                  <a:pt x="1414" y="172"/>
                  <a:pt x="1412" y="171"/>
                </a:cubicBezTo>
                <a:cubicBezTo>
                  <a:pt x="1410" y="171"/>
                  <a:pt x="1409" y="170"/>
                  <a:pt x="1408" y="170"/>
                </a:cubicBezTo>
                <a:cubicBezTo>
                  <a:pt x="1406" y="175"/>
                  <a:pt x="1406" y="175"/>
                  <a:pt x="1406" y="175"/>
                </a:cubicBezTo>
                <a:cubicBezTo>
                  <a:pt x="1407" y="176"/>
                  <a:pt x="1408" y="176"/>
                  <a:pt x="1410" y="176"/>
                </a:cubicBezTo>
                <a:cubicBezTo>
                  <a:pt x="1411" y="177"/>
                  <a:pt x="1413" y="177"/>
                  <a:pt x="1414" y="177"/>
                </a:cubicBezTo>
                <a:cubicBezTo>
                  <a:pt x="1417" y="177"/>
                  <a:pt x="1420" y="176"/>
                  <a:pt x="1423" y="175"/>
                </a:cubicBezTo>
                <a:cubicBezTo>
                  <a:pt x="1425" y="174"/>
                  <a:pt x="1428" y="173"/>
                  <a:pt x="1430" y="170"/>
                </a:cubicBezTo>
                <a:cubicBezTo>
                  <a:pt x="1432" y="168"/>
                  <a:pt x="1433" y="165"/>
                  <a:pt x="1433" y="162"/>
                </a:cubicBezTo>
                <a:close/>
                <a:moveTo>
                  <a:pt x="1432" y="125"/>
                </a:moveTo>
                <a:cubicBezTo>
                  <a:pt x="1428" y="150"/>
                  <a:pt x="1428" y="150"/>
                  <a:pt x="1428" y="150"/>
                </a:cubicBezTo>
                <a:cubicBezTo>
                  <a:pt x="1427" y="151"/>
                  <a:pt x="1426" y="153"/>
                  <a:pt x="1424" y="154"/>
                </a:cubicBezTo>
                <a:cubicBezTo>
                  <a:pt x="1423" y="155"/>
                  <a:pt x="1421" y="155"/>
                  <a:pt x="1419" y="155"/>
                </a:cubicBezTo>
                <a:cubicBezTo>
                  <a:pt x="1417" y="155"/>
                  <a:pt x="1415" y="155"/>
                  <a:pt x="1414" y="153"/>
                </a:cubicBezTo>
                <a:cubicBezTo>
                  <a:pt x="1413" y="151"/>
                  <a:pt x="1412" y="148"/>
                  <a:pt x="1412" y="145"/>
                </a:cubicBezTo>
                <a:cubicBezTo>
                  <a:pt x="1412" y="142"/>
                  <a:pt x="1413" y="138"/>
                  <a:pt x="1414" y="135"/>
                </a:cubicBezTo>
                <a:cubicBezTo>
                  <a:pt x="1415" y="132"/>
                  <a:pt x="1417" y="129"/>
                  <a:pt x="1419" y="127"/>
                </a:cubicBezTo>
                <a:cubicBezTo>
                  <a:pt x="1421" y="124"/>
                  <a:pt x="1424" y="123"/>
                  <a:pt x="1427" y="123"/>
                </a:cubicBezTo>
                <a:cubicBezTo>
                  <a:pt x="1429" y="123"/>
                  <a:pt x="1431" y="124"/>
                  <a:pt x="1432" y="125"/>
                </a:cubicBezTo>
                <a:close/>
                <a:moveTo>
                  <a:pt x="1076" y="242"/>
                </a:moveTo>
                <a:cubicBezTo>
                  <a:pt x="1072" y="249"/>
                  <a:pt x="1072" y="249"/>
                  <a:pt x="1072" y="249"/>
                </a:cubicBezTo>
                <a:cubicBezTo>
                  <a:pt x="1072" y="242"/>
                  <a:pt x="1072" y="242"/>
                  <a:pt x="1072" y="242"/>
                </a:cubicBezTo>
                <a:cubicBezTo>
                  <a:pt x="1066" y="208"/>
                  <a:pt x="1066" y="208"/>
                  <a:pt x="1066" y="208"/>
                </a:cubicBezTo>
                <a:cubicBezTo>
                  <a:pt x="1050" y="208"/>
                  <a:pt x="1050" y="208"/>
                  <a:pt x="1050" y="208"/>
                </a:cubicBezTo>
                <a:cubicBezTo>
                  <a:pt x="1049" y="211"/>
                  <a:pt x="1049" y="211"/>
                  <a:pt x="1049" y="211"/>
                </a:cubicBezTo>
                <a:cubicBezTo>
                  <a:pt x="1056" y="212"/>
                  <a:pt x="1056" y="212"/>
                  <a:pt x="1056" y="212"/>
                </a:cubicBezTo>
                <a:cubicBezTo>
                  <a:pt x="1045" y="256"/>
                  <a:pt x="1045" y="256"/>
                  <a:pt x="1045" y="256"/>
                </a:cubicBezTo>
                <a:cubicBezTo>
                  <a:pt x="1039" y="257"/>
                  <a:pt x="1039" y="257"/>
                  <a:pt x="1039" y="257"/>
                </a:cubicBezTo>
                <a:cubicBezTo>
                  <a:pt x="1039" y="260"/>
                  <a:pt x="1039" y="260"/>
                  <a:pt x="1039" y="260"/>
                </a:cubicBezTo>
                <a:cubicBezTo>
                  <a:pt x="1057" y="260"/>
                  <a:pt x="1057" y="260"/>
                  <a:pt x="1057" y="260"/>
                </a:cubicBezTo>
                <a:cubicBezTo>
                  <a:pt x="1057" y="257"/>
                  <a:pt x="1057" y="257"/>
                  <a:pt x="1057" y="257"/>
                </a:cubicBezTo>
                <a:cubicBezTo>
                  <a:pt x="1050" y="256"/>
                  <a:pt x="1050" y="256"/>
                  <a:pt x="1050" y="256"/>
                </a:cubicBezTo>
                <a:cubicBezTo>
                  <a:pt x="1057" y="225"/>
                  <a:pt x="1057" y="225"/>
                  <a:pt x="1057" y="225"/>
                </a:cubicBezTo>
                <a:cubicBezTo>
                  <a:pt x="1060" y="211"/>
                  <a:pt x="1060" y="211"/>
                  <a:pt x="1060" y="211"/>
                </a:cubicBezTo>
                <a:cubicBezTo>
                  <a:pt x="1062" y="225"/>
                  <a:pt x="1062" y="225"/>
                  <a:pt x="1062" y="225"/>
                </a:cubicBezTo>
                <a:cubicBezTo>
                  <a:pt x="1068" y="261"/>
                  <a:pt x="1068" y="261"/>
                  <a:pt x="1068" y="261"/>
                </a:cubicBezTo>
                <a:cubicBezTo>
                  <a:pt x="1072" y="260"/>
                  <a:pt x="1072" y="260"/>
                  <a:pt x="1072" y="260"/>
                </a:cubicBezTo>
                <a:cubicBezTo>
                  <a:pt x="1088" y="224"/>
                  <a:pt x="1088" y="224"/>
                  <a:pt x="1088" y="224"/>
                </a:cubicBezTo>
                <a:cubicBezTo>
                  <a:pt x="1094" y="211"/>
                  <a:pt x="1094" y="211"/>
                  <a:pt x="1094" y="211"/>
                </a:cubicBezTo>
                <a:cubicBezTo>
                  <a:pt x="1093" y="225"/>
                  <a:pt x="1093" y="225"/>
                  <a:pt x="1093" y="225"/>
                </a:cubicBezTo>
                <a:cubicBezTo>
                  <a:pt x="1091" y="256"/>
                  <a:pt x="1091" y="256"/>
                  <a:pt x="1091" y="256"/>
                </a:cubicBezTo>
                <a:cubicBezTo>
                  <a:pt x="1085" y="257"/>
                  <a:pt x="1085" y="257"/>
                  <a:pt x="1085" y="257"/>
                </a:cubicBezTo>
                <a:cubicBezTo>
                  <a:pt x="1084" y="260"/>
                  <a:pt x="1084" y="260"/>
                  <a:pt x="1084" y="260"/>
                </a:cubicBezTo>
                <a:cubicBezTo>
                  <a:pt x="1104" y="260"/>
                  <a:pt x="1104" y="260"/>
                  <a:pt x="1104" y="260"/>
                </a:cubicBezTo>
                <a:cubicBezTo>
                  <a:pt x="1104" y="257"/>
                  <a:pt x="1104" y="257"/>
                  <a:pt x="1104" y="257"/>
                </a:cubicBezTo>
                <a:cubicBezTo>
                  <a:pt x="1098" y="256"/>
                  <a:pt x="1098" y="256"/>
                  <a:pt x="1098" y="256"/>
                </a:cubicBezTo>
                <a:cubicBezTo>
                  <a:pt x="1099" y="212"/>
                  <a:pt x="1099" y="212"/>
                  <a:pt x="1099" y="212"/>
                </a:cubicBezTo>
                <a:cubicBezTo>
                  <a:pt x="1106" y="211"/>
                  <a:pt x="1106" y="211"/>
                  <a:pt x="1106" y="211"/>
                </a:cubicBezTo>
                <a:cubicBezTo>
                  <a:pt x="1106" y="208"/>
                  <a:pt x="1106" y="208"/>
                  <a:pt x="1106" y="208"/>
                </a:cubicBezTo>
                <a:cubicBezTo>
                  <a:pt x="1091" y="208"/>
                  <a:pt x="1091" y="208"/>
                  <a:pt x="1091" y="208"/>
                </a:cubicBezTo>
                <a:cubicBezTo>
                  <a:pt x="1090" y="211"/>
                  <a:pt x="1087" y="217"/>
                  <a:pt x="1083" y="225"/>
                </a:cubicBezTo>
                <a:cubicBezTo>
                  <a:pt x="1079" y="233"/>
                  <a:pt x="1077" y="239"/>
                  <a:pt x="1076" y="242"/>
                </a:cubicBezTo>
                <a:close/>
                <a:moveTo>
                  <a:pt x="1138" y="253"/>
                </a:moveTo>
                <a:cubicBezTo>
                  <a:pt x="1136" y="251"/>
                  <a:pt x="1136" y="251"/>
                  <a:pt x="1136" y="251"/>
                </a:cubicBezTo>
                <a:cubicBezTo>
                  <a:pt x="1134" y="253"/>
                  <a:pt x="1133" y="254"/>
                  <a:pt x="1131" y="255"/>
                </a:cubicBezTo>
                <a:cubicBezTo>
                  <a:pt x="1129" y="256"/>
                  <a:pt x="1126" y="256"/>
                  <a:pt x="1124" y="256"/>
                </a:cubicBezTo>
                <a:cubicBezTo>
                  <a:pt x="1121" y="256"/>
                  <a:pt x="1119" y="255"/>
                  <a:pt x="1118" y="253"/>
                </a:cubicBezTo>
                <a:cubicBezTo>
                  <a:pt x="1117" y="250"/>
                  <a:pt x="1116" y="247"/>
                  <a:pt x="1116" y="244"/>
                </a:cubicBezTo>
                <a:cubicBezTo>
                  <a:pt x="1119" y="244"/>
                  <a:pt x="1123" y="244"/>
                  <a:pt x="1126" y="242"/>
                </a:cubicBezTo>
                <a:cubicBezTo>
                  <a:pt x="1130" y="241"/>
                  <a:pt x="1133" y="240"/>
                  <a:pt x="1136" y="237"/>
                </a:cubicBezTo>
                <a:cubicBezTo>
                  <a:pt x="1138" y="235"/>
                  <a:pt x="1140" y="232"/>
                  <a:pt x="1140" y="229"/>
                </a:cubicBezTo>
                <a:cubicBezTo>
                  <a:pt x="1140" y="226"/>
                  <a:pt x="1139" y="224"/>
                  <a:pt x="1137" y="223"/>
                </a:cubicBezTo>
                <a:cubicBezTo>
                  <a:pt x="1135" y="221"/>
                  <a:pt x="1133" y="220"/>
                  <a:pt x="1130" y="220"/>
                </a:cubicBezTo>
                <a:cubicBezTo>
                  <a:pt x="1126" y="220"/>
                  <a:pt x="1122" y="221"/>
                  <a:pt x="1119" y="224"/>
                </a:cubicBezTo>
                <a:cubicBezTo>
                  <a:pt x="1116" y="226"/>
                  <a:pt x="1114" y="229"/>
                  <a:pt x="1112" y="233"/>
                </a:cubicBezTo>
                <a:cubicBezTo>
                  <a:pt x="1110" y="237"/>
                  <a:pt x="1109" y="241"/>
                  <a:pt x="1109" y="246"/>
                </a:cubicBezTo>
                <a:cubicBezTo>
                  <a:pt x="1109" y="248"/>
                  <a:pt x="1110" y="251"/>
                  <a:pt x="1111" y="253"/>
                </a:cubicBezTo>
                <a:cubicBezTo>
                  <a:pt x="1111" y="255"/>
                  <a:pt x="1113" y="257"/>
                  <a:pt x="1115" y="259"/>
                </a:cubicBezTo>
                <a:cubicBezTo>
                  <a:pt x="1117" y="260"/>
                  <a:pt x="1120" y="261"/>
                  <a:pt x="1123" y="261"/>
                </a:cubicBezTo>
                <a:cubicBezTo>
                  <a:pt x="1126" y="261"/>
                  <a:pt x="1129" y="260"/>
                  <a:pt x="1132" y="258"/>
                </a:cubicBezTo>
                <a:cubicBezTo>
                  <a:pt x="1135" y="257"/>
                  <a:pt x="1136" y="255"/>
                  <a:pt x="1138" y="253"/>
                </a:cubicBezTo>
                <a:close/>
                <a:moveTo>
                  <a:pt x="1128" y="224"/>
                </a:moveTo>
                <a:cubicBezTo>
                  <a:pt x="1130" y="224"/>
                  <a:pt x="1131" y="224"/>
                  <a:pt x="1132" y="225"/>
                </a:cubicBezTo>
                <a:cubicBezTo>
                  <a:pt x="1132" y="226"/>
                  <a:pt x="1133" y="228"/>
                  <a:pt x="1133" y="229"/>
                </a:cubicBezTo>
                <a:cubicBezTo>
                  <a:pt x="1133" y="232"/>
                  <a:pt x="1132" y="234"/>
                  <a:pt x="1130" y="235"/>
                </a:cubicBezTo>
                <a:cubicBezTo>
                  <a:pt x="1129" y="237"/>
                  <a:pt x="1126" y="238"/>
                  <a:pt x="1124" y="239"/>
                </a:cubicBezTo>
                <a:cubicBezTo>
                  <a:pt x="1121" y="240"/>
                  <a:pt x="1119" y="241"/>
                  <a:pt x="1116" y="241"/>
                </a:cubicBezTo>
                <a:cubicBezTo>
                  <a:pt x="1117" y="238"/>
                  <a:pt x="1117" y="236"/>
                  <a:pt x="1118" y="233"/>
                </a:cubicBezTo>
                <a:cubicBezTo>
                  <a:pt x="1119" y="230"/>
                  <a:pt x="1121" y="228"/>
                  <a:pt x="1122" y="226"/>
                </a:cubicBezTo>
                <a:cubicBezTo>
                  <a:pt x="1124" y="225"/>
                  <a:pt x="1126" y="224"/>
                  <a:pt x="1128" y="224"/>
                </a:cubicBezTo>
                <a:close/>
                <a:moveTo>
                  <a:pt x="1175" y="254"/>
                </a:moveTo>
                <a:cubicBezTo>
                  <a:pt x="1182" y="204"/>
                  <a:pt x="1182" y="204"/>
                  <a:pt x="1182" y="204"/>
                </a:cubicBezTo>
                <a:cubicBezTo>
                  <a:pt x="1181" y="204"/>
                  <a:pt x="1181" y="204"/>
                  <a:pt x="1181" y="204"/>
                </a:cubicBezTo>
                <a:cubicBezTo>
                  <a:pt x="1171" y="205"/>
                  <a:pt x="1171" y="205"/>
                  <a:pt x="1171" y="205"/>
                </a:cubicBezTo>
                <a:cubicBezTo>
                  <a:pt x="1170" y="207"/>
                  <a:pt x="1170" y="207"/>
                  <a:pt x="1170" y="207"/>
                </a:cubicBezTo>
                <a:cubicBezTo>
                  <a:pt x="1175" y="208"/>
                  <a:pt x="1175" y="208"/>
                  <a:pt x="1175" y="208"/>
                </a:cubicBezTo>
                <a:cubicBezTo>
                  <a:pt x="1173" y="221"/>
                  <a:pt x="1173" y="221"/>
                  <a:pt x="1173" y="221"/>
                </a:cubicBezTo>
                <a:cubicBezTo>
                  <a:pt x="1171" y="220"/>
                  <a:pt x="1169" y="220"/>
                  <a:pt x="1168" y="220"/>
                </a:cubicBezTo>
                <a:cubicBezTo>
                  <a:pt x="1163" y="220"/>
                  <a:pt x="1159" y="222"/>
                  <a:pt x="1156" y="224"/>
                </a:cubicBezTo>
                <a:cubicBezTo>
                  <a:pt x="1152" y="227"/>
                  <a:pt x="1150" y="230"/>
                  <a:pt x="1148" y="234"/>
                </a:cubicBezTo>
                <a:cubicBezTo>
                  <a:pt x="1146" y="238"/>
                  <a:pt x="1145" y="242"/>
                  <a:pt x="1145" y="246"/>
                </a:cubicBezTo>
                <a:cubicBezTo>
                  <a:pt x="1145" y="250"/>
                  <a:pt x="1146" y="254"/>
                  <a:pt x="1148" y="257"/>
                </a:cubicBezTo>
                <a:cubicBezTo>
                  <a:pt x="1150" y="259"/>
                  <a:pt x="1153" y="261"/>
                  <a:pt x="1157" y="261"/>
                </a:cubicBezTo>
                <a:cubicBezTo>
                  <a:pt x="1159" y="261"/>
                  <a:pt x="1162" y="260"/>
                  <a:pt x="1163" y="259"/>
                </a:cubicBezTo>
                <a:cubicBezTo>
                  <a:pt x="1165" y="258"/>
                  <a:pt x="1167" y="256"/>
                  <a:pt x="1168" y="255"/>
                </a:cubicBezTo>
                <a:cubicBezTo>
                  <a:pt x="1168" y="256"/>
                  <a:pt x="1168" y="256"/>
                  <a:pt x="1168" y="256"/>
                </a:cubicBezTo>
                <a:cubicBezTo>
                  <a:pt x="1168" y="259"/>
                  <a:pt x="1170" y="261"/>
                  <a:pt x="1173" y="261"/>
                </a:cubicBezTo>
                <a:cubicBezTo>
                  <a:pt x="1174" y="261"/>
                  <a:pt x="1176" y="260"/>
                  <a:pt x="1177" y="259"/>
                </a:cubicBezTo>
                <a:cubicBezTo>
                  <a:pt x="1178" y="258"/>
                  <a:pt x="1179" y="257"/>
                  <a:pt x="1180" y="256"/>
                </a:cubicBezTo>
                <a:cubicBezTo>
                  <a:pt x="1179" y="255"/>
                  <a:pt x="1179" y="255"/>
                  <a:pt x="1179" y="255"/>
                </a:cubicBezTo>
                <a:cubicBezTo>
                  <a:pt x="1178" y="256"/>
                  <a:pt x="1177" y="256"/>
                  <a:pt x="1176" y="256"/>
                </a:cubicBezTo>
                <a:cubicBezTo>
                  <a:pt x="1175" y="256"/>
                  <a:pt x="1175" y="256"/>
                  <a:pt x="1175" y="255"/>
                </a:cubicBezTo>
                <a:cubicBezTo>
                  <a:pt x="1175" y="254"/>
                  <a:pt x="1175" y="254"/>
                  <a:pt x="1175" y="254"/>
                </a:cubicBezTo>
                <a:close/>
                <a:moveTo>
                  <a:pt x="1172" y="225"/>
                </a:moveTo>
                <a:cubicBezTo>
                  <a:pt x="1169" y="250"/>
                  <a:pt x="1169" y="250"/>
                  <a:pt x="1169" y="250"/>
                </a:cubicBezTo>
                <a:cubicBezTo>
                  <a:pt x="1168" y="252"/>
                  <a:pt x="1166" y="253"/>
                  <a:pt x="1164" y="254"/>
                </a:cubicBezTo>
                <a:cubicBezTo>
                  <a:pt x="1163" y="256"/>
                  <a:pt x="1161" y="256"/>
                  <a:pt x="1159" y="256"/>
                </a:cubicBezTo>
                <a:cubicBezTo>
                  <a:pt x="1157" y="256"/>
                  <a:pt x="1155" y="255"/>
                  <a:pt x="1154" y="253"/>
                </a:cubicBezTo>
                <a:cubicBezTo>
                  <a:pt x="1153" y="252"/>
                  <a:pt x="1153" y="249"/>
                  <a:pt x="1153" y="246"/>
                </a:cubicBezTo>
                <a:cubicBezTo>
                  <a:pt x="1153" y="242"/>
                  <a:pt x="1153" y="239"/>
                  <a:pt x="1154" y="236"/>
                </a:cubicBezTo>
                <a:cubicBezTo>
                  <a:pt x="1155" y="232"/>
                  <a:pt x="1157" y="230"/>
                  <a:pt x="1159" y="227"/>
                </a:cubicBezTo>
                <a:cubicBezTo>
                  <a:pt x="1161" y="225"/>
                  <a:pt x="1164" y="224"/>
                  <a:pt x="1167" y="224"/>
                </a:cubicBezTo>
                <a:cubicBezTo>
                  <a:pt x="1169" y="224"/>
                  <a:pt x="1171" y="224"/>
                  <a:pt x="1172" y="225"/>
                </a:cubicBezTo>
                <a:close/>
                <a:moveTo>
                  <a:pt x="1198" y="254"/>
                </a:moveTo>
                <a:cubicBezTo>
                  <a:pt x="1202" y="221"/>
                  <a:pt x="1202" y="221"/>
                  <a:pt x="1202" y="221"/>
                </a:cubicBezTo>
                <a:cubicBezTo>
                  <a:pt x="1201" y="220"/>
                  <a:pt x="1201" y="220"/>
                  <a:pt x="1201" y="220"/>
                </a:cubicBezTo>
                <a:cubicBezTo>
                  <a:pt x="1191" y="222"/>
                  <a:pt x="1191" y="222"/>
                  <a:pt x="1191" y="222"/>
                </a:cubicBezTo>
                <a:cubicBezTo>
                  <a:pt x="1190" y="224"/>
                  <a:pt x="1190" y="224"/>
                  <a:pt x="1190" y="224"/>
                </a:cubicBezTo>
                <a:cubicBezTo>
                  <a:pt x="1195" y="226"/>
                  <a:pt x="1195" y="226"/>
                  <a:pt x="1195" y="226"/>
                </a:cubicBezTo>
                <a:cubicBezTo>
                  <a:pt x="1194" y="233"/>
                  <a:pt x="1193" y="239"/>
                  <a:pt x="1192" y="243"/>
                </a:cubicBezTo>
                <a:cubicBezTo>
                  <a:pt x="1191" y="251"/>
                  <a:pt x="1191" y="255"/>
                  <a:pt x="1191" y="256"/>
                </a:cubicBezTo>
                <a:cubicBezTo>
                  <a:pt x="1190" y="258"/>
                  <a:pt x="1191" y="259"/>
                  <a:pt x="1192" y="260"/>
                </a:cubicBezTo>
                <a:cubicBezTo>
                  <a:pt x="1192" y="260"/>
                  <a:pt x="1194" y="261"/>
                  <a:pt x="1195" y="261"/>
                </a:cubicBezTo>
                <a:cubicBezTo>
                  <a:pt x="1197" y="261"/>
                  <a:pt x="1199" y="260"/>
                  <a:pt x="1200" y="259"/>
                </a:cubicBezTo>
                <a:cubicBezTo>
                  <a:pt x="1202" y="258"/>
                  <a:pt x="1203" y="257"/>
                  <a:pt x="1203" y="256"/>
                </a:cubicBezTo>
                <a:cubicBezTo>
                  <a:pt x="1202" y="254"/>
                  <a:pt x="1202" y="254"/>
                  <a:pt x="1202" y="254"/>
                </a:cubicBezTo>
                <a:cubicBezTo>
                  <a:pt x="1202" y="255"/>
                  <a:pt x="1201" y="256"/>
                  <a:pt x="1200" y="256"/>
                </a:cubicBezTo>
                <a:cubicBezTo>
                  <a:pt x="1200" y="256"/>
                  <a:pt x="1199" y="256"/>
                  <a:pt x="1199" y="256"/>
                </a:cubicBezTo>
                <a:cubicBezTo>
                  <a:pt x="1198" y="256"/>
                  <a:pt x="1198" y="256"/>
                  <a:pt x="1198" y="256"/>
                </a:cubicBezTo>
                <a:cubicBezTo>
                  <a:pt x="1198" y="256"/>
                  <a:pt x="1198" y="255"/>
                  <a:pt x="1198" y="255"/>
                </a:cubicBezTo>
                <a:lnTo>
                  <a:pt x="1198" y="254"/>
                </a:lnTo>
                <a:close/>
                <a:moveTo>
                  <a:pt x="1200" y="213"/>
                </a:moveTo>
                <a:cubicBezTo>
                  <a:pt x="1201" y="213"/>
                  <a:pt x="1202" y="212"/>
                  <a:pt x="1203" y="211"/>
                </a:cubicBezTo>
                <a:cubicBezTo>
                  <a:pt x="1204" y="210"/>
                  <a:pt x="1205" y="209"/>
                  <a:pt x="1205" y="207"/>
                </a:cubicBezTo>
                <a:cubicBezTo>
                  <a:pt x="1205" y="206"/>
                  <a:pt x="1204" y="206"/>
                  <a:pt x="1204" y="205"/>
                </a:cubicBezTo>
                <a:cubicBezTo>
                  <a:pt x="1203" y="204"/>
                  <a:pt x="1202" y="204"/>
                  <a:pt x="1201" y="204"/>
                </a:cubicBezTo>
                <a:cubicBezTo>
                  <a:pt x="1200" y="204"/>
                  <a:pt x="1198" y="204"/>
                  <a:pt x="1198" y="205"/>
                </a:cubicBezTo>
                <a:cubicBezTo>
                  <a:pt x="1197" y="206"/>
                  <a:pt x="1196" y="207"/>
                  <a:pt x="1196" y="209"/>
                </a:cubicBezTo>
                <a:cubicBezTo>
                  <a:pt x="1196" y="210"/>
                  <a:pt x="1197" y="211"/>
                  <a:pt x="1197" y="212"/>
                </a:cubicBezTo>
                <a:cubicBezTo>
                  <a:pt x="1198" y="212"/>
                  <a:pt x="1199" y="213"/>
                  <a:pt x="1200" y="213"/>
                </a:cubicBezTo>
                <a:close/>
                <a:moveTo>
                  <a:pt x="1237" y="228"/>
                </a:moveTo>
                <a:cubicBezTo>
                  <a:pt x="1238" y="229"/>
                  <a:pt x="1238" y="229"/>
                  <a:pt x="1238" y="229"/>
                </a:cubicBezTo>
                <a:cubicBezTo>
                  <a:pt x="1240" y="222"/>
                  <a:pt x="1240" y="222"/>
                  <a:pt x="1240" y="222"/>
                </a:cubicBezTo>
                <a:cubicBezTo>
                  <a:pt x="1239" y="221"/>
                  <a:pt x="1238" y="221"/>
                  <a:pt x="1237" y="221"/>
                </a:cubicBezTo>
                <a:cubicBezTo>
                  <a:pt x="1235" y="220"/>
                  <a:pt x="1234" y="220"/>
                  <a:pt x="1232" y="220"/>
                </a:cubicBezTo>
                <a:cubicBezTo>
                  <a:pt x="1228" y="220"/>
                  <a:pt x="1224" y="221"/>
                  <a:pt x="1221" y="224"/>
                </a:cubicBezTo>
                <a:cubicBezTo>
                  <a:pt x="1218" y="227"/>
                  <a:pt x="1216" y="230"/>
                  <a:pt x="1214" y="234"/>
                </a:cubicBezTo>
                <a:cubicBezTo>
                  <a:pt x="1213" y="237"/>
                  <a:pt x="1212" y="241"/>
                  <a:pt x="1212" y="245"/>
                </a:cubicBezTo>
                <a:cubicBezTo>
                  <a:pt x="1212" y="250"/>
                  <a:pt x="1213" y="254"/>
                  <a:pt x="1215" y="257"/>
                </a:cubicBezTo>
                <a:cubicBezTo>
                  <a:pt x="1217" y="259"/>
                  <a:pt x="1220" y="261"/>
                  <a:pt x="1224" y="261"/>
                </a:cubicBezTo>
                <a:cubicBezTo>
                  <a:pt x="1227" y="261"/>
                  <a:pt x="1230" y="260"/>
                  <a:pt x="1232" y="259"/>
                </a:cubicBezTo>
                <a:cubicBezTo>
                  <a:pt x="1235" y="257"/>
                  <a:pt x="1236" y="256"/>
                  <a:pt x="1238" y="254"/>
                </a:cubicBezTo>
                <a:cubicBezTo>
                  <a:pt x="1236" y="252"/>
                  <a:pt x="1236" y="252"/>
                  <a:pt x="1236" y="252"/>
                </a:cubicBezTo>
                <a:cubicBezTo>
                  <a:pt x="1235" y="253"/>
                  <a:pt x="1233" y="254"/>
                  <a:pt x="1232" y="255"/>
                </a:cubicBezTo>
                <a:cubicBezTo>
                  <a:pt x="1230" y="256"/>
                  <a:pt x="1229" y="256"/>
                  <a:pt x="1227" y="256"/>
                </a:cubicBezTo>
                <a:cubicBezTo>
                  <a:pt x="1224" y="256"/>
                  <a:pt x="1222" y="255"/>
                  <a:pt x="1221" y="253"/>
                </a:cubicBezTo>
                <a:cubicBezTo>
                  <a:pt x="1220" y="251"/>
                  <a:pt x="1219" y="248"/>
                  <a:pt x="1219" y="244"/>
                </a:cubicBezTo>
                <a:cubicBezTo>
                  <a:pt x="1219" y="240"/>
                  <a:pt x="1219" y="237"/>
                  <a:pt x="1221" y="234"/>
                </a:cubicBezTo>
                <a:cubicBezTo>
                  <a:pt x="1222" y="231"/>
                  <a:pt x="1223" y="229"/>
                  <a:pt x="1225" y="227"/>
                </a:cubicBezTo>
                <a:cubicBezTo>
                  <a:pt x="1227" y="225"/>
                  <a:pt x="1229" y="225"/>
                  <a:pt x="1231" y="225"/>
                </a:cubicBezTo>
                <a:cubicBezTo>
                  <a:pt x="1232" y="225"/>
                  <a:pt x="1235" y="226"/>
                  <a:pt x="1237" y="228"/>
                </a:cubicBezTo>
                <a:close/>
                <a:moveTo>
                  <a:pt x="1255" y="254"/>
                </a:moveTo>
                <a:cubicBezTo>
                  <a:pt x="1260" y="221"/>
                  <a:pt x="1260" y="221"/>
                  <a:pt x="1260" y="221"/>
                </a:cubicBezTo>
                <a:cubicBezTo>
                  <a:pt x="1259" y="220"/>
                  <a:pt x="1259" y="220"/>
                  <a:pt x="1259" y="220"/>
                </a:cubicBezTo>
                <a:cubicBezTo>
                  <a:pt x="1249" y="222"/>
                  <a:pt x="1249" y="222"/>
                  <a:pt x="1249" y="222"/>
                </a:cubicBezTo>
                <a:cubicBezTo>
                  <a:pt x="1248" y="224"/>
                  <a:pt x="1248" y="224"/>
                  <a:pt x="1248" y="224"/>
                </a:cubicBezTo>
                <a:cubicBezTo>
                  <a:pt x="1253" y="226"/>
                  <a:pt x="1253" y="226"/>
                  <a:pt x="1253" y="226"/>
                </a:cubicBezTo>
                <a:cubicBezTo>
                  <a:pt x="1252" y="233"/>
                  <a:pt x="1251" y="239"/>
                  <a:pt x="1250" y="243"/>
                </a:cubicBezTo>
                <a:cubicBezTo>
                  <a:pt x="1249" y="251"/>
                  <a:pt x="1248" y="255"/>
                  <a:pt x="1248" y="256"/>
                </a:cubicBezTo>
                <a:cubicBezTo>
                  <a:pt x="1248" y="258"/>
                  <a:pt x="1249" y="259"/>
                  <a:pt x="1249" y="260"/>
                </a:cubicBezTo>
                <a:cubicBezTo>
                  <a:pt x="1250" y="260"/>
                  <a:pt x="1251" y="261"/>
                  <a:pt x="1253" y="261"/>
                </a:cubicBezTo>
                <a:cubicBezTo>
                  <a:pt x="1255" y="261"/>
                  <a:pt x="1256" y="260"/>
                  <a:pt x="1258" y="259"/>
                </a:cubicBezTo>
                <a:cubicBezTo>
                  <a:pt x="1259" y="258"/>
                  <a:pt x="1260" y="257"/>
                  <a:pt x="1261" y="256"/>
                </a:cubicBezTo>
                <a:cubicBezTo>
                  <a:pt x="1260" y="254"/>
                  <a:pt x="1260" y="254"/>
                  <a:pt x="1260" y="254"/>
                </a:cubicBezTo>
                <a:cubicBezTo>
                  <a:pt x="1259" y="255"/>
                  <a:pt x="1259" y="256"/>
                  <a:pt x="1258" y="256"/>
                </a:cubicBezTo>
                <a:cubicBezTo>
                  <a:pt x="1258" y="256"/>
                  <a:pt x="1257" y="256"/>
                  <a:pt x="1256" y="256"/>
                </a:cubicBezTo>
                <a:cubicBezTo>
                  <a:pt x="1256" y="256"/>
                  <a:pt x="1256" y="256"/>
                  <a:pt x="1256" y="256"/>
                </a:cubicBezTo>
                <a:cubicBezTo>
                  <a:pt x="1255" y="256"/>
                  <a:pt x="1255" y="255"/>
                  <a:pt x="1255" y="255"/>
                </a:cubicBezTo>
                <a:lnTo>
                  <a:pt x="1255" y="254"/>
                </a:lnTo>
                <a:close/>
                <a:moveTo>
                  <a:pt x="1258" y="213"/>
                </a:moveTo>
                <a:cubicBezTo>
                  <a:pt x="1259" y="213"/>
                  <a:pt x="1260" y="212"/>
                  <a:pt x="1261" y="211"/>
                </a:cubicBezTo>
                <a:cubicBezTo>
                  <a:pt x="1262" y="210"/>
                  <a:pt x="1262" y="209"/>
                  <a:pt x="1262" y="207"/>
                </a:cubicBezTo>
                <a:cubicBezTo>
                  <a:pt x="1262" y="206"/>
                  <a:pt x="1262" y="206"/>
                  <a:pt x="1261" y="205"/>
                </a:cubicBezTo>
                <a:cubicBezTo>
                  <a:pt x="1261" y="204"/>
                  <a:pt x="1260" y="204"/>
                  <a:pt x="1259" y="204"/>
                </a:cubicBezTo>
                <a:cubicBezTo>
                  <a:pt x="1257" y="204"/>
                  <a:pt x="1256" y="204"/>
                  <a:pt x="1255" y="205"/>
                </a:cubicBezTo>
                <a:cubicBezTo>
                  <a:pt x="1254" y="206"/>
                  <a:pt x="1254" y="207"/>
                  <a:pt x="1254" y="209"/>
                </a:cubicBezTo>
                <a:cubicBezTo>
                  <a:pt x="1254" y="210"/>
                  <a:pt x="1254" y="211"/>
                  <a:pt x="1255" y="212"/>
                </a:cubicBezTo>
                <a:cubicBezTo>
                  <a:pt x="1256" y="212"/>
                  <a:pt x="1257" y="213"/>
                  <a:pt x="1258" y="213"/>
                </a:cubicBezTo>
                <a:close/>
                <a:moveTo>
                  <a:pt x="1282" y="229"/>
                </a:moveTo>
                <a:cubicBezTo>
                  <a:pt x="1283" y="221"/>
                  <a:pt x="1283" y="221"/>
                  <a:pt x="1283" y="221"/>
                </a:cubicBezTo>
                <a:cubicBezTo>
                  <a:pt x="1281" y="220"/>
                  <a:pt x="1281" y="220"/>
                  <a:pt x="1281" y="220"/>
                </a:cubicBezTo>
                <a:cubicBezTo>
                  <a:pt x="1273" y="222"/>
                  <a:pt x="1273" y="222"/>
                  <a:pt x="1273" y="222"/>
                </a:cubicBezTo>
                <a:cubicBezTo>
                  <a:pt x="1272" y="224"/>
                  <a:pt x="1272" y="224"/>
                  <a:pt x="1272" y="224"/>
                </a:cubicBezTo>
                <a:cubicBezTo>
                  <a:pt x="1275" y="226"/>
                  <a:pt x="1275" y="226"/>
                  <a:pt x="1275" y="226"/>
                </a:cubicBezTo>
                <a:cubicBezTo>
                  <a:pt x="1271" y="260"/>
                  <a:pt x="1271" y="260"/>
                  <a:pt x="1271" y="260"/>
                </a:cubicBezTo>
                <a:cubicBezTo>
                  <a:pt x="1278" y="260"/>
                  <a:pt x="1278" y="260"/>
                  <a:pt x="1278" y="260"/>
                </a:cubicBezTo>
                <a:cubicBezTo>
                  <a:pt x="1281" y="235"/>
                  <a:pt x="1281" y="235"/>
                  <a:pt x="1281" y="235"/>
                </a:cubicBezTo>
                <a:cubicBezTo>
                  <a:pt x="1283" y="232"/>
                  <a:pt x="1285" y="230"/>
                  <a:pt x="1287" y="228"/>
                </a:cubicBezTo>
                <a:cubicBezTo>
                  <a:pt x="1289" y="226"/>
                  <a:pt x="1291" y="225"/>
                  <a:pt x="1293" y="225"/>
                </a:cubicBezTo>
                <a:cubicBezTo>
                  <a:pt x="1295" y="225"/>
                  <a:pt x="1296" y="226"/>
                  <a:pt x="1297" y="226"/>
                </a:cubicBezTo>
                <a:cubicBezTo>
                  <a:pt x="1297" y="227"/>
                  <a:pt x="1298" y="229"/>
                  <a:pt x="1298" y="231"/>
                </a:cubicBezTo>
                <a:cubicBezTo>
                  <a:pt x="1298" y="233"/>
                  <a:pt x="1297" y="234"/>
                  <a:pt x="1297" y="236"/>
                </a:cubicBezTo>
                <a:cubicBezTo>
                  <a:pt x="1297" y="238"/>
                  <a:pt x="1297" y="240"/>
                  <a:pt x="1296" y="243"/>
                </a:cubicBezTo>
                <a:cubicBezTo>
                  <a:pt x="1296" y="245"/>
                  <a:pt x="1296" y="245"/>
                  <a:pt x="1296" y="245"/>
                </a:cubicBezTo>
                <a:cubicBezTo>
                  <a:pt x="1295" y="248"/>
                  <a:pt x="1295" y="248"/>
                  <a:pt x="1295" y="248"/>
                </a:cubicBezTo>
                <a:cubicBezTo>
                  <a:pt x="1294" y="252"/>
                  <a:pt x="1294" y="255"/>
                  <a:pt x="1294" y="256"/>
                </a:cubicBezTo>
                <a:cubicBezTo>
                  <a:pt x="1294" y="259"/>
                  <a:pt x="1295" y="261"/>
                  <a:pt x="1298" y="261"/>
                </a:cubicBezTo>
                <a:cubicBezTo>
                  <a:pt x="1300" y="261"/>
                  <a:pt x="1301" y="260"/>
                  <a:pt x="1302" y="260"/>
                </a:cubicBezTo>
                <a:cubicBezTo>
                  <a:pt x="1303" y="259"/>
                  <a:pt x="1304" y="259"/>
                  <a:pt x="1305" y="258"/>
                </a:cubicBezTo>
                <a:cubicBezTo>
                  <a:pt x="1305" y="258"/>
                  <a:pt x="1306" y="257"/>
                  <a:pt x="1306" y="257"/>
                </a:cubicBezTo>
                <a:cubicBezTo>
                  <a:pt x="1305" y="255"/>
                  <a:pt x="1305" y="255"/>
                  <a:pt x="1305" y="255"/>
                </a:cubicBezTo>
                <a:cubicBezTo>
                  <a:pt x="1304" y="256"/>
                  <a:pt x="1303" y="256"/>
                  <a:pt x="1302" y="256"/>
                </a:cubicBezTo>
                <a:cubicBezTo>
                  <a:pt x="1301" y="256"/>
                  <a:pt x="1301" y="256"/>
                  <a:pt x="1301" y="255"/>
                </a:cubicBezTo>
                <a:cubicBezTo>
                  <a:pt x="1301" y="253"/>
                  <a:pt x="1301" y="250"/>
                  <a:pt x="1302" y="246"/>
                </a:cubicBezTo>
                <a:cubicBezTo>
                  <a:pt x="1303" y="243"/>
                  <a:pt x="1303" y="243"/>
                  <a:pt x="1303" y="243"/>
                </a:cubicBezTo>
                <a:cubicBezTo>
                  <a:pt x="1303" y="241"/>
                  <a:pt x="1303" y="241"/>
                  <a:pt x="1303" y="241"/>
                </a:cubicBezTo>
                <a:cubicBezTo>
                  <a:pt x="1304" y="236"/>
                  <a:pt x="1305" y="232"/>
                  <a:pt x="1305" y="230"/>
                </a:cubicBezTo>
                <a:cubicBezTo>
                  <a:pt x="1305" y="227"/>
                  <a:pt x="1304" y="224"/>
                  <a:pt x="1302" y="223"/>
                </a:cubicBezTo>
                <a:cubicBezTo>
                  <a:pt x="1301" y="221"/>
                  <a:pt x="1299" y="220"/>
                  <a:pt x="1296" y="220"/>
                </a:cubicBezTo>
                <a:cubicBezTo>
                  <a:pt x="1294" y="220"/>
                  <a:pt x="1291" y="221"/>
                  <a:pt x="1289" y="223"/>
                </a:cubicBezTo>
                <a:cubicBezTo>
                  <a:pt x="1286" y="224"/>
                  <a:pt x="1284" y="227"/>
                  <a:pt x="1282" y="229"/>
                </a:cubicBezTo>
                <a:close/>
                <a:moveTo>
                  <a:pt x="1342" y="253"/>
                </a:moveTo>
                <a:cubicBezTo>
                  <a:pt x="1340" y="251"/>
                  <a:pt x="1340" y="251"/>
                  <a:pt x="1340" y="251"/>
                </a:cubicBezTo>
                <a:cubicBezTo>
                  <a:pt x="1339" y="253"/>
                  <a:pt x="1337" y="254"/>
                  <a:pt x="1335" y="255"/>
                </a:cubicBezTo>
                <a:cubicBezTo>
                  <a:pt x="1333" y="256"/>
                  <a:pt x="1331" y="256"/>
                  <a:pt x="1329" y="256"/>
                </a:cubicBezTo>
                <a:cubicBezTo>
                  <a:pt x="1326" y="256"/>
                  <a:pt x="1323" y="255"/>
                  <a:pt x="1322" y="253"/>
                </a:cubicBezTo>
                <a:cubicBezTo>
                  <a:pt x="1321" y="250"/>
                  <a:pt x="1320" y="247"/>
                  <a:pt x="1320" y="244"/>
                </a:cubicBezTo>
                <a:cubicBezTo>
                  <a:pt x="1323" y="244"/>
                  <a:pt x="1327" y="244"/>
                  <a:pt x="1330" y="242"/>
                </a:cubicBezTo>
                <a:cubicBezTo>
                  <a:pt x="1334" y="241"/>
                  <a:pt x="1337" y="240"/>
                  <a:pt x="1340" y="237"/>
                </a:cubicBezTo>
                <a:cubicBezTo>
                  <a:pt x="1342" y="235"/>
                  <a:pt x="1344" y="232"/>
                  <a:pt x="1344" y="229"/>
                </a:cubicBezTo>
                <a:cubicBezTo>
                  <a:pt x="1344" y="226"/>
                  <a:pt x="1343" y="224"/>
                  <a:pt x="1341" y="223"/>
                </a:cubicBezTo>
                <a:cubicBezTo>
                  <a:pt x="1340" y="221"/>
                  <a:pt x="1337" y="220"/>
                  <a:pt x="1334" y="220"/>
                </a:cubicBezTo>
                <a:cubicBezTo>
                  <a:pt x="1330" y="220"/>
                  <a:pt x="1326" y="221"/>
                  <a:pt x="1323" y="224"/>
                </a:cubicBezTo>
                <a:cubicBezTo>
                  <a:pt x="1320" y="226"/>
                  <a:pt x="1318" y="229"/>
                  <a:pt x="1316" y="233"/>
                </a:cubicBezTo>
                <a:cubicBezTo>
                  <a:pt x="1314" y="237"/>
                  <a:pt x="1313" y="241"/>
                  <a:pt x="1313" y="246"/>
                </a:cubicBezTo>
                <a:cubicBezTo>
                  <a:pt x="1313" y="248"/>
                  <a:pt x="1314" y="251"/>
                  <a:pt x="1315" y="253"/>
                </a:cubicBezTo>
                <a:cubicBezTo>
                  <a:pt x="1316" y="255"/>
                  <a:pt x="1317" y="257"/>
                  <a:pt x="1319" y="259"/>
                </a:cubicBezTo>
                <a:cubicBezTo>
                  <a:pt x="1321" y="260"/>
                  <a:pt x="1324" y="261"/>
                  <a:pt x="1327" y="261"/>
                </a:cubicBezTo>
                <a:cubicBezTo>
                  <a:pt x="1330" y="261"/>
                  <a:pt x="1333" y="260"/>
                  <a:pt x="1336" y="258"/>
                </a:cubicBezTo>
                <a:cubicBezTo>
                  <a:pt x="1339" y="257"/>
                  <a:pt x="1341" y="255"/>
                  <a:pt x="1342" y="253"/>
                </a:cubicBezTo>
                <a:close/>
                <a:moveTo>
                  <a:pt x="1332" y="224"/>
                </a:moveTo>
                <a:cubicBezTo>
                  <a:pt x="1334" y="224"/>
                  <a:pt x="1335" y="224"/>
                  <a:pt x="1336" y="225"/>
                </a:cubicBezTo>
                <a:cubicBezTo>
                  <a:pt x="1337" y="226"/>
                  <a:pt x="1337" y="228"/>
                  <a:pt x="1337" y="229"/>
                </a:cubicBezTo>
                <a:cubicBezTo>
                  <a:pt x="1337" y="232"/>
                  <a:pt x="1336" y="234"/>
                  <a:pt x="1334" y="235"/>
                </a:cubicBezTo>
                <a:cubicBezTo>
                  <a:pt x="1333" y="237"/>
                  <a:pt x="1331" y="238"/>
                  <a:pt x="1328" y="239"/>
                </a:cubicBezTo>
                <a:cubicBezTo>
                  <a:pt x="1325" y="240"/>
                  <a:pt x="1323" y="241"/>
                  <a:pt x="1321" y="241"/>
                </a:cubicBezTo>
                <a:cubicBezTo>
                  <a:pt x="1321" y="238"/>
                  <a:pt x="1321" y="236"/>
                  <a:pt x="1322" y="233"/>
                </a:cubicBezTo>
                <a:cubicBezTo>
                  <a:pt x="1323" y="230"/>
                  <a:pt x="1325" y="228"/>
                  <a:pt x="1326" y="226"/>
                </a:cubicBezTo>
                <a:cubicBezTo>
                  <a:pt x="1328" y="225"/>
                  <a:pt x="1330" y="224"/>
                  <a:pt x="1332" y="224"/>
                </a:cubicBezTo>
                <a:close/>
              </a:path>
            </a:pathLst>
          </a:custGeom>
          <a:solidFill>
            <a:schemeClr val="tx2"/>
          </a:solidFill>
          <a:ln>
            <a:noFill/>
          </a:ln>
        </p:spPr>
        <p:txBody>
          <a:bodyPr vert="horz" wrap="square" lIns="121920" tIns="60960" rIns="121920" bIns="60960" numCol="1" anchor="t" anchorCtr="0" compatLnSpc="1">
            <a:prstTxWarp prst="textNoShape">
              <a:avLst/>
            </a:prstTxWarp>
          </a:bodyPr>
          <a:lstStyle/>
          <a:p>
            <a:endParaRPr lang="en-US" sz="2400"/>
          </a:p>
        </p:txBody>
      </p:sp>
      <p:sp>
        <p:nvSpPr>
          <p:cNvPr id="15" name="Rectangle 14">
            <a:extLst>
              <a:ext uri="{FF2B5EF4-FFF2-40B4-BE49-F238E27FC236}">
                <a16:creationId xmlns:a16="http://schemas.microsoft.com/office/drawing/2014/main" id="{E3B0923C-66F3-41D3-81E0-20E2A2A9705A}"/>
              </a:ext>
            </a:extLst>
          </p:cNvPr>
          <p:cNvSpPr/>
          <p:nvPr/>
        </p:nvSpPr>
        <p:spPr>
          <a:xfrm>
            <a:off x="11594592" y="0"/>
            <a:ext cx="5974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Tree>
    <p:extLst>
      <p:ext uri="{BB962C8B-B14F-4D97-AF65-F5344CB8AC3E}">
        <p14:creationId xmlns:p14="http://schemas.microsoft.com/office/powerpoint/2010/main" val="4215713809"/>
      </p:ext>
    </p:extLst>
  </p:cSld>
  <p:clrMap bg1="lt1" tx1="dk1" bg2="lt2" tx2="dk2" accent1="accent1" accent2="accent2" accent3="accent3" accent4="accent4" accent5="accent5" accent6="accent6" hlink="hlink" folHlink="folHlink"/>
  <p:sldLayoutIdLst>
    <p:sldLayoutId id="2147483781" r:id="rId1"/>
    <p:sldLayoutId id="2147483782" r:id="rId2"/>
    <p:sldLayoutId id="2147483783" r:id="rId3"/>
    <p:sldLayoutId id="2147483784" r:id="rId4"/>
    <p:sldLayoutId id="2147483785" r:id="rId5"/>
    <p:sldLayoutId id="2147483786" r:id="rId6"/>
    <p:sldLayoutId id="2147483787" r:id="rId7"/>
    <p:sldLayoutId id="2147483788" r:id="rId8"/>
    <p:sldLayoutId id="2147483789" r:id="rId9"/>
    <p:sldLayoutId id="2147483790" r:id="rId10"/>
    <p:sldLayoutId id="2147483791" r:id="rId11"/>
    <p:sldLayoutId id="2147483792" r:id="rId12"/>
    <p:sldLayoutId id="2147483793" r:id="rId13"/>
    <p:sldLayoutId id="2147483794" r:id="rId14"/>
    <p:sldLayoutId id="2147483795" r:id="rId15"/>
    <p:sldLayoutId id="2147483796" r:id="rId16"/>
    <p:sldLayoutId id="2147483797" r:id="rId17"/>
    <p:sldLayoutId id="2147483798" r:id="rId18"/>
    <p:sldLayoutId id="2147483799" r:id="rId19"/>
    <p:sldLayoutId id="2147483800" r:id="rId20"/>
    <p:sldLayoutId id="2147483801" r:id="rId21"/>
    <p:sldLayoutId id="2147483802" r:id="rId22"/>
    <p:sldLayoutId id="2147483803" r:id="rId23"/>
    <p:sldLayoutId id="2147483804" r:id="rId24"/>
    <p:sldLayoutId id="2147483805" r:id="rId25"/>
    <p:sldLayoutId id="2147483806" r:id="rId26"/>
    <p:sldLayoutId id="2147483807" r:id="rId27"/>
    <p:sldLayoutId id="2147483808" r:id="rId28"/>
    <p:sldLayoutId id="2147483809" r:id="rId29"/>
    <p:sldLayoutId id="2147483810" r:id="rId30"/>
    <p:sldLayoutId id="2147483811" r:id="rId31"/>
    <p:sldLayoutId id="2147483812" r:id="rId32"/>
    <p:sldLayoutId id="2147483813" r:id="rId33"/>
    <p:sldLayoutId id="2147483814" r:id="rId34"/>
  </p:sldLayoutIdLst>
  <p:hf hdr="0" ftr="0" dt="0"/>
  <p:txStyles>
    <p:titleStyle>
      <a:lvl1pPr algn="l" defTabSz="914377" rtl="0" eaLnBrk="1" latinLnBrk="0" hangingPunct="1">
        <a:lnSpc>
          <a:spcPct val="90000"/>
        </a:lnSpc>
        <a:spcBef>
          <a:spcPct val="0"/>
        </a:spcBef>
        <a:buNone/>
        <a:defRPr sz="3200" kern="1200">
          <a:solidFill>
            <a:schemeClr val="tx2"/>
          </a:solidFill>
          <a:latin typeface="+mj-lt"/>
          <a:ea typeface="+mj-ea"/>
          <a:cs typeface="+mj-cs"/>
        </a:defRPr>
      </a:lvl1pPr>
    </p:titleStyle>
    <p:bodyStyle>
      <a:lvl1pPr marL="313259" indent="-313259" algn="l" defTabSz="914377" rtl="0" eaLnBrk="1" latinLnBrk="0" hangingPunct="1">
        <a:lnSpc>
          <a:spcPct val="110000"/>
        </a:lnSpc>
        <a:spcBef>
          <a:spcPts val="800"/>
        </a:spcBef>
        <a:buFont typeface="Arial" panose="020B0604020202020204" pitchFamily="34" charset="0"/>
        <a:buChar char="•"/>
        <a:defRPr sz="1867" kern="1200">
          <a:solidFill>
            <a:schemeClr val="tx1"/>
          </a:solidFill>
          <a:latin typeface="+mn-lt"/>
          <a:ea typeface="+mn-ea"/>
          <a:cs typeface="+mn-cs"/>
        </a:defRPr>
      </a:lvl1pPr>
      <a:lvl2pPr marL="609585" indent="-296326" algn="l" defTabSz="914377" rtl="0" eaLnBrk="1" latinLnBrk="0" hangingPunct="1">
        <a:lnSpc>
          <a:spcPct val="110000"/>
        </a:lnSpc>
        <a:spcBef>
          <a:spcPts val="800"/>
        </a:spcBef>
        <a:buClrTx/>
        <a:buFont typeface="Arial" panose="020B0604020202020204" pitchFamily="34" charset="0"/>
        <a:buChar char="–"/>
        <a:defRPr sz="1600" kern="1200">
          <a:solidFill>
            <a:schemeClr val="tx1"/>
          </a:solidFill>
          <a:latin typeface="+mn-lt"/>
          <a:ea typeface="+mn-ea"/>
          <a:cs typeface="+mn-cs"/>
        </a:defRPr>
      </a:lvl2pPr>
      <a:lvl3pPr marL="922844" indent="-313259" algn="l" defTabSz="914377" rtl="0" eaLnBrk="1" latinLnBrk="0" hangingPunct="1">
        <a:lnSpc>
          <a:spcPct val="110000"/>
        </a:lnSpc>
        <a:spcBef>
          <a:spcPts val="800"/>
        </a:spcBef>
        <a:buFont typeface="Arial" panose="020B0604020202020204" pitchFamily="34" charset="0"/>
        <a:buChar char="•"/>
        <a:defRPr sz="1467" kern="1200">
          <a:solidFill>
            <a:schemeClr val="tx1"/>
          </a:solidFill>
          <a:latin typeface="+mn-lt"/>
          <a:ea typeface="+mn-ea"/>
          <a:cs typeface="+mn-cs"/>
        </a:defRPr>
      </a:lvl3pPr>
      <a:lvl4pPr marL="1219170" indent="-296326" algn="l" defTabSz="914377" rtl="0" eaLnBrk="1" latinLnBrk="0" hangingPunct="1">
        <a:lnSpc>
          <a:spcPct val="110000"/>
        </a:lnSpc>
        <a:spcBef>
          <a:spcPts val="800"/>
        </a:spcBef>
        <a:buFont typeface="Arial" panose="020B0604020202020204" pitchFamily="34" charset="0"/>
        <a:buChar char="–"/>
        <a:defRPr sz="1333" kern="1200">
          <a:solidFill>
            <a:schemeClr val="tx1"/>
          </a:solidFill>
          <a:latin typeface="+mn-lt"/>
          <a:ea typeface="+mn-ea"/>
          <a:cs typeface="+mn-cs"/>
        </a:defRPr>
      </a:lvl4pPr>
      <a:lvl5pPr marL="1532428" indent="-313259" algn="l" defTabSz="914377" rtl="0" eaLnBrk="1" latinLnBrk="0" hangingPunct="1">
        <a:lnSpc>
          <a:spcPct val="110000"/>
        </a:lnSpc>
        <a:spcBef>
          <a:spcPts val="800"/>
        </a:spcBef>
        <a:buFont typeface="Arial" panose="020B0604020202020204" pitchFamily="34" charset="0"/>
        <a:buChar char="•"/>
        <a:defRPr sz="12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12">
          <p15:clr>
            <a:srgbClr val="F26B43"/>
          </p15:clr>
        </p15:guide>
        <p15:guide id="2" orient="horz" pos="1255">
          <p15:clr>
            <a:srgbClr val="F26B43"/>
          </p15:clr>
        </p15:guide>
        <p15:guide id="3" pos="5300">
          <p15:clr>
            <a:srgbClr val="F26B43"/>
          </p15:clr>
        </p15:guide>
        <p15:guide id="4" orient="horz" pos="2907">
          <p15:clr>
            <a:srgbClr val="F26B43"/>
          </p15:clr>
        </p15:guide>
        <p15:guide id="5" orient="horz" pos="612">
          <p15:clr>
            <a:srgbClr val="F26B43"/>
          </p15:clr>
        </p15:guide>
        <p15:guide id="6" orient="horz" pos="577">
          <p15:clr>
            <a:srgbClr val="F26B43"/>
          </p15:clr>
        </p15:guide>
        <p15:guide id="7" orient="horz" pos="205">
          <p15:clr>
            <a:srgbClr val="F26B43"/>
          </p15:clr>
        </p15:guide>
        <p15:guide id="9" orient="horz" pos="1145">
          <p15:clr>
            <a:srgbClr val="F26B43"/>
          </p15:clr>
        </p15:guide>
        <p15:guide id="10" orient="horz" pos="2951">
          <p15:clr>
            <a:srgbClr val="F26B43"/>
          </p15:clr>
        </p15:guide>
        <p15:guide id="11" pos="4848">
          <p15:clr>
            <a:srgbClr val="F26B43"/>
          </p15:clr>
        </p15:guide>
        <p15:guide id="12" orient="horz" pos="368">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62940" y="436881"/>
            <a:ext cx="9602485" cy="858676"/>
          </a:xfrm>
          <a:prstGeom prst="rect">
            <a:avLst/>
          </a:prstGeom>
        </p:spPr>
        <p:txBody>
          <a:bodyPr vert="horz" lIns="0" tIns="0" rIns="0" bIns="0" rtlCol="0" anchor="t" anchorCtr="0">
            <a:noAutofit/>
          </a:bodyPr>
          <a:lstStyle/>
          <a:p>
            <a:r>
              <a:rPr lang="en-US"/>
              <a:t>Click to edit Master title style</a:t>
            </a:r>
          </a:p>
        </p:txBody>
      </p:sp>
      <p:sp>
        <p:nvSpPr>
          <p:cNvPr id="3" name="Text Placeholder 2"/>
          <p:cNvSpPr>
            <a:spLocks noGrp="1"/>
          </p:cNvSpPr>
          <p:nvPr>
            <p:ph type="body" idx="1"/>
          </p:nvPr>
        </p:nvSpPr>
        <p:spPr>
          <a:xfrm>
            <a:off x="660400" y="2426207"/>
            <a:ext cx="9602485" cy="3726943"/>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4"/>
          </p:nvPr>
        </p:nvSpPr>
        <p:spPr>
          <a:xfrm>
            <a:off x="10815321" y="6441450"/>
            <a:ext cx="401319" cy="194925"/>
          </a:xfrm>
          <a:prstGeom prst="rect">
            <a:avLst/>
          </a:prstGeom>
        </p:spPr>
        <p:txBody>
          <a:bodyPr vert="horz" wrap="square" lIns="0" tIns="0" rIns="0" bIns="0" rtlCol="0" anchor="ctr">
            <a:spAutoFit/>
          </a:bodyPr>
          <a:lstStyle>
            <a:lvl1pPr algn="r">
              <a:defRPr sz="1267">
                <a:solidFill>
                  <a:srgbClr val="7F7F7F"/>
                </a:solidFill>
              </a:defRPr>
            </a:lvl1pPr>
          </a:lstStyle>
          <a:p>
            <a:fld id="{46D584E9-81E4-493B-AD1D-A460B5445953}" type="slidenum">
              <a:rPr lang="en-US" smtClean="0"/>
              <a:t>‹#›</a:t>
            </a:fld>
            <a:endParaRPr lang="en-US"/>
          </a:p>
        </p:txBody>
      </p:sp>
      <p:sp>
        <p:nvSpPr>
          <p:cNvPr id="10" name="Freeform 5">
            <a:extLst>
              <a:ext uri="{FF2B5EF4-FFF2-40B4-BE49-F238E27FC236}">
                <a16:creationId xmlns:a16="http://schemas.microsoft.com/office/drawing/2014/main" id="{584AF6AD-8EEC-4BEF-8B65-D33DC6250B18}"/>
              </a:ext>
            </a:extLst>
          </p:cNvPr>
          <p:cNvSpPr>
            <a:spLocks noEditPoints="1"/>
          </p:cNvSpPr>
          <p:nvPr/>
        </p:nvSpPr>
        <p:spPr bwMode="auto">
          <a:xfrm>
            <a:off x="725855" y="6393957"/>
            <a:ext cx="1669365" cy="312609"/>
          </a:xfrm>
          <a:custGeom>
            <a:avLst/>
            <a:gdLst>
              <a:gd name="T0" fmla="*/ 225 w 1440"/>
              <a:gd name="T1" fmla="*/ 110 h 267"/>
              <a:gd name="T2" fmla="*/ 317 w 1440"/>
              <a:gd name="T3" fmla="*/ 7 h 267"/>
              <a:gd name="T4" fmla="*/ 475 w 1440"/>
              <a:gd name="T5" fmla="*/ 19 h 267"/>
              <a:gd name="T6" fmla="*/ 830 w 1440"/>
              <a:gd name="T7" fmla="*/ 7 h 267"/>
              <a:gd name="T8" fmla="*/ 130 w 1440"/>
              <a:gd name="T9" fmla="*/ 210 h 267"/>
              <a:gd name="T10" fmla="*/ 437 w 1440"/>
              <a:gd name="T11" fmla="*/ 209 h 267"/>
              <a:gd name="T12" fmla="*/ 493 w 1440"/>
              <a:gd name="T13" fmla="*/ 198 h 267"/>
              <a:gd name="T14" fmla="*/ 866 w 1440"/>
              <a:gd name="T15" fmla="*/ 171 h 267"/>
              <a:gd name="T16" fmla="*/ 737 w 1440"/>
              <a:gd name="T17" fmla="*/ 261 h 267"/>
              <a:gd name="T18" fmla="*/ 958 w 1440"/>
              <a:gd name="T19" fmla="*/ 172 h 267"/>
              <a:gd name="T20" fmla="*/ 906 w 1440"/>
              <a:gd name="T21" fmla="*/ 254 h 267"/>
              <a:gd name="T22" fmla="*/ 309 w 1440"/>
              <a:gd name="T23" fmla="*/ 260 h 267"/>
              <a:gd name="T24" fmla="*/ 1053 w 1440"/>
              <a:gd name="T25" fmla="*/ 31 h 267"/>
              <a:gd name="T26" fmla="*/ 1075 w 1440"/>
              <a:gd name="T27" fmla="*/ 44 h 267"/>
              <a:gd name="T28" fmla="*/ 1091 w 1440"/>
              <a:gd name="T29" fmla="*/ 22 h 267"/>
              <a:gd name="T30" fmla="*/ 1107 w 1440"/>
              <a:gd name="T31" fmla="*/ 27 h 267"/>
              <a:gd name="T32" fmla="*/ 1125 w 1440"/>
              <a:gd name="T33" fmla="*/ 55 h 267"/>
              <a:gd name="T34" fmla="*/ 1159 w 1440"/>
              <a:gd name="T35" fmla="*/ 53 h 267"/>
              <a:gd name="T36" fmla="*/ 1160 w 1440"/>
              <a:gd name="T37" fmla="*/ 57 h 267"/>
              <a:gd name="T38" fmla="*/ 1177 w 1440"/>
              <a:gd name="T39" fmla="*/ 23 h 267"/>
              <a:gd name="T40" fmla="*/ 1207 w 1440"/>
              <a:gd name="T41" fmla="*/ 58 h 267"/>
              <a:gd name="T42" fmla="*/ 1245 w 1440"/>
              <a:gd name="T43" fmla="*/ 27 h 267"/>
              <a:gd name="T44" fmla="*/ 1225 w 1440"/>
              <a:gd name="T45" fmla="*/ 43 h 267"/>
              <a:gd name="T46" fmla="*/ 1271 w 1440"/>
              <a:gd name="T47" fmla="*/ 19 h 267"/>
              <a:gd name="T48" fmla="*/ 1259 w 1440"/>
              <a:gd name="T49" fmla="*/ 32 h 267"/>
              <a:gd name="T50" fmla="*/ 1290 w 1440"/>
              <a:gd name="T51" fmla="*/ 54 h 267"/>
              <a:gd name="T52" fmla="*/ 1310 w 1440"/>
              <a:gd name="T53" fmla="*/ 25 h 267"/>
              <a:gd name="T54" fmla="*/ 1059 w 1440"/>
              <a:gd name="T55" fmla="*/ 110 h 267"/>
              <a:gd name="T56" fmla="*/ 1099 w 1440"/>
              <a:gd name="T57" fmla="*/ 134 h 267"/>
              <a:gd name="T58" fmla="*/ 1120 w 1440"/>
              <a:gd name="T59" fmla="*/ 156 h 267"/>
              <a:gd name="T60" fmla="*/ 1141 w 1440"/>
              <a:gd name="T61" fmla="*/ 123 h 267"/>
              <a:gd name="T62" fmla="*/ 1148 w 1440"/>
              <a:gd name="T63" fmla="*/ 175 h 267"/>
              <a:gd name="T64" fmla="*/ 1184 w 1440"/>
              <a:gd name="T65" fmla="*/ 119 h 267"/>
              <a:gd name="T66" fmla="*/ 1181 w 1440"/>
              <a:gd name="T67" fmla="*/ 153 h 267"/>
              <a:gd name="T68" fmla="*/ 1201 w 1440"/>
              <a:gd name="T69" fmla="*/ 125 h 267"/>
              <a:gd name="T70" fmla="*/ 1230 w 1440"/>
              <a:gd name="T71" fmla="*/ 157 h 267"/>
              <a:gd name="T72" fmla="*/ 1260 w 1440"/>
              <a:gd name="T73" fmla="*/ 154 h 267"/>
              <a:gd name="T74" fmla="*/ 1261 w 1440"/>
              <a:gd name="T75" fmla="*/ 158 h 267"/>
              <a:gd name="T76" fmla="*/ 1284 w 1440"/>
              <a:gd name="T77" fmla="*/ 152 h 267"/>
              <a:gd name="T78" fmla="*/ 1294 w 1440"/>
              <a:gd name="T79" fmla="*/ 123 h 267"/>
              <a:gd name="T80" fmla="*/ 1317 w 1440"/>
              <a:gd name="T81" fmla="*/ 125 h 267"/>
              <a:gd name="T82" fmla="*/ 1342 w 1440"/>
              <a:gd name="T83" fmla="*/ 121 h 267"/>
              <a:gd name="T84" fmla="*/ 1351 w 1440"/>
              <a:gd name="T85" fmla="*/ 112 h 267"/>
              <a:gd name="T86" fmla="*/ 1364 w 1440"/>
              <a:gd name="T87" fmla="*/ 159 h 267"/>
              <a:gd name="T88" fmla="*/ 1399 w 1440"/>
              <a:gd name="T89" fmla="*/ 156 h 267"/>
              <a:gd name="T90" fmla="*/ 1432 w 1440"/>
              <a:gd name="T91" fmla="*/ 120 h 267"/>
              <a:gd name="T92" fmla="*/ 1410 w 1440"/>
              <a:gd name="T93" fmla="*/ 176 h 267"/>
              <a:gd name="T94" fmla="*/ 1076 w 1440"/>
              <a:gd name="T95" fmla="*/ 242 h 267"/>
              <a:gd name="T96" fmla="*/ 1062 w 1440"/>
              <a:gd name="T97" fmla="*/ 225 h 267"/>
              <a:gd name="T98" fmla="*/ 1091 w 1440"/>
              <a:gd name="T99" fmla="*/ 208 h 267"/>
              <a:gd name="T100" fmla="*/ 1112 w 1440"/>
              <a:gd name="T101" fmla="*/ 233 h 267"/>
              <a:gd name="T102" fmla="*/ 1128 w 1440"/>
              <a:gd name="T103" fmla="*/ 224 h 267"/>
              <a:gd name="T104" fmla="*/ 1168 w 1440"/>
              <a:gd name="T105" fmla="*/ 255 h 267"/>
              <a:gd name="T106" fmla="*/ 1154 w 1440"/>
              <a:gd name="T107" fmla="*/ 236 h 267"/>
              <a:gd name="T108" fmla="*/ 1203 w 1440"/>
              <a:gd name="T109" fmla="*/ 256 h 267"/>
              <a:gd name="T110" fmla="*/ 1200 w 1440"/>
              <a:gd name="T111" fmla="*/ 213 h 267"/>
              <a:gd name="T112" fmla="*/ 1227 w 1440"/>
              <a:gd name="T113" fmla="*/ 256 h 267"/>
              <a:gd name="T114" fmla="*/ 1249 w 1440"/>
              <a:gd name="T115" fmla="*/ 260 h 267"/>
              <a:gd name="T116" fmla="*/ 1255 w 1440"/>
              <a:gd name="T117" fmla="*/ 205 h 267"/>
              <a:gd name="T118" fmla="*/ 1297 w 1440"/>
              <a:gd name="T119" fmla="*/ 226 h 267"/>
              <a:gd name="T120" fmla="*/ 1303 w 1440"/>
              <a:gd name="T121" fmla="*/ 243 h 267"/>
              <a:gd name="T122" fmla="*/ 1344 w 1440"/>
              <a:gd name="T123" fmla="*/ 229 h 267"/>
              <a:gd name="T124" fmla="*/ 1328 w 1440"/>
              <a:gd name="T125" fmla="*/ 239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440" h="267">
                <a:moveTo>
                  <a:pt x="17" y="110"/>
                </a:moveTo>
                <a:cubicBezTo>
                  <a:pt x="3" y="110"/>
                  <a:pt x="3" y="110"/>
                  <a:pt x="3" y="110"/>
                </a:cubicBezTo>
                <a:cubicBezTo>
                  <a:pt x="3" y="1"/>
                  <a:pt x="3" y="1"/>
                  <a:pt x="3" y="1"/>
                </a:cubicBezTo>
                <a:cubicBezTo>
                  <a:pt x="81" y="83"/>
                  <a:pt x="81" y="83"/>
                  <a:pt x="81" y="83"/>
                </a:cubicBezTo>
                <a:cubicBezTo>
                  <a:pt x="81" y="7"/>
                  <a:pt x="81" y="7"/>
                  <a:pt x="81" y="7"/>
                </a:cubicBezTo>
                <a:cubicBezTo>
                  <a:pt x="95" y="7"/>
                  <a:pt x="95" y="7"/>
                  <a:pt x="95" y="7"/>
                </a:cubicBezTo>
                <a:cubicBezTo>
                  <a:pt x="95" y="117"/>
                  <a:pt x="95" y="117"/>
                  <a:pt x="95" y="117"/>
                </a:cubicBezTo>
                <a:cubicBezTo>
                  <a:pt x="17" y="35"/>
                  <a:pt x="17" y="35"/>
                  <a:pt x="17" y="35"/>
                </a:cubicBezTo>
                <a:lnTo>
                  <a:pt x="17" y="110"/>
                </a:lnTo>
                <a:close/>
                <a:moveTo>
                  <a:pt x="130" y="110"/>
                </a:moveTo>
                <a:cubicBezTo>
                  <a:pt x="145" y="110"/>
                  <a:pt x="145" y="110"/>
                  <a:pt x="145" y="110"/>
                </a:cubicBezTo>
                <a:cubicBezTo>
                  <a:pt x="178" y="33"/>
                  <a:pt x="178" y="33"/>
                  <a:pt x="178" y="33"/>
                </a:cubicBezTo>
                <a:cubicBezTo>
                  <a:pt x="210" y="109"/>
                  <a:pt x="210" y="109"/>
                  <a:pt x="210" y="109"/>
                </a:cubicBezTo>
                <a:cubicBezTo>
                  <a:pt x="210" y="110"/>
                  <a:pt x="210" y="110"/>
                  <a:pt x="210" y="110"/>
                </a:cubicBezTo>
                <a:cubicBezTo>
                  <a:pt x="225" y="110"/>
                  <a:pt x="225" y="110"/>
                  <a:pt x="225" y="110"/>
                </a:cubicBezTo>
                <a:cubicBezTo>
                  <a:pt x="178" y="0"/>
                  <a:pt x="178" y="0"/>
                  <a:pt x="178" y="0"/>
                </a:cubicBezTo>
                <a:lnTo>
                  <a:pt x="130" y="110"/>
                </a:lnTo>
                <a:close/>
                <a:moveTo>
                  <a:pt x="700" y="110"/>
                </a:moveTo>
                <a:cubicBezTo>
                  <a:pt x="715" y="110"/>
                  <a:pt x="715" y="110"/>
                  <a:pt x="715" y="110"/>
                </a:cubicBezTo>
                <a:cubicBezTo>
                  <a:pt x="748" y="33"/>
                  <a:pt x="748" y="33"/>
                  <a:pt x="748" y="33"/>
                </a:cubicBezTo>
                <a:cubicBezTo>
                  <a:pt x="780" y="109"/>
                  <a:pt x="780" y="109"/>
                  <a:pt x="780" y="109"/>
                </a:cubicBezTo>
                <a:cubicBezTo>
                  <a:pt x="780" y="110"/>
                  <a:pt x="780" y="110"/>
                  <a:pt x="780" y="110"/>
                </a:cubicBezTo>
                <a:cubicBezTo>
                  <a:pt x="795" y="110"/>
                  <a:pt x="795" y="110"/>
                  <a:pt x="795" y="110"/>
                </a:cubicBezTo>
                <a:cubicBezTo>
                  <a:pt x="748" y="0"/>
                  <a:pt x="748" y="0"/>
                  <a:pt x="748" y="0"/>
                </a:cubicBezTo>
                <a:lnTo>
                  <a:pt x="700" y="110"/>
                </a:lnTo>
                <a:close/>
                <a:moveTo>
                  <a:pt x="273" y="110"/>
                </a:moveTo>
                <a:cubicBezTo>
                  <a:pt x="286" y="110"/>
                  <a:pt x="286" y="110"/>
                  <a:pt x="286" y="110"/>
                </a:cubicBezTo>
                <a:cubicBezTo>
                  <a:pt x="286" y="20"/>
                  <a:pt x="286" y="20"/>
                  <a:pt x="286" y="20"/>
                </a:cubicBezTo>
                <a:cubicBezTo>
                  <a:pt x="317" y="20"/>
                  <a:pt x="317" y="20"/>
                  <a:pt x="317" y="20"/>
                </a:cubicBezTo>
                <a:cubicBezTo>
                  <a:pt x="317" y="7"/>
                  <a:pt x="317" y="7"/>
                  <a:pt x="317" y="7"/>
                </a:cubicBezTo>
                <a:cubicBezTo>
                  <a:pt x="242" y="7"/>
                  <a:pt x="242" y="7"/>
                  <a:pt x="242" y="7"/>
                </a:cubicBezTo>
                <a:cubicBezTo>
                  <a:pt x="242" y="20"/>
                  <a:pt x="242" y="20"/>
                  <a:pt x="242" y="20"/>
                </a:cubicBezTo>
                <a:cubicBezTo>
                  <a:pt x="273" y="20"/>
                  <a:pt x="273" y="20"/>
                  <a:pt x="273" y="20"/>
                </a:cubicBezTo>
                <a:lnTo>
                  <a:pt x="273" y="110"/>
                </a:lnTo>
                <a:close/>
                <a:moveTo>
                  <a:pt x="374" y="7"/>
                </a:moveTo>
                <a:cubicBezTo>
                  <a:pt x="360" y="7"/>
                  <a:pt x="360" y="7"/>
                  <a:pt x="360" y="7"/>
                </a:cubicBezTo>
                <a:cubicBezTo>
                  <a:pt x="360" y="110"/>
                  <a:pt x="360" y="110"/>
                  <a:pt x="360" y="110"/>
                </a:cubicBezTo>
                <a:cubicBezTo>
                  <a:pt x="374" y="110"/>
                  <a:pt x="374" y="110"/>
                  <a:pt x="374" y="110"/>
                </a:cubicBezTo>
                <a:lnTo>
                  <a:pt x="374" y="7"/>
                </a:lnTo>
                <a:close/>
                <a:moveTo>
                  <a:pt x="475" y="112"/>
                </a:moveTo>
                <a:cubicBezTo>
                  <a:pt x="445" y="112"/>
                  <a:pt x="421" y="88"/>
                  <a:pt x="421" y="59"/>
                </a:cubicBezTo>
                <a:cubicBezTo>
                  <a:pt x="421" y="29"/>
                  <a:pt x="445" y="5"/>
                  <a:pt x="475" y="5"/>
                </a:cubicBezTo>
                <a:cubicBezTo>
                  <a:pt x="505" y="5"/>
                  <a:pt x="528" y="29"/>
                  <a:pt x="528" y="59"/>
                </a:cubicBezTo>
                <a:cubicBezTo>
                  <a:pt x="528" y="88"/>
                  <a:pt x="505" y="112"/>
                  <a:pt x="475" y="112"/>
                </a:cubicBezTo>
                <a:close/>
                <a:moveTo>
                  <a:pt x="475" y="19"/>
                </a:moveTo>
                <a:cubicBezTo>
                  <a:pt x="453" y="19"/>
                  <a:pt x="435" y="37"/>
                  <a:pt x="435" y="59"/>
                </a:cubicBezTo>
                <a:cubicBezTo>
                  <a:pt x="435" y="81"/>
                  <a:pt x="453" y="99"/>
                  <a:pt x="475" y="99"/>
                </a:cubicBezTo>
                <a:cubicBezTo>
                  <a:pt x="497" y="99"/>
                  <a:pt x="514" y="81"/>
                  <a:pt x="514" y="59"/>
                </a:cubicBezTo>
                <a:cubicBezTo>
                  <a:pt x="514" y="37"/>
                  <a:pt x="497" y="19"/>
                  <a:pt x="475" y="19"/>
                </a:cubicBezTo>
                <a:close/>
                <a:moveTo>
                  <a:pt x="586" y="35"/>
                </a:moveTo>
                <a:cubicBezTo>
                  <a:pt x="664" y="117"/>
                  <a:pt x="664" y="117"/>
                  <a:pt x="664" y="117"/>
                </a:cubicBezTo>
                <a:cubicBezTo>
                  <a:pt x="664" y="7"/>
                  <a:pt x="664" y="7"/>
                  <a:pt x="664" y="7"/>
                </a:cubicBezTo>
                <a:cubicBezTo>
                  <a:pt x="650" y="7"/>
                  <a:pt x="650" y="7"/>
                  <a:pt x="650" y="7"/>
                </a:cubicBezTo>
                <a:cubicBezTo>
                  <a:pt x="650" y="83"/>
                  <a:pt x="650" y="83"/>
                  <a:pt x="650" y="83"/>
                </a:cubicBezTo>
                <a:cubicBezTo>
                  <a:pt x="572" y="1"/>
                  <a:pt x="572" y="1"/>
                  <a:pt x="572" y="1"/>
                </a:cubicBezTo>
                <a:cubicBezTo>
                  <a:pt x="572" y="110"/>
                  <a:pt x="572" y="110"/>
                  <a:pt x="572" y="110"/>
                </a:cubicBezTo>
                <a:cubicBezTo>
                  <a:pt x="586" y="110"/>
                  <a:pt x="586" y="110"/>
                  <a:pt x="586" y="110"/>
                </a:cubicBezTo>
                <a:lnTo>
                  <a:pt x="586" y="35"/>
                </a:lnTo>
                <a:close/>
                <a:moveTo>
                  <a:pt x="843" y="7"/>
                </a:moveTo>
                <a:cubicBezTo>
                  <a:pt x="830" y="7"/>
                  <a:pt x="830" y="7"/>
                  <a:pt x="830" y="7"/>
                </a:cubicBezTo>
                <a:cubicBezTo>
                  <a:pt x="830" y="110"/>
                  <a:pt x="830" y="110"/>
                  <a:pt x="830" y="110"/>
                </a:cubicBezTo>
                <a:cubicBezTo>
                  <a:pt x="885" y="110"/>
                  <a:pt x="885" y="110"/>
                  <a:pt x="885" y="110"/>
                </a:cubicBezTo>
                <a:cubicBezTo>
                  <a:pt x="885" y="97"/>
                  <a:pt x="885" y="97"/>
                  <a:pt x="885" y="97"/>
                </a:cubicBezTo>
                <a:cubicBezTo>
                  <a:pt x="843" y="97"/>
                  <a:pt x="843" y="97"/>
                  <a:pt x="843" y="97"/>
                </a:cubicBezTo>
                <a:lnTo>
                  <a:pt x="843" y="7"/>
                </a:lnTo>
                <a:close/>
                <a:moveTo>
                  <a:pt x="169" y="156"/>
                </a:moveTo>
                <a:cubicBezTo>
                  <a:pt x="139" y="156"/>
                  <a:pt x="116" y="179"/>
                  <a:pt x="116" y="209"/>
                </a:cubicBezTo>
                <a:cubicBezTo>
                  <a:pt x="116" y="240"/>
                  <a:pt x="139" y="262"/>
                  <a:pt x="169" y="262"/>
                </a:cubicBezTo>
                <a:cubicBezTo>
                  <a:pt x="175" y="262"/>
                  <a:pt x="188" y="261"/>
                  <a:pt x="200" y="252"/>
                </a:cubicBezTo>
                <a:cubicBezTo>
                  <a:pt x="200" y="252"/>
                  <a:pt x="200" y="252"/>
                  <a:pt x="200" y="252"/>
                </a:cubicBezTo>
                <a:cubicBezTo>
                  <a:pt x="200" y="234"/>
                  <a:pt x="200" y="234"/>
                  <a:pt x="200" y="234"/>
                </a:cubicBezTo>
                <a:cubicBezTo>
                  <a:pt x="198" y="236"/>
                  <a:pt x="198" y="236"/>
                  <a:pt x="198" y="236"/>
                </a:cubicBezTo>
                <a:cubicBezTo>
                  <a:pt x="196" y="239"/>
                  <a:pt x="192" y="242"/>
                  <a:pt x="187" y="245"/>
                </a:cubicBezTo>
                <a:cubicBezTo>
                  <a:pt x="181" y="247"/>
                  <a:pt x="175" y="249"/>
                  <a:pt x="169" y="249"/>
                </a:cubicBezTo>
                <a:cubicBezTo>
                  <a:pt x="142" y="249"/>
                  <a:pt x="130" y="226"/>
                  <a:pt x="130" y="210"/>
                </a:cubicBezTo>
                <a:cubicBezTo>
                  <a:pt x="130" y="187"/>
                  <a:pt x="147" y="169"/>
                  <a:pt x="169" y="169"/>
                </a:cubicBezTo>
                <a:cubicBezTo>
                  <a:pt x="174" y="169"/>
                  <a:pt x="180" y="170"/>
                  <a:pt x="185" y="173"/>
                </a:cubicBezTo>
                <a:cubicBezTo>
                  <a:pt x="190" y="175"/>
                  <a:pt x="194" y="178"/>
                  <a:pt x="198" y="182"/>
                </a:cubicBezTo>
                <a:cubicBezTo>
                  <a:pt x="200" y="184"/>
                  <a:pt x="200" y="184"/>
                  <a:pt x="200" y="184"/>
                </a:cubicBezTo>
                <a:cubicBezTo>
                  <a:pt x="200" y="166"/>
                  <a:pt x="200" y="166"/>
                  <a:pt x="200" y="166"/>
                </a:cubicBezTo>
                <a:cubicBezTo>
                  <a:pt x="200" y="166"/>
                  <a:pt x="200" y="166"/>
                  <a:pt x="200" y="166"/>
                </a:cubicBezTo>
                <a:cubicBezTo>
                  <a:pt x="191" y="159"/>
                  <a:pt x="181" y="156"/>
                  <a:pt x="169" y="156"/>
                </a:cubicBezTo>
                <a:close/>
                <a:moveTo>
                  <a:pt x="437" y="209"/>
                </a:moveTo>
                <a:cubicBezTo>
                  <a:pt x="437" y="225"/>
                  <a:pt x="431" y="238"/>
                  <a:pt x="419" y="249"/>
                </a:cubicBezTo>
                <a:cubicBezTo>
                  <a:pt x="409" y="257"/>
                  <a:pt x="399" y="261"/>
                  <a:pt x="382" y="261"/>
                </a:cubicBezTo>
                <a:cubicBezTo>
                  <a:pt x="360" y="261"/>
                  <a:pt x="360" y="261"/>
                  <a:pt x="360" y="261"/>
                </a:cubicBezTo>
                <a:cubicBezTo>
                  <a:pt x="360" y="157"/>
                  <a:pt x="360" y="157"/>
                  <a:pt x="360" y="157"/>
                </a:cubicBezTo>
                <a:cubicBezTo>
                  <a:pt x="382" y="157"/>
                  <a:pt x="382" y="157"/>
                  <a:pt x="382" y="157"/>
                </a:cubicBezTo>
                <a:cubicBezTo>
                  <a:pt x="393" y="157"/>
                  <a:pt x="407" y="159"/>
                  <a:pt x="420" y="170"/>
                </a:cubicBezTo>
                <a:cubicBezTo>
                  <a:pt x="426" y="175"/>
                  <a:pt x="437" y="187"/>
                  <a:pt x="437" y="209"/>
                </a:cubicBezTo>
                <a:close/>
                <a:moveTo>
                  <a:pt x="423" y="209"/>
                </a:moveTo>
                <a:cubicBezTo>
                  <a:pt x="423" y="186"/>
                  <a:pt x="407" y="171"/>
                  <a:pt x="382" y="171"/>
                </a:cubicBezTo>
                <a:cubicBezTo>
                  <a:pt x="374" y="171"/>
                  <a:pt x="374" y="171"/>
                  <a:pt x="374" y="171"/>
                </a:cubicBezTo>
                <a:cubicBezTo>
                  <a:pt x="374" y="247"/>
                  <a:pt x="374" y="247"/>
                  <a:pt x="374" y="247"/>
                </a:cubicBezTo>
                <a:cubicBezTo>
                  <a:pt x="382" y="247"/>
                  <a:pt x="382" y="247"/>
                  <a:pt x="382" y="247"/>
                </a:cubicBezTo>
                <a:cubicBezTo>
                  <a:pt x="390" y="247"/>
                  <a:pt x="401" y="246"/>
                  <a:pt x="410" y="239"/>
                </a:cubicBezTo>
                <a:cubicBezTo>
                  <a:pt x="416" y="234"/>
                  <a:pt x="423" y="224"/>
                  <a:pt x="423" y="209"/>
                </a:cubicBezTo>
                <a:close/>
                <a:moveTo>
                  <a:pt x="479" y="261"/>
                </a:moveTo>
                <a:cubicBezTo>
                  <a:pt x="541" y="261"/>
                  <a:pt x="541" y="261"/>
                  <a:pt x="541" y="261"/>
                </a:cubicBezTo>
                <a:cubicBezTo>
                  <a:pt x="541" y="247"/>
                  <a:pt x="541" y="247"/>
                  <a:pt x="541" y="247"/>
                </a:cubicBezTo>
                <a:cubicBezTo>
                  <a:pt x="493" y="247"/>
                  <a:pt x="493" y="247"/>
                  <a:pt x="493" y="247"/>
                </a:cubicBezTo>
                <a:cubicBezTo>
                  <a:pt x="493" y="211"/>
                  <a:pt x="493" y="211"/>
                  <a:pt x="493" y="211"/>
                </a:cubicBezTo>
                <a:cubicBezTo>
                  <a:pt x="535" y="211"/>
                  <a:pt x="535" y="211"/>
                  <a:pt x="535" y="211"/>
                </a:cubicBezTo>
                <a:cubicBezTo>
                  <a:pt x="535" y="198"/>
                  <a:pt x="535" y="198"/>
                  <a:pt x="535" y="198"/>
                </a:cubicBezTo>
                <a:cubicBezTo>
                  <a:pt x="493" y="198"/>
                  <a:pt x="493" y="198"/>
                  <a:pt x="493" y="198"/>
                </a:cubicBezTo>
                <a:cubicBezTo>
                  <a:pt x="493" y="171"/>
                  <a:pt x="493" y="171"/>
                  <a:pt x="493" y="171"/>
                </a:cubicBezTo>
                <a:cubicBezTo>
                  <a:pt x="541" y="171"/>
                  <a:pt x="541" y="171"/>
                  <a:pt x="541" y="171"/>
                </a:cubicBezTo>
                <a:cubicBezTo>
                  <a:pt x="541" y="157"/>
                  <a:pt x="541" y="157"/>
                  <a:pt x="541" y="157"/>
                </a:cubicBezTo>
                <a:cubicBezTo>
                  <a:pt x="479" y="157"/>
                  <a:pt x="479" y="157"/>
                  <a:pt x="479" y="157"/>
                </a:cubicBezTo>
                <a:lnTo>
                  <a:pt x="479" y="261"/>
                </a:lnTo>
                <a:close/>
                <a:moveTo>
                  <a:pt x="805" y="261"/>
                </a:moveTo>
                <a:cubicBezTo>
                  <a:pt x="866" y="261"/>
                  <a:pt x="866" y="261"/>
                  <a:pt x="866" y="261"/>
                </a:cubicBezTo>
                <a:cubicBezTo>
                  <a:pt x="866" y="247"/>
                  <a:pt x="866" y="247"/>
                  <a:pt x="866" y="247"/>
                </a:cubicBezTo>
                <a:cubicBezTo>
                  <a:pt x="819" y="247"/>
                  <a:pt x="819" y="247"/>
                  <a:pt x="819" y="247"/>
                </a:cubicBezTo>
                <a:cubicBezTo>
                  <a:pt x="819" y="211"/>
                  <a:pt x="819" y="211"/>
                  <a:pt x="819" y="211"/>
                </a:cubicBezTo>
                <a:cubicBezTo>
                  <a:pt x="860" y="211"/>
                  <a:pt x="860" y="211"/>
                  <a:pt x="860" y="211"/>
                </a:cubicBezTo>
                <a:cubicBezTo>
                  <a:pt x="860" y="198"/>
                  <a:pt x="860" y="198"/>
                  <a:pt x="860" y="198"/>
                </a:cubicBezTo>
                <a:cubicBezTo>
                  <a:pt x="819" y="198"/>
                  <a:pt x="819" y="198"/>
                  <a:pt x="819" y="198"/>
                </a:cubicBezTo>
                <a:cubicBezTo>
                  <a:pt x="819" y="171"/>
                  <a:pt x="819" y="171"/>
                  <a:pt x="819" y="171"/>
                </a:cubicBezTo>
                <a:cubicBezTo>
                  <a:pt x="866" y="171"/>
                  <a:pt x="866" y="171"/>
                  <a:pt x="866" y="171"/>
                </a:cubicBezTo>
                <a:cubicBezTo>
                  <a:pt x="866" y="157"/>
                  <a:pt x="866" y="157"/>
                  <a:pt x="866" y="157"/>
                </a:cubicBezTo>
                <a:cubicBezTo>
                  <a:pt x="805" y="157"/>
                  <a:pt x="805" y="157"/>
                  <a:pt x="805" y="157"/>
                </a:cubicBezTo>
                <a:lnTo>
                  <a:pt x="805" y="261"/>
                </a:lnTo>
                <a:close/>
                <a:moveTo>
                  <a:pt x="634" y="235"/>
                </a:moveTo>
                <a:cubicBezTo>
                  <a:pt x="595" y="149"/>
                  <a:pt x="595" y="149"/>
                  <a:pt x="595" y="149"/>
                </a:cubicBezTo>
                <a:cubicBezTo>
                  <a:pt x="578" y="261"/>
                  <a:pt x="578" y="261"/>
                  <a:pt x="578" y="261"/>
                </a:cubicBezTo>
                <a:cubicBezTo>
                  <a:pt x="592" y="261"/>
                  <a:pt x="592" y="261"/>
                  <a:pt x="592" y="261"/>
                </a:cubicBezTo>
                <a:cubicBezTo>
                  <a:pt x="601" y="194"/>
                  <a:pt x="601" y="194"/>
                  <a:pt x="601" y="194"/>
                </a:cubicBezTo>
                <a:cubicBezTo>
                  <a:pt x="634" y="267"/>
                  <a:pt x="634" y="267"/>
                  <a:pt x="634" y="267"/>
                </a:cubicBezTo>
                <a:cubicBezTo>
                  <a:pt x="668" y="194"/>
                  <a:pt x="668" y="194"/>
                  <a:pt x="668" y="194"/>
                </a:cubicBezTo>
                <a:cubicBezTo>
                  <a:pt x="677" y="261"/>
                  <a:pt x="677" y="261"/>
                  <a:pt x="677" y="261"/>
                </a:cubicBezTo>
                <a:cubicBezTo>
                  <a:pt x="691" y="261"/>
                  <a:pt x="691" y="261"/>
                  <a:pt x="691" y="261"/>
                </a:cubicBezTo>
                <a:cubicBezTo>
                  <a:pt x="674" y="148"/>
                  <a:pt x="674" y="148"/>
                  <a:pt x="674" y="148"/>
                </a:cubicBezTo>
                <a:lnTo>
                  <a:pt x="634" y="235"/>
                </a:lnTo>
                <a:close/>
                <a:moveTo>
                  <a:pt x="737" y="261"/>
                </a:moveTo>
                <a:cubicBezTo>
                  <a:pt x="751" y="261"/>
                  <a:pt x="751" y="261"/>
                  <a:pt x="751" y="261"/>
                </a:cubicBezTo>
                <a:cubicBezTo>
                  <a:pt x="751" y="157"/>
                  <a:pt x="751" y="157"/>
                  <a:pt x="751" y="157"/>
                </a:cubicBezTo>
                <a:cubicBezTo>
                  <a:pt x="737" y="157"/>
                  <a:pt x="737" y="157"/>
                  <a:pt x="737" y="157"/>
                </a:cubicBezTo>
                <a:lnTo>
                  <a:pt x="737" y="261"/>
                </a:lnTo>
                <a:close/>
                <a:moveTo>
                  <a:pt x="955" y="211"/>
                </a:moveTo>
                <a:cubicBezTo>
                  <a:pt x="950" y="207"/>
                  <a:pt x="945" y="204"/>
                  <a:pt x="939" y="201"/>
                </a:cubicBezTo>
                <a:cubicBezTo>
                  <a:pt x="929" y="197"/>
                  <a:pt x="929" y="197"/>
                  <a:pt x="929" y="197"/>
                </a:cubicBezTo>
                <a:cubicBezTo>
                  <a:pt x="925" y="195"/>
                  <a:pt x="922" y="194"/>
                  <a:pt x="919" y="191"/>
                </a:cubicBezTo>
                <a:cubicBezTo>
                  <a:pt x="916" y="189"/>
                  <a:pt x="916" y="187"/>
                  <a:pt x="916" y="183"/>
                </a:cubicBezTo>
                <a:cubicBezTo>
                  <a:pt x="916" y="175"/>
                  <a:pt x="922" y="169"/>
                  <a:pt x="931" y="169"/>
                </a:cubicBezTo>
                <a:cubicBezTo>
                  <a:pt x="936" y="169"/>
                  <a:pt x="940" y="171"/>
                  <a:pt x="942" y="172"/>
                </a:cubicBezTo>
                <a:cubicBezTo>
                  <a:pt x="944" y="174"/>
                  <a:pt x="946" y="177"/>
                  <a:pt x="947" y="179"/>
                </a:cubicBezTo>
                <a:cubicBezTo>
                  <a:pt x="948" y="181"/>
                  <a:pt x="948" y="181"/>
                  <a:pt x="948" y="181"/>
                </a:cubicBezTo>
                <a:cubicBezTo>
                  <a:pt x="959" y="173"/>
                  <a:pt x="959" y="173"/>
                  <a:pt x="959" y="173"/>
                </a:cubicBezTo>
                <a:cubicBezTo>
                  <a:pt x="958" y="172"/>
                  <a:pt x="958" y="172"/>
                  <a:pt x="958" y="172"/>
                </a:cubicBezTo>
                <a:cubicBezTo>
                  <a:pt x="956" y="167"/>
                  <a:pt x="952" y="163"/>
                  <a:pt x="948" y="161"/>
                </a:cubicBezTo>
                <a:cubicBezTo>
                  <a:pt x="943" y="157"/>
                  <a:pt x="938" y="156"/>
                  <a:pt x="931" y="156"/>
                </a:cubicBezTo>
                <a:cubicBezTo>
                  <a:pt x="914" y="156"/>
                  <a:pt x="902" y="167"/>
                  <a:pt x="902" y="183"/>
                </a:cubicBezTo>
                <a:cubicBezTo>
                  <a:pt x="902" y="190"/>
                  <a:pt x="904" y="195"/>
                  <a:pt x="909" y="200"/>
                </a:cubicBezTo>
                <a:cubicBezTo>
                  <a:pt x="913" y="205"/>
                  <a:pt x="918" y="207"/>
                  <a:pt x="922" y="209"/>
                </a:cubicBezTo>
                <a:cubicBezTo>
                  <a:pt x="932" y="213"/>
                  <a:pt x="932" y="213"/>
                  <a:pt x="932" y="213"/>
                </a:cubicBezTo>
                <a:cubicBezTo>
                  <a:pt x="937" y="215"/>
                  <a:pt x="941" y="217"/>
                  <a:pt x="944" y="220"/>
                </a:cubicBezTo>
                <a:cubicBezTo>
                  <a:pt x="947" y="223"/>
                  <a:pt x="948" y="226"/>
                  <a:pt x="948" y="231"/>
                </a:cubicBezTo>
                <a:cubicBezTo>
                  <a:pt x="948" y="240"/>
                  <a:pt x="942" y="249"/>
                  <a:pt x="929" y="249"/>
                </a:cubicBezTo>
                <a:cubicBezTo>
                  <a:pt x="924" y="249"/>
                  <a:pt x="919" y="247"/>
                  <a:pt x="916" y="244"/>
                </a:cubicBezTo>
                <a:cubicBezTo>
                  <a:pt x="913" y="241"/>
                  <a:pt x="911" y="236"/>
                  <a:pt x="910" y="232"/>
                </a:cubicBezTo>
                <a:cubicBezTo>
                  <a:pt x="910" y="230"/>
                  <a:pt x="910" y="230"/>
                  <a:pt x="910" y="230"/>
                </a:cubicBezTo>
                <a:cubicBezTo>
                  <a:pt x="896" y="234"/>
                  <a:pt x="896" y="234"/>
                  <a:pt x="896" y="234"/>
                </a:cubicBezTo>
                <a:cubicBezTo>
                  <a:pt x="897" y="235"/>
                  <a:pt x="897" y="235"/>
                  <a:pt x="897" y="235"/>
                </a:cubicBezTo>
                <a:cubicBezTo>
                  <a:pt x="898" y="243"/>
                  <a:pt x="902" y="249"/>
                  <a:pt x="906" y="254"/>
                </a:cubicBezTo>
                <a:cubicBezTo>
                  <a:pt x="912" y="260"/>
                  <a:pt x="920" y="262"/>
                  <a:pt x="929" y="262"/>
                </a:cubicBezTo>
                <a:cubicBezTo>
                  <a:pt x="948" y="262"/>
                  <a:pt x="962" y="249"/>
                  <a:pt x="962" y="230"/>
                </a:cubicBezTo>
                <a:cubicBezTo>
                  <a:pt x="962" y="222"/>
                  <a:pt x="960" y="216"/>
                  <a:pt x="955" y="211"/>
                </a:cubicBezTo>
                <a:close/>
                <a:moveTo>
                  <a:pt x="0" y="261"/>
                </a:moveTo>
                <a:cubicBezTo>
                  <a:pt x="15" y="261"/>
                  <a:pt x="15" y="261"/>
                  <a:pt x="15" y="261"/>
                </a:cubicBezTo>
                <a:cubicBezTo>
                  <a:pt x="48" y="184"/>
                  <a:pt x="48" y="184"/>
                  <a:pt x="48" y="184"/>
                </a:cubicBezTo>
                <a:cubicBezTo>
                  <a:pt x="79" y="260"/>
                  <a:pt x="79" y="260"/>
                  <a:pt x="79" y="260"/>
                </a:cubicBezTo>
                <a:cubicBezTo>
                  <a:pt x="80" y="261"/>
                  <a:pt x="80" y="261"/>
                  <a:pt x="80" y="261"/>
                </a:cubicBezTo>
                <a:cubicBezTo>
                  <a:pt x="95" y="261"/>
                  <a:pt x="95" y="261"/>
                  <a:pt x="95" y="261"/>
                </a:cubicBezTo>
                <a:cubicBezTo>
                  <a:pt x="48" y="151"/>
                  <a:pt x="48" y="151"/>
                  <a:pt x="48" y="151"/>
                </a:cubicBezTo>
                <a:lnTo>
                  <a:pt x="0" y="261"/>
                </a:lnTo>
                <a:close/>
                <a:moveTo>
                  <a:pt x="229" y="261"/>
                </a:moveTo>
                <a:cubicBezTo>
                  <a:pt x="244" y="261"/>
                  <a:pt x="244" y="261"/>
                  <a:pt x="244" y="261"/>
                </a:cubicBezTo>
                <a:cubicBezTo>
                  <a:pt x="277" y="184"/>
                  <a:pt x="277" y="184"/>
                  <a:pt x="277" y="184"/>
                </a:cubicBezTo>
                <a:cubicBezTo>
                  <a:pt x="309" y="260"/>
                  <a:pt x="309" y="260"/>
                  <a:pt x="309" y="260"/>
                </a:cubicBezTo>
                <a:cubicBezTo>
                  <a:pt x="309" y="261"/>
                  <a:pt x="309" y="261"/>
                  <a:pt x="309" y="261"/>
                </a:cubicBezTo>
                <a:cubicBezTo>
                  <a:pt x="324" y="261"/>
                  <a:pt x="324" y="261"/>
                  <a:pt x="324" y="261"/>
                </a:cubicBezTo>
                <a:cubicBezTo>
                  <a:pt x="277" y="151"/>
                  <a:pt x="277" y="151"/>
                  <a:pt x="277" y="151"/>
                </a:cubicBezTo>
                <a:lnTo>
                  <a:pt x="229" y="261"/>
                </a:lnTo>
                <a:close/>
                <a:moveTo>
                  <a:pt x="1071" y="11"/>
                </a:moveTo>
                <a:cubicBezTo>
                  <a:pt x="1071" y="18"/>
                  <a:pt x="1071" y="18"/>
                  <a:pt x="1071" y="18"/>
                </a:cubicBezTo>
                <a:cubicBezTo>
                  <a:pt x="1075" y="18"/>
                  <a:pt x="1075" y="18"/>
                  <a:pt x="1075" y="18"/>
                </a:cubicBezTo>
                <a:cubicBezTo>
                  <a:pt x="1077" y="9"/>
                  <a:pt x="1077" y="9"/>
                  <a:pt x="1077" y="9"/>
                </a:cubicBezTo>
                <a:cubicBezTo>
                  <a:pt x="1076" y="8"/>
                  <a:pt x="1074" y="7"/>
                  <a:pt x="1072" y="6"/>
                </a:cubicBezTo>
                <a:cubicBezTo>
                  <a:pt x="1070" y="6"/>
                  <a:pt x="1067" y="6"/>
                  <a:pt x="1064" y="6"/>
                </a:cubicBezTo>
                <a:cubicBezTo>
                  <a:pt x="1061" y="6"/>
                  <a:pt x="1058" y="6"/>
                  <a:pt x="1056" y="7"/>
                </a:cubicBezTo>
                <a:cubicBezTo>
                  <a:pt x="1053" y="9"/>
                  <a:pt x="1051" y="10"/>
                  <a:pt x="1049" y="12"/>
                </a:cubicBezTo>
                <a:cubicBezTo>
                  <a:pt x="1048" y="14"/>
                  <a:pt x="1047" y="17"/>
                  <a:pt x="1047" y="20"/>
                </a:cubicBezTo>
                <a:cubicBezTo>
                  <a:pt x="1047" y="22"/>
                  <a:pt x="1048" y="24"/>
                  <a:pt x="1049" y="26"/>
                </a:cubicBezTo>
                <a:cubicBezTo>
                  <a:pt x="1050" y="28"/>
                  <a:pt x="1051" y="30"/>
                  <a:pt x="1053" y="31"/>
                </a:cubicBezTo>
                <a:cubicBezTo>
                  <a:pt x="1055" y="32"/>
                  <a:pt x="1057" y="34"/>
                  <a:pt x="1059" y="35"/>
                </a:cubicBezTo>
                <a:cubicBezTo>
                  <a:pt x="1062" y="37"/>
                  <a:pt x="1064" y="39"/>
                  <a:pt x="1066" y="40"/>
                </a:cubicBezTo>
                <a:cubicBezTo>
                  <a:pt x="1067" y="42"/>
                  <a:pt x="1068" y="44"/>
                  <a:pt x="1068" y="47"/>
                </a:cubicBezTo>
                <a:cubicBezTo>
                  <a:pt x="1068" y="49"/>
                  <a:pt x="1067" y="52"/>
                  <a:pt x="1065" y="53"/>
                </a:cubicBezTo>
                <a:cubicBezTo>
                  <a:pt x="1062" y="55"/>
                  <a:pt x="1060" y="56"/>
                  <a:pt x="1057" y="56"/>
                </a:cubicBezTo>
                <a:cubicBezTo>
                  <a:pt x="1055" y="56"/>
                  <a:pt x="1053" y="56"/>
                  <a:pt x="1052" y="55"/>
                </a:cubicBezTo>
                <a:cubicBezTo>
                  <a:pt x="1050" y="55"/>
                  <a:pt x="1049" y="54"/>
                  <a:pt x="1048" y="54"/>
                </a:cubicBezTo>
                <a:cubicBezTo>
                  <a:pt x="1048" y="46"/>
                  <a:pt x="1048" y="46"/>
                  <a:pt x="1048" y="46"/>
                </a:cubicBezTo>
                <a:cubicBezTo>
                  <a:pt x="1044" y="46"/>
                  <a:pt x="1044" y="46"/>
                  <a:pt x="1044" y="46"/>
                </a:cubicBezTo>
                <a:cubicBezTo>
                  <a:pt x="1042" y="56"/>
                  <a:pt x="1042" y="56"/>
                  <a:pt x="1042" y="56"/>
                </a:cubicBezTo>
                <a:cubicBezTo>
                  <a:pt x="1043" y="57"/>
                  <a:pt x="1045" y="58"/>
                  <a:pt x="1048" y="58"/>
                </a:cubicBezTo>
                <a:cubicBezTo>
                  <a:pt x="1051" y="59"/>
                  <a:pt x="1054" y="59"/>
                  <a:pt x="1057" y="59"/>
                </a:cubicBezTo>
                <a:cubicBezTo>
                  <a:pt x="1060" y="59"/>
                  <a:pt x="1063" y="59"/>
                  <a:pt x="1066" y="57"/>
                </a:cubicBezTo>
                <a:cubicBezTo>
                  <a:pt x="1069" y="56"/>
                  <a:pt x="1071" y="54"/>
                  <a:pt x="1073" y="52"/>
                </a:cubicBezTo>
                <a:cubicBezTo>
                  <a:pt x="1074" y="50"/>
                  <a:pt x="1075" y="47"/>
                  <a:pt x="1075" y="44"/>
                </a:cubicBezTo>
                <a:cubicBezTo>
                  <a:pt x="1075" y="42"/>
                  <a:pt x="1074" y="40"/>
                  <a:pt x="1073" y="38"/>
                </a:cubicBezTo>
                <a:cubicBezTo>
                  <a:pt x="1072" y="36"/>
                  <a:pt x="1071" y="35"/>
                  <a:pt x="1069" y="34"/>
                </a:cubicBezTo>
                <a:cubicBezTo>
                  <a:pt x="1068" y="32"/>
                  <a:pt x="1066" y="31"/>
                  <a:pt x="1064" y="29"/>
                </a:cubicBezTo>
                <a:cubicBezTo>
                  <a:pt x="1060" y="27"/>
                  <a:pt x="1058" y="25"/>
                  <a:pt x="1056" y="24"/>
                </a:cubicBezTo>
                <a:cubicBezTo>
                  <a:pt x="1055" y="22"/>
                  <a:pt x="1054" y="20"/>
                  <a:pt x="1054" y="17"/>
                </a:cubicBezTo>
                <a:cubicBezTo>
                  <a:pt x="1054" y="15"/>
                  <a:pt x="1055" y="13"/>
                  <a:pt x="1057" y="11"/>
                </a:cubicBezTo>
                <a:cubicBezTo>
                  <a:pt x="1059" y="10"/>
                  <a:pt x="1061" y="9"/>
                  <a:pt x="1064" y="9"/>
                </a:cubicBezTo>
                <a:cubicBezTo>
                  <a:pt x="1065" y="9"/>
                  <a:pt x="1067" y="9"/>
                  <a:pt x="1068" y="10"/>
                </a:cubicBezTo>
                <a:cubicBezTo>
                  <a:pt x="1069" y="10"/>
                  <a:pt x="1070" y="10"/>
                  <a:pt x="1071" y="11"/>
                </a:cubicBezTo>
                <a:close/>
                <a:moveTo>
                  <a:pt x="1107" y="27"/>
                </a:moveTo>
                <a:cubicBezTo>
                  <a:pt x="1108" y="27"/>
                  <a:pt x="1108" y="27"/>
                  <a:pt x="1108" y="27"/>
                </a:cubicBezTo>
                <a:cubicBezTo>
                  <a:pt x="1110" y="20"/>
                  <a:pt x="1110" y="20"/>
                  <a:pt x="1110" y="20"/>
                </a:cubicBezTo>
                <a:cubicBezTo>
                  <a:pt x="1109" y="20"/>
                  <a:pt x="1108" y="19"/>
                  <a:pt x="1107" y="19"/>
                </a:cubicBezTo>
                <a:cubicBezTo>
                  <a:pt x="1105" y="19"/>
                  <a:pt x="1104" y="19"/>
                  <a:pt x="1102" y="19"/>
                </a:cubicBezTo>
                <a:cubicBezTo>
                  <a:pt x="1098" y="19"/>
                  <a:pt x="1094" y="20"/>
                  <a:pt x="1091" y="22"/>
                </a:cubicBezTo>
                <a:cubicBezTo>
                  <a:pt x="1088" y="25"/>
                  <a:pt x="1086" y="28"/>
                  <a:pt x="1084" y="32"/>
                </a:cubicBezTo>
                <a:cubicBezTo>
                  <a:pt x="1083" y="36"/>
                  <a:pt x="1082" y="40"/>
                  <a:pt x="1082" y="43"/>
                </a:cubicBezTo>
                <a:cubicBezTo>
                  <a:pt x="1082" y="48"/>
                  <a:pt x="1083" y="52"/>
                  <a:pt x="1085" y="55"/>
                </a:cubicBezTo>
                <a:cubicBezTo>
                  <a:pt x="1087" y="58"/>
                  <a:pt x="1091" y="59"/>
                  <a:pt x="1094" y="59"/>
                </a:cubicBezTo>
                <a:cubicBezTo>
                  <a:pt x="1098" y="59"/>
                  <a:pt x="1100" y="59"/>
                  <a:pt x="1102" y="57"/>
                </a:cubicBezTo>
                <a:cubicBezTo>
                  <a:pt x="1105" y="56"/>
                  <a:pt x="1106" y="54"/>
                  <a:pt x="1108" y="53"/>
                </a:cubicBezTo>
                <a:cubicBezTo>
                  <a:pt x="1106" y="50"/>
                  <a:pt x="1106" y="50"/>
                  <a:pt x="1106" y="50"/>
                </a:cubicBezTo>
                <a:cubicBezTo>
                  <a:pt x="1105" y="52"/>
                  <a:pt x="1103" y="53"/>
                  <a:pt x="1102" y="54"/>
                </a:cubicBezTo>
                <a:cubicBezTo>
                  <a:pt x="1100" y="54"/>
                  <a:pt x="1099" y="55"/>
                  <a:pt x="1097" y="55"/>
                </a:cubicBezTo>
                <a:cubicBezTo>
                  <a:pt x="1094" y="55"/>
                  <a:pt x="1092" y="54"/>
                  <a:pt x="1091" y="52"/>
                </a:cubicBezTo>
                <a:cubicBezTo>
                  <a:pt x="1090" y="50"/>
                  <a:pt x="1089" y="47"/>
                  <a:pt x="1089" y="43"/>
                </a:cubicBezTo>
                <a:cubicBezTo>
                  <a:pt x="1089" y="39"/>
                  <a:pt x="1090" y="35"/>
                  <a:pt x="1091" y="32"/>
                </a:cubicBezTo>
                <a:cubicBezTo>
                  <a:pt x="1092" y="30"/>
                  <a:pt x="1093" y="27"/>
                  <a:pt x="1095" y="26"/>
                </a:cubicBezTo>
                <a:cubicBezTo>
                  <a:pt x="1097" y="24"/>
                  <a:pt x="1099" y="23"/>
                  <a:pt x="1101" y="23"/>
                </a:cubicBezTo>
                <a:cubicBezTo>
                  <a:pt x="1102" y="23"/>
                  <a:pt x="1105" y="24"/>
                  <a:pt x="1107" y="27"/>
                </a:cubicBezTo>
                <a:close/>
                <a:moveTo>
                  <a:pt x="1124" y="52"/>
                </a:moveTo>
                <a:cubicBezTo>
                  <a:pt x="1129" y="19"/>
                  <a:pt x="1129" y="19"/>
                  <a:pt x="1129" y="19"/>
                </a:cubicBezTo>
                <a:cubicBezTo>
                  <a:pt x="1128" y="19"/>
                  <a:pt x="1128" y="19"/>
                  <a:pt x="1128" y="19"/>
                </a:cubicBezTo>
                <a:cubicBezTo>
                  <a:pt x="1118" y="20"/>
                  <a:pt x="1118" y="20"/>
                  <a:pt x="1118" y="20"/>
                </a:cubicBezTo>
                <a:cubicBezTo>
                  <a:pt x="1117" y="23"/>
                  <a:pt x="1117" y="23"/>
                  <a:pt x="1117" y="23"/>
                </a:cubicBezTo>
                <a:cubicBezTo>
                  <a:pt x="1122" y="24"/>
                  <a:pt x="1122" y="24"/>
                  <a:pt x="1122" y="24"/>
                </a:cubicBezTo>
                <a:cubicBezTo>
                  <a:pt x="1121" y="31"/>
                  <a:pt x="1120" y="37"/>
                  <a:pt x="1119" y="41"/>
                </a:cubicBezTo>
                <a:cubicBezTo>
                  <a:pt x="1118" y="49"/>
                  <a:pt x="1117" y="54"/>
                  <a:pt x="1117" y="55"/>
                </a:cubicBezTo>
                <a:cubicBezTo>
                  <a:pt x="1117" y="56"/>
                  <a:pt x="1118" y="57"/>
                  <a:pt x="1118" y="58"/>
                </a:cubicBezTo>
                <a:cubicBezTo>
                  <a:pt x="1119" y="59"/>
                  <a:pt x="1120" y="59"/>
                  <a:pt x="1122" y="59"/>
                </a:cubicBezTo>
                <a:cubicBezTo>
                  <a:pt x="1124" y="59"/>
                  <a:pt x="1125" y="59"/>
                  <a:pt x="1127" y="58"/>
                </a:cubicBezTo>
                <a:cubicBezTo>
                  <a:pt x="1128" y="57"/>
                  <a:pt x="1129" y="55"/>
                  <a:pt x="1130" y="54"/>
                </a:cubicBezTo>
                <a:cubicBezTo>
                  <a:pt x="1129" y="53"/>
                  <a:pt x="1129" y="53"/>
                  <a:pt x="1129" y="53"/>
                </a:cubicBezTo>
                <a:cubicBezTo>
                  <a:pt x="1128" y="54"/>
                  <a:pt x="1128" y="54"/>
                  <a:pt x="1127" y="54"/>
                </a:cubicBezTo>
                <a:cubicBezTo>
                  <a:pt x="1126" y="55"/>
                  <a:pt x="1126" y="55"/>
                  <a:pt x="1125" y="55"/>
                </a:cubicBezTo>
                <a:cubicBezTo>
                  <a:pt x="1125" y="55"/>
                  <a:pt x="1125" y="55"/>
                  <a:pt x="1125" y="54"/>
                </a:cubicBezTo>
                <a:cubicBezTo>
                  <a:pt x="1124" y="54"/>
                  <a:pt x="1124" y="54"/>
                  <a:pt x="1124" y="53"/>
                </a:cubicBezTo>
                <a:lnTo>
                  <a:pt x="1124" y="52"/>
                </a:lnTo>
                <a:close/>
                <a:moveTo>
                  <a:pt x="1127" y="11"/>
                </a:moveTo>
                <a:cubicBezTo>
                  <a:pt x="1128" y="11"/>
                  <a:pt x="1129" y="11"/>
                  <a:pt x="1130" y="10"/>
                </a:cubicBezTo>
                <a:cubicBezTo>
                  <a:pt x="1131" y="9"/>
                  <a:pt x="1131" y="7"/>
                  <a:pt x="1131" y="6"/>
                </a:cubicBezTo>
                <a:cubicBezTo>
                  <a:pt x="1131" y="5"/>
                  <a:pt x="1131" y="4"/>
                  <a:pt x="1130" y="3"/>
                </a:cubicBezTo>
                <a:cubicBezTo>
                  <a:pt x="1130" y="3"/>
                  <a:pt x="1129" y="2"/>
                  <a:pt x="1128" y="2"/>
                </a:cubicBezTo>
                <a:cubicBezTo>
                  <a:pt x="1126" y="2"/>
                  <a:pt x="1125" y="3"/>
                  <a:pt x="1124" y="4"/>
                </a:cubicBezTo>
                <a:cubicBezTo>
                  <a:pt x="1123" y="5"/>
                  <a:pt x="1123" y="6"/>
                  <a:pt x="1123" y="7"/>
                </a:cubicBezTo>
                <a:cubicBezTo>
                  <a:pt x="1123" y="8"/>
                  <a:pt x="1123" y="9"/>
                  <a:pt x="1124" y="10"/>
                </a:cubicBezTo>
                <a:cubicBezTo>
                  <a:pt x="1125" y="11"/>
                  <a:pt x="1126" y="11"/>
                  <a:pt x="1127" y="11"/>
                </a:cubicBezTo>
                <a:close/>
                <a:moveTo>
                  <a:pt x="1166" y="52"/>
                </a:moveTo>
                <a:cubicBezTo>
                  <a:pt x="1165" y="49"/>
                  <a:pt x="1165" y="49"/>
                  <a:pt x="1165" y="49"/>
                </a:cubicBezTo>
                <a:cubicBezTo>
                  <a:pt x="1163" y="51"/>
                  <a:pt x="1161" y="52"/>
                  <a:pt x="1159" y="53"/>
                </a:cubicBezTo>
                <a:cubicBezTo>
                  <a:pt x="1157" y="54"/>
                  <a:pt x="1155" y="55"/>
                  <a:pt x="1153" y="55"/>
                </a:cubicBezTo>
                <a:cubicBezTo>
                  <a:pt x="1150" y="55"/>
                  <a:pt x="1148" y="54"/>
                  <a:pt x="1147" y="51"/>
                </a:cubicBezTo>
                <a:cubicBezTo>
                  <a:pt x="1145" y="49"/>
                  <a:pt x="1145" y="46"/>
                  <a:pt x="1145" y="43"/>
                </a:cubicBezTo>
                <a:cubicBezTo>
                  <a:pt x="1148" y="43"/>
                  <a:pt x="1151" y="42"/>
                  <a:pt x="1155" y="41"/>
                </a:cubicBezTo>
                <a:cubicBezTo>
                  <a:pt x="1158" y="40"/>
                  <a:pt x="1162" y="38"/>
                  <a:pt x="1164" y="36"/>
                </a:cubicBezTo>
                <a:cubicBezTo>
                  <a:pt x="1167" y="33"/>
                  <a:pt x="1168" y="31"/>
                  <a:pt x="1168" y="27"/>
                </a:cubicBezTo>
                <a:cubicBezTo>
                  <a:pt x="1168" y="25"/>
                  <a:pt x="1167" y="23"/>
                  <a:pt x="1166" y="21"/>
                </a:cubicBezTo>
                <a:cubicBezTo>
                  <a:pt x="1164" y="19"/>
                  <a:pt x="1162" y="19"/>
                  <a:pt x="1158" y="19"/>
                </a:cubicBezTo>
                <a:cubicBezTo>
                  <a:pt x="1154" y="19"/>
                  <a:pt x="1151" y="20"/>
                  <a:pt x="1148" y="22"/>
                </a:cubicBezTo>
                <a:cubicBezTo>
                  <a:pt x="1145" y="24"/>
                  <a:pt x="1142" y="28"/>
                  <a:pt x="1140" y="31"/>
                </a:cubicBezTo>
                <a:cubicBezTo>
                  <a:pt x="1138" y="35"/>
                  <a:pt x="1138" y="40"/>
                  <a:pt x="1138" y="44"/>
                </a:cubicBezTo>
                <a:cubicBezTo>
                  <a:pt x="1138" y="47"/>
                  <a:pt x="1138" y="49"/>
                  <a:pt x="1139" y="52"/>
                </a:cubicBezTo>
                <a:cubicBezTo>
                  <a:pt x="1140" y="54"/>
                  <a:pt x="1142" y="56"/>
                  <a:pt x="1144" y="57"/>
                </a:cubicBezTo>
                <a:cubicBezTo>
                  <a:pt x="1146" y="59"/>
                  <a:pt x="1148" y="59"/>
                  <a:pt x="1151" y="59"/>
                </a:cubicBezTo>
                <a:cubicBezTo>
                  <a:pt x="1155" y="59"/>
                  <a:pt x="1158" y="58"/>
                  <a:pt x="1160" y="57"/>
                </a:cubicBezTo>
                <a:cubicBezTo>
                  <a:pt x="1163" y="55"/>
                  <a:pt x="1165" y="54"/>
                  <a:pt x="1166" y="52"/>
                </a:cubicBezTo>
                <a:close/>
                <a:moveTo>
                  <a:pt x="1157" y="22"/>
                </a:moveTo>
                <a:cubicBezTo>
                  <a:pt x="1158" y="22"/>
                  <a:pt x="1159" y="23"/>
                  <a:pt x="1160" y="24"/>
                </a:cubicBezTo>
                <a:cubicBezTo>
                  <a:pt x="1161" y="25"/>
                  <a:pt x="1161" y="26"/>
                  <a:pt x="1161" y="28"/>
                </a:cubicBezTo>
                <a:cubicBezTo>
                  <a:pt x="1161" y="30"/>
                  <a:pt x="1161" y="32"/>
                  <a:pt x="1159" y="34"/>
                </a:cubicBezTo>
                <a:cubicBezTo>
                  <a:pt x="1157" y="35"/>
                  <a:pt x="1155" y="37"/>
                  <a:pt x="1152" y="38"/>
                </a:cubicBezTo>
                <a:cubicBezTo>
                  <a:pt x="1150" y="39"/>
                  <a:pt x="1147" y="39"/>
                  <a:pt x="1145" y="39"/>
                </a:cubicBezTo>
                <a:cubicBezTo>
                  <a:pt x="1145" y="37"/>
                  <a:pt x="1146" y="34"/>
                  <a:pt x="1147" y="32"/>
                </a:cubicBezTo>
                <a:cubicBezTo>
                  <a:pt x="1148" y="29"/>
                  <a:pt x="1149" y="27"/>
                  <a:pt x="1151" y="25"/>
                </a:cubicBezTo>
                <a:cubicBezTo>
                  <a:pt x="1152" y="23"/>
                  <a:pt x="1154" y="22"/>
                  <a:pt x="1157" y="22"/>
                </a:cubicBezTo>
                <a:close/>
                <a:moveTo>
                  <a:pt x="1187" y="28"/>
                </a:moveTo>
                <a:cubicBezTo>
                  <a:pt x="1188" y="19"/>
                  <a:pt x="1188" y="19"/>
                  <a:pt x="1188" y="19"/>
                </a:cubicBezTo>
                <a:cubicBezTo>
                  <a:pt x="1186" y="19"/>
                  <a:pt x="1186" y="19"/>
                  <a:pt x="1186" y="19"/>
                </a:cubicBezTo>
                <a:cubicBezTo>
                  <a:pt x="1178" y="20"/>
                  <a:pt x="1178" y="20"/>
                  <a:pt x="1178" y="20"/>
                </a:cubicBezTo>
                <a:cubicBezTo>
                  <a:pt x="1177" y="23"/>
                  <a:pt x="1177" y="23"/>
                  <a:pt x="1177" y="23"/>
                </a:cubicBezTo>
                <a:cubicBezTo>
                  <a:pt x="1180" y="25"/>
                  <a:pt x="1180" y="25"/>
                  <a:pt x="1180" y="25"/>
                </a:cubicBezTo>
                <a:cubicBezTo>
                  <a:pt x="1176" y="58"/>
                  <a:pt x="1176" y="58"/>
                  <a:pt x="1176" y="58"/>
                </a:cubicBezTo>
                <a:cubicBezTo>
                  <a:pt x="1183" y="58"/>
                  <a:pt x="1183" y="58"/>
                  <a:pt x="1183" y="58"/>
                </a:cubicBezTo>
                <a:cubicBezTo>
                  <a:pt x="1186" y="33"/>
                  <a:pt x="1186" y="33"/>
                  <a:pt x="1186" y="33"/>
                </a:cubicBezTo>
                <a:cubicBezTo>
                  <a:pt x="1188" y="31"/>
                  <a:pt x="1190" y="28"/>
                  <a:pt x="1192" y="26"/>
                </a:cubicBezTo>
                <a:cubicBezTo>
                  <a:pt x="1194" y="25"/>
                  <a:pt x="1196" y="24"/>
                  <a:pt x="1198" y="24"/>
                </a:cubicBezTo>
                <a:cubicBezTo>
                  <a:pt x="1200" y="24"/>
                  <a:pt x="1201" y="24"/>
                  <a:pt x="1202" y="25"/>
                </a:cubicBezTo>
                <a:cubicBezTo>
                  <a:pt x="1202" y="26"/>
                  <a:pt x="1203" y="27"/>
                  <a:pt x="1203" y="29"/>
                </a:cubicBezTo>
                <a:cubicBezTo>
                  <a:pt x="1203" y="31"/>
                  <a:pt x="1202" y="33"/>
                  <a:pt x="1202" y="35"/>
                </a:cubicBezTo>
                <a:cubicBezTo>
                  <a:pt x="1202" y="37"/>
                  <a:pt x="1201" y="39"/>
                  <a:pt x="1201" y="41"/>
                </a:cubicBezTo>
                <a:cubicBezTo>
                  <a:pt x="1201" y="43"/>
                  <a:pt x="1201" y="43"/>
                  <a:pt x="1201" y="43"/>
                </a:cubicBezTo>
                <a:cubicBezTo>
                  <a:pt x="1200" y="46"/>
                  <a:pt x="1200" y="46"/>
                  <a:pt x="1200" y="46"/>
                </a:cubicBezTo>
                <a:cubicBezTo>
                  <a:pt x="1199" y="51"/>
                  <a:pt x="1199" y="54"/>
                  <a:pt x="1199" y="55"/>
                </a:cubicBezTo>
                <a:cubicBezTo>
                  <a:pt x="1199" y="58"/>
                  <a:pt x="1200" y="59"/>
                  <a:pt x="1203" y="59"/>
                </a:cubicBezTo>
                <a:cubicBezTo>
                  <a:pt x="1205" y="59"/>
                  <a:pt x="1206" y="59"/>
                  <a:pt x="1207" y="58"/>
                </a:cubicBezTo>
                <a:cubicBezTo>
                  <a:pt x="1208" y="58"/>
                  <a:pt x="1209" y="57"/>
                  <a:pt x="1210" y="57"/>
                </a:cubicBezTo>
                <a:cubicBezTo>
                  <a:pt x="1210" y="56"/>
                  <a:pt x="1211" y="55"/>
                  <a:pt x="1211" y="55"/>
                </a:cubicBezTo>
                <a:cubicBezTo>
                  <a:pt x="1210" y="53"/>
                  <a:pt x="1210" y="53"/>
                  <a:pt x="1210" y="53"/>
                </a:cubicBezTo>
                <a:cubicBezTo>
                  <a:pt x="1209" y="54"/>
                  <a:pt x="1208" y="55"/>
                  <a:pt x="1207" y="55"/>
                </a:cubicBezTo>
                <a:cubicBezTo>
                  <a:pt x="1206" y="55"/>
                  <a:pt x="1206" y="54"/>
                  <a:pt x="1206" y="53"/>
                </a:cubicBezTo>
                <a:cubicBezTo>
                  <a:pt x="1206" y="51"/>
                  <a:pt x="1206" y="48"/>
                  <a:pt x="1207" y="45"/>
                </a:cubicBezTo>
                <a:cubicBezTo>
                  <a:pt x="1208" y="41"/>
                  <a:pt x="1208" y="41"/>
                  <a:pt x="1208" y="41"/>
                </a:cubicBezTo>
                <a:cubicBezTo>
                  <a:pt x="1208" y="40"/>
                  <a:pt x="1208" y="40"/>
                  <a:pt x="1208" y="40"/>
                </a:cubicBezTo>
                <a:cubicBezTo>
                  <a:pt x="1209" y="34"/>
                  <a:pt x="1210" y="31"/>
                  <a:pt x="1210" y="29"/>
                </a:cubicBezTo>
                <a:cubicBezTo>
                  <a:pt x="1210" y="25"/>
                  <a:pt x="1209" y="23"/>
                  <a:pt x="1207" y="21"/>
                </a:cubicBezTo>
                <a:cubicBezTo>
                  <a:pt x="1206" y="19"/>
                  <a:pt x="1204" y="19"/>
                  <a:pt x="1201" y="19"/>
                </a:cubicBezTo>
                <a:cubicBezTo>
                  <a:pt x="1199" y="19"/>
                  <a:pt x="1196" y="19"/>
                  <a:pt x="1193" y="21"/>
                </a:cubicBezTo>
                <a:cubicBezTo>
                  <a:pt x="1191" y="23"/>
                  <a:pt x="1189" y="25"/>
                  <a:pt x="1187" y="28"/>
                </a:cubicBezTo>
                <a:close/>
                <a:moveTo>
                  <a:pt x="1243" y="27"/>
                </a:moveTo>
                <a:cubicBezTo>
                  <a:pt x="1245" y="27"/>
                  <a:pt x="1245" y="27"/>
                  <a:pt x="1245" y="27"/>
                </a:cubicBezTo>
                <a:cubicBezTo>
                  <a:pt x="1247" y="20"/>
                  <a:pt x="1247" y="20"/>
                  <a:pt x="1247" y="20"/>
                </a:cubicBezTo>
                <a:cubicBezTo>
                  <a:pt x="1246" y="20"/>
                  <a:pt x="1244" y="19"/>
                  <a:pt x="1243" y="19"/>
                </a:cubicBezTo>
                <a:cubicBezTo>
                  <a:pt x="1241" y="19"/>
                  <a:pt x="1240" y="19"/>
                  <a:pt x="1239" y="19"/>
                </a:cubicBezTo>
                <a:cubicBezTo>
                  <a:pt x="1234" y="19"/>
                  <a:pt x="1231" y="20"/>
                  <a:pt x="1228" y="22"/>
                </a:cubicBezTo>
                <a:cubicBezTo>
                  <a:pt x="1224" y="25"/>
                  <a:pt x="1222" y="28"/>
                  <a:pt x="1220" y="32"/>
                </a:cubicBezTo>
                <a:cubicBezTo>
                  <a:pt x="1219" y="36"/>
                  <a:pt x="1218" y="40"/>
                  <a:pt x="1218" y="43"/>
                </a:cubicBezTo>
                <a:cubicBezTo>
                  <a:pt x="1218" y="48"/>
                  <a:pt x="1219" y="52"/>
                  <a:pt x="1221" y="55"/>
                </a:cubicBezTo>
                <a:cubicBezTo>
                  <a:pt x="1224" y="58"/>
                  <a:pt x="1227" y="59"/>
                  <a:pt x="1231" y="59"/>
                </a:cubicBezTo>
                <a:cubicBezTo>
                  <a:pt x="1234" y="59"/>
                  <a:pt x="1236" y="59"/>
                  <a:pt x="1239" y="57"/>
                </a:cubicBezTo>
                <a:cubicBezTo>
                  <a:pt x="1241" y="56"/>
                  <a:pt x="1243" y="54"/>
                  <a:pt x="1244" y="53"/>
                </a:cubicBezTo>
                <a:cubicBezTo>
                  <a:pt x="1242" y="50"/>
                  <a:pt x="1242" y="50"/>
                  <a:pt x="1242" y="50"/>
                </a:cubicBezTo>
                <a:cubicBezTo>
                  <a:pt x="1241" y="52"/>
                  <a:pt x="1239" y="53"/>
                  <a:pt x="1238" y="54"/>
                </a:cubicBezTo>
                <a:cubicBezTo>
                  <a:pt x="1236" y="54"/>
                  <a:pt x="1235" y="55"/>
                  <a:pt x="1233" y="55"/>
                </a:cubicBezTo>
                <a:cubicBezTo>
                  <a:pt x="1230" y="55"/>
                  <a:pt x="1228" y="54"/>
                  <a:pt x="1227" y="52"/>
                </a:cubicBezTo>
                <a:cubicBezTo>
                  <a:pt x="1226" y="50"/>
                  <a:pt x="1225" y="47"/>
                  <a:pt x="1225" y="43"/>
                </a:cubicBezTo>
                <a:cubicBezTo>
                  <a:pt x="1225" y="39"/>
                  <a:pt x="1226" y="35"/>
                  <a:pt x="1227" y="32"/>
                </a:cubicBezTo>
                <a:cubicBezTo>
                  <a:pt x="1228" y="30"/>
                  <a:pt x="1229" y="27"/>
                  <a:pt x="1231" y="26"/>
                </a:cubicBezTo>
                <a:cubicBezTo>
                  <a:pt x="1233" y="24"/>
                  <a:pt x="1235" y="23"/>
                  <a:pt x="1237" y="23"/>
                </a:cubicBezTo>
                <a:cubicBezTo>
                  <a:pt x="1239" y="23"/>
                  <a:pt x="1241" y="24"/>
                  <a:pt x="1243" y="27"/>
                </a:cubicBezTo>
                <a:close/>
                <a:moveTo>
                  <a:pt x="1279" y="52"/>
                </a:moveTo>
                <a:cubicBezTo>
                  <a:pt x="1277" y="49"/>
                  <a:pt x="1277" y="49"/>
                  <a:pt x="1277" y="49"/>
                </a:cubicBezTo>
                <a:cubicBezTo>
                  <a:pt x="1276" y="51"/>
                  <a:pt x="1274" y="52"/>
                  <a:pt x="1272" y="53"/>
                </a:cubicBezTo>
                <a:cubicBezTo>
                  <a:pt x="1270" y="54"/>
                  <a:pt x="1268" y="55"/>
                  <a:pt x="1266" y="55"/>
                </a:cubicBezTo>
                <a:cubicBezTo>
                  <a:pt x="1263" y="55"/>
                  <a:pt x="1261" y="54"/>
                  <a:pt x="1259" y="51"/>
                </a:cubicBezTo>
                <a:cubicBezTo>
                  <a:pt x="1258" y="49"/>
                  <a:pt x="1257" y="46"/>
                  <a:pt x="1258" y="43"/>
                </a:cubicBezTo>
                <a:cubicBezTo>
                  <a:pt x="1260" y="43"/>
                  <a:pt x="1264" y="42"/>
                  <a:pt x="1267" y="41"/>
                </a:cubicBezTo>
                <a:cubicBezTo>
                  <a:pt x="1271" y="40"/>
                  <a:pt x="1274" y="38"/>
                  <a:pt x="1277" y="36"/>
                </a:cubicBezTo>
                <a:cubicBezTo>
                  <a:pt x="1280" y="33"/>
                  <a:pt x="1281" y="31"/>
                  <a:pt x="1281" y="27"/>
                </a:cubicBezTo>
                <a:cubicBezTo>
                  <a:pt x="1281" y="25"/>
                  <a:pt x="1280" y="23"/>
                  <a:pt x="1278" y="21"/>
                </a:cubicBezTo>
                <a:cubicBezTo>
                  <a:pt x="1277" y="19"/>
                  <a:pt x="1274" y="19"/>
                  <a:pt x="1271" y="19"/>
                </a:cubicBezTo>
                <a:cubicBezTo>
                  <a:pt x="1267" y="19"/>
                  <a:pt x="1264" y="20"/>
                  <a:pt x="1260" y="22"/>
                </a:cubicBezTo>
                <a:cubicBezTo>
                  <a:pt x="1257" y="24"/>
                  <a:pt x="1255" y="28"/>
                  <a:pt x="1253" y="31"/>
                </a:cubicBezTo>
                <a:cubicBezTo>
                  <a:pt x="1251" y="35"/>
                  <a:pt x="1250" y="40"/>
                  <a:pt x="1250" y="44"/>
                </a:cubicBezTo>
                <a:cubicBezTo>
                  <a:pt x="1250" y="47"/>
                  <a:pt x="1251" y="49"/>
                  <a:pt x="1252" y="52"/>
                </a:cubicBezTo>
                <a:cubicBezTo>
                  <a:pt x="1253" y="54"/>
                  <a:pt x="1254" y="56"/>
                  <a:pt x="1256" y="57"/>
                </a:cubicBezTo>
                <a:cubicBezTo>
                  <a:pt x="1258" y="59"/>
                  <a:pt x="1261" y="59"/>
                  <a:pt x="1264" y="59"/>
                </a:cubicBezTo>
                <a:cubicBezTo>
                  <a:pt x="1267" y="59"/>
                  <a:pt x="1270" y="58"/>
                  <a:pt x="1273" y="57"/>
                </a:cubicBezTo>
                <a:cubicBezTo>
                  <a:pt x="1276" y="55"/>
                  <a:pt x="1278" y="54"/>
                  <a:pt x="1279" y="52"/>
                </a:cubicBezTo>
                <a:close/>
                <a:moveTo>
                  <a:pt x="1269" y="22"/>
                </a:moveTo>
                <a:cubicBezTo>
                  <a:pt x="1271" y="22"/>
                  <a:pt x="1272" y="23"/>
                  <a:pt x="1273" y="24"/>
                </a:cubicBezTo>
                <a:cubicBezTo>
                  <a:pt x="1274" y="25"/>
                  <a:pt x="1274" y="26"/>
                  <a:pt x="1274" y="28"/>
                </a:cubicBezTo>
                <a:cubicBezTo>
                  <a:pt x="1274" y="30"/>
                  <a:pt x="1273" y="32"/>
                  <a:pt x="1272" y="34"/>
                </a:cubicBezTo>
                <a:cubicBezTo>
                  <a:pt x="1270" y="35"/>
                  <a:pt x="1268" y="37"/>
                  <a:pt x="1265" y="38"/>
                </a:cubicBezTo>
                <a:cubicBezTo>
                  <a:pt x="1263" y="39"/>
                  <a:pt x="1260" y="39"/>
                  <a:pt x="1258" y="39"/>
                </a:cubicBezTo>
                <a:cubicBezTo>
                  <a:pt x="1258" y="37"/>
                  <a:pt x="1259" y="34"/>
                  <a:pt x="1259" y="32"/>
                </a:cubicBezTo>
                <a:cubicBezTo>
                  <a:pt x="1260" y="29"/>
                  <a:pt x="1262" y="27"/>
                  <a:pt x="1263" y="25"/>
                </a:cubicBezTo>
                <a:cubicBezTo>
                  <a:pt x="1265" y="23"/>
                  <a:pt x="1267" y="22"/>
                  <a:pt x="1269" y="22"/>
                </a:cubicBezTo>
                <a:close/>
                <a:moveTo>
                  <a:pt x="1310" y="25"/>
                </a:moveTo>
                <a:cubicBezTo>
                  <a:pt x="1311" y="20"/>
                  <a:pt x="1311" y="20"/>
                  <a:pt x="1311" y="20"/>
                </a:cubicBezTo>
                <a:cubicBezTo>
                  <a:pt x="1311" y="20"/>
                  <a:pt x="1309" y="19"/>
                  <a:pt x="1308" y="19"/>
                </a:cubicBezTo>
                <a:cubicBezTo>
                  <a:pt x="1306" y="19"/>
                  <a:pt x="1304" y="19"/>
                  <a:pt x="1303" y="19"/>
                </a:cubicBezTo>
                <a:cubicBezTo>
                  <a:pt x="1300" y="19"/>
                  <a:pt x="1298" y="19"/>
                  <a:pt x="1296" y="20"/>
                </a:cubicBezTo>
                <a:cubicBezTo>
                  <a:pt x="1293" y="21"/>
                  <a:pt x="1292" y="22"/>
                  <a:pt x="1291" y="24"/>
                </a:cubicBezTo>
                <a:cubicBezTo>
                  <a:pt x="1289" y="26"/>
                  <a:pt x="1289" y="27"/>
                  <a:pt x="1289" y="30"/>
                </a:cubicBezTo>
                <a:cubicBezTo>
                  <a:pt x="1289" y="34"/>
                  <a:pt x="1291" y="38"/>
                  <a:pt x="1296" y="41"/>
                </a:cubicBezTo>
                <a:cubicBezTo>
                  <a:pt x="1298" y="43"/>
                  <a:pt x="1300" y="44"/>
                  <a:pt x="1301" y="45"/>
                </a:cubicBezTo>
                <a:cubicBezTo>
                  <a:pt x="1302" y="46"/>
                  <a:pt x="1303" y="48"/>
                  <a:pt x="1303" y="50"/>
                </a:cubicBezTo>
                <a:cubicBezTo>
                  <a:pt x="1303" y="51"/>
                  <a:pt x="1302" y="53"/>
                  <a:pt x="1301" y="54"/>
                </a:cubicBezTo>
                <a:cubicBezTo>
                  <a:pt x="1299" y="55"/>
                  <a:pt x="1297" y="55"/>
                  <a:pt x="1295" y="55"/>
                </a:cubicBezTo>
                <a:cubicBezTo>
                  <a:pt x="1293" y="55"/>
                  <a:pt x="1292" y="55"/>
                  <a:pt x="1290" y="54"/>
                </a:cubicBezTo>
                <a:cubicBezTo>
                  <a:pt x="1288" y="53"/>
                  <a:pt x="1287" y="53"/>
                  <a:pt x="1286" y="52"/>
                </a:cubicBezTo>
                <a:cubicBezTo>
                  <a:pt x="1285" y="57"/>
                  <a:pt x="1285" y="57"/>
                  <a:pt x="1285" y="57"/>
                </a:cubicBezTo>
                <a:cubicBezTo>
                  <a:pt x="1285" y="58"/>
                  <a:pt x="1287" y="58"/>
                  <a:pt x="1289" y="58"/>
                </a:cubicBezTo>
                <a:cubicBezTo>
                  <a:pt x="1291" y="59"/>
                  <a:pt x="1293" y="59"/>
                  <a:pt x="1295" y="59"/>
                </a:cubicBezTo>
                <a:cubicBezTo>
                  <a:pt x="1299" y="59"/>
                  <a:pt x="1303" y="58"/>
                  <a:pt x="1305" y="56"/>
                </a:cubicBezTo>
                <a:cubicBezTo>
                  <a:pt x="1308" y="54"/>
                  <a:pt x="1309" y="52"/>
                  <a:pt x="1309" y="48"/>
                </a:cubicBezTo>
                <a:cubicBezTo>
                  <a:pt x="1309" y="46"/>
                  <a:pt x="1309" y="45"/>
                  <a:pt x="1308" y="43"/>
                </a:cubicBezTo>
                <a:cubicBezTo>
                  <a:pt x="1307" y="42"/>
                  <a:pt x="1306" y="41"/>
                  <a:pt x="1305" y="40"/>
                </a:cubicBezTo>
                <a:cubicBezTo>
                  <a:pt x="1304" y="39"/>
                  <a:pt x="1303" y="38"/>
                  <a:pt x="1301" y="36"/>
                </a:cubicBezTo>
                <a:cubicBezTo>
                  <a:pt x="1299" y="35"/>
                  <a:pt x="1298" y="34"/>
                  <a:pt x="1297" y="32"/>
                </a:cubicBezTo>
                <a:cubicBezTo>
                  <a:pt x="1296" y="31"/>
                  <a:pt x="1295" y="30"/>
                  <a:pt x="1295" y="28"/>
                </a:cubicBezTo>
                <a:cubicBezTo>
                  <a:pt x="1295" y="26"/>
                  <a:pt x="1296" y="25"/>
                  <a:pt x="1297" y="24"/>
                </a:cubicBezTo>
                <a:cubicBezTo>
                  <a:pt x="1299" y="23"/>
                  <a:pt x="1300" y="23"/>
                  <a:pt x="1303" y="23"/>
                </a:cubicBezTo>
                <a:cubicBezTo>
                  <a:pt x="1304" y="23"/>
                  <a:pt x="1306" y="23"/>
                  <a:pt x="1307" y="24"/>
                </a:cubicBezTo>
                <a:cubicBezTo>
                  <a:pt x="1309" y="24"/>
                  <a:pt x="1310" y="25"/>
                  <a:pt x="1310" y="25"/>
                </a:cubicBezTo>
                <a:close/>
                <a:moveTo>
                  <a:pt x="1047" y="110"/>
                </a:moveTo>
                <a:cubicBezTo>
                  <a:pt x="1052" y="111"/>
                  <a:pt x="1052" y="111"/>
                  <a:pt x="1052" y="111"/>
                </a:cubicBezTo>
                <a:cubicBezTo>
                  <a:pt x="1046" y="156"/>
                  <a:pt x="1046" y="156"/>
                  <a:pt x="1046" y="156"/>
                </a:cubicBezTo>
                <a:cubicBezTo>
                  <a:pt x="1041" y="157"/>
                  <a:pt x="1041" y="157"/>
                  <a:pt x="1041" y="157"/>
                </a:cubicBezTo>
                <a:cubicBezTo>
                  <a:pt x="1041" y="159"/>
                  <a:pt x="1041" y="159"/>
                  <a:pt x="1041" y="159"/>
                </a:cubicBezTo>
                <a:cubicBezTo>
                  <a:pt x="1078" y="159"/>
                  <a:pt x="1078" y="159"/>
                  <a:pt x="1078" y="159"/>
                </a:cubicBezTo>
                <a:cubicBezTo>
                  <a:pt x="1081" y="147"/>
                  <a:pt x="1081" y="147"/>
                  <a:pt x="1081" y="147"/>
                </a:cubicBezTo>
                <a:cubicBezTo>
                  <a:pt x="1077" y="146"/>
                  <a:pt x="1077" y="146"/>
                  <a:pt x="1077" y="146"/>
                </a:cubicBezTo>
                <a:cubicBezTo>
                  <a:pt x="1073" y="155"/>
                  <a:pt x="1073" y="155"/>
                  <a:pt x="1073" y="155"/>
                </a:cubicBezTo>
                <a:cubicBezTo>
                  <a:pt x="1053" y="156"/>
                  <a:pt x="1053" y="156"/>
                  <a:pt x="1053" y="156"/>
                </a:cubicBezTo>
                <a:cubicBezTo>
                  <a:pt x="1056" y="134"/>
                  <a:pt x="1056" y="134"/>
                  <a:pt x="1056" y="134"/>
                </a:cubicBezTo>
                <a:cubicBezTo>
                  <a:pt x="1072" y="135"/>
                  <a:pt x="1072" y="135"/>
                  <a:pt x="1072" y="135"/>
                </a:cubicBezTo>
                <a:cubicBezTo>
                  <a:pt x="1073" y="130"/>
                  <a:pt x="1073" y="130"/>
                  <a:pt x="1073" y="130"/>
                </a:cubicBezTo>
                <a:cubicBezTo>
                  <a:pt x="1057" y="130"/>
                  <a:pt x="1057" y="130"/>
                  <a:pt x="1057" y="130"/>
                </a:cubicBezTo>
                <a:cubicBezTo>
                  <a:pt x="1059" y="110"/>
                  <a:pt x="1059" y="110"/>
                  <a:pt x="1059" y="110"/>
                </a:cubicBezTo>
                <a:cubicBezTo>
                  <a:pt x="1075" y="111"/>
                  <a:pt x="1075" y="111"/>
                  <a:pt x="1075" y="111"/>
                </a:cubicBezTo>
                <a:cubicBezTo>
                  <a:pt x="1076" y="118"/>
                  <a:pt x="1076" y="118"/>
                  <a:pt x="1076" y="118"/>
                </a:cubicBezTo>
                <a:cubicBezTo>
                  <a:pt x="1080" y="118"/>
                  <a:pt x="1080" y="118"/>
                  <a:pt x="1080" y="118"/>
                </a:cubicBezTo>
                <a:cubicBezTo>
                  <a:pt x="1081" y="107"/>
                  <a:pt x="1081" y="107"/>
                  <a:pt x="1081" y="107"/>
                </a:cubicBezTo>
                <a:cubicBezTo>
                  <a:pt x="1048" y="107"/>
                  <a:pt x="1048" y="107"/>
                  <a:pt x="1048" y="107"/>
                </a:cubicBezTo>
                <a:lnTo>
                  <a:pt x="1047" y="110"/>
                </a:lnTo>
                <a:close/>
                <a:moveTo>
                  <a:pt x="1100" y="129"/>
                </a:moveTo>
                <a:cubicBezTo>
                  <a:pt x="1100" y="120"/>
                  <a:pt x="1100" y="120"/>
                  <a:pt x="1100" y="120"/>
                </a:cubicBezTo>
                <a:cubicBezTo>
                  <a:pt x="1099" y="119"/>
                  <a:pt x="1099" y="119"/>
                  <a:pt x="1099" y="119"/>
                </a:cubicBezTo>
                <a:cubicBezTo>
                  <a:pt x="1090" y="121"/>
                  <a:pt x="1090" y="121"/>
                  <a:pt x="1090" y="121"/>
                </a:cubicBezTo>
                <a:cubicBezTo>
                  <a:pt x="1090" y="124"/>
                  <a:pt x="1090" y="124"/>
                  <a:pt x="1090" y="124"/>
                </a:cubicBezTo>
                <a:cubicBezTo>
                  <a:pt x="1093" y="125"/>
                  <a:pt x="1093" y="125"/>
                  <a:pt x="1093" y="125"/>
                </a:cubicBezTo>
                <a:cubicBezTo>
                  <a:pt x="1089" y="159"/>
                  <a:pt x="1089" y="159"/>
                  <a:pt x="1089" y="159"/>
                </a:cubicBezTo>
                <a:cubicBezTo>
                  <a:pt x="1095" y="159"/>
                  <a:pt x="1095" y="159"/>
                  <a:pt x="1095" y="159"/>
                </a:cubicBezTo>
                <a:cubicBezTo>
                  <a:pt x="1099" y="134"/>
                  <a:pt x="1099" y="134"/>
                  <a:pt x="1099" y="134"/>
                </a:cubicBezTo>
                <a:cubicBezTo>
                  <a:pt x="1101" y="131"/>
                  <a:pt x="1103" y="129"/>
                  <a:pt x="1105" y="127"/>
                </a:cubicBezTo>
                <a:cubicBezTo>
                  <a:pt x="1107" y="125"/>
                  <a:pt x="1109" y="124"/>
                  <a:pt x="1111" y="124"/>
                </a:cubicBezTo>
                <a:cubicBezTo>
                  <a:pt x="1113" y="124"/>
                  <a:pt x="1114" y="125"/>
                  <a:pt x="1114" y="126"/>
                </a:cubicBezTo>
                <a:cubicBezTo>
                  <a:pt x="1115" y="127"/>
                  <a:pt x="1115" y="128"/>
                  <a:pt x="1115" y="130"/>
                </a:cubicBezTo>
                <a:cubicBezTo>
                  <a:pt x="1115" y="132"/>
                  <a:pt x="1115" y="134"/>
                  <a:pt x="1115" y="135"/>
                </a:cubicBezTo>
                <a:cubicBezTo>
                  <a:pt x="1115" y="137"/>
                  <a:pt x="1114" y="140"/>
                  <a:pt x="1114" y="142"/>
                </a:cubicBezTo>
                <a:cubicBezTo>
                  <a:pt x="1114" y="144"/>
                  <a:pt x="1114" y="144"/>
                  <a:pt x="1114" y="144"/>
                </a:cubicBezTo>
                <a:cubicBezTo>
                  <a:pt x="1113" y="147"/>
                  <a:pt x="1113" y="147"/>
                  <a:pt x="1113" y="147"/>
                </a:cubicBezTo>
                <a:cubicBezTo>
                  <a:pt x="1112" y="151"/>
                  <a:pt x="1112" y="154"/>
                  <a:pt x="1112" y="156"/>
                </a:cubicBezTo>
                <a:cubicBezTo>
                  <a:pt x="1112" y="159"/>
                  <a:pt x="1113" y="160"/>
                  <a:pt x="1116" y="160"/>
                </a:cubicBezTo>
                <a:cubicBezTo>
                  <a:pt x="1117" y="160"/>
                  <a:pt x="1119" y="160"/>
                  <a:pt x="1120" y="159"/>
                </a:cubicBezTo>
                <a:cubicBezTo>
                  <a:pt x="1121" y="159"/>
                  <a:pt x="1122" y="158"/>
                  <a:pt x="1123" y="157"/>
                </a:cubicBezTo>
                <a:cubicBezTo>
                  <a:pt x="1123" y="157"/>
                  <a:pt x="1124" y="156"/>
                  <a:pt x="1124" y="156"/>
                </a:cubicBezTo>
                <a:cubicBezTo>
                  <a:pt x="1123" y="154"/>
                  <a:pt x="1123" y="154"/>
                  <a:pt x="1123" y="154"/>
                </a:cubicBezTo>
                <a:cubicBezTo>
                  <a:pt x="1122" y="155"/>
                  <a:pt x="1121" y="156"/>
                  <a:pt x="1120" y="156"/>
                </a:cubicBezTo>
                <a:cubicBezTo>
                  <a:pt x="1119" y="156"/>
                  <a:pt x="1119" y="155"/>
                  <a:pt x="1119" y="154"/>
                </a:cubicBezTo>
                <a:cubicBezTo>
                  <a:pt x="1119" y="152"/>
                  <a:pt x="1119" y="149"/>
                  <a:pt x="1120" y="145"/>
                </a:cubicBezTo>
                <a:cubicBezTo>
                  <a:pt x="1121" y="142"/>
                  <a:pt x="1121" y="142"/>
                  <a:pt x="1121" y="142"/>
                </a:cubicBezTo>
                <a:cubicBezTo>
                  <a:pt x="1121" y="140"/>
                  <a:pt x="1121" y="140"/>
                  <a:pt x="1121" y="140"/>
                </a:cubicBezTo>
                <a:cubicBezTo>
                  <a:pt x="1122" y="135"/>
                  <a:pt x="1122" y="132"/>
                  <a:pt x="1122" y="130"/>
                </a:cubicBezTo>
                <a:cubicBezTo>
                  <a:pt x="1122" y="126"/>
                  <a:pt x="1122" y="123"/>
                  <a:pt x="1120" y="122"/>
                </a:cubicBezTo>
                <a:cubicBezTo>
                  <a:pt x="1119" y="120"/>
                  <a:pt x="1117" y="119"/>
                  <a:pt x="1114" y="119"/>
                </a:cubicBezTo>
                <a:cubicBezTo>
                  <a:pt x="1112" y="119"/>
                  <a:pt x="1109" y="120"/>
                  <a:pt x="1106" y="122"/>
                </a:cubicBezTo>
                <a:cubicBezTo>
                  <a:pt x="1104" y="124"/>
                  <a:pt x="1102" y="126"/>
                  <a:pt x="1100" y="129"/>
                </a:cubicBezTo>
                <a:close/>
                <a:moveTo>
                  <a:pt x="1159" y="162"/>
                </a:moveTo>
                <a:cubicBezTo>
                  <a:pt x="1165" y="119"/>
                  <a:pt x="1165" y="119"/>
                  <a:pt x="1165" y="119"/>
                </a:cubicBezTo>
                <a:cubicBezTo>
                  <a:pt x="1160" y="121"/>
                  <a:pt x="1160" y="121"/>
                  <a:pt x="1160" y="121"/>
                </a:cubicBezTo>
                <a:cubicBezTo>
                  <a:pt x="1159" y="121"/>
                  <a:pt x="1158" y="120"/>
                  <a:pt x="1157" y="120"/>
                </a:cubicBezTo>
                <a:cubicBezTo>
                  <a:pt x="1155" y="120"/>
                  <a:pt x="1154" y="119"/>
                  <a:pt x="1153" y="119"/>
                </a:cubicBezTo>
                <a:cubicBezTo>
                  <a:pt x="1148" y="119"/>
                  <a:pt x="1144" y="121"/>
                  <a:pt x="1141" y="123"/>
                </a:cubicBezTo>
                <a:cubicBezTo>
                  <a:pt x="1137" y="126"/>
                  <a:pt x="1135" y="129"/>
                  <a:pt x="1133" y="133"/>
                </a:cubicBezTo>
                <a:cubicBezTo>
                  <a:pt x="1131" y="137"/>
                  <a:pt x="1130" y="141"/>
                  <a:pt x="1130" y="145"/>
                </a:cubicBezTo>
                <a:cubicBezTo>
                  <a:pt x="1130" y="150"/>
                  <a:pt x="1131" y="153"/>
                  <a:pt x="1133" y="156"/>
                </a:cubicBezTo>
                <a:cubicBezTo>
                  <a:pt x="1135" y="159"/>
                  <a:pt x="1138" y="160"/>
                  <a:pt x="1142" y="160"/>
                </a:cubicBezTo>
                <a:cubicBezTo>
                  <a:pt x="1144" y="160"/>
                  <a:pt x="1146" y="159"/>
                  <a:pt x="1148" y="158"/>
                </a:cubicBezTo>
                <a:cubicBezTo>
                  <a:pt x="1150" y="157"/>
                  <a:pt x="1152" y="156"/>
                  <a:pt x="1153" y="155"/>
                </a:cubicBezTo>
                <a:cubicBezTo>
                  <a:pt x="1151" y="164"/>
                  <a:pt x="1151" y="164"/>
                  <a:pt x="1151" y="164"/>
                </a:cubicBezTo>
                <a:cubicBezTo>
                  <a:pt x="1151" y="167"/>
                  <a:pt x="1150" y="169"/>
                  <a:pt x="1149" y="170"/>
                </a:cubicBezTo>
                <a:cubicBezTo>
                  <a:pt x="1147" y="172"/>
                  <a:pt x="1145" y="172"/>
                  <a:pt x="1142" y="172"/>
                </a:cubicBezTo>
                <a:cubicBezTo>
                  <a:pt x="1140" y="172"/>
                  <a:pt x="1139" y="172"/>
                  <a:pt x="1137" y="171"/>
                </a:cubicBezTo>
                <a:cubicBezTo>
                  <a:pt x="1136" y="171"/>
                  <a:pt x="1134" y="170"/>
                  <a:pt x="1133" y="170"/>
                </a:cubicBezTo>
                <a:cubicBezTo>
                  <a:pt x="1132" y="175"/>
                  <a:pt x="1132" y="175"/>
                  <a:pt x="1132" y="175"/>
                </a:cubicBezTo>
                <a:cubicBezTo>
                  <a:pt x="1132" y="176"/>
                  <a:pt x="1134" y="176"/>
                  <a:pt x="1135" y="176"/>
                </a:cubicBezTo>
                <a:cubicBezTo>
                  <a:pt x="1137" y="177"/>
                  <a:pt x="1138" y="177"/>
                  <a:pt x="1140" y="177"/>
                </a:cubicBezTo>
                <a:cubicBezTo>
                  <a:pt x="1142" y="177"/>
                  <a:pt x="1145" y="176"/>
                  <a:pt x="1148" y="175"/>
                </a:cubicBezTo>
                <a:cubicBezTo>
                  <a:pt x="1150" y="174"/>
                  <a:pt x="1153" y="173"/>
                  <a:pt x="1155" y="170"/>
                </a:cubicBezTo>
                <a:cubicBezTo>
                  <a:pt x="1157" y="168"/>
                  <a:pt x="1158" y="165"/>
                  <a:pt x="1159" y="162"/>
                </a:cubicBezTo>
                <a:close/>
                <a:moveTo>
                  <a:pt x="1157" y="125"/>
                </a:moveTo>
                <a:cubicBezTo>
                  <a:pt x="1154" y="150"/>
                  <a:pt x="1154" y="150"/>
                  <a:pt x="1154" y="150"/>
                </a:cubicBezTo>
                <a:cubicBezTo>
                  <a:pt x="1152" y="151"/>
                  <a:pt x="1151" y="153"/>
                  <a:pt x="1149" y="154"/>
                </a:cubicBezTo>
                <a:cubicBezTo>
                  <a:pt x="1148" y="155"/>
                  <a:pt x="1146" y="155"/>
                  <a:pt x="1144" y="155"/>
                </a:cubicBezTo>
                <a:cubicBezTo>
                  <a:pt x="1142" y="155"/>
                  <a:pt x="1140" y="155"/>
                  <a:pt x="1139" y="153"/>
                </a:cubicBezTo>
                <a:cubicBezTo>
                  <a:pt x="1138" y="151"/>
                  <a:pt x="1138" y="148"/>
                  <a:pt x="1138" y="145"/>
                </a:cubicBezTo>
                <a:cubicBezTo>
                  <a:pt x="1138" y="142"/>
                  <a:pt x="1138" y="138"/>
                  <a:pt x="1139" y="135"/>
                </a:cubicBezTo>
                <a:cubicBezTo>
                  <a:pt x="1140" y="132"/>
                  <a:pt x="1142" y="129"/>
                  <a:pt x="1144" y="127"/>
                </a:cubicBezTo>
                <a:cubicBezTo>
                  <a:pt x="1146" y="124"/>
                  <a:pt x="1149" y="123"/>
                  <a:pt x="1152" y="123"/>
                </a:cubicBezTo>
                <a:cubicBezTo>
                  <a:pt x="1154" y="123"/>
                  <a:pt x="1156" y="124"/>
                  <a:pt x="1157" y="125"/>
                </a:cubicBezTo>
                <a:close/>
                <a:moveTo>
                  <a:pt x="1181" y="153"/>
                </a:moveTo>
                <a:cubicBezTo>
                  <a:pt x="1185" y="120"/>
                  <a:pt x="1185" y="120"/>
                  <a:pt x="1185" y="120"/>
                </a:cubicBezTo>
                <a:cubicBezTo>
                  <a:pt x="1184" y="119"/>
                  <a:pt x="1184" y="119"/>
                  <a:pt x="1184" y="119"/>
                </a:cubicBezTo>
                <a:cubicBezTo>
                  <a:pt x="1174" y="121"/>
                  <a:pt x="1174" y="121"/>
                  <a:pt x="1174" y="121"/>
                </a:cubicBezTo>
                <a:cubicBezTo>
                  <a:pt x="1173" y="123"/>
                  <a:pt x="1173" y="123"/>
                  <a:pt x="1173" y="123"/>
                </a:cubicBezTo>
                <a:cubicBezTo>
                  <a:pt x="1178" y="125"/>
                  <a:pt x="1178" y="125"/>
                  <a:pt x="1178" y="125"/>
                </a:cubicBezTo>
                <a:cubicBezTo>
                  <a:pt x="1177" y="132"/>
                  <a:pt x="1176" y="138"/>
                  <a:pt x="1175" y="142"/>
                </a:cubicBezTo>
                <a:cubicBezTo>
                  <a:pt x="1174" y="150"/>
                  <a:pt x="1174" y="154"/>
                  <a:pt x="1173" y="156"/>
                </a:cubicBezTo>
                <a:cubicBezTo>
                  <a:pt x="1173" y="157"/>
                  <a:pt x="1174" y="158"/>
                  <a:pt x="1174" y="159"/>
                </a:cubicBezTo>
                <a:cubicBezTo>
                  <a:pt x="1175" y="160"/>
                  <a:pt x="1176" y="160"/>
                  <a:pt x="1178" y="160"/>
                </a:cubicBezTo>
                <a:cubicBezTo>
                  <a:pt x="1180" y="160"/>
                  <a:pt x="1182" y="159"/>
                  <a:pt x="1183" y="158"/>
                </a:cubicBezTo>
                <a:cubicBezTo>
                  <a:pt x="1184" y="157"/>
                  <a:pt x="1185" y="156"/>
                  <a:pt x="1186" y="155"/>
                </a:cubicBezTo>
                <a:cubicBezTo>
                  <a:pt x="1185" y="154"/>
                  <a:pt x="1185" y="154"/>
                  <a:pt x="1185" y="154"/>
                </a:cubicBezTo>
                <a:cubicBezTo>
                  <a:pt x="1184" y="154"/>
                  <a:pt x="1184" y="155"/>
                  <a:pt x="1183" y="155"/>
                </a:cubicBezTo>
                <a:cubicBezTo>
                  <a:pt x="1183" y="156"/>
                  <a:pt x="1182" y="156"/>
                  <a:pt x="1182" y="156"/>
                </a:cubicBezTo>
                <a:cubicBezTo>
                  <a:pt x="1181" y="156"/>
                  <a:pt x="1181" y="156"/>
                  <a:pt x="1181" y="155"/>
                </a:cubicBezTo>
                <a:cubicBezTo>
                  <a:pt x="1181" y="155"/>
                  <a:pt x="1180" y="155"/>
                  <a:pt x="1180" y="154"/>
                </a:cubicBezTo>
                <a:lnTo>
                  <a:pt x="1181" y="153"/>
                </a:lnTo>
                <a:close/>
                <a:moveTo>
                  <a:pt x="1183" y="112"/>
                </a:moveTo>
                <a:cubicBezTo>
                  <a:pt x="1184" y="112"/>
                  <a:pt x="1185" y="111"/>
                  <a:pt x="1186" y="110"/>
                </a:cubicBezTo>
                <a:cubicBezTo>
                  <a:pt x="1187" y="109"/>
                  <a:pt x="1188" y="108"/>
                  <a:pt x="1188" y="107"/>
                </a:cubicBezTo>
                <a:cubicBezTo>
                  <a:pt x="1188" y="106"/>
                  <a:pt x="1187" y="105"/>
                  <a:pt x="1187" y="104"/>
                </a:cubicBezTo>
                <a:cubicBezTo>
                  <a:pt x="1186" y="103"/>
                  <a:pt x="1185" y="103"/>
                  <a:pt x="1184" y="103"/>
                </a:cubicBezTo>
                <a:cubicBezTo>
                  <a:pt x="1182" y="103"/>
                  <a:pt x="1181" y="103"/>
                  <a:pt x="1180" y="104"/>
                </a:cubicBezTo>
                <a:cubicBezTo>
                  <a:pt x="1180" y="105"/>
                  <a:pt x="1179" y="107"/>
                  <a:pt x="1179" y="108"/>
                </a:cubicBezTo>
                <a:cubicBezTo>
                  <a:pt x="1179" y="109"/>
                  <a:pt x="1179" y="110"/>
                  <a:pt x="1180" y="111"/>
                </a:cubicBezTo>
                <a:cubicBezTo>
                  <a:pt x="1181" y="111"/>
                  <a:pt x="1182" y="112"/>
                  <a:pt x="1183" y="112"/>
                </a:cubicBezTo>
                <a:close/>
                <a:moveTo>
                  <a:pt x="1207" y="129"/>
                </a:moveTo>
                <a:cubicBezTo>
                  <a:pt x="1208" y="120"/>
                  <a:pt x="1208" y="120"/>
                  <a:pt x="1208" y="120"/>
                </a:cubicBezTo>
                <a:cubicBezTo>
                  <a:pt x="1207" y="119"/>
                  <a:pt x="1207" y="119"/>
                  <a:pt x="1207" y="119"/>
                </a:cubicBezTo>
                <a:cubicBezTo>
                  <a:pt x="1198" y="121"/>
                  <a:pt x="1198" y="121"/>
                  <a:pt x="1198" y="121"/>
                </a:cubicBezTo>
                <a:cubicBezTo>
                  <a:pt x="1198" y="124"/>
                  <a:pt x="1198" y="124"/>
                  <a:pt x="1198" y="124"/>
                </a:cubicBezTo>
                <a:cubicBezTo>
                  <a:pt x="1201" y="125"/>
                  <a:pt x="1201" y="125"/>
                  <a:pt x="1201" y="125"/>
                </a:cubicBezTo>
                <a:cubicBezTo>
                  <a:pt x="1196" y="159"/>
                  <a:pt x="1196" y="159"/>
                  <a:pt x="1196" y="159"/>
                </a:cubicBezTo>
                <a:cubicBezTo>
                  <a:pt x="1203" y="159"/>
                  <a:pt x="1203" y="159"/>
                  <a:pt x="1203" y="159"/>
                </a:cubicBezTo>
                <a:cubicBezTo>
                  <a:pt x="1207" y="134"/>
                  <a:pt x="1207" y="134"/>
                  <a:pt x="1207" y="134"/>
                </a:cubicBezTo>
                <a:cubicBezTo>
                  <a:pt x="1208" y="131"/>
                  <a:pt x="1210" y="129"/>
                  <a:pt x="1213" y="127"/>
                </a:cubicBezTo>
                <a:cubicBezTo>
                  <a:pt x="1215" y="125"/>
                  <a:pt x="1217" y="124"/>
                  <a:pt x="1219" y="124"/>
                </a:cubicBezTo>
                <a:cubicBezTo>
                  <a:pt x="1220" y="124"/>
                  <a:pt x="1221" y="125"/>
                  <a:pt x="1222" y="126"/>
                </a:cubicBezTo>
                <a:cubicBezTo>
                  <a:pt x="1223" y="127"/>
                  <a:pt x="1223" y="128"/>
                  <a:pt x="1223" y="130"/>
                </a:cubicBezTo>
                <a:cubicBezTo>
                  <a:pt x="1223" y="132"/>
                  <a:pt x="1223" y="134"/>
                  <a:pt x="1223" y="135"/>
                </a:cubicBezTo>
                <a:cubicBezTo>
                  <a:pt x="1222" y="137"/>
                  <a:pt x="1222" y="140"/>
                  <a:pt x="1222" y="142"/>
                </a:cubicBezTo>
                <a:cubicBezTo>
                  <a:pt x="1221" y="144"/>
                  <a:pt x="1221" y="144"/>
                  <a:pt x="1221" y="144"/>
                </a:cubicBezTo>
                <a:cubicBezTo>
                  <a:pt x="1221" y="147"/>
                  <a:pt x="1221" y="147"/>
                  <a:pt x="1221" y="147"/>
                </a:cubicBezTo>
                <a:cubicBezTo>
                  <a:pt x="1220" y="151"/>
                  <a:pt x="1219" y="154"/>
                  <a:pt x="1219" y="156"/>
                </a:cubicBezTo>
                <a:cubicBezTo>
                  <a:pt x="1219" y="159"/>
                  <a:pt x="1221" y="160"/>
                  <a:pt x="1224" y="160"/>
                </a:cubicBezTo>
                <a:cubicBezTo>
                  <a:pt x="1225" y="160"/>
                  <a:pt x="1226" y="160"/>
                  <a:pt x="1227" y="159"/>
                </a:cubicBezTo>
                <a:cubicBezTo>
                  <a:pt x="1228" y="159"/>
                  <a:pt x="1229" y="158"/>
                  <a:pt x="1230" y="157"/>
                </a:cubicBezTo>
                <a:cubicBezTo>
                  <a:pt x="1231" y="157"/>
                  <a:pt x="1231" y="156"/>
                  <a:pt x="1232" y="156"/>
                </a:cubicBezTo>
                <a:cubicBezTo>
                  <a:pt x="1231" y="154"/>
                  <a:pt x="1231" y="154"/>
                  <a:pt x="1231" y="154"/>
                </a:cubicBezTo>
                <a:cubicBezTo>
                  <a:pt x="1229" y="155"/>
                  <a:pt x="1228" y="156"/>
                  <a:pt x="1227" y="156"/>
                </a:cubicBezTo>
                <a:cubicBezTo>
                  <a:pt x="1227" y="156"/>
                  <a:pt x="1227" y="155"/>
                  <a:pt x="1227" y="154"/>
                </a:cubicBezTo>
                <a:cubicBezTo>
                  <a:pt x="1227" y="152"/>
                  <a:pt x="1227" y="149"/>
                  <a:pt x="1228" y="145"/>
                </a:cubicBezTo>
                <a:cubicBezTo>
                  <a:pt x="1228" y="142"/>
                  <a:pt x="1228" y="142"/>
                  <a:pt x="1228" y="142"/>
                </a:cubicBezTo>
                <a:cubicBezTo>
                  <a:pt x="1229" y="140"/>
                  <a:pt x="1229" y="140"/>
                  <a:pt x="1229" y="140"/>
                </a:cubicBezTo>
                <a:cubicBezTo>
                  <a:pt x="1230" y="135"/>
                  <a:pt x="1230" y="132"/>
                  <a:pt x="1230" y="130"/>
                </a:cubicBezTo>
                <a:cubicBezTo>
                  <a:pt x="1230" y="126"/>
                  <a:pt x="1229" y="123"/>
                  <a:pt x="1228" y="122"/>
                </a:cubicBezTo>
                <a:cubicBezTo>
                  <a:pt x="1227" y="120"/>
                  <a:pt x="1225" y="119"/>
                  <a:pt x="1222" y="119"/>
                </a:cubicBezTo>
                <a:cubicBezTo>
                  <a:pt x="1219" y="119"/>
                  <a:pt x="1217" y="120"/>
                  <a:pt x="1214" y="122"/>
                </a:cubicBezTo>
                <a:cubicBezTo>
                  <a:pt x="1211" y="124"/>
                  <a:pt x="1209" y="126"/>
                  <a:pt x="1207" y="129"/>
                </a:cubicBezTo>
                <a:close/>
                <a:moveTo>
                  <a:pt x="1267" y="153"/>
                </a:moveTo>
                <a:cubicBezTo>
                  <a:pt x="1266" y="150"/>
                  <a:pt x="1266" y="150"/>
                  <a:pt x="1266" y="150"/>
                </a:cubicBezTo>
                <a:cubicBezTo>
                  <a:pt x="1264" y="152"/>
                  <a:pt x="1262" y="153"/>
                  <a:pt x="1260" y="154"/>
                </a:cubicBezTo>
                <a:cubicBezTo>
                  <a:pt x="1258" y="155"/>
                  <a:pt x="1256" y="156"/>
                  <a:pt x="1254" y="156"/>
                </a:cubicBezTo>
                <a:cubicBezTo>
                  <a:pt x="1251" y="156"/>
                  <a:pt x="1249" y="154"/>
                  <a:pt x="1248" y="152"/>
                </a:cubicBezTo>
                <a:cubicBezTo>
                  <a:pt x="1246" y="150"/>
                  <a:pt x="1246" y="147"/>
                  <a:pt x="1246" y="143"/>
                </a:cubicBezTo>
                <a:cubicBezTo>
                  <a:pt x="1249" y="143"/>
                  <a:pt x="1252" y="143"/>
                  <a:pt x="1256" y="142"/>
                </a:cubicBezTo>
                <a:cubicBezTo>
                  <a:pt x="1259" y="140"/>
                  <a:pt x="1263" y="139"/>
                  <a:pt x="1265" y="136"/>
                </a:cubicBezTo>
                <a:cubicBezTo>
                  <a:pt x="1268" y="134"/>
                  <a:pt x="1269" y="131"/>
                  <a:pt x="1269" y="128"/>
                </a:cubicBezTo>
                <a:cubicBezTo>
                  <a:pt x="1269" y="125"/>
                  <a:pt x="1268" y="123"/>
                  <a:pt x="1267" y="122"/>
                </a:cubicBezTo>
                <a:cubicBezTo>
                  <a:pt x="1265" y="120"/>
                  <a:pt x="1263" y="119"/>
                  <a:pt x="1259" y="119"/>
                </a:cubicBezTo>
                <a:cubicBezTo>
                  <a:pt x="1255" y="119"/>
                  <a:pt x="1252" y="121"/>
                  <a:pt x="1249" y="123"/>
                </a:cubicBezTo>
                <a:cubicBezTo>
                  <a:pt x="1246" y="125"/>
                  <a:pt x="1243" y="128"/>
                  <a:pt x="1241" y="132"/>
                </a:cubicBezTo>
                <a:cubicBezTo>
                  <a:pt x="1240" y="136"/>
                  <a:pt x="1239" y="140"/>
                  <a:pt x="1239" y="145"/>
                </a:cubicBezTo>
                <a:cubicBezTo>
                  <a:pt x="1239" y="147"/>
                  <a:pt x="1239" y="150"/>
                  <a:pt x="1240" y="152"/>
                </a:cubicBezTo>
                <a:cubicBezTo>
                  <a:pt x="1241" y="155"/>
                  <a:pt x="1243" y="156"/>
                  <a:pt x="1245" y="158"/>
                </a:cubicBezTo>
                <a:cubicBezTo>
                  <a:pt x="1247" y="159"/>
                  <a:pt x="1249" y="160"/>
                  <a:pt x="1253" y="160"/>
                </a:cubicBezTo>
                <a:cubicBezTo>
                  <a:pt x="1256" y="160"/>
                  <a:pt x="1259" y="159"/>
                  <a:pt x="1261" y="158"/>
                </a:cubicBezTo>
                <a:cubicBezTo>
                  <a:pt x="1264" y="156"/>
                  <a:pt x="1266" y="154"/>
                  <a:pt x="1267" y="153"/>
                </a:cubicBezTo>
                <a:close/>
                <a:moveTo>
                  <a:pt x="1258" y="123"/>
                </a:moveTo>
                <a:cubicBezTo>
                  <a:pt x="1259" y="123"/>
                  <a:pt x="1260" y="124"/>
                  <a:pt x="1261" y="125"/>
                </a:cubicBezTo>
                <a:cubicBezTo>
                  <a:pt x="1262" y="125"/>
                  <a:pt x="1263" y="127"/>
                  <a:pt x="1263" y="129"/>
                </a:cubicBezTo>
                <a:cubicBezTo>
                  <a:pt x="1263" y="131"/>
                  <a:pt x="1262" y="133"/>
                  <a:pt x="1260" y="135"/>
                </a:cubicBezTo>
                <a:cubicBezTo>
                  <a:pt x="1258" y="136"/>
                  <a:pt x="1256" y="138"/>
                  <a:pt x="1253" y="139"/>
                </a:cubicBezTo>
                <a:cubicBezTo>
                  <a:pt x="1251" y="139"/>
                  <a:pt x="1248" y="140"/>
                  <a:pt x="1246" y="140"/>
                </a:cubicBezTo>
                <a:cubicBezTo>
                  <a:pt x="1246" y="138"/>
                  <a:pt x="1247" y="135"/>
                  <a:pt x="1248" y="132"/>
                </a:cubicBezTo>
                <a:cubicBezTo>
                  <a:pt x="1249" y="130"/>
                  <a:pt x="1250" y="127"/>
                  <a:pt x="1252" y="126"/>
                </a:cubicBezTo>
                <a:cubicBezTo>
                  <a:pt x="1254" y="124"/>
                  <a:pt x="1255" y="123"/>
                  <a:pt x="1258" y="123"/>
                </a:cubicBezTo>
                <a:close/>
                <a:moveTo>
                  <a:pt x="1303" y="153"/>
                </a:moveTo>
                <a:cubicBezTo>
                  <a:pt x="1302" y="150"/>
                  <a:pt x="1302" y="150"/>
                  <a:pt x="1302" y="150"/>
                </a:cubicBezTo>
                <a:cubicBezTo>
                  <a:pt x="1300" y="152"/>
                  <a:pt x="1298" y="153"/>
                  <a:pt x="1296" y="154"/>
                </a:cubicBezTo>
                <a:cubicBezTo>
                  <a:pt x="1294" y="155"/>
                  <a:pt x="1292" y="156"/>
                  <a:pt x="1290" y="156"/>
                </a:cubicBezTo>
                <a:cubicBezTo>
                  <a:pt x="1287" y="156"/>
                  <a:pt x="1285" y="154"/>
                  <a:pt x="1284" y="152"/>
                </a:cubicBezTo>
                <a:cubicBezTo>
                  <a:pt x="1282" y="150"/>
                  <a:pt x="1282" y="147"/>
                  <a:pt x="1282" y="143"/>
                </a:cubicBezTo>
                <a:cubicBezTo>
                  <a:pt x="1285" y="143"/>
                  <a:pt x="1288" y="143"/>
                  <a:pt x="1292" y="142"/>
                </a:cubicBezTo>
                <a:cubicBezTo>
                  <a:pt x="1295" y="140"/>
                  <a:pt x="1299" y="139"/>
                  <a:pt x="1301" y="136"/>
                </a:cubicBezTo>
                <a:cubicBezTo>
                  <a:pt x="1304" y="134"/>
                  <a:pt x="1305" y="131"/>
                  <a:pt x="1305" y="128"/>
                </a:cubicBezTo>
                <a:cubicBezTo>
                  <a:pt x="1305" y="125"/>
                  <a:pt x="1304" y="123"/>
                  <a:pt x="1303" y="122"/>
                </a:cubicBezTo>
                <a:cubicBezTo>
                  <a:pt x="1301" y="120"/>
                  <a:pt x="1299" y="119"/>
                  <a:pt x="1295" y="119"/>
                </a:cubicBezTo>
                <a:cubicBezTo>
                  <a:pt x="1291" y="119"/>
                  <a:pt x="1288" y="121"/>
                  <a:pt x="1285" y="123"/>
                </a:cubicBezTo>
                <a:cubicBezTo>
                  <a:pt x="1282" y="125"/>
                  <a:pt x="1279" y="128"/>
                  <a:pt x="1277" y="132"/>
                </a:cubicBezTo>
                <a:cubicBezTo>
                  <a:pt x="1275" y="136"/>
                  <a:pt x="1275" y="140"/>
                  <a:pt x="1275" y="145"/>
                </a:cubicBezTo>
                <a:cubicBezTo>
                  <a:pt x="1275" y="147"/>
                  <a:pt x="1275" y="150"/>
                  <a:pt x="1276" y="152"/>
                </a:cubicBezTo>
                <a:cubicBezTo>
                  <a:pt x="1277" y="155"/>
                  <a:pt x="1279" y="156"/>
                  <a:pt x="1281" y="158"/>
                </a:cubicBezTo>
                <a:cubicBezTo>
                  <a:pt x="1283" y="159"/>
                  <a:pt x="1285" y="160"/>
                  <a:pt x="1288" y="160"/>
                </a:cubicBezTo>
                <a:cubicBezTo>
                  <a:pt x="1292" y="160"/>
                  <a:pt x="1295" y="159"/>
                  <a:pt x="1297" y="158"/>
                </a:cubicBezTo>
                <a:cubicBezTo>
                  <a:pt x="1300" y="156"/>
                  <a:pt x="1302" y="154"/>
                  <a:pt x="1303" y="153"/>
                </a:cubicBezTo>
                <a:close/>
                <a:moveTo>
                  <a:pt x="1294" y="123"/>
                </a:moveTo>
                <a:cubicBezTo>
                  <a:pt x="1295" y="123"/>
                  <a:pt x="1296" y="124"/>
                  <a:pt x="1297" y="125"/>
                </a:cubicBezTo>
                <a:cubicBezTo>
                  <a:pt x="1298" y="125"/>
                  <a:pt x="1298" y="127"/>
                  <a:pt x="1298" y="129"/>
                </a:cubicBezTo>
                <a:cubicBezTo>
                  <a:pt x="1298" y="131"/>
                  <a:pt x="1298" y="133"/>
                  <a:pt x="1296" y="135"/>
                </a:cubicBezTo>
                <a:cubicBezTo>
                  <a:pt x="1294" y="136"/>
                  <a:pt x="1292" y="138"/>
                  <a:pt x="1289" y="139"/>
                </a:cubicBezTo>
                <a:cubicBezTo>
                  <a:pt x="1287" y="139"/>
                  <a:pt x="1284" y="140"/>
                  <a:pt x="1282" y="140"/>
                </a:cubicBezTo>
                <a:cubicBezTo>
                  <a:pt x="1282" y="138"/>
                  <a:pt x="1283" y="135"/>
                  <a:pt x="1284" y="132"/>
                </a:cubicBezTo>
                <a:cubicBezTo>
                  <a:pt x="1285" y="130"/>
                  <a:pt x="1286" y="127"/>
                  <a:pt x="1288" y="126"/>
                </a:cubicBezTo>
                <a:cubicBezTo>
                  <a:pt x="1289" y="124"/>
                  <a:pt x="1291" y="123"/>
                  <a:pt x="1294" y="123"/>
                </a:cubicBezTo>
                <a:close/>
                <a:moveTo>
                  <a:pt x="1322" y="129"/>
                </a:moveTo>
                <a:cubicBezTo>
                  <a:pt x="1323" y="127"/>
                  <a:pt x="1323" y="127"/>
                  <a:pt x="1323" y="127"/>
                </a:cubicBezTo>
                <a:cubicBezTo>
                  <a:pt x="1323" y="120"/>
                  <a:pt x="1323" y="120"/>
                  <a:pt x="1323" y="120"/>
                </a:cubicBezTo>
                <a:cubicBezTo>
                  <a:pt x="1322" y="119"/>
                  <a:pt x="1322" y="119"/>
                  <a:pt x="1322" y="119"/>
                </a:cubicBezTo>
                <a:cubicBezTo>
                  <a:pt x="1314" y="121"/>
                  <a:pt x="1314" y="121"/>
                  <a:pt x="1314" y="121"/>
                </a:cubicBezTo>
                <a:cubicBezTo>
                  <a:pt x="1313" y="124"/>
                  <a:pt x="1313" y="124"/>
                  <a:pt x="1313" y="124"/>
                </a:cubicBezTo>
                <a:cubicBezTo>
                  <a:pt x="1317" y="125"/>
                  <a:pt x="1317" y="125"/>
                  <a:pt x="1317" y="125"/>
                </a:cubicBezTo>
                <a:cubicBezTo>
                  <a:pt x="1312" y="159"/>
                  <a:pt x="1312" y="159"/>
                  <a:pt x="1312" y="159"/>
                </a:cubicBezTo>
                <a:cubicBezTo>
                  <a:pt x="1319" y="159"/>
                  <a:pt x="1319" y="159"/>
                  <a:pt x="1319" y="159"/>
                </a:cubicBezTo>
                <a:cubicBezTo>
                  <a:pt x="1322" y="134"/>
                  <a:pt x="1322" y="134"/>
                  <a:pt x="1322" y="134"/>
                </a:cubicBezTo>
                <a:cubicBezTo>
                  <a:pt x="1323" y="132"/>
                  <a:pt x="1325" y="130"/>
                  <a:pt x="1327" y="129"/>
                </a:cubicBezTo>
                <a:cubicBezTo>
                  <a:pt x="1329" y="127"/>
                  <a:pt x="1331" y="127"/>
                  <a:pt x="1333" y="127"/>
                </a:cubicBezTo>
                <a:cubicBezTo>
                  <a:pt x="1334" y="127"/>
                  <a:pt x="1335" y="127"/>
                  <a:pt x="1336" y="127"/>
                </a:cubicBezTo>
                <a:cubicBezTo>
                  <a:pt x="1338" y="120"/>
                  <a:pt x="1338" y="120"/>
                  <a:pt x="1338" y="120"/>
                </a:cubicBezTo>
                <a:cubicBezTo>
                  <a:pt x="1337" y="120"/>
                  <a:pt x="1336" y="119"/>
                  <a:pt x="1335" y="119"/>
                </a:cubicBezTo>
                <a:cubicBezTo>
                  <a:pt x="1333" y="119"/>
                  <a:pt x="1331" y="120"/>
                  <a:pt x="1330" y="121"/>
                </a:cubicBezTo>
                <a:cubicBezTo>
                  <a:pt x="1328" y="122"/>
                  <a:pt x="1326" y="123"/>
                  <a:pt x="1325" y="125"/>
                </a:cubicBezTo>
                <a:cubicBezTo>
                  <a:pt x="1324" y="126"/>
                  <a:pt x="1323" y="128"/>
                  <a:pt x="1322" y="129"/>
                </a:cubicBezTo>
                <a:close/>
                <a:moveTo>
                  <a:pt x="1349" y="153"/>
                </a:moveTo>
                <a:cubicBezTo>
                  <a:pt x="1354" y="120"/>
                  <a:pt x="1354" y="120"/>
                  <a:pt x="1354" y="120"/>
                </a:cubicBezTo>
                <a:cubicBezTo>
                  <a:pt x="1352" y="119"/>
                  <a:pt x="1352" y="119"/>
                  <a:pt x="1352" y="119"/>
                </a:cubicBezTo>
                <a:cubicBezTo>
                  <a:pt x="1342" y="121"/>
                  <a:pt x="1342" y="121"/>
                  <a:pt x="1342" y="121"/>
                </a:cubicBezTo>
                <a:cubicBezTo>
                  <a:pt x="1342" y="123"/>
                  <a:pt x="1342" y="123"/>
                  <a:pt x="1342" y="123"/>
                </a:cubicBezTo>
                <a:cubicBezTo>
                  <a:pt x="1346" y="125"/>
                  <a:pt x="1346" y="125"/>
                  <a:pt x="1346" y="125"/>
                </a:cubicBezTo>
                <a:cubicBezTo>
                  <a:pt x="1345" y="132"/>
                  <a:pt x="1345" y="138"/>
                  <a:pt x="1344" y="142"/>
                </a:cubicBezTo>
                <a:cubicBezTo>
                  <a:pt x="1343" y="150"/>
                  <a:pt x="1342" y="154"/>
                  <a:pt x="1342" y="156"/>
                </a:cubicBezTo>
                <a:cubicBezTo>
                  <a:pt x="1342" y="157"/>
                  <a:pt x="1342" y="158"/>
                  <a:pt x="1343" y="159"/>
                </a:cubicBezTo>
                <a:cubicBezTo>
                  <a:pt x="1344" y="160"/>
                  <a:pt x="1345" y="160"/>
                  <a:pt x="1347" y="160"/>
                </a:cubicBezTo>
                <a:cubicBezTo>
                  <a:pt x="1349" y="160"/>
                  <a:pt x="1350" y="159"/>
                  <a:pt x="1352" y="158"/>
                </a:cubicBezTo>
                <a:cubicBezTo>
                  <a:pt x="1353" y="157"/>
                  <a:pt x="1354" y="156"/>
                  <a:pt x="1355" y="155"/>
                </a:cubicBezTo>
                <a:cubicBezTo>
                  <a:pt x="1354" y="154"/>
                  <a:pt x="1354" y="154"/>
                  <a:pt x="1354" y="154"/>
                </a:cubicBezTo>
                <a:cubicBezTo>
                  <a:pt x="1353" y="154"/>
                  <a:pt x="1352" y="155"/>
                  <a:pt x="1352" y="155"/>
                </a:cubicBezTo>
                <a:cubicBezTo>
                  <a:pt x="1351" y="156"/>
                  <a:pt x="1351" y="156"/>
                  <a:pt x="1350" y="156"/>
                </a:cubicBezTo>
                <a:cubicBezTo>
                  <a:pt x="1350" y="156"/>
                  <a:pt x="1350" y="156"/>
                  <a:pt x="1349" y="155"/>
                </a:cubicBezTo>
                <a:cubicBezTo>
                  <a:pt x="1349" y="155"/>
                  <a:pt x="1349" y="155"/>
                  <a:pt x="1349" y="154"/>
                </a:cubicBezTo>
                <a:lnTo>
                  <a:pt x="1349" y="153"/>
                </a:lnTo>
                <a:close/>
                <a:moveTo>
                  <a:pt x="1351" y="112"/>
                </a:moveTo>
                <a:cubicBezTo>
                  <a:pt x="1353" y="112"/>
                  <a:pt x="1354" y="111"/>
                  <a:pt x="1355" y="110"/>
                </a:cubicBezTo>
                <a:cubicBezTo>
                  <a:pt x="1356" y="109"/>
                  <a:pt x="1356" y="108"/>
                  <a:pt x="1356" y="107"/>
                </a:cubicBezTo>
                <a:cubicBezTo>
                  <a:pt x="1356" y="106"/>
                  <a:pt x="1356" y="105"/>
                  <a:pt x="1355" y="104"/>
                </a:cubicBezTo>
                <a:cubicBezTo>
                  <a:pt x="1354" y="103"/>
                  <a:pt x="1353" y="103"/>
                  <a:pt x="1352" y="103"/>
                </a:cubicBezTo>
                <a:cubicBezTo>
                  <a:pt x="1351" y="103"/>
                  <a:pt x="1350" y="103"/>
                  <a:pt x="1349" y="104"/>
                </a:cubicBezTo>
                <a:cubicBezTo>
                  <a:pt x="1348" y="105"/>
                  <a:pt x="1348" y="107"/>
                  <a:pt x="1348" y="108"/>
                </a:cubicBezTo>
                <a:cubicBezTo>
                  <a:pt x="1348" y="109"/>
                  <a:pt x="1348" y="110"/>
                  <a:pt x="1349" y="111"/>
                </a:cubicBezTo>
                <a:cubicBezTo>
                  <a:pt x="1350" y="111"/>
                  <a:pt x="1350" y="112"/>
                  <a:pt x="1351" y="112"/>
                </a:cubicBezTo>
                <a:close/>
                <a:moveTo>
                  <a:pt x="1374" y="129"/>
                </a:moveTo>
                <a:cubicBezTo>
                  <a:pt x="1375" y="120"/>
                  <a:pt x="1375" y="120"/>
                  <a:pt x="1375" y="120"/>
                </a:cubicBezTo>
                <a:cubicBezTo>
                  <a:pt x="1374" y="119"/>
                  <a:pt x="1374" y="119"/>
                  <a:pt x="1374" y="119"/>
                </a:cubicBezTo>
                <a:cubicBezTo>
                  <a:pt x="1365" y="121"/>
                  <a:pt x="1365" y="121"/>
                  <a:pt x="1365" y="121"/>
                </a:cubicBezTo>
                <a:cubicBezTo>
                  <a:pt x="1365" y="124"/>
                  <a:pt x="1365" y="124"/>
                  <a:pt x="1365" y="124"/>
                </a:cubicBezTo>
                <a:cubicBezTo>
                  <a:pt x="1368" y="125"/>
                  <a:pt x="1368" y="125"/>
                  <a:pt x="1368" y="125"/>
                </a:cubicBezTo>
                <a:cubicBezTo>
                  <a:pt x="1364" y="159"/>
                  <a:pt x="1364" y="159"/>
                  <a:pt x="1364" y="159"/>
                </a:cubicBezTo>
                <a:cubicBezTo>
                  <a:pt x="1370" y="159"/>
                  <a:pt x="1370" y="159"/>
                  <a:pt x="1370" y="159"/>
                </a:cubicBezTo>
                <a:cubicBezTo>
                  <a:pt x="1374" y="134"/>
                  <a:pt x="1374" y="134"/>
                  <a:pt x="1374" y="134"/>
                </a:cubicBezTo>
                <a:cubicBezTo>
                  <a:pt x="1375" y="131"/>
                  <a:pt x="1377" y="129"/>
                  <a:pt x="1380" y="127"/>
                </a:cubicBezTo>
                <a:cubicBezTo>
                  <a:pt x="1382" y="125"/>
                  <a:pt x="1384" y="124"/>
                  <a:pt x="1386" y="124"/>
                </a:cubicBezTo>
                <a:cubicBezTo>
                  <a:pt x="1388" y="124"/>
                  <a:pt x="1389" y="125"/>
                  <a:pt x="1389" y="126"/>
                </a:cubicBezTo>
                <a:cubicBezTo>
                  <a:pt x="1390" y="127"/>
                  <a:pt x="1390" y="128"/>
                  <a:pt x="1390" y="130"/>
                </a:cubicBezTo>
                <a:cubicBezTo>
                  <a:pt x="1390" y="132"/>
                  <a:pt x="1390" y="134"/>
                  <a:pt x="1390" y="135"/>
                </a:cubicBezTo>
                <a:cubicBezTo>
                  <a:pt x="1390" y="137"/>
                  <a:pt x="1389" y="140"/>
                  <a:pt x="1389" y="142"/>
                </a:cubicBezTo>
                <a:cubicBezTo>
                  <a:pt x="1388" y="144"/>
                  <a:pt x="1388" y="144"/>
                  <a:pt x="1388" y="144"/>
                </a:cubicBezTo>
                <a:cubicBezTo>
                  <a:pt x="1388" y="147"/>
                  <a:pt x="1388" y="147"/>
                  <a:pt x="1388" y="147"/>
                </a:cubicBezTo>
                <a:cubicBezTo>
                  <a:pt x="1387" y="151"/>
                  <a:pt x="1387" y="154"/>
                  <a:pt x="1387" y="156"/>
                </a:cubicBezTo>
                <a:cubicBezTo>
                  <a:pt x="1387" y="159"/>
                  <a:pt x="1388" y="160"/>
                  <a:pt x="1391" y="160"/>
                </a:cubicBezTo>
                <a:cubicBezTo>
                  <a:pt x="1392" y="160"/>
                  <a:pt x="1394" y="160"/>
                  <a:pt x="1395" y="159"/>
                </a:cubicBezTo>
                <a:cubicBezTo>
                  <a:pt x="1396" y="159"/>
                  <a:pt x="1397" y="158"/>
                  <a:pt x="1397" y="157"/>
                </a:cubicBezTo>
                <a:cubicBezTo>
                  <a:pt x="1398" y="157"/>
                  <a:pt x="1399" y="156"/>
                  <a:pt x="1399" y="156"/>
                </a:cubicBezTo>
                <a:cubicBezTo>
                  <a:pt x="1398" y="154"/>
                  <a:pt x="1398" y="154"/>
                  <a:pt x="1398" y="154"/>
                </a:cubicBezTo>
                <a:cubicBezTo>
                  <a:pt x="1397" y="155"/>
                  <a:pt x="1396" y="156"/>
                  <a:pt x="1395" y="156"/>
                </a:cubicBezTo>
                <a:cubicBezTo>
                  <a:pt x="1394" y="156"/>
                  <a:pt x="1394" y="155"/>
                  <a:pt x="1394" y="154"/>
                </a:cubicBezTo>
                <a:cubicBezTo>
                  <a:pt x="1394" y="152"/>
                  <a:pt x="1394" y="149"/>
                  <a:pt x="1395" y="145"/>
                </a:cubicBezTo>
                <a:cubicBezTo>
                  <a:pt x="1395" y="142"/>
                  <a:pt x="1395" y="142"/>
                  <a:pt x="1395" y="142"/>
                </a:cubicBezTo>
                <a:cubicBezTo>
                  <a:pt x="1396" y="140"/>
                  <a:pt x="1396" y="140"/>
                  <a:pt x="1396" y="140"/>
                </a:cubicBezTo>
                <a:cubicBezTo>
                  <a:pt x="1397" y="135"/>
                  <a:pt x="1397" y="132"/>
                  <a:pt x="1397" y="130"/>
                </a:cubicBezTo>
                <a:cubicBezTo>
                  <a:pt x="1397" y="126"/>
                  <a:pt x="1397" y="123"/>
                  <a:pt x="1395" y="122"/>
                </a:cubicBezTo>
                <a:cubicBezTo>
                  <a:pt x="1394" y="120"/>
                  <a:pt x="1392" y="119"/>
                  <a:pt x="1389" y="119"/>
                </a:cubicBezTo>
                <a:cubicBezTo>
                  <a:pt x="1386" y="119"/>
                  <a:pt x="1384" y="120"/>
                  <a:pt x="1381" y="122"/>
                </a:cubicBezTo>
                <a:cubicBezTo>
                  <a:pt x="1379" y="124"/>
                  <a:pt x="1376" y="126"/>
                  <a:pt x="1374" y="129"/>
                </a:cubicBezTo>
                <a:close/>
                <a:moveTo>
                  <a:pt x="1433" y="162"/>
                </a:moveTo>
                <a:cubicBezTo>
                  <a:pt x="1440" y="119"/>
                  <a:pt x="1440" y="119"/>
                  <a:pt x="1440" y="119"/>
                </a:cubicBezTo>
                <a:cubicBezTo>
                  <a:pt x="1435" y="121"/>
                  <a:pt x="1435" y="121"/>
                  <a:pt x="1435" y="121"/>
                </a:cubicBezTo>
                <a:cubicBezTo>
                  <a:pt x="1434" y="121"/>
                  <a:pt x="1433" y="120"/>
                  <a:pt x="1432" y="120"/>
                </a:cubicBezTo>
                <a:cubicBezTo>
                  <a:pt x="1430" y="120"/>
                  <a:pt x="1429" y="119"/>
                  <a:pt x="1428" y="119"/>
                </a:cubicBezTo>
                <a:cubicBezTo>
                  <a:pt x="1423" y="119"/>
                  <a:pt x="1419" y="121"/>
                  <a:pt x="1416" y="123"/>
                </a:cubicBezTo>
                <a:cubicBezTo>
                  <a:pt x="1412" y="126"/>
                  <a:pt x="1410" y="129"/>
                  <a:pt x="1408" y="133"/>
                </a:cubicBezTo>
                <a:cubicBezTo>
                  <a:pt x="1406" y="137"/>
                  <a:pt x="1405" y="141"/>
                  <a:pt x="1405" y="145"/>
                </a:cubicBezTo>
                <a:cubicBezTo>
                  <a:pt x="1405" y="150"/>
                  <a:pt x="1406" y="153"/>
                  <a:pt x="1408" y="156"/>
                </a:cubicBezTo>
                <a:cubicBezTo>
                  <a:pt x="1410" y="159"/>
                  <a:pt x="1413" y="160"/>
                  <a:pt x="1417" y="160"/>
                </a:cubicBezTo>
                <a:cubicBezTo>
                  <a:pt x="1419" y="160"/>
                  <a:pt x="1421" y="159"/>
                  <a:pt x="1423" y="158"/>
                </a:cubicBezTo>
                <a:cubicBezTo>
                  <a:pt x="1425" y="157"/>
                  <a:pt x="1426" y="156"/>
                  <a:pt x="1428" y="155"/>
                </a:cubicBezTo>
                <a:cubicBezTo>
                  <a:pt x="1426" y="164"/>
                  <a:pt x="1426" y="164"/>
                  <a:pt x="1426" y="164"/>
                </a:cubicBezTo>
                <a:cubicBezTo>
                  <a:pt x="1426" y="167"/>
                  <a:pt x="1425" y="169"/>
                  <a:pt x="1424" y="170"/>
                </a:cubicBezTo>
                <a:cubicBezTo>
                  <a:pt x="1422" y="172"/>
                  <a:pt x="1420" y="172"/>
                  <a:pt x="1417" y="172"/>
                </a:cubicBezTo>
                <a:cubicBezTo>
                  <a:pt x="1415" y="172"/>
                  <a:pt x="1414" y="172"/>
                  <a:pt x="1412" y="171"/>
                </a:cubicBezTo>
                <a:cubicBezTo>
                  <a:pt x="1410" y="171"/>
                  <a:pt x="1409" y="170"/>
                  <a:pt x="1408" y="170"/>
                </a:cubicBezTo>
                <a:cubicBezTo>
                  <a:pt x="1406" y="175"/>
                  <a:pt x="1406" y="175"/>
                  <a:pt x="1406" y="175"/>
                </a:cubicBezTo>
                <a:cubicBezTo>
                  <a:pt x="1407" y="176"/>
                  <a:pt x="1408" y="176"/>
                  <a:pt x="1410" y="176"/>
                </a:cubicBezTo>
                <a:cubicBezTo>
                  <a:pt x="1411" y="177"/>
                  <a:pt x="1413" y="177"/>
                  <a:pt x="1414" y="177"/>
                </a:cubicBezTo>
                <a:cubicBezTo>
                  <a:pt x="1417" y="177"/>
                  <a:pt x="1420" y="176"/>
                  <a:pt x="1423" y="175"/>
                </a:cubicBezTo>
                <a:cubicBezTo>
                  <a:pt x="1425" y="174"/>
                  <a:pt x="1428" y="173"/>
                  <a:pt x="1430" y="170"/>
                </a:cubicBezTo>
                <a:cubicBezTo>
                  <a:pt x="1432" y="168"/>
                  <a:pt x="1433" y="165"/>
                  <a:pt x="1433" y="162"/>
                </a:cubicBezTo>
                <a:close/>
                <a:moveTo>
                  <a:pt x="1432" y="125"/>
                </a:moveTo>
                <a:cubicBezTo>
                  <a:pt x="1428" y="150"/>
                  <a:pt x="1428" y="150"/>
                  <a:pt x="1428" y="150"/>
                </a:cubicBezTo>
                <a:cubicBezTo>
                  <a:pt x="1427" y="151"/>
                  <a:pt x="1426" y="153"/>
                  <a:pt x="1424" y="154"/>
                </a:cubicBezTo>
                <a:cubicBezTo>
                  <a:pt x="1423" y="155"/>
                  <a:pt x="1421" y="155"/>
                  <a:pt x="1419" y="155"/>
                </a:cubicBezTo>
                <a:cubicBezTo>
                  <a:pt x="1417" y="155"/>
                  <a:pt x="1415" y="155"/>
                  <a:pt x="1414" y="153"/>
                </a:cubicBezTo>
                <a:cubicBezTo>
                  <a:pt x="1413" y="151"/>
                  <a:pt x="1412" y="148"/>
                  <a:pt x="1412" y="145"/>
                </a:cubicBezTo>
                <a:cubicBezTo>
                  <a:pt x="1412" y="142"/>
                  <a:pt x="1413" y="138"/>
                  <a:pt x="1414" y="135"/>
                </a:cubicBezTo>
                <a:cubicBezTo>
                  <a:pt x="1415" y="132"/>
                  <a:pt x="1417" y="129"/>
                  <a:pt x="1419" y="127"/>
                </a:cubicBezTo>
                <a:cubicBezTo>
                  <a:pt x="1421" y="124"/>
                  <a:pt x="1424" y="123"/>
                  <a:pt x="1427" y="123"/>
                </a:cubicBezTo>
                <a:cubicBezTo>
                  <a:pt x="1429" y="123"/>
                  <a:pt x="1431" y="124"/>
                  <a:pt x="1432" y="125"/>
                </a:cubicBezTo>
                <a:close/>
                <a:moveTo>
                  <a:pt x="1076" y="242"/>
                </a:moveTo>
                <a:cubicBezTo>
                  <a:pt x="1072" y="249"/>
                  <a:pt x="1072" y="249"/>
                  <a:pt x="1072" y="249"/>
                </a:cubicBezTo>
                <a:cubicBezTo>
                  <a:pt x="1072" y="242"/>
                  <a:pt x="1072" y="242"/>
                  <a:pt x="1072" y="242"/>
                </a:cubicBezTo>
                <a:cubicBezTo>
                  <a:pt x="1066" y="208"/>
                  <a:pt x="1066" y="208"/>
                  <a:pt x="1066" y="208"/>
                </a:cubicBezTo>
                <a:cubicBezTo>
                  <a:pt x="1050" y="208"/>
                  <a:pt x="1050" y="208"/>
                  <a:pt x="1050" y="208"/>
                </a:cubicBezTo>
                <a:cubicBezTo>
                  <a:pt x="1049" y="211"/>
                  <a:pt x="1049" y="211"/>
                  <a:pt x="1049" y="211"/>
                </a:cubicBezTo>
                <a:cubicBezTo>
                  <a:pt x="1056" y="212"/>
                  <a:pt x="1056" y="212"/>
                  <a:pt x="1056" y="212"/>
                </a:cubicBezTo>
                <a:cubicBezTo>
                  <a:pt x="1045" y="256"/>
                  <a:pt x="1045" y="256"/>
                  <a:pt x="1045" y="256"/>
                </a:cubicBezTo>
                <a:cubicBezTo>
                  <a:pt x="1039" y="257"/>
                  <a:pt x="1039" y="257"/>
                  <a:pt x="1039" y="257"/>
                </a:cubicBezTo>
                <a:cubicBezTo>
                  <a:pt x="1039" y="260"/>
                  <a:pt x="1039" y="260"/>
                  <a:pt x="1039" y="260"/>
                </a:cubicBezTo>
                <a:cubicBezTo>
                  <a:pt x="1057" y="260"/>
                  <a:pt x="1057" y="260"/>
                  <a:pt x="1057" y="260"/>
                </a:cubicBezTo>
                <a:cubicBezTo>
                  <a:pt x="1057" y="257"/>
                  <a:pt x="1057" y="257"/>
                  <a:pt x="1057" y="257"/>
                </a:cubicBezTo>
                <a:cubicBezTo>
                  <a:pt x="1050" y="256"/>
                  <a:pt x="1050" y="256"/>
                  <a:pt x="1050" y="256"/>
                </a:cubicBezTo>
                <a:cubicBezTo>
                  <a:pt x="1057" y="225"/>
                  <a:pt x="1057" y="225"/>
                  <a:pt x="1057" y="225"/>
                </a:cubicBezTo>
                <a:cubicBezTo>
                  <a:pt x="1060" y="211"/>
                  <a:pt x="1060" y="211"/>
                  <a:pt x="1060" y="211"/>
                </a:cubicBezTo>
                <a:cubicBezTo>
                  <a:pt x="1062" y="225"/>
                  <a:pt x="1062" y="225"/>
                  <a:pt x="1062" y="225"/>
                </a:cubicBezTo>
                <a:cubicBezTo>
                  <a:pt x="1068" y="261"/>
                  <a:pt x="1068" y="261"/>
                  <a:pt x="1068" y="261"/>
                </a:cubicBezTo>
                <a:cubicBezTo>
                  <a:pt x="1072" y="260"/>
                  <a:pt x="1072" y="260"/>
                  <a:pt x="1072" y="260"/>
                </a:cubicBezTo>
                <a:cubicBezTo>
                  <a:pt x="1088" y="224"/>
                  <a:pt x="1088" y="224"/>
                  <a:pt x="1088" y="224"/>
                </a:cubicBezTo>
                <a:cubicBezTo>
                  <a:pt x="1094" y="211"/>
                  <a:pt x="1094" y="211"/>
                  <a:pt x="1094" y="211"/>
                </a:cubicBezTo>
                <a:cubicBezTo>
                  <a:pt x="1093" y="225"/>
                  <a:pt x="1093" y="225"/>
                  <a:pt x="1093" y="225"/>
                </a:cubicBezTo>
                <a:cubicBezTo>
                  <a:pt x="1091" y="256"/>
                  <a:pt x="1091" y="256"/>
                  <a:pt x="1091" y="256"/>
                </a:cubicBezTo>
                <a:cubicBezTo>
                  <a:pt x="1085" y="257"/>
                  <a:pt x="1085" y="257"/>
                  <a:pt x="1085" y="257"/>
                </a:cubicBezTo>
                <a:cubicBezTo>
                  <a:pt x="1084" y="260"/>
                  <a:pt x="1084" y="260"/>
                  <a:pt x="1084" y="260"/>
                </a:cubicBezTo>
                <a:cubicBezTo>
                  <a:pt x="1104" y="260"/>
                  <a:pt x="1104" y="260"/>
                  <a:pt x="1104" y="260"/>
                </a:cubicBezTo>
                <a:cubicBezTo>
                  <a:pt x="1104" y="257"/>
                  <a:pt x="1104" y="257"/>
                  <a:pt x="1104" y="257"/>
                </a:cubicBezTo>
                <a:cubicBezTo>
                  <a:pt x="1098" y="256"/>
                  <a:pt x="1098" y="256"/>
                  <a:pt x="1098" y="256"/>
                </a:cubicBezTo>
                <a:cubicBezTo>
                  <a:pt x="1099" y="212"/>
                  <a:pt x="1099" y="212"/>
                  <a:pt x="1099" y="212"/>
                </a:cubicBezTo>
                <a:cubicBezTo>
                  <a:pt x="1106" y="211"/>
                  <a:pt x="1106" y="211"/>
                  <a:pt x="1106" y="211"/>
                </a:cubicBezTo>
                <a:cubicBezTo>
                  <a:pt x="1106" y="208"/>
                  <a:pt x="1106" y="208"/>
                  <a:pt x="1106" y="208"/>
                </a:cubicBezTo>
                <a:cubicBezTo>
                  <a:pt x="1091" y="208"/>
                  <a:pt x="1091" y="208"/>
                  <a:pt x="1091" y="208"/>
                </a:cubicBezTo>
                <a:cubicBezTo>
                  <a:pt x="1090" y="211"/>
                  <a:pt x="1087" y="217"/>
                  <a:pt x="1083" y="225"/>
                </a:cubicBezTo>
                <a:cubicBezTo>
                  <a:pt x="1079" y="233"/>
                  <a:pt x="1077" y="239"/>
                  <a:pt x="1076" y="242"/>
                </a:cubicBezTo>
                <a:close/>
                <a:moveTo>
                  <a:pt x="1138" y="253"/>
                </a:moveTo>
                <a:cubicBezTo>
                  <a:pt x="1136" y="251"/>
                  <a:pt x="1136" y="251"/>
                  <a:pt x="1136" y="251"/>
                </a:cubicBezTo>
                <a:cubicBezTo>
                  <a:pt x="1134" y="253"/>
                  <a:pt x="1133" y="254"/>
                  <a:pt x="1131" y="255"/>
                </a:cubicBezTo>
                <a:cubicBezTo>
                  <a:pt x="1129" y="256"/>
                  <a:pt x="1126" y="256"/>
                  <a:pt x="1124" y="256"/>
                </a:cubicBezTo>
                <a:cubicBezTo>
                  <a:pt x="1121" y="256"/>
                  <a:pt x="1119" y="255"/>
                  <a:pt x="1118" y="253"/>
                </a:cubicBezTo>
                <a:cubicBezTo>
                  <a:pt x="1117" y="250"/>
                  <a:pt x="1116" y="247"/>
                  <a:pt x="1116" y="244"/>
                </a:cubicBezTo>
                <a:cubicBezTo>
                  <a:pt x="1119" y="244"/>
                  <a:pt x="1123" y="244"/>
                  <a:pt x="1126" y="242"/>
                </a:cubicBezTo>
                <a:cubicBezTo>
                  <a:pt x="1130" y="241"/>
                  <a:pt x="1133" y="240"/>
                  <a:pt x="1136" y="237"/>
                </a:cubicBezTo>
                <a:cubicBezTo>
                  <a:pt x="1138" y="235"/>
                  <a:pt x="1140" y="232"/>
                  <a:pt x="1140" y="229"/>
                </a:cubicBezTo>
                <a:cubicBezTo>
                  <a:pt x="1140" y="226"/>
                  <a:pt x="1139" y="224"/>
                  <a:pt x="1137" y="223"/>
                </a:cubicBezTo>
                <a:cubicBezTo>
                  <a:pt x="1135" y="221"/>
                  <a:pt x="1133" y="220"/>
                  <a:pt x="1130" y="220"/>
                </a:cubicBezTo>
                <a:cubicBezTo>
                  <a:pt x="1126" y="220"/>
                  <a:pt x="1122" y="221"/>
                  <a:pt x="1119" y="224"/>
                </a:cubicBezTo>
                <a:cubicBezTo>
                  <a:pt x="1116" y="226"/>
                  <a:pt x="1114" y="229"/>
                  <a:pt x="1112" y="233"/>
                </a:cubicBezTo>
                <a:cubicBezTo>
                  <a:pt x="1110" y="237"/>
                  <a:pt x="1109" y="241"/>
                  <a:pt x="1109" y="246"/>
                </a:cubicBezTo>
                <a:cubicBezTo>
                  <a:pt x="1109" y="248"/>
                  <a:pt x="1110" y="251"/>
                  <a:pt x="1111" y="253"/>
                </a:cubicBezTo>
                <a:cubicBezTo>
                  <a:pt x="1111" y="255"/>
                  <a:pt x="1113" y="257"/>
                  <a:pt x="1115" y="259"/>
                </a:cubicBezTo>
                <a:cubicBezTo>
                  <a:pt x="1117" y="260"/>
                  <a:pt x="1120" y="261"/>
                  <a:pt x="1123" y="261"/>
                </a:cubicBezTo>
                <a:cubicBezTo>
                  <a:pt x="1126" y="261"/>
                  <a:pt x="1129" y="260"/>
                  <a:pt x="1132" y="258"/>
                </a:cubicBezTo>
                <a:cubicBezTo>
                  <a:pt x="1135" y="257"/>
                  <a:pt x="1136" y="255"/>
                  <a:pt x="1138" y="253"/>
                </a:cubicBezTo>
                <a:close/>
                <a:moveTo>
                  <a:pt x="1128" y="224"/>
                </a:moveTo>
                <a:cubicBezTo>
                  <a:pt x="1130" y="224"/>
                  <a:pt x="1131" y="224"/>
                  <a:pt x="1132" y="225"/>
                </a:cubicBezTo>
                <a:cubicBezTo>
                  <a:pt x="1132" y="226"/>
                  <a:pt x="1133" y="228"/>
                  <a:pt x="1133" y="229"/>
                </a:cubicBezTo>
                <a:cubicBezTo>
                  <a:pt x="1133" y="232"/>
                  <a:pt x="1132" y="234"/>
                  <a:pt x="1130" y="235"/>
                </a:cubicBezTo>
                <a:cubicBezTo>
                  <a:pt x="1129" y="237"/>
                  <a:pt x="1126" y="238"/>
                  <a:pt x="1124" y="239"/>
                </a:cubicBezTo>
                <a:cubicBezTo>
                  <a:pt x="1121" y="240"/>
                  <a:pt x="1119" y="241"/>
                  <a:pt x="1116" y="241"/>
                </a:cubicBezTo>
                <a:cubicBezTo>
                  <a:pt x="1117" y="238"/>
                  <a:pt x="1117" y="236"/>
                  <a:pt x="1118" y="233"/>
                </a:cubicBezTo>
                <a:cubicBezTo>
                  <a:pt x="1119" y="230"/>
                  <a:pt x="1121" y="228"/>
                  <a:pt x="1122" y="226"/>
                </a:cubicBezTo>
                <a:cubicBezTo>
                  <a:pt x="1124" y="225"/>
                  <a:pt x="1126" y="224"/>
                  <a:pt x="1128" y="224"/>
                </a:cubicBezTo>
                <a:close/>
                <a:moveTo>
                  <a:pt x="1175" y="254"/>
                </a:moveTo>
                <a:cubicBezTo>
                  <a:pt x="1182" y="204"/>
                  <a:pt x="1182" y="204"/>
                  <a:pt x="1182" y="204"/>
                </a:cubicBezTo>
                <a:cubicBezTo>
                  <a:pt x="1181" y="204"/>
                  <a:pt x="1181" y="204"/>
                  <a:pt x="1181" y="204"/>
                </a:cubicBezTo>
                <a:cubicBezTo>
                  <a:pt x="1171" y="205"/>
                  <a:pt x="1171" y="205"/>
                  <a:pt x="1171" y="205"/>
                </a:cubicBezTo>
                <a:cubicBezTo>
                  <a:pt x="1170" y="207"/>
                  <a:pt x="1170" y="207"/>
                  <a:pt x="1170" y="207"/>
                </a:cubicBezTo>
                <a:cubicBezTo>
                  <a:pt x="1175" y="208"/>
                  <a:pt x="1175" y="208"/>
                  <a:pt x="1175" y="208"/>
                </a:cubicBezTo>
                <a:cubicBezTo>
                  <a:pt x="1173" y="221"/>
                  <a:pt x="1173" y="221"/>
                  <a:pt x="1173" y="221"/>
                </a:cubicBezTo>
                <a:cubicBezTo>
                  <a:pt x="1171" y="220"/>
                  <a:pt x="1169" y="220"/>
                  <a:pt x="1168" y="220"/>
                </a:cubicBezTo>
                <a:cubicBezTo>
                  <a:pt x="1163" y="220"/>
                  <a:pt x="1159" y="222"/>
                  <a:pt x="1156" y="224"/>
                </a:cubicBezTo>
                <a:cubicBezTo>
                  <a:pt x="1152" y="227"/>
                  <a:pt x="1150" y="230"/>
                  <a:pt x="1148" y="234"/>
                </a:cubicBezTo>
                <a:cubicBezTo>
                  <a:pt x="1146" y="238"/>
                  <a:pt x="1145" y="242"/>
                  <a:pt x="1145" y="246"/>
                </a:cubicBezTo>
                <a:cubicBezTo>
                  <a:pt x="1145" y="250"/>
                  <a:pt x="1146" y="254"/>
                  <a:pt x="1148" y="257"/>
                </a:cubicBezTo>
                <a:cubicBezTo>
                  <a:pt x="1150" y="259"/>
                  <a:pt x="1153" y="261"/>
                  <a:pt x="1157" y="261"/>
                </a:cubicBezTo>
                <a:cubicBezTo>
                  <a:pt x="1159" y="261"/>
                  <a:pt x="1162" y="260"/>
                  <a:pt x="1163" y="259"/>
                </a:cubicBezTo>
                <a:cubicBezTo>
                  <a:pt x="1165" y="258"/>
                  <a:pt x="1167" y="256"/>
                  <a:pt x="1168" y="255"/>
                </a:cubicBezTo>
                <a:cubicBezTo>
                  <a:pt x="1168" y="256"/>
                  <a:pt x="1168" y="256"/>
                  <a:pt x="1168" y="256"/>
                </a:cubicBezTo>
                <a:cubicBezTo>
                  <a:pt x="1168" y="259"/>
                  <a:pt x="1170" y="261"/>
                  <a:pt x="1173" y="261"/>
                </a:cubicBezTo>
                <a:cubicBezTo>
                  <a:pt x="1174" y="261"/>
                  <a:pt x="1176" y="260"/>
                  <a:pt x="1177" y="259"/>
                </a:cubicBezTo>
                <a:cubicBezTo>
                  <a:pt x="1178" y="258"/>
                  <a:pt x="1179" y="257"/>
                  <a:pt x="1180" y="256"/>
                </a:cubicBezTo>
                <a:cubicBezTo>
                  <a:pt x="1179" y="255"/>
                  <a:pt x="1179" y="255"/>
                  <a:pt x="1179" y="255"/>
                </a:cubicBezTo>
                <a:cubicBezTo>
                  <a:pt x="1178" y="256"/>
                  <a:pt x="1177" y="256"/>
                  <a:pt x="1176" y="256"/>
                </a:cubicBezTo>
                <a:cubicBezTo>
                  <a:pt x="1175" y="256"/>
                  <a:pt x="1175" y="256"/>
                  <a:pt x="1175" y="255"/>
                </a:cubicBezTo>
                <a:cubicBezTo>
                  <a:pt x="1175" y="254"/>
                  <a:pt x="1175" y="254"/>
                  <a:pt x="1175" y="254"/>
                </a:cubicBezTo>
                <a:close/>
                <a:moveTo>
                  <a:pt x="1172" y="225"/>
                </a:moveTo>
                <a:cubicBezTo>
                  <a:pt x="1169" y="250"/>
                  <a:pt x="1169" y="250"/>
                  <a:pt x="1169" y="250"/>
                </a:cubicBezTo>
                <a:cubicBezTo>
                  <a:pt x="1168" y="252"/>
                  <a:pt x="1166" y="253"/>
                  <a:pt x="1164" y="254"/>
                </a:cubicBezTo>
                <a:cubicBezTo>
                  <a:pt x="1163" y="256"/>
                  <a:pt x="1161" y="256"/>
                  <a:pt x="1159" y="256"/>
                </a:cubicBezTo>
                <a:cubicBezTo>
                  <a:pt x="1157" y="256"/>
                  <a:pt x="1155" y="255"/>
                  <a:pt x="1154" y="253"/>
                </a:cubicBezTo>
                <a:cubicBezTo>
                  <a:pt x="1153" y="252"/>
                  <a:pt x="1153" y="249"/>
                  <a:pt x="1153" y="246"/>
                </a:cubicBezTo>
                <a:cubicBezTo>
                  <a:pt x="1153" y="242"/>
                  <a:pt x="1153" y="239"/>
                  <a:pt x="1154" y="236"/>
                </a:cubicBezTo>
                <a:cubicBezTo>
                  <a:pt x="1155" y="232"/>
                  <a:pt x="1157" y="230"/>
                  <a:pt x="1159" y="227"/>
                </a:cubicBezTo>
                <a:cubicBezTo>
                  <a:pt x="1161" y="225"/>
                  <a:pt x="1164" y="224"/>
                  <a:pt x="1167" y="224"/>
                </a:cubicBezTo>
                <a:cubicBezTo>
                  <a:pt x="1169" y="224"/>
                  <a:pt x="1171" y="224"/>
                  <a:pt x="1172" y="225"/>
                </a:cubicBezTo>
                <a:close/>
                <a:moveTo>
                  <a:pt x="1198" y="254"/>
                </a:moveTo>
                <a:cubicBezTo>
                  <a:pt x="1202" y="221"/>
                  <a:pt x="1202" y="221"/>
                  <a:pt x="1202" y="221"/>
                </a:cubicBezTo>
                <a:cubicBezTo>
                  <a:pt x="1201" y="220"/>
                  <a:pt x="1201" y="220"/>
                  <a:pt x="1201" y="220"/>
                </a:cubicBezTo>
                <a:cubicBezTo>
                  <a:pt x="1191" y="222"/>
                  <a:pt x="1191" y="222"/>
                  <a:pt x="1191" y="222"/>
                </a:cubicBezTo>
                <a:cubicBezTo>
                  <a:pt x="1190" y="224"/>
                  <a:pt x="1190" y="224"/>
                  <a:pt x="1190" y="224"/>
                </a:cubicBezTo>
                <a:cubicBezTo>
                  <a:pt x="1195" y="226"/>
                  <a:pt x="1195" y="226"/>
                  <a:pt x="1195" y="226"/>
                </a:cubicBezTo>
                <a:cubicBezTo>
                  <a:pt x="1194" y="233"/>
                  <a:pt x="1193" y="239"/>
                  <a:pt x="1192" y="243"/>
                </a:cubicBezTo>
                <a:cubicBezTo>
                  <a:pt x="1191" y="251"/>
                  <a:pt x="1191" y="255"/>
                  <a:pt x="1191" y="256"/>
                </a:cubicBezTo>
                <a:cubicBezTo>
                  <a:pt x="1190" y="258"/>
                  <a:pt x="1191" y="259"/>
                  <a:pt x="1192" y="260"/>
                </a:cubicBezTo>
                <a:cubicBezTo>
                  <a:pt x="1192" y="260"/>
                  <a:pt x="1194" y="261"/>
                  <a:pt x="1195" y="261"/>
                </a:cubicBezTo>
                <a:cubicBezTo>
                  <a:pt x="1197" y="261"/>
                  <a:pt x="1199" y="260"/>
                  <a:pt x="1200" y="259"/>
                </a:cubicBezTo>
                <a:cubicBezTo>
                  <a:pt x="1202" y="258"/>
                  <a:pt x="1203" y="257"/>
                  <a:pt x="1203" y="256"/>
                </a:cubicBezTo>
                <a:cubicBezTo>
                  <a:pt x="1202" y="254"/>
                  <a:pt x="1202" y="254"/>
                  <a:pt x="1202" y="254"/>
                </a:cubicBezTo>
                <a:cubicBezTo>
                  <a:pt x="1202" y="255"/>
                  <a:pt x="1201" y="256"/>
                  <a:pt x="1200" y="256"/>
                </a:cubicBezTo>
                <a:cubicBezTo>
                  <a:pt x="1200" y="256"/>
                  <a:pt x="1199" y="256"/>
                  <a:pt x="1199" y="256"/>
                </a:cubicBezTo>
                <a:cubicBezTo>
                  <a:pt x="1198" y="256"/>
                  <a:pt x="1198" y="256"/>
                  <a:pt x="1198" y="256"/>
                </a:cubicBezTo>
                <a:cubicBezTo>
                  <a:pt x="1198" y="256"/>
                  <a:pt x="1198" y="255"/>
                  <a:pt x="1198" y="255"/>
                </a:cubicBezTo>
                <a:lnTo>
                  <a:pt x="1198" y="254"/>
                </a:lnTo>
                <a:close/>
                <a:moveTo>
                  <a:pt x="1200" y="213"/>
                </a:moveTo>
                <a:cubicBezTo>
                  <a:pt x="1201" y="213"/>
                  <a:pt x="1202" y="212"/>
                  <a:pt x="1203" y="211"/>
                </a:cubicBezTo>
                <a:cubicBezTo>
                  <a:pt x="1204" y="210"/>
                  <a:pt x="1205" y="209"/>
                  <a:pt x="1205" y="207"/>
                </a:cubicBezTo>
                <a:cubicBezTo>
                  <a:pt x="1205" y="206"/>
                  <a:pt x="1204" y="206"/>
                  <a:pt x="1204" y="205"/>
                </a:cubicBezTo>
                <a:cubicBezTo>
                  <a:pt x="1203" y="204"/>
                  <a:pt x="1202" y="204"/>
                  <a:pt x="1201" y="204"/>
                </a:cubicBezTo>
                <a:cubicBezTo>
                  <a:pt x="1200" y="204"/>
                  <a:pt x="1198" y="204"/>
                  <a:pt x="1198" y="205"/>
                </a:cubicBezTo>
                <a:cubicBezTo>
                  <a:pt x="1197" y="206"/>
                  <a:pt x="1196" y="207"/>
                  <a:pt x="1196" y="209"/>
                </a:cubicBezTo>
                <a:cubicBezTo>
                  <a:pt x="1196" y="210"/>
                  <a:pt x="1197" y="211"/>
                  <a:pt x="1197" y="212"/>
                </a:cubicBezTo>
                <a:cubicBezTo>
                  <a:pt x="1198" y="212"/>
                  <a:pt x="1199" y="213"/>
                  <a:pt x="1200" y="213"/>
                </a:cubicBezTo>
                <a:close/>
                <a:moveTo>
                  <a:pt x="1237" y="228"/>
                </a:moveTo>
                <a:cubicBezTo>
                  <a:pt x="1238" y="229"/>
                  <a:pt x="1238" y="229"/>
                  <a:pt x="1238" y="229"/>
                </a:cubicBezTo>
                <a:cubicBezTo>
                  <a:pt x="1240" y="222"/>
                  <a:pt x="1240" y="222"/>
                  <a:pt x="1240" y="222"/>
                </a:cubicBezTo>
                <a:cubicBezTo>
                  <a:pt x="1239" y="221"/>
                  <a:pt x="1238" y="221"/>
                  <a:pt x="1237" y="221"/>
                </a:cubicBezTo>
                <a:cubicBezTo>
                  <a:pt x="1235" y="220"/>
                  <a:pt x="1234" y="220"/>
                  <a:pt x="1232" y="220"/>
                </a:cubicBezTo>
                <a:cubicBezTo>
                  <a:pt x="1228" y="220"/>
                  <a:pt x="1224" y="221"/>
                  <a:pt x="1221" y="224"/>
                </a:cubicBezTo>
                <a:cubicBezTo>
                  <a:pt x="1218" y="227"/>
                  <a:pt x="1216" y="230"/>
                  <a:pt x="1214" y="234"/>
                </a:cubicBezTo>
                <a:cubicBezTo>
                  <a:pt x="1213" y="237"/>
                  <a:pt x="1212" y="241"/>
                  <a:pt x="1212" y="245"/>
                </a:cubicBezTo>
                <a:cubicBezTo>
                  <a:pt x="1212" y="250"/>
                  <a:pt x="1213" y="254"/>
                  <a:pt x="1215" y="257"/>
                </a:cubicBezTo>
                <a:cubicBezTo>
                  <a:pt x="1217" y="259"/>
                  <a:pt x="1220" y="261"/>
                  <a:pt x="1224" y="261"/>
                </a:cubicBezTo>
                <a:cubicBezTo>
                  <a:pt x="1227" y="261"/>
                  <a:pt x="1230" y="260"/>
                  <a:pt x="1232" y="259"/>
                </a:cubicBezTo>
                <a:cubicBezTo>
                  <a:pt x="1235" y="257"/>
                  <a:pt x="1236" y="256"/>
                  <a:pt x="1238" y="254"/>
                </a:cubicBezTo>
                <a:cubicBezTo>
                  <a:pt x="1236" y="252"/>
                  <a:pt x="1236" y="252"/>
                  <a:pt x="1236" y="252"/>
                </a:cubicBezTo>
                <a:cubicBezTo>
                  <a:pt x="1235" y="253"/>
                  <a:pt x="1233" y="254"/>
                  <a:pt x="1232" y="255"/>
                </a:cubicBezTo>
                <a:cubicBezTo>
                  <a:pt x="1230" y="256"/>
                  <a:pt x="1229" y="256"/>
                  <a:pt x="1227" y="256"/>
                </a:cubicBezTo>
                <a:cubicBezTo>
                  <a:pt x="1224" y="256"/>
                  <a:pt x="1222" y="255"/>
                  <a:pt x="1221" y="253"/>
                </a:cubicBezTo>
                <a:cubicBezTo>
                  <a:pt x="1220" y="251"/>
                  <a:pt x="1219" y="248"/>
                  <a:pt x="1219" y="244"/>
                </a:cubicBezTo>
                <a:cubicBezTo>
                  <a:pt x="1219" y="240"/>
                  <a:pt x="1219" y="237"/>
                  <a:pt x="1221" y="234"/>
                </a:cubicBezTo>
                <a:cubicBezTo>
                  <a:pt x="1222" y="231"/>
                  <a:pt x="1223" y="229"/>
                  <a:pt x="1225" y="227"/>
                </a:cubicBezTo>
                <a:cubicBezTo>
                  <a:pt x="1227" y="225"/>
                  <a:pt x="1229" y="225"/>
                  <a:pt x="1231" y="225"/>
                </a:cubicBezTo>
                <a:cubicBezTo>
                  <a:pt x="1232" y="225"/>
                  <a:pt x="1235" y="226"/>
                  <a:pt x="1237" y="228"/>
                </a:cubicBezTo>
                <a:close/>
                <a:moveTo>
                  <a:pt x="1255" y="254"/>
                </a:moveTo>
                <a:cubicBezTo>
                  <a:pt x="1260" y="221"/>
                  <a:pt x="1260" y="221"/>
                  <a:pt x="1260" y="221"/>
                </a:cubicBezTo>
                <a:cubicBezTo>
                  <a:pt x="1259" y="220"/>
                  <a:pt x="1259" y="220"/>
                  <a:pt x="1259" y="220"/>
                </a:cubicBezTo>
                <a:cubicBezTo>
                  <a:pt x="1249" y="222"/>
                  <a:pt x="1249" y="222"/>
                  <a:pt x="1249" y="222"/>
                </a:cubicBezTo>
                <a:cubicBezTo>
                  <a:pt x="1248" y="224"/>
                  <a:pt x="1248" y="224"/>
                  <a:pt x="1248" y="224"/>
                </a:cubicBezTo>
                <a:cubicBezTo>
                  <a:pt x="1253" y="226"/>
                  <a:pt x="1253" y="226"/>
                  <a:pt x="1253" y="226"/>
                </a:cubicBezTo>
                <a:cubicBezTo>
                  <a:pt x="1252" y="233"/>
                  <a:pt x="1251" y="239"/>
                  <a:pt x="1250" y="243"/>
                </a:cubicBezTo>
                <a:cubicBezTo>
                  <a:pt x="1249" y="251"/>
                  <a:pt x="1248" y="255"/>
                  <a:pt x="1248" y="256"/>
                </a:cubicBezTo>
                <a:cubicBezTo>
                  <a:pt x="1248" y="258"/>
                  <a:pt x="1249" y="259"/>
                  <a:pt x="1249" y="260"/>
                </a:cubicBezTo>
                <a:cubicBezTo>
                  <a:pt x="1250" y="260"/>
                  <a:pt x="1251" y="261"/>
                  <a:pt x="1253" y="261"/>
                </a:cubicBezTo>
                <a:cubicBezTo>
                  <a:pt x="1255" y="261"/>
                  <a:pt x="1256" y="260"/>
                  <a:pt x="1258" y="259"/>
                </a:cubicBezTo>
                <a:cubicBezTo>
                  <a:pt x="1259" y="258"/>
                  <a:pt x="1260" y="257"/>
                  <a:pt x="1261" y="256"/>
                </a:cubicBezTo>
                <a:cubicBezTo>
                  <a:pt x="1260" y="254"/>
                  <a:pt x="1260" y="254"/>
                  <a:pt x="1260" y="254"/>
                </a:cubicBezTo>
                <a:cubicBezTo>
                  <a:pt x="1259" y="255"/>
                  <a:pt x="1259" y="256"/>
                  <a:pt x="1258" y="256"/>
                </a:cubicBezTo>
                <a:cubicBezTo>
                  <a:pt x="1258" y="256"/>
                  <a:pt x="1257" y="256"/>
                  <a:pt x="1256" y="256"/>
                </a:cubicBezTo>
                <a:cubicBezTo>
                  <a:pt x="1256" y="256"/>
                  <a:pt x="1256" y="256"/>
                  <a:pt x="1256" y="256"/>
                </a:cubicBezTo>
                <a:cubicBezTo>
                  <a:pt x="1255" y="256"/>
                  <a:pt x="1255" y="255"/>
                  <a:pt x="1255" y="255"/>
                </a:cubicBezTo>
                <a:lnTo>
                  <a:pt x="1255" y="254"/>
                </a:lnTo>
                <a:close/>
                <a:moveTo>
                  <a:pt x="1258" y="213"/>
                </a:moveTo>
                <a:cubicBezTo>
                  <a:pt x="1259" y="213"/>
                  <a:pt x="1260" y="212"/>
                  <a:pt x="1261" y="211"/>
                </a:cubicBezTo>
                <a:cubicBezTo>
                  <a:pt x="1262" y="210"/>
                  <a:pt x="1262" y="209"/>
                  <a:pt x="1262" y="207"/>
                </a:cubicBezTo>
                <a:cubicBezTo>
                  <a:pt x="1262" y="206"/>
                  <a:pt x="1262" y="206"/>
                  <a:pt x="1261" y="205"/>
                </a:cubicBezTo>
                <a:cubicBezTo>
                  <a:pt x="1261" y="204"/>
                  <a:pt x="1260" y="204"/>
                  <a:pt x="1259" y="204"/>
                </a:cubicBezTo>
                <a:cubicBezTo>
                  <a:pt x="1257" y="204"/>
                  <a:pt x="1256" y="204"/>
                  <a:pt x="1255" y="205"/>
                </a:cubicBezTo>
                <a:cubicBezTo>
                  <a:pt x="1254" y="206"/>
                  <a:pt x="1254" y="207"/>
                  <a:pt x="1254" y="209"/>
                </a:cubicBezTo>
                <a:cubicBezTo>
                  <a:pt x="1254" y="210"/>
                  <a:pt x="1254" y="211"/>
                  <a:pt x="1255" y="212"/>
                </a:cubicBezTo>
                <a:cubicBezTo>
                  <a:pt x="1256" y="212"/>
                  <a:pt x="1257" y="213"/>
                  <a:pt x="1258" y="213"/>
                </a:cubicBezTo>
                <a:close/>
                <a:moveTo>
                  <a:pt x="1282" y="229"/>
                </a:moveTo>
                <a:cubicBezTo>
                  <a:pt x="1283" y="221"/>
                  <a:pt x="1283" y="221"/>
                  <a:pt x="1283" y="221"/>
                </a:cubicBezTo>
                <a:cubicBezTo>
                  <a:pt x="1281" y="220"/>
                  <a:pt x="1281" y="220"/>
                  <a:pt x="1281" y="220"/>
                </a:cubicBezTo>
                <a:cubicBezTo>
                  <a:pt x="1273" y="222"/>
                  <a:pt x="1273" y="222"/>
                  <a:pt x="1273" y="222"/>
                </a:cubicBezTo>
                <a:cubicBezTo>
                  <a:pt x="1272" y="224"/>
                  <a:pt x="1272" y="224"/>
                  <a:pt x="1272" y="224"/>
                </a:cubicBezTo>
                <a:cubicBezTo>
                  <a:pt x="1275" y="226"/>
                  <a:pt x="1275" y="226"/>
                  <a:pt x="1275" y="226"/>
                </a:cubicBezTo>
                <a:cubicBezTo>
                  <a:pt x="1271" y="260"/>
                  <a:pt x="1271" y="260"/>
                  <a:pt x="1271" y="260"/>
                </a:cubicBezTo>
                <a:cubicBezTo>
                  <a:pt x="1278" y="260"/>
                  <a:pt x="1278" y="260"/>
                  <a:pt x="1278" y="260"/>
                </a:cubicBezTo>
                <a:cubicBezTo>
                  <a:pt x="1281" y="235"/>
                  <a:pt x="1281" y="235"/>
                  <a:pt x="1281" y="235"/>
                </a:cubicBezTo>
                <a:cubicBezTo>
                  <a:pt x="1283" y="232"/>
                  <a:pt x="1285" y="230"/>
                  <a:pt x="1287" y="228"/>
                </a:cubicBezTo>
                <a:cubicBezTo>
                  <a:pt x="1289" y="226"/>
                  <a:pt x="1291" y="225"/>
                  <a:pt x="1293" y="225"/>
                </a:cubicBezTo>
                <a:cubicBezTo>
                  <a:pt x="1295" y="225"/>
                  <a:pt x="1296" y="226"/>
                  <a:pt x="1297" y="226"/>
                </a:cubicBezTo>
                <a:cubicBezTo>
                  <a:pt x="1297" y="227"/>
                  <a:pt x="1298" y="229"/>
                  <a:pt x="1298" y="231"/>
                </a:cubicBezTo>
                <a:cubicBezTo>
                  <a:pt x="1298" y="233"/>
                  <a:pt x="1297" y="234"/>
                  <a:pt x="1297" y="236"/>
                </a:cubicBezTo>
                <a:cubicBezTo>
                  <a:pt x="1297" y="238"/>
                  <a:pt x="1297" y="240"/>
                  <a:pt x="1296" y="243"/>
                </a:cubicBezTo>
                <a:cubicBezTo>
                  <a:pt x="1296" y="245"/>
                  <a:pt x="1296" y="245"/>
                  <a:pt x="1296" y="245"/>
                </a:cubicBezTo>
                <a:cubicBezTo>
                  <a:pt x="1295" y="248"/>
                  <a:pt x="1295" y="248"/>
                  <a:pt x="1295" y="248"/>
                </a:cubicBezTo>
                <a:cubicBezTo>
                  <a:pt x="1294" y="252"/>
                  <a:pt x="1294" y="255"/>
                  <a:pt x="1294" y="256"/>
                </a:cubicBezTo>
                <a:cubicBezTo>
                  <a:pt x="1294" y="259"/>
                  <a:pt x="1295" y="261"/>
                  <a:pt x="1298" y="261"/>
                </a:cubicBezTo>
                <a:cubicBezTo>
                  <a:pt x="1300" y="261"/>
                  <a:pt x="1301" y="260"/>
                  <a:pt x="1302" y="260"/>
                </a:cubicBezTo>
                <a:cubicBezTo>
                  <a:pt x="1303" y="259"/>
                  <a:pt x="1304" y="259"/>
                  <a:pt x="1305" y="258"/>
                </a:cubicBezTo>
                <a:cubicBezTo>
                  <a:pt x="1305" y="258"/>
                  <a:pt x="1306" y="257"/>
                  <a:pt x="1306" y="257"/>
                </a:cubicBezTo>
                <a:cubicBezTo>
                  <a:pt x="1305" y="255"/>
                  <a:pt x="1305" y="255"/>
                  <a:pt x="1305" y="255"/>
                </a:cubicBezTo>
                <a:cubicBezTo>
                  <a:pt x="1304" y="256"/>
                  <a:pt x="1303" y="256"/>
                  <a:pt x="1302" y="256"/>
                </a:cubicBezTo>
                <a:cubicBezTo>
                  <a:pt x="1301" y="256"/>
                  <a:pt x="1301" y="256"/>
                  <a:pt x="1301" y="255"/>
                </a:cubicBezTo>
                <a:cubicBezTo>
                  <a:pt x="1301" y="253"/>
                  <a:pt x="1301" y="250"/>
                  <a:pt x="1302" y="246"/>
                </a:cubicBezTo>
                <a:cubicBezTo>
                  <a:pt x="1303" y="243"/>
                  <a:pt x="1303" y="243"/>
                  <a:pt x="1303" y="243"/>
                </a:cubicBezTo>
                <a:cubicBezTo>
                  <a:pt x="1303" y="241"/>
                  <a:pt x="1303" y="241"/>
                  <a:pt x="1303" y="241"/>
                </a:cubicBezTo>
                <a:cubicBezTo>
                  <a:pt x="1304" y="236"/>
                  <a:pt x="1305" y="232"/>
                  <a:pt x="1305" y="230"/>
                </a:cubicBezTo>
                <a:cubicBezTo>
                  <a:pt x="1305" y="227"/>
                  <a:pt x="1304" y="224"/>
                  <a:pt x="1302" y="223"/>
                </a:cubicBezTo>
                <a:cubicBezTo>
                  <a:pt x="1301" y="221"/>
                  <a:pt x="1299" y="220"/>
                  <a:pt x="1296" y="220"/>
                </a:cubicBezTo>
                <a:cubicBezTo>
                  <a:pt x="1294" y="220"/>
                  <a:pt x="1291" y="221"/>
                  <a:pt x="1289" y="223"/>
                </a:cubicBezTo>
                <a:cubicBezTo>
                  <a:pt x="1286" y="224"/>
                  <a:pt x="1284" y="227"/>
                  <a:pt x="1282" y="229"/>
                </a:cubicBezTo>
                <a:close/>
                <a:moveTo>
                  <a:pt x="1342" y="253"/>
                </a:moveTo>
                <a:cubicBezTo>
                  <a:pt x="1340" y="251"/>
                  <a:pt x="1340" y="251"/>
                  <a:pt x="1340" y="251"/>
                </a:cubicBezTo>
                <a:cubicBezTo>
                  <a:pt x="1339" y="253"/>
                  <a:pt x="1337" y="254"/>
                  <a:pt x="1335" y="255"/>
                </a:cubicBezTo>
                <a:cubicBezTo>
                  <a:pt x="1333" y="256"/>
                  <a:pt x="1331" y="256"/>
                  <a:pt x="1329" y="256"/>
                </a:cubicBezTo>
                <a:cubicBezTo>
                  <a:pt x="1326" y="256"/>
                  <a:pt x="1323" y="255"/>
                  <a:pt x="1322" y="253"/>
                </a:cubicBezTo>
                <a:cubicBezTo>
                  <a:pt x="1321" y="250"/>
                  <a:pt x="1320" y="247"/>
                  <a:pt x="1320" y="244"/>
                </a:cubicBezTo>
                <a:cubicBezTo>
                  <a:pt x="1323" y="244"/>
                  <a:pt x="1327" y="244"/>
                  <a:pt x="1330" y="242"/>
                </a:cubicBezTo>
                <a:cubicBezTo>
                  <a:pt x="1334" y="241"/>
                  <a:pt x="1337" y="240"/>
                  <a:pt x="1340" y="237"/>
                </a:cubicBezTo>
                <a:cubicBezTo>
                  <a:pt x="1342" y="235"/>
                  <a:pt x="1344" y="232"/>
                  <a:pt x="1344" y="229"/>
                </a:cubicBezTo>
                <a:cubicBezTo>
                  <a:pt x="1344" y="226"/>
                  <a:pt x="1343" y="224"/>
                  <a:pt x="1341" y="223"/>
                </a:cubicBezTo>
                <a:cubicBezTo>
                  <a:pt x="1340" y="221"/>
                  <a:pt x="1337" y="220"/>
                  <a:pt x="1334" y="220"/>
                </a:cubicBezTo>
                <a:cubicBezTo>
                  <a:pt x="1330" y="220"/>
                  <a:pt x="1326" y="221"/>
                  <a:pt x="1323" y="224"/>
                </a:cubicBezTo>
                <a:cubicBezTo>
                  <a:pt x="1320" y="226"/>
                  <a:pt x="1318" y="229"/>
                  <a:pt x="1316" y="233"/>
                </a:cubicBezTo>
                <a:cubicBezTo>
                  <a:pt x="1314" y="237"/>
                  <a:pt x="1313" y="241"/>
                  <a:pt x="1313" y="246"/>
                </a:cubicBezTo>
                <a:cubicBezTo>
                  <a:pt x="1313" y="248"/>
                  <a:pt x="1314" y="251"/>
                  <a:pt x="1315" y="253"/>
                </a:cubicBezTo>
                <a:cubicBezTo>
                  <a:pt x="1316" y="255"/>
                  <a:pt x="1317" y="257"/>
                  <a:pt x="1319" y="259"/>
                </a:cubicBezTo>
                <a:cubicBezTo>
                  <a:pt x="1321" y="260"/>
                  <a:pt x="1324" y="261"/>
                  <a:pt x="1327" y="261"/>
                </a:cubicBezTo>
                <a:cubicBezTo>
                  <a:pt x="1330" y="261"/>
                  <a:pt x="1333" y="260"/>
                  <a:pt x="1336" y="258"/>
                </a:cubicBezTo>
                <a:cubicBezTo>
                  <a:pt x="1339" y="257"/>
                  <a:pt x="1341" y="255"/>
                  <a:pt x="1342" y="253"/>
                </a:cubicBezTo>
                <a:close/>
                <a:moveTo>
                  <a:pt x="1332" y="224"/>
                </a:moveTo>
                <a:cubicBezTo>
                  <a:pt x="1334" y="224"/>
                  <a:pt x="1335" y="224"/>
                  <a:pt x="1336" y="225"/>
                </a:cubicBezTo>
                <a:cubicBezTo>
                  <a:pt x="1337" y="226"/>
                  <a:pt x="1337" y="228"/>
                  <a:pt x="1337" y="229"/>
                </a:cubicBezTo>
                <a:cubicBezTo>
                  <a:pt x="1337" y="232"/>
                  <a:pt x="1336" y="234"/>
                  <a:pt x="1334" y="235"/>
                </a:cubicBezTo>
                <a:cubicBezTo>
                  <a:pt x="1333" y="237"/>
                  <a:pt x="1331" y="238"/>
                  <a:pt x="1328" y="239"/>
                </a:cubicBezTo>
                <a:cubicBezTo>
                  <a:pt x="1325" y="240"/>
                  <a:pt x="1323" y="241"/>
                  <a:pt x="1321" y="241"/>
                </a:cubicBezTo>
                <a:cubicBezTo>
                  <a:pt x="1321" y="238"/>
                  <a:pt x="1321" y="236"/>
                  <a:pt x="1322" y="233"/>
                </a:cubicBezTo>
                <a:cubicBezTo>
                  <a:pt x="1323" y="230"/>
                  <a:pt x="1325" y="228"/>
                  <a:pt x="1326" y="226"/>
                </a:cubicBezTo>
                <a:cubicBezTo>
                  <a:pt x="1328" y="225"/>
                  <a:pt x="1330" y="224"/>
                  <a:pt x="1332" y="224"/>
                </a:cubicBezTo>
                <a:close/>
              </a:path>
            </a:pathLst>
          </a:custGeom>
          <a:solidFill>
            <a:schemeClr val="tx2"/>
          </a:solidFill>
          <a:ln>
            <a:noFill/>
          </a:ln>
        </p:spPr>
        <p:txBody>
          <a:bodyPr vert="horz" wrap="square" lIns="121920" tIns="60960" rIns="121920" bIns="60960" numCol="1" anchor="t" anchorCtr="0" compatLnSpc="1">
            <a:prstTxWarp prst="textNoShape">
              <a:avLst/>
            </a:prstTxWarp>
          </a:bodyPr>
          <a:lstStyle/>
          <a:p>
            <a:endParaRPr lang="en-US" sz="2400"/>
          </a:p>
        </p:txBody>
      </p:sp>
    </p:spTree>
    <p:extLst>
      <p:ext uri="{BB962C8B-B14F-4D97-AF65-F5344CB8AC3E}">
        <p14:creationId xmlns:p14="http://schemas.microsoft.com/office/powerpoint/2010/main" val="2870429946"/>
      </p:ext>
    </p:extLst>
  </p:cSld>
  <p:clrMap bg1="lt1" tx1="dk1" bg2="lt2" tx2="dk2" accent1="accent1" accent2="accent2" accent3="accent3" accent4="accent4" accent5="accent5" accent6="accent6" hlink="hlink" folHlink="folHlink"/>
  <p:sldLayoutIdLst>
    <p:sldLayoutId id="2147483816" r:id="rId1"/>
    <p:sldLayoutId id="2147483817" r:id="rId2"/>
    <p:sldLayoutId id="2147483818" r:id="rId3"/>
    <p:sldLayoutId id="2147483819" r:id="rId4"/>
    <p:sldLayoutId id="2147483820" r:id="rId5"/>
    <p:sldLayoutId id="2147483821" r:id="rId6"/>
    <p:sldLayoutId id="2147483822" r:id="rId7"/>
    <p:sldLayoutId id="2147483823" r:id="rId8"/>
    <p:sldLayoutId id="2147483824" r:id="rId9"/>
    <p:sldLayoutId id="2147483825" r:id="rId10"/>
    <p:sldLayoutId id="2147483826" r:id="rId11"/>
    <p:sldLayoutId id="2147483827" r:id="rId12"/>
    <p:sldLayoutId id="2147483828" r:id="rId13"/>
    <p:sldLayoutId id="2147483829" r:id="rId14"/>
    <p:sldLayoutId id="2147483830" r:id="rId15"/>
    <p:sldLayoutId id="2147483831" r:id="rId16"/>
    <p:sldLayoutId id="2147483832" r:id="rId17"/>
    <p:sldLayoutId id="2147483833" r:id="rId18"/>
    <p:sldLayoutId id="2147483834" r:id="rId19"/>
    <p:sldLayoutId id="2147483835" r:id="rId20"/>
    <p:sldLayoutId id="2147483836" r:id="rId21"/>
    <p:sldLayoutId id="2147483837" r:id="rId22"/>
    <p:sldLayoutId id="2147483838" r:id="rId23"/>
    <p:sldLayoutId id="2147483839" r:id="rId24"/>
    <p:sldLayoutId id="2147483840" r:id="rId25"/>
    <p:sldLayoutId id="2147483841" r:id="rId26"/>
    <p:sldLayoutId id="2147483842" r:id="rId27"/>
    <p:sldLayoutId id="2147483843" r:id="rId28"/>
    <p:sldLayoutId id="2147483844" r:id="rId29"/>
    <p:sldLayoutId id="2147483845" r:id="rId30"/>
    <p:sldLayoutId id="2147483846" r:id="rId31"/>
    <p:sldLayoutId id="2147483847" r:id="rId32"/>
    <p:sldLayoutId id="2147483848" r:id="rId33"/>
    <p:sldLayoutId id="2147483849" r:id="rId34"/>
  </p:sldLayoutIdLst>
  <p:hf hdr="0" ftr="0" dt="0"/>
  <p:txStyles>
    <p:titleStyle>
      <a:lvl1pPr algn="l" defTabSz="914377" rtl="0" eaLnBrk="1" latinLnBrk="0" hangingPunct="1">
        <a:lnSpc>
          <a:spcPct val="90000"/>
        </a:lnSpc>
        <a:spcBef>
          <a:spcPct val="0"/>
        </a:spcBef>
        <a:buNone/>
        <a:defRPr sz="3200" kern="1200">
          <a:solidFill>
            <a:schemeClr val="tx2"/>
          </a:solidFill>
          <a:latin typeface="+mj-lt"/>
          <a:ea typeface="+mj-ea"/>
          <a:cs typeface="+mj-cs"/>
        </a:defRPr>
      </a:lvl1pPr>
    </p:titleStyle>
    <p:bodyStyle>
      <a:lvl1pPr marL="313259" indent="-313259" algn="l" defTabSz="914377" rtl="0" eaLnBrk="1" latinLnBrk="0" hangingPunct="1">
        <a:lnSpc>
          <a:spcPct val="110000"/>
        </a:lnSpc>
        <a:spcBef>
          <a:spcPts val="800"/>
        </a:spcBef>
        <a:buFont typeface="Arial" panose="020B0604020202020204" pitchFamily="34" charset="0"/>
        <a:buChar char="•"/>
        <a:defRPr sz="1867" kern="1200">
          <a:solidFill>
            <a:schemeClr val="tx1"/>
          </a:solidFill>
          <a:latin typeface="+mn-lt"/>
          <a:ea typeface="+mn-ea"/>
          <a:cs typeface="+mn-cs"/>
        </a:defRPr>
      </a:lvl1pPr>
      <a:lvl2pPr marL="609585" indent="-296326" algn="l" defTabSz="914377" rtl="0" eaLnBrk="1" latinLnBrk="0" hangingPunct="1">
        <a:lnSpc>
          <a:spcPct val="110000"/>
        </a:lnSpc>
        <a:spcBef>
          <a:spcPts val="800"/>
        </a:spcBef>
        <a:buClrTx/>
        <a:buFont typeface="Arial" panose="020B0604020202020204" pitchFamily="34" charset="0"/>
        <a:buChar char="–"/>
        <a:defRPr sz="1600" kern="1200">
          <a:solidFill>
            <a:schemeClr val="tx1"/>
          </a:solidFill>
          <a:latin typeface="+mn-lt"/>
          <a:ea typeface="+mn-ea"/>
          <a:cs typeface="+mn-cs"/>
        </a:defRPr>
      </a:lvl2pPr>
      <a:lvl3pPr marL="922844" indent="-313259" algn="l" defTabSz="914377" rtl="0" eaLnBrk="1" latinLnBrk="0" hangingPunct="1">
        <a:lnSpc>
          <a:spcPct val="110000"/>
        </a:lnSpc>
        <a:spcBef>
          <a:spcPts val="800"/>
        </a:spcBef>
        <a:buFont typeface="Arial" panose="020B0604020202020204" pitchFamily="34" charset="0"/>
        <a:buChar char="•"/>
        <a:defRPr sz="1467" kern="1200">
          <a:solidFill>
            <a:schemeClr val="tx1"/>
          </a:solidFill>
          <a:latin typeface="+mn-lt"/>
          <a:ea typeface="+mn-ea"/>
          <a:cs typeface="+mn-cs"/>
        </a:defRPr>
      </a:lvl3pPr>
      <a:lvl4pPr marL="1219170" indent="-296326" algn="l" defTabSz="914377" rtl="0" eaLnBrk="1" latinLnBrk="0" hangingPunct="1">
        <a:lnSpc>
          <a:spcPct val="110000"/>
        </a:lnSpc>
        <a:spcBef>
          <a:spcPts val="800"/>
        </a:spcBef>
        <a:buFont typeface="Arial" panose="020B0604020202020204" pitchFamily="34" charset="0"/>
        <a:buChar char="–"/>
        <a:defRPr sz="1333" kern="1200">
          <a:solidFill>
            <a:schemeClr val="tx1"/>
          </a:solidFill>
          <a:latin typeface="+mn-lt"/>
          <a:ea typeface="+mn-ea"/>
          <a:cs typeface="+mn-cs"/>
        </a:defRPr>
      </a:lvl4pPr>
      <a:lvl5pPr marL="1532428" indent="-313259" algn="l" defTabSz="914377" rtl="0" eaLnBrk="1" latinLnBrk="0" hangingPunct="1">
        <a:lnSpc>
          <a:spcPct val="110000"/>
        </a:lnSpc>
        <a:spcBef>
          <a:spcPts val="800"/>
        </a:spcBef>
        <a:buFont typeface="Arial" panose="020B0604020202020204" pitchFamily="34" charset="0"/>
        <a:buChar char="•"/>
        <a:defRPr sz="12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12">
          <p15:clr>
            <a:srgbClr val="F26B43"/>
          </p15:clr>
        </p15:guide>
        <p15:guide id="2" orient="horz" pos="1255">
          <p15:clr>
            <a:srgbClr val="F26B43"/>
          </p15:clr>
        </p15:guide>
        <p15:guide id="3" pos="5300">
          <p15:clr>
            <a:srgbClr val="F26B43"/>
          </p15:clr>
        </p15:guide>
        <p15:guide id="4" orient="horz" pos="2907">
          <p15:clr>
            <a:srgbClr val="F26B43"/>
          </p15:clr>
        </p15:guide>
        <p15:guide id="5" orient="horz" pos="612">
          <p15:clr>
            <a:srgbClr val="F26B43"/>
          </p15:clr>
        </p15:guide>
        <p15:guide id="6" orient="horz" pos="577">
          <p15:clr>
            <a:srgbClr val="F26B43"/>
          </p15:clr>
        </p15:guide>
        <p15:guide id="7" orient="horz" pos="205">
          <p15:clr>
            <a:srgbClr val="F26B43"/>
          </p15:clr>
        </p15:guide>
        <p15:guide id="9" orient="horz" pos="1145">
          <p15:clr>
            <a:srgbClr val="F26B43"/>
          </p15:clr>
        </p15:guide>
        <p15:guide id="10" orient="horz" pos="2951">
          <p15:clr>
            <a:srgbClr val="F26B43"/>
          </p15:clr>
        </p15:guide>
        <p15:guide id="11" pos="4848">
          <p15:clr>
            <a:srgbClr val="F26B43"/>
          </p15:clr>
        </p15:guide>
        <p15:guide id="12" orient="horz" pos="368">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23"/>
            </p:custDataLst>
            <p:extLst>
              <p:ext uri="{D42A27DB-BD31-4B8C-83A1-F6EECF244321}">
                <p14:modId xmlns:p14="http://schemas.microsoft.com/office/powerpoint/2010/main" val="6920662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7521" name="think-cell Slide" r:id="rId43" imgW="413" imgH="416" progId="TCLayout.ActiveDocument.1">
                  <p:embed/>
                </p:oleObj>
              </mc:Choice>
              <mc:Fallback>
                <p:oleObj name="think-cell Slide" r:id="rId43" imgW="413" imgH="416" progId="TCLayout.ActiveDocument.1">
                  <p:embed/>
                  <p:pic>
                    <p:nvPicPr>
                      <p:cNvPr id="3" name="Object 6" hidden="1">
                        <a:extLst>
                          <a:ext uri="{FF2B5EF4-FFF2-40B4-BE49-F238E27FC236}">
                            <a16:creationId xmlns:a16="http://schemas.microsoft.com/office/drawing/2014/main" id="{4BC40847-AF8B-4097-9A07-2349A751A051}"/>
                          </a:ext>
                        </a:extLst>
                      </p:cNvPr>
                      <p:cNvPicPr/>
                      <p:nvPr/>
                    </p:nvPicPr>
                    <p:blipFill>
                      <a:blip r:embed="rId44"/>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5B28737-798E-48D4-BBDB-8EB35CB9FFFB}"/>
              </a:ext>
            </a:extLst>
          </p:cNvPr>
          <p:cNvSpPr/>
          <p:nvPr userDrawn="1">
            <p:custDataLst>
              <p:tags r:id="rId24"/>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6" name="4. Footnote" hidden="1">
            <a:extLst>
              <a:ext uri="{FF2B5EF4-FFF2-40B4-BE49-F238E27FC236}">
                <a16:creationId xmlns:a16="http://schemas.microsoft.com/office/drawing/2014/main" id="{772E4927-517C-4D61-9929-9FFDE5F31A03}"/>
              </a:ext>
            </a:extLst>
          </p:cNvPr>
          <p:cNvSpPr txBox="1"/>
          <p:nvPr userDrawn="1">
            <p:custDataLst>
              <p:tags r:id="rId25"/>
            </p:custDataLst>
          </p:nvPr>
        </p:nvSpPr>
        <p:spPr>
          <a:xfrm>
            <a:off x="553972" y="6278400"/>
            <a:ext cx="7278624" cy="123111"/>
          </a:xfrm>
          <a:prstGeom prst="rect">
            <a:avLst/>
          </a:prstGeom>
          <a:noFill/>
        </p:spPr>
        <p:txBody>
          <a:bodyPr wrap="square" lIns="0" tIns="0" rIns="0" b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kern="1200">
                <a:latin typeface="+mn-lt"/>
                <a:ea typeface="+mn-ea"/>
                <a:cs typeface="Arial" panose="020B0604020202020204" pitchFamily="34" charset="0"/>
              </a:rPr>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26"/>
            </p:custDataLst>
          </p:nvPr>
        </p:nvSpPr>
        <p:spPr>
          <a:xfrm>
            <a:off x="554736" y="172212"/>
            <a:ext cx="11082528" cy="731520"/>
          </a:xfrm>
          <a:prstGeom prst="rect">
            <a:avLst/>
          </a:prstGeom>
        </p:spPr>
        <p:txBody>
          <a:bodyPr vert="horz" wrap="square" lIns="0" tIns="0" rIns="0" bIns="0" rtlCol="0" anchor="b" anchorCtr="0">
            <a:noAutofit/>
          </a:bodyPr>
          <a:lstStyle/>
          <a:p>
            <a:r>
              <a:rPr lang="en-US"/>
              <a:t>Click to edit Master title style</a:t>
            </a:r>
          </a:p>
        </p:txBody>
      </p:sp>
      <p:grpSp>
        <p:nvGrpSpPr>
          <p:cNvPr id="59" name="Grid" hidden="1">
            <a:extLst>
              <a:ext uri="{FF2B5EF4-FFF2-40B4-BE49-F238E27FC236}">
                <a16:creationId xmlns:a16="http://schemas.microsoft.com/office/drawing/2014/main" id="{D35250B8-D61E-4F1A-9ACD-6E1BB958B78E}"/>
              </a:ext>
            </a:extLst>
          </p:cNvPr>
          <p:cNvGrpSpPr/>
          <p:nvPr userDrawn="1"/>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rtl="0"/>
              <a:endParaRPr lang="en-US">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pPr rtl="0"/>
              <a:endParaRPr lang="en-US" sz="1323">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sp>
        <p:nvSpPr>
          <p:cNvPr id="4" name="Sticker" hidden="1">
            <a:extLst>
              <a:ext uri="{FF2B5EF4-FFF2-40B4-BE49-F238E27FC236}">
                <a16:creationId xmlns:a16="http://schemas.microsoft.com/office/drawing/2014/main" id="{F9BB011A-568C-4B05-AE57-EB000B2FD8BB}"/>
              </a:ext>
            </a:extLst>
          </p:cNvPr>
          <p:cNvSpPr txBox="1"/>
          <p:nvPr userDrawn="1"/>
        </p:nvSpPr>
        <p:spPr>
          <a:xfrm>
            <a:off x="554736" y="1289273"/>
            <a:ext cx="450444" cy="123111"/>
          </a:xfrm>
          <a:prstGeom prst="rect">
            <a:avLst/>
          </a:prstGeom>
          <a:noFill/>
          <a:ln w="6350">
            <a:noFill/>
            <a:miter lim="800000"/>
          </a:ln>
        </p:spPr>
        <p:txBody>
          <a:bodyPr vert="horz" wrap="none" lIns="0" tIns="0" rIns="0" bIns="0" rtlCol="0">
            <a:spAutoFit/>
          </a:bodyPr>
          <a:lstStyle/>
          <a:p>
            <a:pPr algn="l" rtl="0">
              <a:spcBef>
                <a:spcPts val="300"/>
              </a:spcBef>
              <a:spcAft>
                <a:spcPts val="300"/>
              </a:spcAft>
              <a:buNone/>
            </a:pPr>
            <a:r>
              <a:rPr lang="en-US" sz="800" b="1" cap="all" baseline="0"/>
              <a:t>STICKER</a:t>
            </a:r>
          </a:p>
        </p:txBody>
      </p:sp>
      <p:sp>
        <p:nvSpPr>
          <p:cNvPr id="169" name="ACET" hidden="1">
            <a:extLst>
              <a:ext uri="{FF2B5EF4-FFF2-40B4-BE49-F238E27FC236}">
                <a16:creationId xmlns:a16="http://schemas.microsoft.com/office/drawing/2014/main" id="{62CF7362-20CB-4908-AFFE-D4E2B9A5DF3B}"/>
              </a:ext>
            </a:extLst>
          </p:cNvPr>
          <p:cNvSpPr txBox="1"/>
          <p:nvPr userDrawn="1">
            <p:custDataLst>
              <p:tags r:id="rId27"/>
            </p:custDataLst>
          </p:nvPr>
        </p:nvSpPr>
        <p:spPr>
          <a:xfrm>
            <a:off x="4430628" y="2171700"/>
            <a:ext cx="3049253" cy="538609"/>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spcBef>
                <a:spcPts val="0"/>
              </a:spcBef>
              <a:spcAft>
                <a:spcPts val="600"/>
              </a:spcAft>
            </a:pPr>
            <a:r>
              <a:rPr lang="en-US" sz="1600" b="1"/>
              <a:t>Above Chart Exhibit Title</a:t>
            </a:r>
          </a:p>
          <a:p>
            <a:pPr rtl="0">
              <a:spcBef>
                <a:spcPts val="0"/>
              </a:spcBef>
              <a:spcAft>
                <a:spcPts val="600"/>
              </a:spcAft>
            </a:pPr>
            <a:r>
              <a:rPr lang="en-US" sz="1400"/>
              <a:t>Unit of Measure</a:t>
            </a:r>
          </a:p>
        </p:txBody>
      </p:sp>
      <p:sp>
        <p:nvSpPr>
          <p:cNvPr id="5" name="Text Placeholder 4">
            <a:extLst>
              <a:ext uri="{FF2B5EF4-FFF2-40B4-BE49-F238E27FC236}">
                <a16:creationId xmlns:a16="http://schemas.microsoft.com/office/drawing/2014/main" id="{4C1F3293-4EFE-461D-940D-7EE66BAE31C5}"/>
              </a:ext>
            </a:extLst>
          </p:cNvPr>
          <p:cNvSpPr>
            <a:spLocks noGrp="1"/>
          </p:cNvSpPr>
          <p:nvPr>
            <p:ph type="body" idx="1"/>
          </p:nvPr>
        </p:nvSpPr>
        <p:spPr>
          <a:xfrm>
            <a:off x="554736" y="2171700"/>
            <a:ext cx="11082528" cy="1384995"/>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187" name="LegendBoxes" hidden="1">
            <a:extLst>
              <a:ext uri="{FF2B5EF4-FFF2-40B4-BE49-F238E27FC236}">
                <a16:creationId xmlns:a16="http://schemas.microsoft.com/office/drawing/2014/main" id="{5048A9C9-0655-49B2-A283-6A54678F321B}"/>
              </a:ext>
            </a:extLst>
          </p:cNvPr>
          <p:cNvGrpSpPr/>
          <p:nvPr userDrawn="1"/>
        </p:nvGrpSpPr>
        <p:grpSpPr>
          <a:xfrm>
            <a:off x="10714801" y="4322824"/>
            <a:ext cx="922463" cy="1717282"/>
            <a:chOff x="9585951" y="2980105"/>
            <a:chExt cx="922463" cy="1717282"/>
          </a:xfrm>
        </p:grpSpPr>
        <p:sp>
          <p:nvSpPr>
            <p:cNvPr id="188" name="RectangleLegend1">
              <a:extLst>
                <a:ext uri="{FF2B5EF4-FFF2-40B4-BE49-F238E27FC236}">
                  <a16:creationId xmlns:a16="http://schemas.microsoft.com/office/drawing/2014/main" id="{8F219674-AEDF-41A7-B3C3-07BD8D165776}"/>
                </a:ext>
              </a:extLst>
            </p:cNvPr>
            <p:cNvSpPr/>
            <p:nvPr/>
          </p:nvSpPr>
          <p:spPr>
            <a:xfrm>
              <a:off x="9585951" y="3001463"/>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US" sz="1400">
                <a:solidFill>
                  <a:schemeClr val="tx1"/>
                </a:solidFill>
              </a:endParaRPr>
            </a:p>
          </p:txBody>
        </p:sp>
        <p:sp>
          <p:nvSpPr>
            <p:cNvPr id="189" name="RectangleLegend2">
              <a:extLst>
                <a:ext uri="{FF2B5EF4-FFF2-40B4-BE49-F238E27FC236}">
                  <a16:creationId xmlns:a16="http://schemas.microsoft.com/office/drawing/2014/main" id="{76884974-3CCD-4F11-B109-02708F18B04E}"/>
                </a:ext>
              </a:extLst>
            </p:cNvPr>
            <p:cNvSpPr/>
            <p:nvPr/>
          </p:nvSpPr>
          <p:spPr>
            <a:xfrm>
              <a:off x="9585951" y="3380961"/>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US" sz="1400">
                <a:solidFill>
                  <a:schemeClr val="tx1"/>
                </a:solidFill>
              </a:endParaRPr>
            </a:p>
          </p:txBody>
        </p:sp>
        <p:sp>
          <p:nvSpPr>
            <p:cNvPr id="190" name="RectangleLegend3">
              <a:extLst>
                <a:ext uri="{FF2B5EF4-FFF2-40B4-BE49-F238E27FC236}">
                  <a16:creationId xmlns:a16="http://schemas.microsoft.com/office/drawing/2014/main" id="{D440B2EC-6FE5-4259-BA11-DC2E3B68E637}"/>
                </a:ext>
              </a:extLst>
            </p:cNvPr>
            <p:cNvSpPr/>
            <p:nvPr/>
          </p:nvSpPr>
          <p:spPr>
            <a:xfrm>
              <a:off x="9585951" y="3754557"/>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US" sz="1400">
                <a:solidFill>
                  <a:schemeClr val="tx1"/>
                </a:solidFill>
              </a:endParaRPr>
            </a:p>
          </p:txBody>
        </p:sp>
        <p:sp>
          <p:nvSpPr>
            <p:cNvPr id="191" name="RectangleLegend4">
              <a:extLst>
                <a:ext uri="{FF2B5EF4-FFF2-40B4-BE49-F238E27FC236}">
                  <a16:creationId xmlns:a16="http://schemas.microsoft.com/office/drawing/2014/main" id="{52FE9D34-332E-47CD-94B8-12A069181C03}"/>
                </a:ext>
              </a:extLst>
            </p:cNvPr>
            <p:cNvSpPr/>
            <p:nvPr/>
          </p:nvSpPr>
          <p:spPr>
            <a:xfrm>
              <a:off x="9585951" y="4128153"/>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US" sz="1400">
                <a:solidFill>
                  <a:schemeClr val="tx1"/>
                </a:solidFill>
              </a:endParaRPr>
            </a:p>
          </p:txBody>
        </p:sp>
        <p:sp>
          <p:nvSpPr>
            <p:cNvPr id="192" name="RectangleLegend5">
              <a:extLst>
                <a:ext uri="{FF2B5EF4-FFF2-40B4-BE49-F238E27FC236}">
                  <a16:creationId xmlns:a16="http://schemas.microsoft.com/office/drawing/2014/main" id="{1D6EA8D9-42BE-4743-876B-1050D1436021}"/>
                </a:ext>
              </a:extLst>
            </p:cNvPr>
            <p:cNvSpPr/>
            <p:nvPr/>
          </p:nvSpPr>
          <p:spPr>
            <a:xfrm>
              <a:off x="9585951" y="4501749"/>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US" sz="1400">
                <a:solidFill>
                  <a:schemeClr val="tx1"/>
                </a:solidFill>
              </a:endParaRPr>
            </a:p>
          </p:txBody>
        </p:sp>
        <p:sp>
          <p:nvSpPr>
            <p:cNvPr id="193" name="Legend1">
              <a:extLst>
                <a:ext uri="{FF2B5EF4-FFF2-40B4-BE49-F238E27FC236}">
                  <a16:creationId xmlns:a16="http://schemas.microsoft.com/office/drawing/2014/main" id="{50F3208A-D1A9-4DEE-B968-1381D0DE88E8}"/>
                </a:ext>
              </a:extLst>
            </p:cNvPr>
            <p:cNvSpPr txBox="1"/>
            <p:nvPr/>
          </p:nvSpPr>
          <p:spPr>
            <a:xfrm>
              <a:off x="9912097" y="2980105"/>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en-US" sz="1400"/>
                <a:t>Legend</a:t>
              </a:r>
            </a:p>
          </p:txBody>
        </p:sp>
        <p:sp>
          <p:nvSpPr>
            <p:cNvPr id="194" name="Legend2">
              <a:extLst>
                <a:ext uri="{FF2B5EF4-FFF2-40B4-BE49-F238E27FC236}">
                  <a16:creationId xmlns:a16="http://schemas.microsoft.com/office/drawing/2014/main" id="{69AC8C80-52E4-4497-A147-009E23FB42A5}"/>
                </a:ext>
              </a:extLst>
            </p:cNvPr>
            <p:cNvSpPr txBox="1"/>
            <p:nvPr/>
          </p:nvSpPr>
          <p:spPr>
            <a:xfrm>
              <a:off x="9912097" y="3359603"/>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en-US" sz="1400"/>
                <a:t>Legend</a:t>
              </a:r>
            </a:p>
          </p:txBody>
        </p:sp>
        <p:sp>
          <p:nvSpPr>
            <p:cNvPr id="195" name="Legend3">
              <a:extLst>
                <a:ext uri="{FF2B5EF4-FFF2-40B4-BE49-F238E27FC236}">
                  <a16:creationId xmlns:a16="http://schemas.microsoft.com/office/drawing/2014/main" id="{218BEB5C-C19E-451D-B538-56A492CF74C6}"/>
                </a:ext>
              </a:extLst>
            </p:cNvPr>
            <p:cNvSpPr txBox="1"/>
            <p:nvPr/>
          </p:nvSpPr>
          <p:spPr>
            <a:xfrm>
              <a:off x="9912097" y="3739101"/>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en-US" sz="1400"/>
                <a:t>Legend</a:t>
              </a:r>
            </a:p>
          </p:txBody>
        </p:sp>
        <p:sp>
          <p:nvSpPr>
            <p:cNvPr id="196" name="Legend4">
              <a:extLst>
                <a:ext uri="{FF2B5EF4-FFF2-40B4-BE49-F238E27FC236}">
                  <a16:creationId xmlns:a16="http://schemas.microsoft.com/office/drawing/2014/main" id="{B77C1590-32D9-4A52-8AF0-454D06E80BF2}"/>
                </a:ext>
              </a:extLst>
            </p:cNvPr>
            <p:cNvSpPr txBox="1"/>
            <p:nvPr/>
          </p:nvSpPr>
          <p:spPr>
            <a:xfrm>
              <a:off x="9912097" y="4110522"/>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en-US" sz="1400"/>
                <a:t>Legend</a:t>
              </a:r>
            </a:p>
          </p:txBody>
        </p:sp>
        <p:sp>
          <p:nvSpPr>
            <p:cNvPr id="197" name="Legend5">
              <a:extLst>
                <a:ext uri="{FF2B5EF4-FFF2-40B4-BE49-F238E27FC236}">
                  <a16:creationId xmlns:a16="http://schemas.microsoft.com/office/drawing/2014/main" id="{A40A9DB6-E1B2-47A6-8B66-4FCDC31DD600}"/>
                </a:ext>
              </a:extLst>
            </p:cNvPr>
            <p:cNvSpPr txBox="1"/>
            <p:nvPr/>
          </p:nvSpPr>
          <p:spPr>
            <a:xfrm>
              <a:off x="9912097" y="4481943"/>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en-US" sz="1400"/>
                <a:t>Legend</a:t>
              </a:r>
            </a:p>
          </p:txBody>
        </p:sp>
      </p:grpSp>
      <p:grpSp>
        <p:nvGrpSpPr>
          <p:cNvPr id="148" name="LegendMoons" hidden="1">
            <a:extLst>
              <a:ext uri="{FF2B5EF4-FFF2-40B4-BE49-F238E27FC236}">
                <a16:creationId xmlns:a16="http://schemas.microsoft.com/office/drawing/2014/main" id="{DDFB4BFF-188C-450D-B4D3-DF8BD2DB3D7F}"/>
              </a:ext>
            </a:extLst>
          </p:cNvPr>
          <p:cNvGrpSpPr/>
          <p:nvPr userDrawn="1"/>
        </p:nvGrpSpPr>
        <p:grpSpPr>
          <a:xfrm>
            <a:off x="10688315" y="1374156"/>
            <a:ext cx="948949" cy="1731859"/>
            <a:chOff x="7723680" y="1702457"/>
            <a:chExt cx="948949" cy="1731859"/>
          </a:xfrm>
        </p:grpSpPr>
        <p:sp>
          <p:nvSpPr>
            <p:cNvPr id="149" name="Legend1">
              <a:extLst>
                <a:ext uri="{FF2B5EF4-FFF2-40B4-BE49-F238E27FC236}">
                  <a16:creationId xmlns:a16="http://schemas.microsoft.com/office/drawing/2014/main" id="{66D8D147-F2B4-4250-9C41-767555E14320}"/>
                </a:ext>
              </a:extLst>
            </p:cNvPr>
            <p:cNvSpPr txBox="1"/>
            <p:nvPr/>
          </p:nvSpPr>
          <p:spPr>
            <a:xfrm>
              <a:off x="8076312" y="1709816"/>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en-US" sz="1400"/>
                <a:t>Legend</a:t>
              </a:r>
            </a:p>
          </p:txBody>
        </p:sp>
        <p:sp>
          <p:nvSpPr>
            <p:cNvPr id="150" name="Legend2">
              <a:extLst>
                <a:ext uri="{FF2B5EF4-FFF2-40B4-BE49-F238E27FC236}">
                  <a16:creationId xmlns:a16="http://schemas.microsoft.com/office/drawing/2014/main" id="{E9DCC6EC-92E6-47D0-B23D-94365AC17441}"/>
                </a:ext>
              </a:extLst>
            </p:cNvPr>
            <p:cNvSpPr txBox="1"/>
            <p:nvPr/>
          </p:nvSpPr>
          <p:spPr>
            <a:xfrm>
              <a:off x="8076312" y="2085275"/>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en-US" sz="1400"/>
                <a:t>Legend</a:t>
              </a:r>
            </a:p>
          </p:txBody>
        </p:sp>
        <p:sp>
          <p:nvSpPr>
            <p:cNvPr id="151" name="Legend3">
              <a:extLst>
                <a:ext uri="{FF2B5EF4-FFF2-40B4-BE49-F238E27FC236}">
                  <a16:creationId xmlns:a16="http://schemas.microsoft.com/office/drawing/2014/main" id="{8451F4C0-E484-44FD-B923-EE0B1E1D1274}"/>
                </a:ext>
              </a:extLst>
            </p:cNvPr>
            <p:cNvSpPr txBox="1"/>
            <p:nvPr/>
          </p:nvSpPr>
          <p:spPr>
            <a:xfrm>
              <a:off x="8076312" y="2460734"/>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en-US" sz="1400"/>
                <a:t>Legend</a:t>
              </a:r>
            </a:p>
          </p:txBody>
        </p:sp>
        <p:sp>
          <p:nvSpPr>
            <p:cNvPr id="152" name="Legend4">
              <a:extLst>
                <a:ext uri="{FF2B5EF4-FFF2-40B4-BE49-F238E27FC236}">
                  <a16:creationId xmlns:a16="http://schemas.microsoft.com/office/drawing/2014/main" id="{508A2D78-9A17-4FB2-A405-02E4BB25DD6C}"/>
                </a:ext>
              </a:extLst>
            </p:cNvPr>
            <p:cNvSpPr txBox="1"/>
            <p:nvPr/>
          </p:nvSpPr>
          <p:spPr>
            <a:xfrm>
              <a:off x="8076312" y="2836193"/>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en-US" sz="1400"/>
                <a:t>Legend</a:t>
              </a:r>
            </a:p>
          </p:txBody>
        </p:sp>
        <p:sp>
          <p:nvSpPr>
            <p:cNvPr id="153" name="Legend5">
              <a:extLst>
                <a:ext uri="{FF2B5EF4-FFF2-40B4-BE49-F238E27FC236}">
                  <a16:creationId xmlns:a16="http://schemas.microsoft.com/office/drawing/2014/main" id="{CF32E1C9-EF64-41BC-8B8E-B7FED880E653}"/>
                </a:ext>
              </a:extLst>
            </p:cNvPr>
            <p:cNvSpPr txBox="1"/>
            <p:nvPr/>
          </p:nvSpPr>
          <p:spPr>
            <a:xfrm>
              <a:off x="8076312" y="3211654"/>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en-US" sz="1400"/>
                <a:t>Legend</a:t>
              </a:r>
            </a:p>
          </p:txBody>
        </p:sp>
        <p:grpSp>
          <p:nvGrpSpPr>
            <p:cNvPr id="154" name="MoonLegend1">
              <a:extLst>
                <a:ext uri="{FF2B5EF4-FFF2-40B4-BE49-F238E27FC236}">
                  <a16:creationId xmlns:a16="http://schemas.microsoft.com/office/drawing/2014/main" id="{496CCEDB-0BDA-47D9-9BA4-03BD59D6EEC2}"/>
                </a:ext>
              </a:extLst>
            </p:cNvPr>
            <p:cNvGrpSpPr>
              <a:grpSpLocks noChangeAspect="1"/>
            </p:cNvGrpSpPr>
            <p:nvPr>
              <p:custDataLst>
                <p:tags r:id="rId28"/>
              </p:custDataLst>
            </p:nvPr>
          </p:nvGrpSpPr>
          <p:grpSpPr>
            <a:xfrm>
              <a:off x="7723680" y="1702457"/>
              <a:ext cx="228600" cy="228600"/>
              <a:chOff x="762000" y="1270000"/>
              <a:chExt cx="254000" cy="254000"/>
            </a:xfrm>
          </p:grpSpPr>
          <p:sp>
            <p:nvSpPr>
              <p:cNvPr id="167" name="Oval 166">
                <a:extLst>
                  <a:ext uri="{FF2B5EF4-FFF2-40B4-BE49-F238E27FC236}">
                    <a16:creationId xmlns:a16="http://schemas.microsoft.com/office/drawing/2014/main" id="{F21E8F0F-ACA9-405E-8484-3FE9B6124FFD}"/>
                  </a:ext>
                </a:extLst>
              </p:cNvPr>
              <p:cNvSpPr/>
              <p:nvPr>
                <p:custDataLst>
                  <p:tags r:id="rId41"/>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1400">
                  <a:solidFill>
                    <a:schemeClr val="tx1"/>
                  </a:solidFill>
                </a:endParaRPr>
              </a:p>
            </p:txBody>
          </p:sp>
          <p:sp>
            <p:nvSpPr>
              <p:cNvPr id="168" name="Arc 167">
                <a:extLst>
                  <a:ext uri="{FF2B5EF4-FFF2-40B4-BE49-F238E27FC236}">
                    <a16:creationId xmlns:a16="http://schemas.microsoft.com/office/drawing/2014/main" id="{315D8D40-04AC-475B-AFC0-F08E492D131D}"/>
                  </a:ext>
                </a:extLst>
              </p:cNvPr>
              <p:cNvSpPr/>
              <p:nvPr>
                <p:custDataLst>
                  <p:tags r:id="rId42"/>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sz="1400"/>
              </a:p>
            </p:txBody>
          </p:sp>
        </p:grpSp>
        <p:grpSp>
          <p:nvGrpSpPr>
            <p:cNvPr id="155" name="MoonLegend2">
              <a:extLst>
                <a:ext uri="{FF2B5EF4-FFF2-40B4-BE49-F238E27FC236}">
                  <a16:creationId xmlns:a16="http://schemas.microsoft.com/office/drawing/2014/main" id="{BCF3BE62-91BA-488B-84C7-3FE20CFBDB9A}"/>
                </a:ext>
              </a:extLst>
            </p:cNvPr>
            <p:cNvGrpSpPr>
              <a:grpSpLocks noChangeAspect="1"/>
            </p:cNvGrpSpPr>
            <p:nvPr>
              <p:custDataLst>
                <p:tags r:id="rId29"/>
              </p:custDataLst>
            </p:nvPr>
          </p:nvGrpSpPr>
          <p:grpSpPr>
            <a:xfrm>
              <a:off x="7723680" y="2078270"/>
              <a:ext cx="228600" cy="228600"/>
              <a:chOff x="762000" y="1270000"/>
              <a:chExt cx="254000" cy="254000"/>
            </a:xfrm>
          </p:grpSpPr>
          <p:sp>
            <p:nvSpPr>
              <p:cNvPr id="165" name="Oval 164">
                <a:extLst>
                  <a:ext uri="{FF2B5EF4-FFF2-40B4-BE49-F238E27FC236}">
                    <a16:creationId xmlns:a16="http://schemas.microsoft.com/office/drawing/2014/main" id="{D27FF75E-C9E0-4D28-8F47-85C2D2EE375F}"/>
                  </a:ext>
                </a:extLst>
              </p:cNvPr>
              <p:cNvSpPr/>
              <p:nvPr>
                <p:custDataLst>
                  <p:tags r:id="rId39"/>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1400">
                  <a:solidFill>
                    <a:schemeClr val="tx1"/>
                  </a:solidFill>
                </a:endParaRPr>
              </a:p>
            </p:txBody>
          </p:sp>
          <p:sp>
            <p:nvSpPr>
              <p:cNvPr id="166" name="Arc 165">
                <a:extLst>
                  <a:ext uri="{FF2B5EF4-FFF2-40B4-BE49-F238E27FC236}">
                    <a16:creationId xmlns:a16="http://schemas.microsoft.com/office/drawing/2014/main" id="{BDC4F596-0330-4D95-8A02-83794DACDB00}"/>
                  </a:ext>
                </a:extLst>
              </p:cNvPr>
              <p:cNvSpPr/>
              <p:nvPr>
                <p:custDataLst>
                  <p:tags r:id="rId40"/>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sz="1400"/>
              </a:p>
            </p:txBody>
          </p:sp>
        </p:grpSp>
        <p:grpSp>
          <p:nvGrpSpPr>
            <p:cNvPr id="156" name="MoonLegend3">
              <a:extLst>
                <a:ext uri="{FF2B5EF4-FFF2-40B4-BE49-F238E27FC236}">
                  <a16:creationId xmlns:a16="http://schemas.microsoft.com/office/drawing/2014/main" id="{E4482EDB-85E9-4926-9441-26A85880E202}"/>
                </a:ext>
              </a:extLst>
            </p:cNvPr>
            <p:cNvGrpSpPr>
              <a:grpSpLocks noChangeAspect="1"/>
            </p:cNvGrpSpPr>
            <p:nvPr>
              <p:custDataLst>
                <p:tags r:id="rId30"/>
              </p:custDataLst>
            </p:nvPr>
          </p:nvGrpSpPr>
          <p:grpSpPr>
            <a:xfrm>
              <a:off x="7723680" y="2454085"/>
              <a:ext cx="228600" cy="228600"/>
              <a:chOff x="762000" y="1270000"/>
              <a:chExt cx="254000" cy="254000"/>
            </a:xfrm>
          </p:grpSpPr>
          <p:sp>
            <p:nvSpPr>
              <p:cNvPr id="163" name="Oval 162">
                <a:extLst>
                  <a:ext uri="{FF2B5EF4-FFF2-40B4-BE49-F238E27FC236}">
                    <a16:creationId xmlns:a16="http://schemas.microsoft.com/office/drawing/2014/main" id="{6B270099-CB45-46A3-8BC6-ADF0FABD3567}"/>
                  </a:ext>
                </a:extLst>
              </p:cNvPr>
              <p:cNvSpPr/>
              <p:nvPr>
                <p:custDataLst>
                  <p:tags r:id="rId37"/>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1400">
                  <a:solidFill>
                    <a:schemeClr val="tx1"/>
                  </a:solidFill>
                </a:endParaRPr>
              </a:p>
            </p:txBody>
          </p:sp>
          <p:sp>
            <p:nvSpPr>
              <p:cNvPr id="164" name="Arc 163">
                <a:extLst>
                  <a:ext uri="{FF2B5EF4-FFF2-40B4-BE49-F238E27FC236}">
                    <a16:creationId xmlns:a16="http://schemas.microsoft.com/office/drawing/2014/main" id="{4D910DDA-12F5-450E-85C1-CD98B4A9EE80}"/>
                  </a:ext>
                </a:extLst>
              </p:cNvPr>
              <p:cNvSpPr/>
              <p:nvPr>
                <p:custDataLst>
                  <p:tags r:id="rId38"/>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sz="1400"/>
              </a:p>
            </p:txBody>
          </p:sp>
        </p:grpSp>
        <p:grpSp>
          <p:nvGrpSpPr>
            <p:cNvPr id="157" name="MoonLegend4">
              <a:extLst>
                <a:ext uri="{FF2B5EF4-FFF2-40B4-BE49-F238E27FC236}">
                  <a16:creationId xmlns:a16="http://schemas.microsoft.com/office/drawing/2014/main" id="{2606D4D9-DA1B-4BEB-8CC9-41FDA33CC5A0}"/>
                </a:ext>
              </a:extLst>
            </p:cNvPr>
            <p:cNvGrpSpPr>
              <a:grpSpLocks noChangeAspect="1"/>
            </p:cNvGrpSpPr>
            <p:nvPr>
              <p:custDataLst>
                <p:tags r:id="rId31"/>
              </p:custDataLst>
            </p:nvPr>
          </p:nvGrpSpPr>
          <p:grpSpPr>
            <a:xfrm>
              <a:off x="7723680" y="2829900"/>
              <a:ext cx="228600" cy="228600"/>
              <a:chOff x="762000" y="1270000"/>
              <a:chExt cx="254000" cy="254000"/>
            </a:xfrm>
          </p:grpSpPr>
          <p:sp>
            <p:nvSpPr>
              <p:cNvPr id="161" name="Oval 160">
                <a:extLst>
                  <a:ext uri="{FF2B5EF4-FFF2-40B4-BE49-F238E27FC236}">
                    <a16:creationId xmlns:a16="http://schemas.microsoft.com/office/drawing/2014/main" id="{81477097-8655-4968-A993-EA579ADDDBCF}"/>
                  </a:ext>
                </a:extLst>
              </p:cNvPr>
              <p:cNvSpPr/>
              <p:nvPr>
                <p:custDataLst>
                  <p:tags r:id="rId35"/>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1400">
                  <a:solidFill>
                    <a:schemeClr val="tx1"/>
                  </a:solidFill>
                </a:endParaRPr>
              </a:p>
            </p:txBody>
          </p:sp>
          <p:sp>
            <p:nvSpPr>
              <p:cNvPr id="162" name="Arc 161">
                <a:extLst>
                  <a:ext uri="{FF2B5EF4-FFF2-40B4-BE49-F238E27FC236}">
                    <a16:creationId xmlns:a16="http://schemas.microsoft.com/office/drawing/2014/main" id="{EAFFF099-23A4-4400-9308-28EB2E760A74}"/>
                  </a:ext>
                </a:extLst>
              </p:cNvPr>
              <p:cNvSpPr/>
              <p:nvPr>
                <p:custDataLst>
                  <p:tags r:id="rId36"/>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sz="1400"/>
              </a:p>
            </p:txBody>
          </p:sp>
        </p:grpSp>
        <p:grpSp>
          <p:nvGrpSpPr>
            <p:cNvPr id="158" name="MoonLegend5">
              <a:extLst>
                <a:ext uri="{FF2B5EF4-FFF2-40B4-BE49-F238E27FC236}">
                  <a16:creationId xmlns:a16="http://schemas.microsoft.com/office/drawing/2014/main" id="{157F392C-3A22-465F-B4F0-A7E9FD7A01A1}"/>
                </a:ext>
              </a:extLst>
            </p:cNvPr>
            <p:cNvGrpSpPr>
              <a:grpSpLocks noChangeAspect="1"/>
            </p:cNvGrpSpPr>
            <p:nvPr>
              <p:custDataLst>
                <p:tags r:id="rId32"/>
              </p:custDataLst>
            </p:nvPr>
          </p:nvGrpSpPr>
          <p:grpSpPr>
            <a:xfrm>
              <a:off x="7723680" y="3205716"/>
              <a:ext cx="228600" cy="228600"/>
              <a:chOff x="762000" y="1270000"/>
              <a:chExt cx="254000" cy="254000"/>
            </a:xfrm>
          </p:grpSpPr>
          <p:sp>
            <p:nvSpPr>
              <p:cNvPr id="159" name="Oval 158">
                <a:extLst>
                  <a:ext uri="{FF2B5EF4-FFF2-40B4-BE49-F238E27FC236}">
                    <a16:creationId xmlns:a16="http://schemas.microsoft.com/office/drawing/2014/main" id="{BE9440E9-0BAB-4509-A556-8A80E9683FAB}"/>
                  </a:ext>
                </a:extLst>
              </p:cNvPr>
              <p:cNvSpPr/>
              <p:nvPr>
                <p:custDataLst>
                  <p:tags r:id="rId33"/>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1400">
                  <a:solidFill>
                    <a:schemeClr val="tx1"/>
                  </a:solidFill>
                </a:endParaRPr>
              </a:p>
            </p:txBody>
          </p:sp>
          <p:sp>
            <p:nvSpPr>
              <p:cNvPr id="160" name="Arc 159">
                <a:extLst>
                  <a:ext uri="{FF2B5EF4-FFF2-40B4-BE49-F238E27FC236}">
                    <a16:creationId xmlns:a16="http://schemas.microsoft.com/office/drawing/2014/main" id="{CA6DB424-2E98-4F1D-87A4-EE09FA805687}"/>
                  </a:ext>
                </a:extLst>
              </p:cNvPr>
              <p:cNvSpPr/>
              <p:nvPr>
                <p:custDataLst>
                  <p:tags r:id="rId34"/>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sz="1400"/>
              </a:p>
            </p:txBody>
          </p:sp>
        </p:grpSp>
      </p:grpSp>
      <p:grpSp>
        <p:nvGrpSpPr>
          <p:cNvPr id="179" name="LegendLines" hidden="1">
            <a:extLst>
              <a:ext uri="{FF2B5EF4-FFF2-40B4-BE49-F238E27FC236}">
                <a16:creationId xmlns:a16="http://schemas.microsoft.com/office/drawing/2014/main" id="{BA3F11B7-574B-46B5-AA05-051B7C0195CA}"/>
              </a:ext>
            </a:extLst>
          </p:cNvPr>
          <p:cNvGrpSpPr/>
          <p:nvPr userDrawn="1"/>
        </p:nvGrpSpPr>
        <p:grpSpPr>
          <a:xfrm>
            <a:off x="10424723" y="3235276"/>
            <a:ext cx="1212541" cy="958286"/>
            <a:chOff x="4372690" y="3739101"/>
            <a:chExt cx="1212541" cy="958286"/>
          </a:xfrm>
        </p:grpSpPr>
        <p:sp>
          <p:nvSpPr>
            <p:cNvPr id="180" name="Legend1">
              <a:extLst>
                <a:ext uri="{FF2B5EF4-FFF2-40B4-BE49-F238E27FC236}">
                  <a16:creationId xmlns:a16="http://schemas.microsoft.com/office/drawing/2014/main" id="{A89F3277-B9B0-4605-94B5-1A0F3CF3FD94}"/>
                </a:ext>
              </a:extLst>
            </p:cNvPr>
            <p:cNvSpPr txBox="1"/>
            <p:nvPr/>
          </p:nvSpPr>
          <p:spPr>
            <a:xfrm>
              <a:off x="4988914" y="3739101"/>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en-US" sz="1400"/>
                <a:t>Legend</a:t>
              </a:r>
            </a:p>
          </p:txBody>
        </p:sp>
        <p:sp>
          <p:nvSpPr>
            <p:cNvPr id="181" name="Legend2">
              <a:extLst>
                <a:ext uri="{FF2B5EF4-FFF2-40B4-BE49-F238E27FC236}">
                  <a16:creationId xmlns:a16="http://schemas.microsoft.com/office/drawing/2014/main" id="{728FD0F6-6F17-4DBC-A433-275600325C11}"/>
                </a:ext>
              </a:extLst>
            </p:cNvPr>
            <p:cNvSpPr txBox="1"/>
            <p:nvPr/>
          </p:nvSpPr>
          <p:spPr>
            <a:xfrm>
              <a:off x="4988914" y="4110522"/>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en-US" sz="1400"/>
                <a:t>Legend</a:t>
              </a:r>
            </a:p>
          </p:txBody>
        </p:sp>
        <p:sp>
          <p:nvSpPr>
            <p:cNvPr id="182" name="Legend3">
              <a:extLst>
                <a:ext uri="{FF2B5EF4-FFF2-40B4-BE49-F238E27FC236}">
                  <a16:creationId xmlns:a16="http://schemas.microsoft.com/office/drawing/2014/main" id="{824D0AAE-0E8B-4539-A5E0-724A7C2C5FB7}"/>
                </a:ext>
              </a:extLst>
            </p:cNvPr>
            <p:cNvSpPr txBox="1"/>
            <p:nvPr/>
          </p:nvSpPr>
          <p:spPr>
            <a:xfrm>
              <a:off x="4988914" y="4481943"/>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en-US" sz="1400"/>
                <a:t>Legend</a:t>
              </a:r>
            </a:p>
          </p:txBody>
        </p:sp>
        <p:sp>
          <p:nvSpPr>
            <p:cNvPr id="183" name="LineLegend3">
              <a:extLst>
                <a:ext uri="{FF2B5EF4-FFF2-40B4-BE49-F238E27FC236}">
                  <a16:creationId xmlns:a16="http://schemas.microsoft.com/office/drawing/2014/main" id="{15B966CE-74A4-42D7-84D1-50EE1BD807B7}"/>
                </a:ext>
              </a:extLst>
            </p:cNvPr>
            <p:cNvSpPr>
              <a:spLocks noChangeShapeType="1"/>
            </p:cNvSpPr>
            <p:nvPr/>
          </p:nvSpPr>
          <p:spPr bwMode="gray">
            <a:xfrm>
              <a:off x="4372690" y="4588113"/>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pPr rtl="0"/>
              <a:endParaRPr lang="en-US" sz="1400" baseline="0">
                <a:latin typeface="+mn-lt"/>
                <a:ea typeface="+mn-ea"/>
              </a:endParaRPr>
            </a:p>
          </p:txBody>
        </p:sp>
        <p:sp>
          <p:nvSpPr>
            <p:cNvPr id="184" name="LineLegend2">
              <a:extLst>
                <a:ext uri="{FF2B5EF4-FFF2-40B4-BE49-F238E27FC236}">
                  <a16:creationId xmlns:a16="http://schemas.microsoft.com/office/drawing/2014/main" id="{4AD11E2E-205C-4B89-BD31-DA18921C3385}"/>
                </a:ext>
              </a:extLst>
            </p:cNvPr>
            <p:cNvSpPr>
              <a:spLocks noChangeShapeType="1"/>
            </p:cNvSpPr>
            <p:nvPr/>
          </p:nvSpPr>
          <p:spPr bwMode="gray">
            <a:xfrm>
              <a:off x="4372690" y="4214754"/>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pPr rtl="0"/>
              <a:endParaRPr lang="en-US" sz="1400" baseline="0">
                <a:latin typeface="+mn-lt"/>
                <a:ea typeface="+mn-ea"/>
              </a:endParaRPr>
            </a:p>
          </p:txBody>
        </p:sp>
        <p:sp>
          <p:nvSpPr>
            <p:cNvPr id="185" name="LineLegend1">
              <a:extLst>
                <a:ext uri="{FF2B5EF4-FFF2-40B4-BE49-F238E27FC236}">
                  <a16:creationId xmlns:a16="http://schemas.microsoft.com/office/drawing/2014/main" id="{393D5D55-EAFF-4EBE-B2CF-AF057C324E68}"/>
                </a:ext>
              </a:extLst>
            </p:cNvPr>
            <p:cNvSpPr>
              <a:spLocks noChangeShapeType="1"/>
            </p:cNvSpPr>
            <p:nvPr/>
          </p:nvSpPr>
          <p:spPr bwMode="gray">
            <a:xfrm>
              <a:off x="4372690" y="3846823"/>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pPr rtl="0"/>
              <a:endParaRPr lang="en-US" sz="1400" baseline="0">
                <a:latin typeface="+mn-lt"/>
                <a:ea typeface="+mn-ea"/>
              </a:endParaRPr>
            </a:p>
          </p:txBody>
        </p:sp>
      </p:grpSp>
      <p:pic>
        <p:nvPicPr>
          <p:cNvPr id="170" name="Picture 169">
            <a:extLst>
              <a:ext uri="{FF2B5EF4-FFF2-40B4-BE49-F238E27FC236}">
                <a16:creationId xmlns:a16="http://schemas.microsoft.com/office/drawing/2014/main" id="{174F6ACB-9B55-4A9C-88E5-35AF1D63C494}"/>
              </a:ext>
            </a:extLst>
          </p:cNvPr>
          <p:cNvPicPr>
            <a:picLocks noChangeAspect="1"/>
          </p:cNvPicPr>
          <p:nvPr userDrawn="1"/>
        </p:nvPicPr>
        <p:blipFill>
          <a:blip r:embed="rId45"/>
          <a:stretch>
            <a:fillRect/>
          </a:stretch>
        </p:blipFill>
        <p:spPr>
          <a:xfrm>
            <a:off x="10135026" y="6373368"/>
            <a:ext cx="1159550" cy="252852"/>
          </a:xfrm>
          <a:prstGeom prst="rect">
            <a:avLst/>
          </a:prstGeom>
        </p:spPr>
      </p:pic>
      <p:sp>
        <p:nvSpPr>
          <p:cNvPr id="6" name="TextBox 5">
            <a:extLst>
              <a:ext uri="{FF2B5EF4-FFF2-40B4-BE49-F238E27FC236}">
                <a16:creationId xmlns:a16="http://schemas.microsoft.com/office/drawing/2014/main" id="{A87D33F0-81C4-5C15-029A-3C909BFED878}"/>
              </a:ext>
            </a:extLst>
          </p:cNvPr>
          <p:cNvSpPr txBox="1"/>
          <p:nvPr userDrawn="1"/>
        </p:nvSpPr>
        <p:spPr>
          <a:xfrm>
            <a:off x="4236259" y="0"/>
            <a:ext cx="7955741" cy="230832"/>
          </a:xfrm>
          <a:prstGeom prst="rect">
            <a:avLst/>
          </a:prstGeom>
          <a:noFill/>
        </p:spPr>
        <p:txBody>
          <a:bodyPr wrap="square" rtlCol="0">
            <a:spAutoFit/>
          </a:bodyPr>
          <a:lstStyle/>
          <a:p>
            <a:pPr algn="r"/>
            <a:r>
              <a:rPr lang="en-US" sz="900">
                <a:solidFill>
                  <a:srgbClr val="FF0000"/>
                </a:solidFill>
              </a:rPr>
              <a:t>DRAFT – FOR EVALUATION PURPOSES ONLY – NOT A FINAL DEPARTMENT OF ENERGY DETERMINATION – DO NOT DISTRIBUTE </a:t>
            </a:r>
          </a:p>
        </p:txBody>
      </p:sp>
    </p:spTree>
    <p:extLst>
      <p:ext uri="{BB962C8B-B14F-4D97-AF65-F5344CB8AC3E}">
        <p14:creationId xmlns:p14="http://schemas.microsoft.com/office/powerpoint/2010/main" val="961878568"/>
      </p:ext>
    </p:extLst>
  </p:cSld>
  <p:clrMap bg1="lt1" tx1="dk1" bg2="lt2" tx2="dk2" accent1="accent1" accent2="accent2" accent3="accent3" accent4="accent4" accent5="accent5" accent6="accent6" hlink="hlink" folHlink="folHlink"/>
  <p:sldLayoutIdLst>
    <p:sldLayoutId id="2147483684" r:id="rId1"/>
    <p:sldLayoutId id="2147483685" r:id="rId2"/>
    <p:sldLayoutId id="2147483686" r:id="rId3"/>
    <p:sldLayoutId id="2147483687" r:id="rId4"/>
    <p:sldLayoutId id="2147483688" r:id="rId5"/>
    <p:sldLayoutId id="2147483689" r:id="rId6"/>
    <p:sldLayoutId id="2147483690" r:id="rId7"/>
    <p:sldLayoutId id="2147483691" r:id="rId8"/>
    <p:sldLayoutId id="2147483692" r:id="rId9"/>
    <p:sldLayoutId id="2147483693" r:id="rId10"/>
    <p:sldLayoutId id="2147483694" r:id="rId11"/>
    <p:sldLayoutId id="2147483695" r:id="rId12"/>
    <p:sldLayoutId id="2147483696" r:id="rId13"/>
    <p:sldLayoutId id="2147483697" r:id="rId14"/>
    <p:sldLayoutId id="2147483698" r:id="rId15"/>
    <p:sldLayoutId id="2147483699" r:id="rId16"/>
    <p:sldLayoutId id="2147483700" r:id="rId17"/>
    <p:sldLayoutId id="2147483701" r:id="rId18"/>
    <p:sldLayoutId id="2147483702" r:id="rId19"/>
    <p:sldLayoutId id="2147483703" r:id="rId20"/>
  </p:sldLayoutIdLst>
  <p:txStyles>
    <p:titleStyle>
      <a:lvl1pPr algn="l" defTabSz="914400" rtl="0" eaLnBrk="1" latinLnBrk="0" hangingPunct="1">
        <a:lnSpc>
          <a:spcPct val="100000"/>
        </a:lnSpc>
        <a:spcBef>
          <a:spcPct val="0"/>
        </a:spcBef>
        <a:buNone/>
        <a:defRPr sz="2500" b="1" kern="1200" spc="0" baseline="0">
          <a:ln w="6350" cap="flat">
            <a:noFill/>
            <a:miter lim="800000"/>
          </a:ln>
          <a:solidFill>
            <a:schemeClr val="accent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30400" algn="l" defTabSz="914400" rtl="0" eaLnBrk="1" latinLnBrk="0" hangingPunct="1">
        <a:lnSpc>
          <a:spcPct val="100000"/>
        </a:lnSpc>
        <a:spcBef>
          <a:spcPts val="0"/>
        </a:spcBef>
        <a:spcAft>
          <a:spcPts val="300"/>
        </a:spcAft>
        <a:buSzPct val="110000"/>
        <a:buFont typeface="Wingdings" panose="05000000000000000000" pitchFamily="2" charset="2"/>
        <a:buChar char=""/>
        <a:defRPr lang="en-US" sz="1600" kern="1200" dirty="0">
          <a:solidFill>
            <a:schemeClr val="tx1"/>
          </a:solidFill>
          <a:latin typeface="+mn-lt"/>
          <a:ea typeface="+mn-ea"/>
          <a:cs typeface="+mn-cs"/>
        </a:defRPr>
      </a:lvl2pPr>
      <a:lvl3pPr marL="439200" indent="-208800" algn="l" defTabSz="914400" rtl="0" eaLnBrk="1" latinLnBrk="0" hangingPunct="1">
        <a:lnSpc>
          <a:spcPct val="100000"/>
        </a:lnSpc>
        <a:spcBef>
          <a:spcPts val="0"/>
        </a:spcBef>
        <a:spcAft>
          <a:spcPts val="300"/>
        </a:spcAft>
        <a:buSzPct val="110000"/>
        <a:buFont typeface="Arial" panose="020B0604020202020204" pitchFamily="34" charset="0"/>
        <a:buChar char="‒"/>
        <a:defRPr lang="en-US" sz="1600" kern="1200" dirty="0">
          <a:solidFill>
            <a:schemeClr val="tx1"/>
          </a:solidFill>
          <a:latin typeface="+mn-lt"/>
          <a:ea typeface="+mn-ea"/>
          <a:cs typeface="+mn-cs"/>
        </a:defRPr>
      </a:lvl3pPr>
      <a:lvl4pPr marL="604800" indent="-154800" algn="l" defTabSz="914400" rtl="0" eaLnBrk="1" latinLnBrk="0" hangingPunct="1">
        <a:lnSpc>
          <a:spcPct val="100000"/>
        </a:lnSpc>
        <a:spcBef>
          <a:spcPts val="0"/>
        </a:spcBef>
        <a:spcAft>
          <a:spcPts val="300"/>
        </a:spcAft>
        <a:buFont typeface="Arial" panose="020B0604020202020204" pitchFamily="34" charset="0"/>
        <a:buChar char="•"/>
        <a:defRPr lang="en-US" sz="1600" kern="1200" dirty="0">
          <a:solidFill>
            <a:schemeClr val="tx1"/>
          </a:solidFill>
          <a:latin typeface="+mn-lt"/>
          <a:ea typeface="+mn-ea"/>
          <a:cs typeface="+mn-cs"/>
        </a:defRPr>
      </a:lvl4pPr>
      <a:lvl5pPr marL="813600" indent="-147600" algn="l" defTabSz="914400" rtl="0" eaLnBrk="1" latinLnBrk="0" hangingPunct="1">
        <a:lnSpc>
          <a:spcPct val="100000"/>
        </a:lnSpc>
        <a:spcBef>
          <a:spcPts val="0"/>
        </a:spcBef>
        <a:spcAft>
          <a:spcPts val="300"/>
        </a:spcAft>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25"/>
            </p:custDataLst>
            <p:extLst>
              <p:ext uri="{D42A27DB-BD31-4B8C-83A1-F6EECF244321}">
                <p14:modId xmlns:p14="http://schemas.microsoft.com/office/powerpoint/2010/main" val="6920662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9025" name="think-cell Slide" r:id="rId45" imgW="413" imgH="416" progId="TCLayout.ActiveDocument.1">
                  <p:embed/>
                </p:oleObj>
              </mc:Choice>
              <mc:Fallback>
                <p:oleObj name="think-cell Slide" r:id="rId45" imgW="413" imgH="416" progId="TCLayout.ActiveDocument.1">
                  <p:embed/>
                  <p:pic>
                    <p:nvPicPr>
                      <p:cNvPr id="3" name="Object 6" hidden="1">
                        <a:extLst>
                          <a:ext uri="{FF2B5EF4-FFF2-40B4-BE49-F238E27FC236}">
                            <a16:creationId xmlns:a16="http://schemas.microsoft.com/office/drawing/2014/main" id="{4BC40847-AF8B-4097-9A07-2349A751A051}"/>
                          </a:ext>
                        </a:extLst>
                      </p:cNvPr>
                      <p:cNvPicPr/>
                      <p:nvPr/>
                    </p:nvPicPr>
                    <p:blipFill>
                      <a:blip r:embed="rId4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5B28737-798E-48D4-BBDB-8EB35CB9FFFB}"/>
              </a:ext>
            </a:extLst>
          </p:cNvPr>
          <p:cNvSpPr/>
          <p:nvPr userDrawn="1">
            <p:custDataLst>
              <p:tags r:id="rId26"/>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6" name="4. Footnote" hidden="1">
            <a:extLst>
              <a:ext uri="{FF2B5EF4-FFF2-40B4-BE49-F238E27FC236}">
                <a16:creationId xmlns:a16="http://schemas.microsoft.com/office/drawing/2014/main" id="{772E4927-517C-4D61-9929-9FFDE5F31A03}"/>
              </a:ext>
            </a:extLst>
          </p:cNvPr>
          <p:cNvSpPr txBox="1"/>
          <p:nvPr userDrawn="1">
            <p:custDataLst>
              <p:tags r:id="rId27"/>
            </p:custDataLst>
          </p:nvPr>
        </p:nvSpPr>
        <p:spPr>
          <a:xfrm>
            <a:off x="553972" y="6278400"/>
            <a:ext cx="7278624" cy="123111"/>
          </a:xfrm>
          <a:prstGeom prst="rect">
            <a:avLst/>
          </a:prstGeom>
          <a:noFill/>
        </p:spPr>
        <p:txBody>
          <a:bodyPr wrap="square" lIns="0" tIns="0" rIns="0" b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kern="1200">
                <a:latin typeface="+mn-lt"/>
                <a:ea typeface="+mn-ea"/>
                <a:cs typeface="Arial" panose="020B0604020202020204" pitchFamily="34" charset="0"/>
              </a:rPr>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28"/>
            </p:custDataLst>
          </p:nvPr>
        </p:nvSpPr>
        <p:spPr>
          <a:xfrm>
            <a:off x="554736" y="172212"/>
            <a:ext cx="11082528" cy="731520"/>
          </a:xfrm>
          <a:prstGeom prst="rect">
            <a:avLst/>
          </a:prstGeom>
        </p:spPr>
        <p:txBody>
          <a:bodyPr vert="horz" wrap="square" lIns="0" tIns="0" rIns="0" bIns="0" rtlCol="0" anchor="b" anchorCtr="0">
            <a:noAutofit/>
          </a:bodyPr>
          <a:lstStyle/>
          <a:p>
            <a:r>
              <a:rPr lang="en-US"/>
              <a:t>Click to edit Master title style</a:t>
            </a:r>
          </a:p>
        </p:txBody>
      </p:sp>
      <p:grpSp>
        <p:nvGrpSpPr>
          <p:cNvPr id="59" name="Grid" hidden="1">
            <a:extLst>
              <a:ext uri="{FF2B5EF4-FFF2-40B4-BE49-F238E27FC236}">
                <a16:creationId xmlns:a16="http://schemas.microsoft.com/office/drawing/2014/main" id="{D35250B8-D61E-4F1A-9ACD-6E1BB958B78E}"/>
              </a:ext>
            </a:extLst>
          </p:cNvPr>
          <p:cNvGrpSpPr/>
          <p:nvPr userDrawn="1"/>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rtl="0"/>
              <a:endParaRPr lang="en-US">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pPr rtl="0"/>
              <a:endParaRPr lang="en-US" sz="1323">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sp>
        <p:nvSpPr>
          <p:cNvPr id="4" name="Sticker" hidden="1">
            <a:extLst>
              <a:ext uri="{FF2B5EF4-FFF2-40B4-BE49-F238E27FC236}">
                <a16:creationId xmlns:a16="http://schemas.microsoft.com/office/drawing/2014/main" id="{F9BB011A-568C-4B05-AE57-EB000B2FD8BB}"/>
              </a:ext>
            </a:extLst>
          </p:cNvPr>
          <p:cNvSpPr txBox="1"/>
          <p:nvPr userDrawn="1"/>
        </p:nvSpPr>
        <p:spPr>
          <a:xfrm>
            <a:off x="554736" y="1289273"/>
            <a:ext cx="450444" cy="123111"/>
          </a:xfrm>
          <a:prstGeom prst="rect">
            <a:avLst/>
          </a:prstGeom>
          <a:noFill/>
          <a:ln w="6350">
            <a:noFill/>
            <a:miter lim="800000"/>
          </a:ln>
        </p:spPr>
        <p:txBody>
          <a:bodyPr vert="horz" wrap="none" lIns="0" tIns="0" rIns="0" bIns="0" rtlCol="0">
            <a:spAutoFit/>
          </a:bodyPr>
          <a:lstStyle/>
          <a:p>
            <a:pPr algn="l" rtl="0">
              <a:spcBef>
                <a:spcPts val="300"/>
              </a:spcBef>
              <a:spcAft>
                <a:spcPts val="300"/>
              </a:spcAft>
              <a:buNone/>
            </a:pPr>
            <a:r>
              <a:rPr lang="en-US" sz="800" b="1" cap="all" baseline="0"/>
              <a:t>STICKER</a:t>
            </a:r>
          </a:p>
        </p:txBody>
      </p:sp>
      <p:sp>
        <p:nvSpPr>
          <p:cNvPr id="169" name="ACET" hidden="1">
            <a:extLst>
              <a:ext uri="{FF2B5EF4-FFF2-40B4-BE49-F238E27FC236}">
                <a16:creationId xmlns:a16="http://schemas.microsoft.com/office/drawing/2014/main" id="{62CF7362-20CB-4908-AFFE-D4E2B9A5DF3B}"/>
              </a:ext>
            </a:extLst>
          </p:cNvPr>
          <p:cNvSpPr txBox="1"/>
          <p:nvPr userDrawn="1">
            <p:custDataLst>
              <p:tags r:id="rId29"/>
            </p:custDataLst>
          </p:nvPr>
        </p:nvSpPr>
        <p:spPr>
          <a:xfrm>
            <a:off x="4430628" y="2171700"/>
            <a:ext cx="3049253" cy="538609"/>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spcBef>
                <a:spcPts val="0"/>
              </a:spcBef>
              <a:spcAft>
                <a:spcPts val="600"/>
              </a:spcAft>
            </a:pPr>
            <a:r>
              <a:rPr lang="en-US" sz="1600" b="1"/>
              <a:t>Above Chart Exhibit Title</a:t>
            </a:r>
          </a:p>
          <a:p>
            <a:pPr rtl="0">
              <a:spcBef>
                <a:spcPts val="0"/>
              </a:spcBef>
              <a:spcAft>
                <a:spcPts val="600"/>
              </a:spcAft>
            </a:pPr>
            <a:r>
              <a:rPr lang="en-US" sz="1400"/>
              <a:t>Unit of Measure</a:t>
            </a:r>
          </a:p>
        </p:txBody>
      </p:sp>
      <p:sp>
        <p:nvSpPr>
          <p:cNvPr id="5" name="Text Placeholder 4">
            <a:extLst>
              <a:ext uri="{FF2B5EF4-FFF2-40B4-BE49-F238E27FC236}">
                <a16:creationId xmlns:a16="http://schemas.microsoft.com/office/drawing/2014/main" id="{4C1F3293-4EFE-461D-940D-7EE66BAE31C5}"/>
              </a:ext>
            </a:extLst>
          </p:cNvPr>
          <p:cNvSpPr>
            <a:spLocks noGrp="1"/>
          </p:cNvSpPr>
          <p:nvPr>
            <p:ph type="body" idx="1"/>
          </p:nvPr>
        </p:nvSpPr>
        <p:spPr>
          <a:xfrm>
            <a:off x="554736" y="2171700"/>
            <a:ext cx="11082528" cy="1384995"/>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187" name="LegendBoxes" hidden="1">
            <a:extLst>
              <a:ext uri="{FF2B5EF4-FFF2-40B4-BE49-F238E27FC236}">
                <a16:creationId xmlns:a16="http://schemas.microsoft.com/office/drawing/2014/main" id="{5048A9C9-0655-49B2-A283-6A54678F321B}"/>
              </a:ext>
            </a:extLst>
          </p:cNvPr>
          <p:cNvGrpSpPr/>
          <p:nvPr userDrawn="1"/>
        </p:nvGrpSpPr>
        <p:grpSpPr>
          <a:xfrm>
            <a:off x="10714801" y="4322824"/>
            <a:ext cx="922463" cy="1717282"/>
            <a:chOff x="9585951" y="2980105"/>
            <a:chExt cx="922463" cy="1717282"/>
          </a:xfrm>
        </p:grpSpPr>
        <p:sp>
          <p:nvSpPr>
            <p:cNvPr id="188" name="RectangleLegend1">
              <a:extLst>
                <a:ext uri="{FF2B5EF4-FFF2-40B4-BE49-F238E27FC236}">
                  <a16:creationId xmlns:a16="http://schemas.microsoft.com/office/drawing/2014/main" id="{8F219674-AEDF-41A7-B3C3-07BD8D165776}"/>
                </a:ext>
              </a:extLst>
            </p:cNvPr>
            <p:cNvSpPr/>
            <p:nvPr/>
          </p:nvSpPr>
          <p:spPr>
            <a:xfrm>
              <a:off x="9585951" y="3001463"/>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US" sz="1400">
                <a:solidFill>
                  <a:schemeClr val="tx1"/>
                </a:solidFill>
              </a:endParaRPr>
            </a:p>
          </p:txBody>
        </p:sp>
        <p:sp>
          <p:nvSpPr>
            <p:cNvPr id="189" name="RectangleLegend2">
              <a:extLst>
                <a:ext uri="{FF2B5EF4-FFF2-40B4-BE49-F238E27FC236}">
                  <a16:creationId xmlns:a16="http://schemas.microsoft.com/office/drawing/2014/main" id="{76884974-3CCD-4F11-B109-02708F18B04E}"/>
                </a:ext>
              </a:extLst>
            </p:cNvPr>
            <p:cNvSpPr/>
            <p:nvPr/>
          </p:nvSpPr>
          <p:spPr>
            <a:xfrm>
              <a:off x="9585951" y="3380961"/>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US" sz="1400">
                <a:solidFill>
                  <a:schemeClr val="tx1"/>
                </a:solidFill>
              </a:endParaRPr>
            </a:p>
          </p:txBody>
        </p:sp>
        <p:sp>
          <p:nvSpPr>
            <p:cNvPr id="190" name="RectangleLegend3">
              <a:extLst>
                <a:ext uri="{FF2B5EF4-FFF2-40B4-BE49-F238E27FC236}">
                  <a16:creationId xmlns:a16="http://schemas.microsoft.com/office/drawing/2014/main" id="{D440B2EC-6FE5-4259-BA11-DC2E3B68E637}"/>
                </a:ext>
              </a:extLst>
            </p:cNvPr>
            <p:cNvSpPr/>
            <p:nvPr/>
          </p:nvSpPr>
          <p:spPr>
            <a:xfrm>
              <a:off x="9585951" y="3754557"/>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US" sz="1400">
                <a:solidFill>
                  <a:schemeClr val="tx1"/>
                </a:solidFill>
              </a:endParaRPr>
            </a:p>
          </p:txBody>
        </p:sp>
        <p:sp>
          <p:nvSpPr>
            <p:cNvPr id="191" name="RectangleLegend4">
              <a:extLst>
                <a:ext uri="{FF2B5EF4-FFF2-40B4-BE49-F238E27FC236}">
                  <a16:creationId xmlns:a16="http://schemas.microsoft.com/office/drawing/2014/main" id="{52FE9D34-332E-47CD-94B8-12A069181C03}"/>
                </a:ext>
              </a:extLst>
            </p:cNvPr>
            <p:cNvSpPr/>
            <p:nvPr/>
          </p:nvSpPr>
          <p:spPr>
            <a:xfrm>
              <a:off x="9585951" y="4128153"/>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US" sz="1400">
                <a:solidFill>
                  <a:schemeClr val="tx1"/>
                </a:solidFill>
              </a:endParaRPr>
            </a:p>
          </p:txBody>
        </p:sp>
        <p:sp>
          <p:nvSpPr>
            <p:cNvPr id="192" name="RectangleLegend5">
              <a:extLst>
                <a:ext uri="{FF2B5EF4-FFF2-40B4-BE49-F238E27FC236}">
                  <a16:creationId xmlns:a16="http://schemas.microsoft.com/office/drawing/2014/main" id="{1D6EA8D9-42BE-4743-876B-1050D1436021}"/>
                </a:ext>
              </a:extLst>
            </p:cNvPr>
            <p:cNvSpPr/>
            <p:nvPr/>
          </p:nvSpPr>
          <p:spPr>
            <a:xfrm>
              <a:off x="9585951" y="4501749"/>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US" sz="1400">
                <a:solidFill>
                  <a:schemeClr val="tx1"/>
                </a:solidFill>
              </a:endParaRPr>
            </a:p>
          </p:txBody>
        </p:sp>
        <p:sp>
          <p:nvSpPr>
            <p:cNvPr id="193" name="Legend1">
              <a:extLst>
                <a:ext uri="{FF2B5EF4-FFF2-40B4-BE49-F238E27FC236}">
                  <a16:creationId xmlns:a16="http://schemas.microsoft.com/office/drawing/2014/main" id="{50F3208A-D1A9-4DEE-B968-1381D0DE88E8}"/>
                </a:ext>
              </a:extLst>
            </p:cNvPr>
            <p:cNvSpPr txBox="1"/>
            <p:nvPr/>
          </p:nvSpPr>
          <p:spPr>
            <a:xfrm>
              <a:off x="9912097" y="2980105"/>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en-US" sz="1400"/>
                <a:t>Legend</a:t>
              </a:r>
            </a:p>
          </p:txBody>
        </p:sp>
        <p:sp>
          <p:nvSpPr>
            <p:cNvPr id="194" name="Legend2">
              <a:extLst>
                <a:ext uri="{FF2B5EF4-FFF2-40B4-BE49-F238E27FC236}">
                  <a16:creationId xmlns:a16="http://schemas.microsoft.com/office/drawing/2014/main" id="{69AC8C80-52E4-4497-A147-009E23FB42A5}"/>
                </a:ext>
              </a:extLst>
            </p:cNvPr>
            <p:cNvSpPr txBox="1"/>
            <p:nvPr/>
          </p:nvSpPr>
          <p:spPr>
            <a:xfrm>
              <a:off x="9912097" y="3359603"/>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en-US" sz="1400"/>
                <a:t>Legend</a:t>
              </a:r>
            </a:p>
          </p:txBody>
        </p:sp>
        <p:sp>
          <p:nvSpPr>
            <p:cNvPr id="195" name="Legend3">
              <a:extLst>
                <a:ext uri="{FF2B5EF4-FFF2-40B4-BE49-F238E27FC236}">
                  <a16:creationId xmlns:a16="http://schemas.microsoft.com/office/drawing/2014/main" id="{218BEB5C-C19E-451D-B538-56A492CF74C6}"/>
                </a:ext>
              </a:extLst>
            </p:cNvPr>
            <p:cNvSpPr txBox="1"/>
            <p:nvPr/>
          </p:nvSpPr>
          <p:spPr>
            <a:xfrm>
              <a:off x="9912097" y="3739101"/>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en-US" sz="1400"/>
                <a:t>Legend</a:t>
              </a:r>
            </a:p>
          </p:txBody>
        </p:sp>
        <p:sp>
          <p:nvSpPr>
            <p:cNvPr id="196" name="Legend4">
              <a:extLst>
                <a:ext uri="{FF2B5EF4-FFF2-40B4-BE49-F238E27FC236}">
                  <a16:creationId xmlns:a16="http://schemas.microsoft.com/office/drawing/2014/main" id="{B77C1590-32D9-4A52-8AF0-454D06E80BF2}"/>
                </a:ext>
              </a:extLst>
            </p:cNvPr>
            <p:cNvSpPr txBox="1"/>
            <p:nvPr/>
          </p:nvSpPr>
          <p:spPr>
            <a:xfrm>
              <a:off x="9912097" y="4110522"/>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en-US" sz="1400"/>
                <a:t>Legend</a:t>
              </a:r>
            </a:p>
          </p:txBody>
        </p:sp>
        <p:sp>
          <p:nvSpPr>
            <p:cNvPr id="197" name="Legend5">
              <a:extLst>
                <a:ext uri="{FF2B5EF4-FFF2-40B4-BE49-F238E27FC236}">
                  <a16:creationId xmlns:a16="http://schemas.microsoft.com/office/drawing/2014/main" id="{A40A9DB6-E1B2-47A6-8B66-4FCDC31DD600}"/>
                </a:ext>
              </a:extLst>
            </p:cNvPr>
            <p:cNvSpPr txBox="1"/>
            <p:nvPr/>
          </p:nvSpPr>
          <p:spPr>
            <a:xfrm>
              <a:off x="9912097" y="4481943"/>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en-US" sz="1400"/>
                <a:t>Legend</a:t>
              </a:r>
            </a:p>
          </p:txBody>
        </p:sp>
      </p:grpSp>
      <p:grpSp>
        <p:nvGrpSpPr>
          <p:cNvPr id="148" name="LegendMoons" hidden="1">
            <a:extLst>
              <a:ext uri="{FF2B5EF4-FFF2-40B4-BE49-F238E27FC236}">
                <a16:creationId xmlns:a16="http://schemas.microsoft.com/office/drawing/2014/main" id="{DDFB4BFF-188C-450D-B4D3-DF8BD2DB3D7F}"/>
              </a:ext>
            </a:extLst>
          </p:cNvPr>
          <p:cNvGrpSpPr/>
          <p:nvPr userDrawn="1"/>
        </p:nvGrpSpPr>
        <p:grpSpPr>
          <a:xfrm>
            <a:off x="10688315" y="1374156"/>
            <a:ext cx="948949" cy="1731859"/>
            <a:chOff x="7723680" y="1702457"/>
            <a:chExt cx="948949" cy="1731859"/>
          </a:xfrm>
        </p:grpSpPr>
        <p:sp>
          <p:nvSpPr>
            <p:cNvPr id="149" name="Legend1">
              <a:extLst>
                <a:ext uri="{FF2B5EF4-FFF2-40B4-BE49-F238E27FC236}">
                  <a16:creationId xmlns:a16="http://schemas.microsoft.com/office/drawing/2014/main" id="{66D8D147-F2B4-4250-9C41-767555E14320}"/>
                </a:ext>
              </a:extLst>
            </p:cNvPr>
            <p:cNvSpPr txBox="1"/>
            <p:nvPr/>
          </p:nvSpPr>
          <p:spPr>
            <a:xfrm>
              <a:off x="8076312" y="1709816"/>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en-US" sz="1400"/>
                <a:t>Legend</a:t>
              </a:r>
            </a:p>
          </p:txBody>
        </p:sp>
        <p:sp>
          <p:nvSpPr>
            <p:cNvPr id="150" name="Legend2">
              <a:extLst>
                <a:ext uri="{FF2B5EF4-FFF2-40B4-BE49-F238E27FC236}">
                  <a16:creationId xmlns:a16="http://schemas.microsoft.com/office/drawing/2014/main" id="{E9DCC6EC-92E6-47D0-B23D-94365AC17441}"/>
                </a:ext>
              </a:extLst>
            </p:cNvPr>
            <p:cNvSpPr txBox="1"/>
            <p:nvPr/>
          </p:nvSpPr>
          <p:spPr>
            <a:xfrm>
              <a:off x="8076312" y="2085275"/>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en-US" sz="1400"/>
                <a:t>Legend</a:t>
              </a:r>
            </a:p>
          </p:txBody>
        </p:sp>
        <p:sp>
          <p:nvSpPr>
            <p:cNvPr id="151" name="Legend3">
              <a:extLst>
                <a:ext uri="{FF2B5EF4-FFF2-40B4-BE49-F238E27FC236}">
                  <a16:creationId xmlns:a16="http://schemas.microsoft.com/office/drawing/2014/main" id="{8451F4C0-E484-44FD-B923-EE0B1E1D1274}"/>
                </a:ext>
              </a:extLst>
            </p:cNvPr>
            <p:cNvSpPr txBox="1"/>
            <p:nvPr/>
          </p:nvSpPr>
          <p:spPr>
            <a:xfrm>
              <a:off x="8076312" y="2460734"/>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en-US" sz="1400"/>
                <a:t>Legend</a:t>
              </a:r>
            </a:p>
          </p:txBody>
        </p:sp>
        <p:sp>
          <p:nvSpPr>
            <p:cNvPr id="152" name="Legend4">
              <a:extLst>
                <a:ext uri="{FF2B5EF4-FFF2-40B4-BE49-F238E27FC236}">
                  <a16:creationId xmlns:a16="http://schemas.microsoft.com/office/drawing/2014/main" id="{508A2D78-9A17-4FB2-A405-02E4BB25DD6C}"/>
                </a:ext>
              </a:extLst>
            </p:cNvPr>
            <p:cNvSpPr txBox="1"/>
            <p:nvPr/>
          </p:nvSpPr>
          <p:spPr>
            <a:xfrm>
              <a:off x="8076312" y="2836193"/>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en-US" sz="1400"/>
                <a:t>Legend</a:t>
              </a:r>
            </a:p>
          </p:txBody>
        </p:sp>
        <p:sp>
          <p:nvSpPr>
            <p:cNvPr id="153" name="Legend5">
              <a:extLst>
                <a:ext uri="{FF2B5EF4-FFF2-40B4-BE49-F238E27FC236}">
                  <a16:creationId xmlns:a16="http://schemas.microsoft.com/office/drawing/2014/main" id="{CF32E1C9-EF64-41BC-8B8E-B7FED880E653}"/>
                </a:ext>
              </a:extLst>
            </p:cNvPr>
            <p:cNvSpPr txBox="1"/>
            <p:nvPr/>
          </p:nvSpPr>
          <p:spPr>
            <a:xfrm>
              <a:off x="8076312" y="3211654"/>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en-US" sz="1400"/>
                <a:t>Legend</a:t>
              </a:r>
            </a:p>
          </p:txBody>
        </p:sp>
        <p:grpSp>
          <p:nvGrpSpPr>
            <p:cNvPr id="154" name="MoonLegend1">
              <a:extLst>
                <a:ext uri="{FF2B5EF4-FFF2-40B4-BE49-F238E27FC236}">
                  <a16:creationId xmlns:a16="http://schemas.microsoft.com/office/drawing/2014/main" id="{496CCEDB-0BDA-47D9-9BA4-03BD59D6EEC2}"/>
                </a:ext>
              </a:extLst>
            </p:cNvPr>
            <p:cNvGrpSpPr>
              <a:grpSpLocks noChangeAspect="1"/>
            </p:cNvGrpSpPr>
            <p:nvPr>
              <p:custDataLst>
                <p:tags r:id="rId30"/>
              </p:custDataLst>
            </p:nvPr>
          </p:nvGrpSpPr>
          <p:grpSpPr>
            <a:xfrm>
              <a:off x="7723680" y="1702457"/>
              <a:ext cx="228600" cy="228600"/>
              <a:chOff x="762000" y="1270000"/>
              <a:chExt cx="254000" cy="254000"/>
            </a:xfrm>
          </p:grpSpPr>
          <p:sp>
            <p:nvSpPr>
              <p:cNvPr id="167" name="Oval 166">
                <a:extLst>
                  <a:ext uri="{FF2B5EF4-FFF2-40B4-BE49-F238E27FC236}">
                    <a16:creationId xmlns:a16="http://schemas.microsoft.com/office/drawing/2014/main" id="{F21E8F0F-ACA9-405E-8484-3FE9B6124FFD}"/>
                  </a:ext>
                </a:extLst>
              </p:cNvPr>
              <p:cNvSpPr/>
              <p:nvPr>
                <p:custDataLst>
                  <p:tags r:id="rId43"/>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1400">
                  <a:solidFill>
                    <a:schemeClr val="tx1"/>
                  </a:solidFill>
                </a:endParaRPr>
              </a:p>
            </p:txBody>
          </p:sp>
          <p:sp>
            <p:nvSpPr>
              <p:cNvPr id="168" name="Arc 167">
                <a:extLst>
                  <a:ext uri="{FF2B5EF4-FFF2-40B4-BE49-F238E27FC236}">
                    <a16:creationId xmlns:a16="http://schemas.microsoft.com/office/drawing/2014/main" id="{315D8D40-04AC-475B-AFC0-F08E492D131D}"/>
                  </a:ext>
                </a:extLst>
              </p:cNvPr>
              <p:cNvSpPr/>
              <p:nvPr>
                <p:custDataLst>
                  <p:tags r:id="rId44"/>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sz="1400"/>
              </a:p>
            </p:txBody>
          </p:sp>
        </p:grpSp>
        <p:grpSp>
          <p:nvGrpSpPr>
            <p:cNvPr id="155" name="MoonLegend2">
              <a:extLst>
                <a:ext uri="{FF2B5EF4-FFF2-40B4-BE49-F238E27FC236}">
                  <a16:creationId xmlns:a16="http://schemas.microsoft.com/office/drawing/2014/main" id="{BCF3BE62-91BA-488B-84C7-3FE20CFBDB9A}"/>
                </a:ext>
              </a:extLst>
            </p:cNvPr>
            <p:cNvGrpSpPr>
              <a:grpSpLocks noChangeAspect="1"/>
            </p:cNvGrpSpPr>
            <p:nvPr>
              <p:custDataLst>
                <p:tags r:id="rId31"/>
              </p:custDataLst>
            </p:nvPr>
          </p:nvGrpSpPr>
          <p:grpSpPr>
            <a:xfrm>
              <a:off x="7723680" y="2078270"/>
              <a:ext cx="228600" cy="228600"/>
              <a:chOff x="762000" y="1270000"/>
              <a:chExt cx="254000" cy="254000"/>
            </a:xfrm>
          </p:grpSpPr>
          <p:sp>
            <p:nvSpPr>
              <p:cNvPr id="165" name="Oval 164">
                <a:extLst>
                  <a:ext uri="{FF2B5EF4-FFF2-40B4-BE49-F238E27FC236}">
                    <a16:creationId xmlns:a16="http://schemas.microsoft.com/office/drawing/2014/main" id="{D27FF75E-C9E0-4D28-8F47-85C2D2EE375F}"/>
                  </a:ext>
                </a:extLst>
              </p:cNvPr>
              <p:cNvSpPr/>
              <p:nvPr>
                <p:custDataLst>
                  <p:tags r:id="rId41"/>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1400">
                  <a:solidFill>
                    <a:schemeClr val="tx1"/>
                  </a:solidFill>
                </a:endParaRPr>
              </a:p>
            </p:txBody>
          </p:sp>
          <p:sp>
            <p:nvSpPr>
              <p:cNvPr id="166" name="Arc 165">
                <a:extLst>
                  <a:ext uri="{FF2B5EF4-FFF2-40B4-BE49-F238E27FC236}">
                    <a16:creationId xmlns:a16="http://schemas.microsoft.com/office/drawing/2014/main" id="{BDC4F596-0330-4D95-8A02-83794DACDB00}"/>
                  </a:ext>
                </a:extLst>
              </p:cNvPr>
              <p:cNvSpPr/>
              <p:nvPr>
                <p:custDataLst>
                  <p:tags r:id="rId42"/>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sz="1400"/>
              </a:p>
            </p:txBody>
          </p:sp>
        </p:grpSp>
        <p:grpSp>
          <p:nvGrpSpPr>
            <p:cNvPr id="156" name="MoonLegend3">
              <a:extLst>
                <a:ext uri="{FF2B5EF4-FFF2-40B4-BE49-F238E27FC236}">
                  <a16:creationId xmlns:a16="http://schemas.microsoft.com/office/drawing/2014/main" id="{E4482EDB-85E9-4926-9441-26A85880E202}"/>
                </a:ext>
              </a:extLst>
            </p:cNvPr>
            <p:cNvGrpSpPr>
              <a:grpSpLocks noChangeAspect="1"/>
            </p:cNvGrpSpPr>
            <p:nvPr>
              <p:custDataLst>
                <p:tags r:id="rId32"/>
              </p:custDataLst>
            </p:nvPr>
          </p:nvGrpSpPr>
          <p:grpSpPr>
            <a:xfrm>
              <a:off x="7723680" y="2454085"/>
              <a:ext cx="228600" cy="228600"/>
              <a:chOff x="762000" y="1270000"/>
              <a:chExt cx="254000" cy="254000"/>
            </a:xfrm>
          </p:grpSpPr>
          <p:sp>
            <p:nvSpPr>
              <p:cNvPr id="163" name="Oval 162">
                <a:extLst>
                  <a:ext uri="{FF2B5EF4-FFF2-40B4-BE49-F238E27FC236}">
                    <a16:creationId xmlns:a16="http://schemas.microsoft.com/office/drawing/2014/main" id="{6B270099-CB45-46A3-8BC6-ADF0FABD3567}"/>
                  </a:ext>
                </a:extLst>
              </p:cNvPr>
              <p:cNvSpPr/>
              <p:nvPr>
                <p:custDataLst>
                  <p:tags r:id="rId39"/>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1400">
                  <a:solidFill>
                    <a:schemeClr val="tx1"/>
                  </a:solidFill>
                </a:endParaRPr>
              </a:p>
            </p:txBody>
          </p:sp>
          <p:sp>
            <p:nvSpPr>
              <p:cNvPr id="164" name="Arc 163">
                <a:extLst>
                  <a:ext uri="{FF2B5EF4-FFF2-40B4-BE49-F238E27FC236}">
                    <a16:creationId xmlns:a16="http://schemas.microsoft.com/office/drawing/2014/main" id="{4D910DDA-12F5-450E-85C1-CD98B4A9EE80}"/>
                  </a:ext>
                </a:extLst>
              </p:cNvPr>
              <p:cNvSpPr/>
              <p:nvPr>
                <p:custDataLst>
                  <p:tags r:id="rId40"/>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sz="1400"/>
              </a:p>
            </p:txBody>
          </p:sp>
        </p:grpSp>
        <p:grpSp>
          <p:nvGrpSpPr>
            <p:cNvPr id="157" name="MoonLegend4">
              <a:extLst>
                <a:ext uri="{FF2B5EF4-FFF2-40B4-BE49-F238E27FC236}">
                  <a16:creationId xmlns:a16="http://schemas.microsoft.com/office/drawing/2014/main" id="{2606D4D9-DA1B-4BEB-8CC9-41FDA33CC5A0}"/>
                </a:ext>
              </a:extLst>
            </p:cNvPr>
            <p:cNvGrpSpPr>
              <a:grpSpLocks noChangeAspect="1"/>
            </p:cNvGrpSpPr>
            <p:nvPr>
              <p:custDataLst>
                <p:tags r:id="rId33"/>
              </p:custDataLst>
            </p:nvPr>
          </p:nvGrpSpPr>
          <p:grpSpPr>
            <a:xfrm>
              <a:off x="7723680" y="2829900"/>
              <a:ext cx="228600" cy="228600"/>
              <a:chOff x="762000" y="1270000"/>
              <a:chExt cx="254000" cy="254000"/>
            </a:xfrm>
          </p:grpSpPr>
          <p:sp>
            <p:nvSpPr>
              <p:cNvPr id="161" name="Oval 160">
                <a:extLst>
                  <a:ext uri="{FF2B5EF4-FFF2-40B4-BE49-F238E27FC236}">
                    <a16:creationId xmlns:a16="http://schemas.microsoft.com/office/drawing/2014/main" id="{81477097-8655-4968-A993-EA579ADDDBCF}"/>
                  </a:ext>
                </a:extLst>
              </p:cNvPr>
              <p:cNvSpPr/>
              <p:nvPr>
                <p:custDataLst>
                  <p:tags r:id="rId37"/>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1400">
                  <a:solidFill>
                    <a:schemeClr val="tx1"/>
                  </a:solidFill>
                </a:endParaRPr>
              </a:p>
            </p:txBody>
          </p:sp>
          <p:sp>
            <p:nvSpPr>
              <p:cNvPr id="162" name="Arc 161">
                <a:extLst>
                  <a:ext uri="{FF2B5EF4-FFF2-40B4-BE49-F238E27FC236}">
                    <a16:creationId xmlns:a16="http://schemas.microsoft.com/office/drawing/2014/main" id="{EAFFF099-23A4-4400-9308-28EB2E760A74}"/>
                  </a:ext>
                </a:extLst>
              </p:cNvPr>
              <p:cNvSpPr/>
              <p:nvPr>
                <p:custDataLst>
                  <p:tags r:id="rId38"/>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sz="1400"/>
              </a:p>
            </p:txBody>
          </p:sp>
        </p:grpSp>
        <p:grpSp>
          <p:nvGrpSpPr>
            <p:cNvPr id="158" name="MoonLegend5">
              <a:extLst>
                <a:ext uri="{FF2B5EF4-FFF2-40B4-BE49-F238E27FC236}">
                  <a16:creationId xmlns:a16="http://schemas.microsoft.com/office/drawing/2014/main" id="{157F392C-3A22-465F-B4F0-A7E9FD7A01A1}"/>
                </a:ext>
              </a:extLst>
            </p:cNvPr>
            <p:cNvGrpSpPr>
              <a:grpSpLocks noChangeAspect="1"/>
            </p:cNvGrpSpPr>
            <p:nvPr>
              <p:custDataLst>
                <p:tags r:id="rId34"/>
              </p:custDataLst>
            </p:nvPr>
          </p:nvGrpSpPr>
          <p:grpSpPr>
            <a:xfrm>
              <a:off x="7723680" y="3205716"/>
              <a:ext cx="228600" cy="228600"/>
              <a:chOff x="762000" y="1270000"/>
              <a:chExt cx="254000" cy="254000"/>
            </a:xfrm>
          </p:grpSpPr>
          <p:sp>
            <p:nvSpPr>
              <p:cNvPr id="159" name="Oval 158">
                <a:extLst>
                  <a:ext uri="{FF2B5EF4-FFF2-40B4-BE49-F238E27FC236}">
                    <a16:creationId xmlns:a16="http://schemas.microsoft.com/office/drawing/2014/main" id="{BE9440E9-0BAB-4509-A556-8A80E9683FAB}"/>
                  </a:ext>
                </a:extLst>
              </p:cNvPr>
              <p:cNvSpPr/>
              <p:nvPr>
                <p:custDataLst>
                  <p:tags r:id="rId35"/>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1400">
                  <a:solidFill>
                    <a:schemeClr val="tx1"/>
                  </a:solidFill>
                </a:endParaRPr>
              </a:p>
            </p:txBody>
          </p:sp>
          <p:sp>
            <p:nvSpPr>
              <p:cNvPr id="160" name="Arc 159">
                <a:extLst>
                  <a:ext uri="{FF2B5EF4-FFF2-40B4-BE49-F238E27FC236}">
                    <a16:creationId xmlns:a16="http://schemas.microsoft.com/office/drawing/2014/main" id="{CA6DB424-2E98-4F1D-87A4-EE09FA805687}"/>
                  </a:ext>
                </a:extLst>
              </p:cNvPr>
              <p:cNvSpPr/>
              <p:nvPr>
                <p:custDataLst>
                  <p:tags r:id="rId36"/>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sz="1400"/>
              </a:p>
            </p:txBody>
          </p:sp>
        </p:grpSp>
      </p:grpSp>
      <p:grpSp>
        <p:nvGrpSpPr>
          <p:cNvPr id="179" name="LegendLines" hidden="1">
            <a:extLst>
              <a:ext uri="{FF2B5EF4-FFF2-40B4-BE49-F238E27FC236}">
                <a16:creationId xmlns:a16="http://schemas.microsoft.com/office/drawing/2014/main" id="{BA3F11B7-574B-46B5-AA05-051B7C0195CA}"/>
              </a:ext>
            </a:extLst>
          </p:cNvPr>
          <p:cNvGrpSpPr/>
          <p:nvPr userDrawn="1"/>
        </p:nvGrpSpPr>
        <p:grpSpPr>
          <a:xfrm>
            <a:off x="10424723" y="3235276"/>
            <a:ext cx="1212541" cy="958286"/>
            <a:chOff x="4372690" y="3739101"/>
            <a:chExt cx="1212541" cy="958286"/>
          </a:xfrm>
        </p:grpSpPr>
        <p:sp>
          <p:nvSpPr>
            <p:cNvPr id="180" name="Legend1">
              <a:extLst>
                <a:ext uri="{FF2B5EF4-FFF2-40B4-BE49-F238E27FC236}">
                  <a16:creationId xmlns:a16="http://schemas.microsoft.com/office/drawing/2014/main" id="{A89F3277-B9B0-4605-94B5-1A0F3CF3FD94}"/>
                </a:ext>
              </a:extLst>
            </p:cNvPr>
            <p:cNvSpPr txBox="1"/>
            <p:nvPr/>
          </p:nvSpPr>
          <p:spPr>
            <a:xfrm>
              <a:off x="4988914" y="3739101"/>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en-US" sz="1400"/>
                <a:t>Legend</a:t>
              </a:r>
            </a:p>
          </p:txBody>
        </p:sp>
        <p:sp>
          <p:nvSpPr>
            <p:cNvPr id="181" name="Legend2">
              <a:extLst>
                <a:ext uri="{FF2B5EF4-FFF2-40B4-BE49-F238E27FC236}">
                  <a16:creationId xmlns:a16="http://schemas.microsoft.com/office/drawing/2014/main" id="{728FD0F6-6F17-4DBC-A433-275600325C11}"/>
                </a:ext>
              </a:extLst>
            </p:cNvPr>
            <p:cNvSpPr txBox="1"/>
            <p:nvPr/>
          </p:nvSpPr>
          <p:spPr>
            <a:xfrm>
              <a:off x="4988914" y="4110522"/>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en-US" sz="1400"/>
                <a:t>Legend</a:t>
              </a:r>
            </a:p>
          </p:txBody>
        </p:sp>
        <p:sp>
          <p:nvSpPr>
            <p:cNvPr id="182" name="Legend3">
              <a:extLst>
                <a:ext uri="{FF2B5EF4-FFF2-40B4-BE49-F238E27FC236}">
                  <a16:creationId xmlns:a16="http://schemas.microsoft.com/office/drawing/2014/main" id="{824D0AAE-0E8B-4539-A5E0-724A7C2C5FB7}"/>
                </a:ext>
              </a:extLst>
            </p:cNvPr>
            <p:cNvSpPr txBox="1"/>
            <p:nvPr/>
          </p:nvSpPr>
          <p:spPr>
            <a:xfrm>
              <a:off x="4988914" y="4481943"/>
              <a:ext cx="596317" cy="215444"/>
            </a:xfrm>
            <a:prstGeom prst="rect">
              <a:avLst/>
            </a:prstGeom>
            <a:noFill/>
            <a:ln>
              <a:noFill/>
              <a:miter lim="800000"/>
            </a:ln>
          </p:spPr>
          <p:txBody>
            <a:bodyPr wrap="none" lIns="0" tIns="0" rIns="0" bIns="0" rtlCol="0" anchor="ctr" anchorCtr="0">
              <a:spAutoFit/>
            </a:bodyPr>
            <a:lstStyle/>
            <a:p>
              <a:pPr rtl="0">
                <a:spcAft>
                  <a:spcPts val="600"/>
                </a:spcAft>
              </a:pPr>
              <a:r>
                <a:rPr lang="en-US" sz="1400"/>
                <a:t>Legend</a:t>
              </a:r>
            </a:p>
          </p:txBody>
        </p:sp>
        <p:sp>
          <p:nvSpPr>
            <p:cNvPr id="183" name="LineLegend3">
              <a:extLst>
                <a:ext uri="{FF2B5EF4-FFF2-40B4-BE49-F238E27FC236}">
                  <a16:creationId xmlns:a16="http://schemas.microsoft.com/office/drawing/2014/main" id="{15B966CE-74A4-42D7-84D1-50EE1BD807B7}"/>
                </a:ext>
              </a:extLst>
            </p:cNvPr>
            <p:cNvSpPr>
              <a:spLocks noChangeShapeType="1"/>
            </p:cNvSpPr>
            <p:nvPr/>
          </p:nvSpPr>
          <p:spPr bwMode="gray">
            <a:xfrm>
              <a:off x="4372690" y="4588113"/>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pPr rtl="0"/>
              <a:endParaRPr lang="en-US" sz="1400" baseline="0">
                <a:latin typeface="+mn-lt"/>
                <a:ea typeface="+mn-ea"/>
              </a:endParaRPr>
            </a:p>
          </p:txBody>
        </p:sp>
        <p:sp>
          <p:nvSpPr>
            <p:cNvPr id="184" name="LineLegend2">
              <a:extLst>
                <a:ext uri="{FF2B5EF4-FFF2-40B4-BE49-F238E27FC236}">
                  <a16:creationId xmlns:a16="http://schemas.microsoft.com/office/drawing/2014/main" id="{4AD11E2E-205C-4B89-BD31-DA18921C3385}"/>
                </a:ext>
              </a:extLst>
            </p:cNvPr>
            <p:cNvSpPr>
              <a:spLocks noChangeShapeType="1"/>
            </p:cNvSpPr>
            <p:nvPr/>
          </p:nvSpPr>
          <p:spPr bwMode="gray">
            <a:xfrm>
              <a:off x="4372690" y="4214754"/>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pPr rtl="0"/>
              <a:endParaRPr lang="en-US" sz="1400" baseline="0">
                <a:latin typeface="+mn-lt"/>
                <a:ea typeface="+mn-ea"/>
              </a:endParaRPr>
            </a:p>
          </p:txBody>
        </p:sp>
        <p:sp>
          <p:nvSpPr>
            <p:cNvPr id="185" name="LineLegend1">
              <a:extLst>
                <a:ext uri="{FF2B5EF4-FFF2-40B4-BE49-F238E27FC236}">
                  <a16:creationId xmlns:a16="http://schemas.microsoft.com/office/drawing/2014/main" id="{393D5D55-EAFF-4EBE-B2CF-AF057C324E68}"/>
                </a:ext>
              </a:extLst>
            </p:cNvPr>
            <p:cNvSpPr>
              <a:spLocks noChangeShapeType="1"/>
            </p:cNvSpPr>
            <p:nvPr/>
          </p:nvSpPr>
          <p:spPr bwMode="gray">
            <a:xfrm>
              <a:off x="4372690" y="3846823"/>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pPr rtl="0"/>
              <a:endParaRPr lang="en-US" sz="1400" baseline="0">
                <a:latin typeface="+mn-lt"/>
                <a:ea typeface="+mn-ea"/>
              </a:endParaRPr>
            </a:p>
          </p:txBody>
        </p:sp>
      </p:grpSp>
      <p:pic>
        <p:nvPicPr>
          <p:cNvPr id="170" name="Picture 169">
            <a:extLst>
              <a:ext uri="{FF2B5EF4-FFF2-40B4-BE49-F238E27FC236}">
                <a16:creationId xmlns:a16="http://schemas.microsoft.com/office/drawing/2014/main" id="{174F6ACB-9B55-4A9C-88E5-35AF1D63C494}"/>
              </a:ext>
            </a:extLst>
          </p:cNvPr>
          <p:cNvPicPr>
            <a:picLocks noChangeAspect="1"/>
          </p:cNvPicPr>
          <p:nvPr userDrawn="1"/>
        </p:nvPicPr>
        <p:blipFill>
          <a:blip r:embed="rId47"/>
          <a:stretch>
            <a:fillRect/>
          </a:stretch>
        </p:blipFill>
        <p:spPr>
          <a:xfrm>
            <a:off x="10135026" y="6373368"/>
            <a:ext cx="1159550" cy="252852"/>
          </a:xfrm>
          <a:prstGeom prst="rect">
            <a:avLst/>
          </a:prstGeom>
        </p:spPr>
      </p:pic>
    </p:spTree>
    <p:extLst>
      <p:ext uri="{BB962C8B-B14F-4D97-AF65-F5344CB8AC3E}">
        <p14:creationId xmlns:p14="http://schemas.microsoft.com/office/powerpoint/2010/main" val="3042534894"/>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Lst>
  <p:txStyles>
    <p:titleStyle>
      <a:lvl1pPr algn="l" defTabSz="914400" rtl="0" eaLnBrk="1" latinLnBrk="0" hangingPunct="1">
        <a:lnSpc>
          <a:spcPct val="100000"/>
        </a:lnSpc>
        <a:spcBef>
          <a:spcPct val="0"/>
        </a:spcBef>
        <a:buNone/>
        <a:defRPr sz="2500" b="1" kern="1200" spc="0" baseline="0">
          <a:ln w="6350" cap="flat">
            <a:noFill/>
            <a:miter lim="800000"/>
          </a:ln>
          <a:solidFill>
            <a:schemeClr val="accent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30400" algn="l" defTabSz="914400" rtl="0" eaLnBrk="1" latinLnBrk="0" hangingPunct="1">
        <a:lnSpc>
          <a:spcPct val="100000"/>
        </a:lnSpc>
        <a:spcBef>
          <a:spcPts val="0"/>
        </a:spcBef>
        <a:spcAft>
          <a:spcPts val="300"/>
        </a:spcAft>
        <a:buSzPct val="110000"/>
        <a:buFont typeface="Wingdings" panose="05000000000000000000" pitchFamily="2" charset="2"/>
        <a:buChar char=""/>
        <a:defRPr lang="en-US" sz="1600" kern="1200" dirty="0">
          <a:solidFill>
            <a:schemeClr val="tx1"/>
          </a:solidFill>
          <a:latin typeface="+mn-lt"/>
          <a:ea typeface="+mn-ea"/>
          <a:cs typeface="+mn-cs"/>
        </a:defRPr>
      </a:lvl2pPr>
      <a:lvl3pPr marL="439200" indent="-208800" algn="l" defTabSz="914400" rtl="0" eaLnBrk="1" latinLnBrk="0" hangingPunct="1">
        <a:lnSpc>
          <a:spcPct val="100000"/>
        </a:lnSpc>
        <a:spcBef>
          <a:spcPts val="0"/>
        </a:spcBef>
        <a:spcAft>
          <a:spcPts val="300"/>
        </a:spcAft>
        <a:buSzPct val="110000"/>
        <a:buFont typeface="Arial" panose="020B0604020202020204" pitchFamily="34" charset="0"/>
        <a:buChar char="‒"/>
        <a:defRPr lang="en-US" sz="1600" kern="1200" dirty="0">
          <a:solidFill>
            <a:schemeClr val="tx1"/>
          </a:solidFill>
          <a:latin typeface="+mn-lt"/>
          <a:ea typeface="+mn-ea"/>
          <a:cs typeface="+mn-cs"/>
        </a:defRPr>
      </a:lvl3pPr>
      <a:lvl4pPr marL="604800" indent="-154800" algn="l" defTabSz="914400" rtl="0" eaLnBrk="1" latinLnBrk="0" hangingPunct="1">
        <a:lnSpc>
          <a:spcPct val="100000"/>
        </a:lnSpc>
        <a:spcBef>
          <a:spcPts val="0"/>
        </a:spcBef>
        <a:spcAft>
          <a:spcPts val="300"/>
        </a:spcAft>
        <a:buFont typeface="Arial" panose="020B0604020202020204" pitchFamily="34" charset="0"/>
        <a:buChar char="•"/>
        <a:defRPr lang="en-US" sz="1600" kern="1200" dirty="0">
          <a:solidFill>
            <a:schemeClr val="tx1"/>
          </a:solidFill>
          <a:latin typeface="+mn-lt"/>
          <a:ea typeface="+mn-ea"/>
          <a:cs typeface="+mn-cs"/>
        </a:defRPr>
      </a:lvl4pPr>
      <a:lvl5pPr marL="813600" indent="-147600" algn="l" defTabSz="914400" rtl="0" eaLnBrk="1" latinLnBrk="0" hangingPunct="1">
        <a:lnSpc>
          <a:spcPct val="100000"/>
        </a:lnSpc>
        <a:spcBef>
          <a:spcPts val="0"/>
        </a:spcBef>
        <a:spcAft>
          <a:spcPts val="300"/>
        </a:spcAft>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5.xml"/></Relationships>
</file>

<file path=ppt/slides/_rels/slide10.xml.rels><?xml version="1.0" encoding="UTF-8" standalone="yes"?>
<Relationships xmlns="http://schemas.openxmlformats.org/package/2006/relationships"><Relationship Id="rId13" Type="http://schemas.openxmlformats.org/officeDocument/2006/relationships/slideLayout" Target="../slideLayouts/slideLayout141.xml"/><Relationship Id="rId18" Type="http://schemas.openxmlformats.org/officeDocument/2006/relationships/image" Target="../media/image19.png"/><Relationship Id="rId26" Type="http://schemas.openxmlformats.org/officeDocument/2006/relationships/image" Target="../media/image27.png"/><Relationship Id="rId21" Type="http://schemas.openxmlformats.org/officeDocument/2006/relationships/image" Target="../media/image22.svg"/><Relationship Id="rId34" Type="http://schemas.openxmlformats.org/officeDocument/2006/relationships/image" Target="../media/image35.png"/><Relationship Id="rId7" Type="http://schemas.openxmlformats.org/officeDocument/2006/relationships/tags" Target="../tags/tag306.xml"/><Relationship Id="rId12" Type="http://schemas.openxmlformats.org/officeDocument/2006/relationships/tags" Target="../tags/tag311.xml"/><Relationship Id="rId17" Type="http://schemas.openxmlformats.org/officeDocument/2006/relationships/image" Target="../media/image18.svg"/><Relationship Id="rId25" Type="http://schemas.openxmlformats.org/officeDocument/2006/relationships/image" Target="../media/image26.svg"/><Relationship Id="rId33" Type="http://schemas.openxmlformats.org/officeDocument/2006/relationships/image" Target="../media/image34.svg"/><Relationship Id="rId2" Type="http://schemas.openxmlformats.org/officeDocument/2006/relationships/tags" Target="../tags/tag301.xml"/><Relationship Id="rId16" Type="http://schemas.openxmlformats.org/officeDocument/2006/relationships/image" Target="../media/image17.png"/><Relationship Id="rId20" Type="http://schemas.openxmlformats.org/officeDocument/2006/relationships/image" Target="../media/image21.png"/><Relationship Id="rId29" Type="http://schemas.openxmlformats.org/officeDocument/2006/relationships/image" Target="../media/image30.svg"/><Relationship Id="rId1" Type="http://schemas.openxmlformats.org/officeDocument/2006/relationships/vmlDrawing" Target="../drawings/vmlDrawing45.vml"/><Relationship Id="rId6" Type="http://schemas.openxmlformats.org/officeDocument/2006/relationships/tags" Target="../tags/tag305.xml"/><Relationship Id="rId11" Type="http://schemas.openxmlformats.org/officeDocument/2006/relationships/tags" Target="../tags/tag310.xml"/><Relationship Id="rId24" Type="http://schemas.openxmlformats.org/officeDocument/2006/relationships/image" Target="../media/image25.png"/><Relationship Id="rId32" Type="http://schemas.openxmlformats.org/officeDocument/2006/relationships/image" Target="../media/image33.png"/><Relationship Id="rId37" Type="http://schemas.openxmlformats.org/officeDocument/2006/relationships/image" Target="../media/image38.svg"/><Relationship Id="rId5" Type="http://schemas.openxmlformats.org/officeDocument/2006/relationships/tags" Target="../tags/tag304.xml"/><Relationship Id="rId15" Type="http://schemas.openxmlformats.org/officeDocument/2006/relationships/image" Target="../media/image16.emf"/><Relationship Id="rId23" Type="http://schemas.openxmlformats.org/officeDocument/2006/relationships/image" Target="../media/image24.svg"/><Relationship Id="rId28" Type="http://schemas.openxmlformats.org/officeDocument/2006/relationships/image" Target="../media/image29.png"/><Relationship Id="rId36" Type="http://schemas.openxmlformats.org/officeDocument/2006/relationships/image" Target="../media/image37.png"/><Relationship Id="rId10" Type="http://schemas.openxmlformats.org/officeDocument/2006/relationships/tags" Target="../tags/tag309.xml"/><Relationship Id="rId19" Type="http://schemas.openxmlformats.org/officeDocument/2006/relationships/image" Target="../media/image20.svg"/><Relationship Id="rId31" Type="http://schemas.openxmlformats.org/officeDocument/2006/relationships/image" Target="../media/image32.svg"/><Relationship Id="rId4" Type="http://schemas.openxmlformats.org/officeDocument/2006/relationships/tags" Target="../tags/tag303.xml"/><Relationship Id="rId9" Type="http://schemas.openxmlformats.org/officeDocument/2006/relationships/tags" Target="../tags/tag308.xml"/><Relationship Id="rId14" Type="http://schemas.openxmlformats.org/officeDocument/2006/relationships/oleObject" Target="../embeddings/oleObject45.bin"/><Relationship Id="rId22" Type="http://schemas.openxmlformats.org/officeDocument/2006/relationships/image" Target="../media/image23.png"/><Relationship Id="rId27" Type="http://schemas.openxmlformats.org/officeDocument/2006/relationships/image" Target="../media/image28.svg"/><Relationship Id="rId30" Type="http://schemas.openxmlformats.org/officeDocument/2006/relationships/image" Target="../media/image31.png"/><Relationship Id="rId35" Type="http://schemas.openxmlformats.org/officeDocument/2006/relationships/image" Target="../media/image36.svg"/><Relationship Id="rId8" Type="http://schemas.openxmlformats.org/officeDocument/2006/relationships/tags" Target="../tags/tag307.xml"/><Relationship Id="rId3" Type="http://schemas.openxmlformats.org/officeDocument/2006/relationships/tags" Target="../tags/tag302.xml"/></Relationships>
</file>

<file path=ppt/slides/_rels/slide10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1.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15.xml"/></Relationships>
</file>

<file path=ppt/slides/_rels/slide102.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15.xml"/></Relationships>
</file>

<file path=ppt/slides/_rels/slide103.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04.xml.rels><?xml version="1.0" encoding="UTF-8" standalone="yes"?>
<Relationships xmlns="http://schemas.openxmlformats.org/package/2006/relationships"><Relationship Id="rId8" Type="http://schemas.openxmlformats.org/officeDocument/2006/relationships/image" Target="../media/image182.svg"/><Relationship Id="rId3" Type="http://schemas.openxmlformats.org/officeDocument/2006/relationships/image" Target="../media/image177.png"/><Relationship Id="rId7" Type="http://schemas.openxmlformats.org/officeDocument/2006/relationships/image" Target="../media/image181.png"/><Relationship Id="rId2" Type="http://schemas.openxmlformats.org/officeDocument/2006/relationships/notesSlide" Target="../notesSlides/notesSlide44.xml"/><Relationship Id="rId1" Type="http://schemas.openxmlformats.org/officeDocument/2006/relationships/slideLayout" Target="../slideLayouts/slideLayout16.xml"/><Relationship Id="rId6" Type="http://schemas.openxmlformats.org/officeDocument/2006/relationships/image" Target="../media/image180.svg"/><Relationship Id="rId5" Type="http://schemas.openxmlformats.org/officeDocument/2006/relationships/image" Target="../media/image179.png"/><Relationship Id="rId4" Type="http://schemas.openxmlformats.org/officeDocument/2006/relationships/image" Target="../media/image178.svg"/></Relationships>
</file>

<file path=ppt/slides/_rels/slide105.xml.rels><?xml version="1.0" encoding="UTF-8" standalone="yes"?>
<Relationships xmlns="http://schemas.openxmlformats.org/package/2006/relationships"><Relationship Id="rId8" Type="http://schemas.openxmlformats.org/officeDocument/2006/relationships/image" Target="../media/image189.png"/><Relationship Id="rId3" Type="http://schemas.openxmlformats.org/officeDocument/2006/relationships/image" Target="../media/image184.svg"/><Relationship Id="rId7" Type="http://schemas.openxmlformats.org/officeDocument/2006/relationships/image" Target="../media/image188.svg"/><Relationship Id="rId2" Type="http://schemas.openxmlformats.org/officeDocument/2006/relationships/image" Target="../media/image183.png"/><Relationship Id="rId1" Type="http://schemas.openxmlformats.org/officeDocument/2006/relationships/slideLayout" Target="../slideLayouts/slideLayout16.xml"/><Relationship Id="rId6" Type="http://schemas.openxmlformats.org/officeDocument/2006/relationships/image" Target="../media/image187.png"/><Relationship Id="rId5" Type="http://schemas.openxmlformats.org/officeDocument/2006/relationships/image" Target="../media/image186.svg"/><Relationship Id="rId4" Type="http://schemas.openxmlformats.org/officeDocument/2006/relationships/image" Target="../media/image185.png"/><Relationship Id="rId9" Type="http://schemas.openxmlformats.org/officeDocument/2006/relationships/image" Target="../media/image190.svg"/></Relationships>
</file>

<file path=ppt/slides/_rels/slide106.xml.rels><?xml version="1.0" encoding="UTF-8" standalone="yes"?>
<Relationships xmlns="http://schemas.openxmlformats.org/package/2006/relationships"><Relationship Id="rId3" Type="http://schemas.openxmlformats.org/officeDocument/2006/relationships/image" Target="../media/image192.svg"/><Relationship Id="rId2" Type="http://schemas.openxmlformats.org/officeDocument/2006/relationships/image" Target="../media/image191.png"/><Relationship Id="rId1" Type="http://schemas.openxmlformats.org/officeDocument/2006/relationships/slideLayout" Target="../slideLayouts/slideLayout16.xml"/><Relationship Id="rId5" Type="http://schemas.openxmlformats.org/officeDocument/2006/relationships/image" Target="../media/image194.svg"/><Relationship Id="rId4" Type="http://schemas.openxmlformats.org/officeDocument/2006/relationships/image" Target="../media/image193.png"/></Relationships>
</file>

<file path=ppt/slides/_rels/slide107.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15.xml"/></Relationships>
</file>

<file path=ppt/slides/_rels/slide108.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31.xml"/></Relationships>
</file>

<file path=ppt/slides/_rels/slide109.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15.xml"/></Relationships>
</file>

<file path=ppt/slides/_rels/slide11.xml.rels><?xml version="1.0" encoding="UTF-8" standalone="yes"?>
<Relationships xmlns="http://schemas.openxmlformats.org/package/2006/relationships"><Relationship Id="rId8" Type="http://schemas.openxmlformats.org/officeDocument/2006/relationships/tags" Target="../tags/tag318.xml"/><Relationship Id="rId13" Type="http://schemas.openxmlformats.org/officeDocument/2006/relationships/tags" Target="../tags/tag323.xml"/><Relationship Id="rId18" Type="http://schemas.openxmlformats.org/officeDocument/2006/relationships/tags" Target="../tags/tag328.xml"/><Relationship Id="rId26" Type="http://schemas.openxmlformats.org/officeDocument/2006/relationships/slideLayout" Target="../slideLayouts/slideLayout141.xml"/><Relationship Id="rId3" Type="http://schemas.openxmlformats.org/officeDocument/2006/relationships/tags" Target="../tags/tag313.xml"/><Relationship Id="rId21" Type="http://schemas.openxmlformats.org/officeDocument/2006/relationships/tags" Target="../tags/tag331.xml"/><Relationship Id="rId7" Type="http://schemas.openxmlformats.org/officeDocument/2006/relationships/tags" Target="../tags/tag317.xml"/><Relationship Id="rId12" Type="http://schemas.openxmlformats.org/officeDocument/2006/relationships/tags" Target="../tags/tag322.xml"/><Relationship Id="rId17" Type="http://schemas.openxmlformats.org/officeDocument/2006/relationships/tags" Target="../tags/tag327.xml"/><Relationship Id="rId25" Type="http://schemas.openxmlformats.org/officeDocument/2006/relationships/tags" Target="../tags/tag335.xml"/><Relationship Id="rId2" Type="http://schemas.openxmlformats.org/officeDocument/2006/relationships/tags" Target="../tags/tag312.xml"/><Relationship Id="rId16" Type="http://schemas.openxmlformats.org/officeDocument/2006/relationships/tags" Target="../tags/tag326.xml"/><Relationship Id="rId20" Type="http://schemas.openxmlformats.org/officeDocument/2006/relationships/tags" Target="../tags/tag330.xml"/><Relationship Id="rId29" Type="http://schemas.openxmlformats.org/officeDocument/2006/relationships/chart" Target="../charts/chart3.xml"/><Relationship Id="rId1" Type="http://schemas.openxmlformats.org/officeDocument/2006/relationships/vmlDrawing" Target="../drawings/vmlDrawing46.vml"/><Relationship Id="rId6" Type="http://schemas.openxmlformats.org/officeDocument/2006/relationships/tags" Target="../tags/tag316.xml"/><Relationship Id="rId11" Type="http://schemas.openxmlformats.org/officeDocument/2006/relationships/tags" Target="../tags/tag321.xml"/><Relationship Id="rId24" Type="http://schemas.openxmlformats.org/officeDocument/2006/relationships/tags" Target="../tags/tag334.xml"/><Relationship Id="rId5" Type="http://schemas.openxmlformats.org/officeDocument/2006/relationships/tags" Target="../tags/tag315.xml"/><Relationship Id="rId15" Type="http://schemas.openxmlformats.org/officeDocument/2006/relationships/tags" Target="../tags/tag325.xml"/><Relationship Id="rId23" Type="http://schemas.openxmlformats.org/officeDocument/2006/relationships/tags" Target="../tags/tag333.xml"/><Relationship Id="rId28" Type="http://schemas.openxmlformats.org/officeDocument/2006/relationships/image" Target="../media/image16.emf"/><Relationship Id="rId10" Type="http://schemas.openxmlformats.org/officeDocument/2006/relationships/tags" Target="../tags/tag320.xml"/><Relationship Id="rId19" Type="http://schemas.openxmlformats.org/officeDocument/2006/relationships/tags" Target="../tags/tag329.xml"/><Relationship Id="rId4" Type="http://schemas.openxmlformats.org/officeDocument/2006/relationships/tags" Target="../tags/tag314.xml"/><Relationship Id="rId9" Type="http://schemas.openxmlformats.org/officeDocument/2006/relationships/tags" Target="../tags/tag319.xml"/><Relationship Id="rId14" Type="http://schemas.openxmlformats.org/officeDocument/2006/relationships/tags" Target="../tags/tag324.xml"/><Relationship Id="rId22" Type="http://schemas.openxmlformats.org/officeDocument/2006/relationships/tags" Target="../tags/tag332.xml"/><Relationship Id="rId27" Type="http://schemas.openxmlformats.org/officeDocument/2006/relationships/oleObject" Target="../embeddings/oleObject46.bin"/></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124.xml"/><Relationship Id="rId2" Type="http://schemas.openxmlformats.org/officeDocument/2006/relationships/tags" Target="../tags/tag337.xml"/><Relationship Id="rId1" Type="http://schemas.openxmlformats.org/officeDocument/2006/relationships/tags" Target="../tags/tag336.xml"/><Relationship Id="rId5" Type="http://schemas.openxmlformats.org/officeDocument/2006/relationships/image" Target="../media/image40.svg"/><Relationship Id="rId4" Type="http://schemas.openxmlformats.org/officeDocument/2006/relationships/image" Target="../media/image39.png"/></Relationships>
</file>

<file path=ppt/slides/_rels/slide13.xml.rels><?xml version="1.0" encoding="UTF-8" standalone="yes"?>
<Relationships xmlns="http://schemas.openxmlformats.org/package/2006/relationships"><Relationship Id="rId13" Type="http://schemas.openxmlformats.org/officeDocument/2006/relationships/tags" Target="../tags/tag350.xml"/><Relationship Id="rId18" Type="http://schemas.openxmlformats.org/officeDocument/2006/relationships/tags" Target="../tags/tag355.xml"/><Relationship Id="rId26" Type="http://schemas.openxmlformats.org/officeDocument/2006/relationships/tags" Target="../tags/tag363.xml"/><Relationship Id="rId39" Type="http://schemas.openxmlformats.org/officeDocument/2006/relationships/tags" Target="../tags/tag376.xml"/><Relationship Id="rId21" Type="http://schemas.openxmlformats.org/officeDocument/2006/relationships/tags" Target="../tags/tag358.xml"/><Relationship Id="rId34" Type="http://schemas.openxmlformats.org/officeDocument/2006/relationships/tags" Target="../tags/tag371.xml"/><Relationship Id="rId42" Type="http://schemas.openxmlformats.org/officeDocument/2006/relationships/tags" Target="../tags/tag379.xml"/><Relationship Id="rId47" Type="http://schemas.openxmlformats.org/officeDocument/2006/relationships/chart" Target="../charts/chart4.xml"/><Relationship Id="rId7" Type="http://schemas.openxmlformats.org/officeDocument/2006/relationships/tags" Target="../tags/tag344.xml"/><Relationship Id="rId2" Type="http://schemas.openxmlformats.org/officeDocument/2006/relationships/tags" Target="../tags/tag339.xml"/><Relationship Id="rId16" Type="http://schemas.openxmlformats.org/officeDocument/2006/relationships/tags" Target="../tags/tag353.xml"/><Relationship Id="rId29" Type="http://schemas.openxmlformats.org/officeDocument/2006/relationships/tags" Target="../tags/tag366.xml"/><Relationship Id="rId1" Type="http://schemas.openxmlformats.org/officeDocument/2006/relationships/tags" Target="../tags/tag338.xml"/><Relationship Id="rId6" Type="http://schemas.openxmlformats.org/officeDocument/2006/relationships/tags" Target="../tags/tag343.xml"/><Relationship Id="rId11" Type="http://schemas.openxmlformats.org/officeDocument/2006/relationships/tags" Target="../tags/tag348.xml"/><Relationship Id="rId24" Type="http://schemas.openxmlformats.org/officeDocument/2006/relationships/tags" Target="../tags/tag361.xml"/><Relationship Id="rId32" Type="http://schemas.openxmlformats.org/officeDocument/2006/relationships/tags" Target="../tags/tag369.xml"/><Relationship Id="rId37" Type="http://schemas.openxmlformats.org/officeDocument/2006/relationships/tags" Target="../tags/tag374.xml"/><Relationship Id="rId40" Type="http://schemas.openxmlformats.org/officeDocument/2006/relationships/tags" Target="../tags/tag377.xml"/><Relationship Id="rId45" Type="http://schemas.openxmlformats.org/officeDocument/2006/relationships/tags" Target="../tags/tag382.xml"/><Relationship Id="rId5" Type="http://schemas.openxmlformats.org/officeDocument/2006/relationships/tags" Target="../tags/tag342.xml"/><Relationship Id="rId15" Type="http://schemas.openxmlformats.org/officeDocument/2006/relationships/tags" Target="../tags/tag352.xml"/><Relationship Id="rId23" Type="http://schemas.openxmlformats.org/officeDocument/2006/relationships/tags" Target="../tags/tag360.xml"/><Relationship Id="rId28" Type="http://schemas.openxmlformats.org/officeDocument/2006/relationships/tags" Target="../tags/tag365.xml"/><Relationship Id="rId36" Type="http://schemas.openxmlformats.org/officeDocument/2006/relationships/tags" Target="../tags/tag373.xml"/><Relationship Id="rId10" Type="http://schemas.openxmlformats.org/officeDocument/2006/relationships/tags" Target="../tags/tag347.xml"/><Relationship Id="rId19" Type="http://schemas.openxmlformats.org/officeDocument/2006/relationships/tags" Target="../tags/tag356.xml"/><Relationship Id="rId31" Type="http://schemas.openxmlformats.org/officeDocument/2006/relationships/tags" Target="../tags/tag368.xml"/><Relationship Id="rId44" Type="http://schemas.openxmlformats.org/officeDocument/2006/relationships/tags" Target="../tags/tag381.xml"/><Relationship Id="rId4" Type="http://schemas.openxmlformats.org/officeDocument/2006/relationships/tags" Target="../tags/tag341.xml"/><Relationship Id="rId9" Type="http://schemas.openxmlformats.org/officeDocument/2006/relationships/tags" Target="../tags/tag346.xml"/><Relationship Id="rId14" Type="http://schemas.openxmlformats.org/officeDocument/2006/relationships/tags" Target="../tags/tag351.xml"/><Relationship Id="rId22" Type="http://schemas.openxmlformats.org/officeDocument/2006/relationships/tags" Target="../tags/tag359.xml"/><Relationship Id="rId27" Type="http://schemas.openxmlformats.org/officeDocument/2006/relationships/tags" Target="../tags/tag364.xml"/><Relationship Id="rId30" Type="http://schemas.openxmlformats.org/officeDocument/2006/relationships/tags" Target="../tags/tag367.xml"/><Relationship Id="rId35" Type="http://schemas.openxmlformats.org/officeDocument/2006/relationships/tags" Target="../tags/tag372.xml"/><Relationship Id="rId43" Type="http://schemas.openxmlformats.org/officeDocument/2006/relationships/tags" Target="../tags/tag380.xml"/><Relationship Id="rId48" Type="http://schemas.openxmlformats.org/officeDocument/2006/relationships/chart" Target="../charts/chart5.xml"/><Relationship Id="rId8" Type="http://schemas.openxmlformats.org/officeDocument/2006/relationships/tags" Target="../tags/tag345.xml"/><Relationship Id="rId3" Type="http://schemas.openxmlformats.org/officeDocument/2006/relationships/tags" Target="../tags/tag340.xml"/><Relationship Id="rId12" Type="http://schemas.openxmlformats.org/officeDocument/2006/relationships/tags" Target="../tags/tag349.xml"/><Relationship Id="rId17" Type="http://schemas.openxmlformats.org/officeDocument/2006/relationships/tags" Target="../tags/tag354.xml"/><Relationship Id="rId25" Type="http://schemas.openxmlformats.org/officeDocument/2006/relationships/tags" Target="../tags/tag362.xml"/><Relationship Id="rId33" Type="http://schemas.openxmlformats.org/officeDocument/2006/relationships/tags" Target="../tags/tag370.xml"/><Relationship Id="rId38" Type="http://schemas.openxmlformats.org/officeDocument/2006/relationships/tags" Target="../tags/tag375.xml"/><Relationship Id="rId46" Type="http://schemas.openxmlformats.org/officeDocument/2006/relationships/slideLayout" Target="../slideLayouts/slideLayout124.xml"/><Relationship Id="rId20" Type="http://schemas.openxmlformats.org/officeDocument/2006/relationships/tags" Target="../tags/tag357.xml"/><Relationship Id="rId41" Type="http://schemas.openxmlformats.org/officeDocument/2006/relationships/tags" Target="../tags/tag378.xml"/></Relationships>
</file>

<file path=ppt/slides/_rels/slide14.xml.rels><?xml version="1.0" encoding="UTF-8" standalone="yes"?>
<Relationships xmlns="http://schemas.openxmlformats.org/package/2006/relationships"><Relationship Id="rId8" Type="http://schemas.openxmlformats.org/officeDocument/2006/relationships/tags" Target="../tags/tag390.xml"/><Relationship Id="rId13" Type="http://schemas.openxmlformats.org/officeDocument/2006/relationships/slideLayout" Target="../slideLayouts/slideLayout124.xml"/><Relationship Id="rId3" Type="http://schemas.openxmlformats.org/officeDocument/2006/relationships/tags" Target="../tags/tag385.xml"/><Relationship Id="rId7" Type="http://schemas.openxmlformats.org/officeDocument/2006/relationships/tags" Target="../tags/tag389.xml"/><Relationship Id="rId12" Type="http://schemas.openxmlformats.org/officeDocument/2006/relationships/tags" Target="../tags/tag394.xml"/><Relationship Id="rId2" Type="http://schemas.openxmlformats.org/officeDocument/2006/relationships/tags" Target="../tags/tag384.xml"/><Relationship Id="rId1" Type="http://schemas.openxmlformats.org/officeDocument/2006/relationships/tags" Target="../tags/tag383.xml"/><Relationship Id="rId6" Type="http://schemas.openxmlformats.org/officeDocument/2006/relationships/tags" Target="../tags/tag388.xml"/><Relationship Id="rId11" Type="http://schemas.openxmlformats.org/officeDocument/2006/relationships/tags" Target="../tags/tag393.xml"/><Relationship Id="rId5" Type="http://schemas.openxmlformats.org/officeDocument/2006/relationships/tags" Target="../tags/tag387.xml"/><Relationship Id="rId10" Type="http://schemas.openxmlformats.org/officeDocument/2006/relationships/tags" Target="../tags/tag392.xml"/><Relationship Id="rId4" Type="http://schemas.openxmlformats.org/officeDocument/2006/relationships/tags" Target="../tags/tag386.xml"/><Relationship Id="rId9" Type="http://schemas.openxmlformats.org/officeDocument/2006/relationships/tags" Target="../tags/tag391.xml"/></Relationships>
</file>

<file path=ppt/slides/_rels/slide15.xml.rels><?xml version="1.0" encoding="UTF-8" standalone="yes"?>
<Relationships xmlns="http://schemas.openxmlformats.org/package/2006/relationships"><Relationship Id="rId13" Type="http://schemas.openxmlformats.org/officeDocument/2006/relationships/tags" Target="../tags/tag407.xml"/><Relationship Id="rId18" Type="http://schemas.openxmlformats.org/officeDocument/2006/relationships/tags" Target="../tags/tag412.xml"/><Relationship Id="rId26" Type="http://schemas.openxmlformats.org/officeDocument/2006/relationships/tags" Target="../tags/tag420.xml"/><Relationship Id="rId39" Type="http://schemas.openxmlformats.org/officeDocument/2006/relationships/image" Target="../media/image42.svg"/><Relationship Id="rId21" Type="http://schemas.openxmlformats.org/officeDocument/2006/relationships/tags" Target="../tags/tag415.xml"/><Relationship Id="rId34" Type="http://schemas.openxmlformats.org/officeDocument/2006/relationships/tags" Target="../tags/tag428.xml"/><Relationship Id="rId42" Type="http://schemas.openxmlformats.org/officeDocument/2006/relationships/image" Target="../media/image45.png"/><Relationship Id="rId47" Type="http://schemas.openxmlformats.org/officeDocument/2006/relationships/image" Target="../media/image50.svg"/><Relationship Id="rId7" Type="http://schemas.openxmlformats.org/officeDocument/2006/relationships/tags" Target="../tags/tag401.xml"/><Relationship Id="rId2" Type="http://schemas.openxmlformats.org/officeDocument/2006/relationships/tags" Target="../tags/tag396.xml"/><Relationship Id="rId16" Type="http://schemas.openxmlformats.org/officeDocument/2006/relationships/tags" Target="../tags/tag410.xml"/><Relationship Id="rId29" Type="http://schemas.openxmlformats.org/officeDocument/2006/relationships/tags" Target="../tags/tag423.xml"/><Relationship Id="rId1" Type="http://schemas.openxmlformats.org/officeDocument/2006/relationships/tags" Target="../tags/tag395.xml"/><Relationship Id="rId6" Type="http://schemas.openxmlformats.org/officeDocument/2006/relationships/tags" Target="../tags/tag400.xml"/><Relationship Id="rId11" Type="http://schemas.openxmlformats.org/officeDocument/2006/relationships/tags" Target="../tags/tag405.xml"/><Relationship Id="rId24" Type="http://schemas.openxmlformats.org/officeDocument/2006/relationships/tags" Target="../tags/tag418.xml"/><Relationship Id="rId32" Type="http://schemas.openxmlformats.org/officeDocument/2006/relationships/tags" Target="../tags/tag426.xml"/><Relationship Id="rId37" Type="http://schemas.openxmlformats.org/officeDocument/2006/relationships/slideLayout" Target="../slideLayouts/slideLayout124.xml"/><Relationship Id="rId40" Type="http://schemas.openxmlformats.org/officeDocument/2006/relationships/image" Target="../media/image43.png"/><Relationship Id="rId45" Type="http://schemas.openxmlformats.org/officeDocument/2006/relationships/image" Target="../media/image48.svg"/><Relationship Id="rId5" Type="http://schemas.openxmlformats.org/officeDocument/2006/relationships/tags" Target="../tags/tag399.xml"/><Relationship Id="rId15" Type="http://schemas.openxmlformats.org/officeDocument/2006/relationships/tags" Target="../tags/tag409.xml"/><Relationship Id="rId23" Type="http://schemas.openxmlformats.org/officeDocument/2006/relationships/tags" Target="../tags/tag417.xml"/><Relationship Id="rId28" Type="http://schemas.openxmlformats.org/officeDocument/2006/relationships/tags" Target="../tags/tag422.xml"/><Relationship Id="rId36" Type="http://schemas.openxmlformats.org/officeDocument/2006/relationships/tags" Target="../tags/tag430.xml"/><Relationship Id="rId10" Type="http://schemas.openxmlformats.org/officeDocument/2006/relationships/tags" Target="../tags/tag404.xml"/><Relationship Id="rId19" Type="http://schemas.openxmlformats.org/officeDocument/2006/relationships/tags" Target="../tags/tag413.xml"/><Relationship Id="rId31" Type="http://schemas.openxmlformats.org/officeDocument/2006/relationships/tags" Target="../tags/tag425.xml"/><Relationship Id="rId44" Type="http://schemas.openxmlformats.org/officeDocument/2006/relationships/image" Target="../media/image47.png"/><Relationship Id="rId4" Type="http://schemas.openxmlformats.org/officeDocument/2006/relationships/tags" Target="../tags/tag398.xml"/><Relationship Id="rId9" Type="http://schemas.openxmlformats.org/officeDocument/2006/relationships/tags" Target="../tags/tag403.xml"/><Relationship Id="rId14" Type="http://schemas.openxmlformats.org/officeDocument/2006/relationships/tags" Target="../tags/tag408.xml"/><Relationship Id="rId22" Type="http://schemas.openxmlformats.org/officeDocument/2006/relationships/tags" Target="../tags/tag416.xml"/><Relationship Id="rId27" Type="http://schemas.openxmlformats.org/officeDocument/2006/relationships/tags" Target="../tags/tag421.xml"/><Relationship Id="rId30" Type="http://schemas.openxmlformats.org/officeDocument/2006/relationships/tags" Target="../tags/tag424.xml"/><Relationship Id="rId35" Type="http://schemas.openxmlformats.org/officeDocument/2006/relationships/tags" Target="../tags/tag429.xml"/><Relationship Id="rId43" Type="http://schemas.openxmlformats.org/officeDocument/2006/relationships/image" Target="../media/image46.svg"/><Relationship Id="rId48" Type="http://schemas.openxmlformats.org/officeDocument/2006/relationships/chart" Target="../charts/chart6.xml"/><Relationship Id="rId8" Type="http://schemas.openxmlformats.org/officeDocument/2006/relationships/tags" Target="../tags/tag402.xml"/><Relationship Id="rId3" Type="http://schemas.openxmlformats.org/officeDocument/2006/relationships/tags" Target="../tags/tag397.xml"/><Relationship Id="rId12" Type="http://schemas.openxmlformats.org/officeDocument/2006/relationships/tags" Target="../tags/tag406.xml"/><Relationship Id="rId17" Type="http://schemas.openxmlformats.org/officeDocument/2006/relationships/tags" Target="../tags/tag411.xml"/><Relationship Id="rId25" Type="http://schemas.openxmlformats.org/officeDocument/2006/relationships/tags" Target="../tags/tag419.xml"/><Relationship Id="rId33" Type="http://schemas.openxmlformats.org/officeDocument/2006/relationships/tags" Target="../tags/tag427.xml"/><Relationship Id="rId38" Type="http://schemas.openxmlformats.org/officeDocument/2006/relationships/image" Target="../media/image41.png"/><Relationship Id="rId46" Type="http://schemas.openxmlformats.org/officeDocument/2006/relationships/image" Target="../media/image49.png"/><Relationship Id="rId20" Type="http://schemas.openxmlformats.org/officeDocument/2006/relationships/tags" Target="../tags/tag414.xml"/><Relationship Id="rId41" Type="http://schemas.openxmlformats.org/officeDocument/2006/relationships/image" Target="../media/image44.svg"/></Relationships>
</file>

<file path=ppt/slides/_rels/slide16.xml.rels><?xml version="1.0" encoding="UTF-8" standalone="yes"?>
<Relationships xmlns="http://schemas.openxmlformats.org/package/2006/relationships"><Relationship Id="rId8" Type="http://schemas.openxmlformats.org/officeDocument/2006/relationships/tags" Target="../tags/tag438.xml"/><Relationship Id="rId3" Type="http://schemas.openxmlformats.org/officeDocument/2006/relationships/tags" Target="../tags/tag433.xml"/><Relationship Id="rId7" Type="http://schemas.openxmlformats.org/officeDocument/2006/relationships/tags" Target="../tags/tag437.xml"/><Relationship Id="rId12" Type="http://schemas.openxmlformats.org/officeDocument/2006/relationships/slideLayout" Target="../slideLayouts/slideLayout124.xml"/><Relationship Id="rId2" Type="http://schemas.openxmlformats.org/officeDocument/2006/relationships/tags" Target="../tags/tag432.xml"/><Relationship Id="rId1" Type="http://schemas.openxmlformats.org/officeDocument/2006/relationships/tags" Target="../tags/tag431.xml"/><Relationship Id="rId6" Type="http://schemas.openxmlformats.org/officeDocument/2006/relationships/tags" Target="../tags/tag436.xml"/><Relationship Id="rId11" Type="http://schemas.openxmlformats.org/officeDocument/2006/relationships/tags" Target="../tags/tag441.xml"/><Relationship Id="rId5" Type="http://schemas.openxmlformats.org/officeDocument/2006/relationships/tags" Target="../tags/tag435.xml"/><Relationship Id="rId10" Type="http://schemas.openxmlformats.org/officeDocument/2006/relationships/tags" Target="../tags/tag440.xml"/><Relationship Id="rId4" Type="http://schemas.openxmlformats.org/officeDocument/2006/relationships/tags" Target="../tags/tag434.xml"/><Relationship Id="rId9" Type="http://schemas.openxmlformats.org/officeDocument/2006/relationships/tags" Target="../tags/tag439.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04.xml"/></Relationships>
</file>

<file path=ppt/slides/_rels/slide18.xml.rels><?xml version="1.0" encoding="UTF-8" standalone="yes"?>
<Relationships xmlns="http://schemas.openxmlformats.org/package/2006/relationships"><Relationship Id="rId13" Type="http://schemas.openxmlformats.org/officeDocument/2006/relationships/tags" Target="../tags/tag454.xml"/><Relationship Id="rId18" Type="http://schemas.openxmlformats.org/officeDocument/2006/relationships/tags" Target="../tags/tag459.xml"/><Relationship Id="rId26" Type="http://schemas.openxmlformats.org/officeDocument/2006/relationships/tags" Target="../tags/tag467.xml"/><Relationship Id="rId3" Type="http://schemas.openxmlformats.org/officeDocument/2006/relationships/tags" Target="../tags/tag444.xml"/><Relationship Id="rId21" Type="http://schemas.openxmlformats.org/officeDocument/2006/relationships/tags" Target="../tags/tag462.xml"/><Relationship Id="rId34" Type="http://schemas.openxmlformats.org/officeDocument/2006/relationships/chart" Target="../charts/chart10.xml"/><Relationship Id="rId7" Type="http://schemas.openxmlformats.org/officeDocument/2006/relationships/tags" Target="../tags/tag448.xml"/><Relationship Id="rId12" Type="http://schemas.openxmlformats.org/officeDocument/2006/relationships/tags" Target="../tags/tag453.xml"/><Relationship Id="rId17" Type="http://schemas.openxmlformats.org/officeDocument/2006/relationships/tags" Target="../tags/tag458.xml"/><Relationship Id="rId25" Type="http://schemas.openxmlformats.org/officeDocument/2006/relationships/tags" Target="../tags/tag466.xml"/><Relationship Id="rId33" Type="http://schemas.openxmlformats.org/officeDocument/2006/relationships/chart" Target="../charts/chart9.xml"/><Relationship Id="rId2" Type="http://schemas.openxmlformats.org/officeDocument/2006/relationships/tags" Target="../tags/tag443.xml"/><Relationship Id="rId16" Type="http://schemas.openxmlformats.org/officeDocument/2006/relationships/tags" Target="../tags/tag457.xml"/><Relationship Id="rId20" Type="http://schemas.openxmlformats.org/officeDocument/2006/relationships/tags" Target="../tags/tag461.xml"/><Relationship Id="rId29" Type="http://schemas.openxmlformats.org/officeDocument/2006/relationships/tags" Target="../tags/tag470.xml"/><Relationship Id="rId1" Type="http://schemas.openxmlformats.org/officeDocument/2006/relationships/tags" Target="../tags/tag442.xml"/><Relationship Id="rId6" Type="http://schemas.openxmlformats.org/officeDocument/2006/relationships/tags" Target="../tags/tag447.xml"/><Relationship Id="rId11" Type="http://schemas.openxmlformats.org/officeDocument/2006/relationships/tags" Target="../tags/tag452.xml"/><Relationship Id="rId24" Type="http://schemas.openxmlformats.org/officeDocument/2006/relationships/tags" Target="../tags/tag465.xml"/><Relationship Id="rId32" Type="http://schemas.openxmlformats.org/officeDocument/2006/relationships/chart" Target="../charts/chart8.xml"/><Relationship Id="rId5" Type="http://schemas.openxmlformats.org/officeDocument/2006/relationships/tags" Target="../tags/tag446.xml"/><Relationship Id="rId15" Type="http://schemas.openxmlformats.org/officeDocument/2006/relationships/tags" Target="../tags/tag456.xml"/><Relationship Id="rId23" Type="http://schemas.openxmlformats.org/officeDocument/2006/relationships/tags" Target="../tags/tag464.xml"/><Relationship Id="rId28" Type="http://schemas.openxmlformats.org/officeDocument/2006/relationships/tags" Target="../tags/tag469.xml"/><Relationship Id="rId36" Type="http://schemas.openxmlformats.org/officeDocument/2006/relationships/chart" Target="../charts/chart12.xml"/><Relationship Id="rId10" Type="http://schemas.openxmlformats.org/officeDocument/2006/relationships/tags" Target="../tags/tag451.xml"/><Relationship Id="rId19" Type="http://schemas.openxmlformats.org/officeDocument/2006/relationships/tags" Target="../tags/tag460.xml"/><Relationship Id="rId31" Type="http://schemas.openxmlformats.org/officeDocument/2006/relationships/chart" Target="../charts/chart7.xml"/><Relationship Id="rId4" Type="http://schemas.openxmlformats.org/officeDocument/2006/relationships/tags" Target="../tags/tag445.xml"/><Relationship Id="rId9" Type="http://schemas.openxmlformats.org/officeDocument/2006/relationships/tags" Target="../tags/tag450.xml"/><Relationship Id="rId14" Type="http://schemas.openxmlformats.org/officeDocument/2006/relationships/tags" Target="../tags/tag455.xml"/><Relationship Id="rId22" Type="http://schemas.openxmlformats.org/officeDocument/2006/relationships/tags" Target="../tags/tag463.xml"/><Relationship Id="rId27" Type="http://schemas.openxmlformats.org/officeDocument/2006/relationships/tags" Target="../tags/tag468.xml"/><Relationship Id="rId30" Type="http://schemas.openxmlformats.org/officeDocument/2006/relationships/slideLayout" Target="../slideLayouts/slideLayout124.xml"/><Relationship Id="rId35" Type="http://schemas.openxmlformats.org/officeDocument/2006/relationships/chart" Target="../charts/chart11.xml"/><Relationship Id="rId8" Type="http://schemas.openxmlformats.org/officeDocument/2006/relationships/tags" Target="../tags/tag449.xml"/></Relationships>
</file>

<file path=ppt/slides/_rels/slide19.xml.rels><?xml version="1.0" encoding="UTF-8" standalone="yes"?>
<Relationships xmlns="http://schemas.openxmlformats.org/package/2006/relationships"><Relationship Id="rId13" Type="http://schemas.openxmlformats.org/officeDocument/2006/relationships/tags" Target="../tags/tag482.xml"/><Relationship Id="rId18" Type="http://schemas.openxmlformats.org/officeDocument/2006/relationships/tags" Target="../tags/tag487.xml"/><Relationship Id="rId26" Type="http://schemas.openxmlformats.org/officeDocument/2006/relationships/tags" Target="../tags/tag495.xml"/><Relationship Id="rId39" Type="http://schemas.openxmlformats.org/officeDocument/2006/relationships/tags" Target="../tags/tag508.xml"/><Relationship Id="rId21" Type="http://schemas.openxmlformats.org/officeDocument/2006/relationships/tags" Target="../tags/tag490.xml"/><Relationship Id="rId34" Type="http://schemas.openxmlformats.org/officeDocument/2006/relationships/tags" Target="../tags/tag503.xml"/><Relationship Id="rId42" Type="http://schemas.openxmlformats.org/officeDocument/2006/relationships/tags" Target="../tags/tag511.xml"/><Relationship Id="rId47" Type="http://schemas.openxmlformats.org/officeDocument/2006/relationships/tags" Target="../tags/tag516.xml"/><Relationship Id="rId50" Type="http://schemas.openxmlformats.org/officeDocument/2006/relationships/tags" Target="../tags/tag519.xml"/><Relationship Id="rId55" Type="http://schemas.openxmlformats.org/officeDocument/2006/relationships/tags" Target="../tags/tag524.xml"/><Relationship Id="rId7" Type="http://schemas.openxmlformats.org/officeDocument/2006/relationships/tags" Target="../tags/tag476.xml"/><Relationship Id="rId2" Type="http://schemas.openxmlformats.org/officeDocument/2006/relationships/tags" Target="../tags/tag471.xml"/><Relationship Id="rId16" Type="http://schemas.openxmlformats.org/officeDocument/2006/relationships/tags" Target="../tags/tag485.xml"/><Relationship Id="rId29" Type="http://schemas.openxmlformats.org/officeDocument/2006/relationships/tags" Target="../tags/tag498.xml"/><Relationship Id="rId11" Type="http://schemas.openxmlformats.org/officeDocument/2006/relationships/tags" Target="../tags/tag480.xml"/><Relationship Id="rId24" Type="http://schemas.openxmlformats.org/officeDocument/2006/relationships/tags" Target="../tags/tag493.xml"/><Relationship Id="rId32" Type="http://schemas.openxmlformats.org/officeDocument/2006/relationships/tags" Target="../tags/tag501.xml"/><Relationship Id="rId37" Type="http://schemas.openxmlformats.org/officeDocument/2006/relationships/tags" Target="../tags/tag506.xml"/><Relationship Id="rId40" Type="http://schemas.openxmlformats.org/officeDocument/2006/relationships/tags" Target="../tags/tag509.xml"/><Relationship Id="rId45" Type="http://schemas.openxmlformats.org/officeDocument/2006/relationships/tags" Target="../tags/tag514.xml"/><Relationship Id="rId53" Type="http://schemas.openxmlformats.org/officeDocument/2006/relationships/tags" Target="../tags/tag522.xml"/><Relationship Id="rId58" Type="http://schemas.openxmlformats.org/officeDocument/2006/relationships/slideLayout" Target="../slideLayouts/slideLayout141.xml"/><Relationship Id="rId5" Type="http://schemas.openxmlformats.org/officeDocument/2006/relationships/tags" Target="../tags/tag474.xml"/><Relationship Id="rId61" Type="http://schemas.openxmlformats.org/officeDocument/2006/relationships/chart" Target="../charts/chart13.xml"/><Relationship Id="rId19" Type="http://schemas.openxmlformats.org/officeDocument/2006/relationships/tags" Target="../tags/tag488.xml"/><Relationship Id="rId14" Type="http://schemas.openxmlformats.org/officeDocument/2006/relationships/tags" Target="../tags/tag483.xml"/><Relationship Id="rId22" Type="http://schemas.openxmlformats.org/officeDocument/2006/relationships/tags" Target="../tags/tag491.xml"/><Relationship Id="rId27" Type="http://schemas.openxmlformats.org/officeDocument/2006/relationships/tags" Target="../tags/tag496.xml"/><Relationship Id="rId30" Type="http://schemas.openxmlformats.org/officeDocument/2006/relationships/tags" Target="../tags/tag499.xml"/><Relationship Id="rId35" Type="http://schemas.openxmlformats.org/officeDocument/2006/relationships/tags" Target="../tags/tag504.xml"/><Relationship Id="rId43" Type="http://schemas.openxmlformats.org/officeDocument/2006/relationships/tags" Target="../tags/tag512.xml"/><Relationship Id="rId48" Type="http://schemas.openxmlformats.org/officeDocument/2006/relationships/tags" Target="../tags/tag517.xml"/><Relationship Id="rId56" Type="http://schemas.openxmlformats.org/officeDocument/2006/relationships/tags" Target="../tags/tag525.xml"/><Relationship Id="rId8" Type="http://schemas.openxmlformats.org/officeDocument/2006/relationships/tags" Target="../tags/tag477.xml"/><Relationship Id="rId51" Type="http://schemas.openxmlformats.org/officeDocument/2006/relationships/tags" Target="../tags/tag520.xml"/><Relationship Id="rId3" Type="http://schemas.openxmlformats.org/officeDocument/2006/relationships/tags" Target="../tags/tag472.xml"/><Relationship Id="rId12" Type="http://schemas.openxmlformats.org/officeDocument/2006/relationships/tags" Target="../tags/tag481.xml"/><Relationship Id="rId17" Type="http://schemas.openxmlformats.org/officeDocument/2006/relationships/tags" Target="../tags/tag486.xml"/><Relationship Id="rId25" Type="http://schemas.openxmlformats.org/officeDocument/2006/relationships/tags" Target="../tags/tag494.xml"/><Relationship Id="rId33" Type="http://schemas.openxmlformats.org/officeDocument/2006/relationships/tags" Target="../tags/tag502.xml"/><Relationship Id="rId38" Type="http://schemas.openxmlformats.org/officeDocument/2006/relationships/tags" Target="../tags/tag507.xml"/><Relationship Id="rId46" Type="http://schemas.openxmlformats.org/officeDocument/2006/relationships/tags" Target="../tags/tag515.xml"/><Relationship Id="rId59" Type="http://schemas.openxmlformats.org/officeDocument/2006/relationships/oleObject" Target="../embeddings/oleObject47.bin"/><Relationship Id="rId20" Type="http://schemas.openxmlformats.org/officeDocument/2006/relationships/tags" Target="../tags/tag489.xml"/><Relationship Id="rId41" Type="http://schemas.openxmlformats.org/officeDocument/2006/relationships/tags" Target="../tags/tag510.xml"/><Relationship Id="rId54" Type="http://schemas.openxmlformats.org/officeDocument/2006/relationships/tags" Target="../tags/tag523.xml"/><Relationship Id="rId1" Type="http://schemas.openxmlformats.org/officeDocument/2006/relationships/vmlDrawing" Target="../drawings/vmlDrawing47.vml"/><Relationship Id="rId6" Type="http://schemas.openxmlformats.org/officeDocument/2006/relationships/tags" Target="../tags/tag475.xml"/><Relationship Id="rId15" Type="http://schemas.openxmlformats.org/officeDocument/2006/relationships/tags" Target="../tags/tag484.xml"/><Relationship Id="rId23" Type="http://schemas.openxmlformats.org/officeDocument/2006/relationships/tags" Target="../tags/tag492.xml"/><Relationship Id="rId28" Type="http://schemas.openxmlformats.org/officeDocument/2006/relationships/tags" Target="../tags/tag497.xml"/><Relationship Id="rId36" Type="http://schemas.openxmlformats.org/officeDocument/2006/relationships/tags" Target="../tags/tag505.xml"/><Relationship Id="rId49" Type="http://schemas.openxmlformats.org/officeDocument/2006/relationships/tags" Target="../tags/tag518.xml"/><Relationship Id="rId57" Type="http://schemas.openxmlformats.org/officeDocument/2006/relationships/tags" Target="../tags/tag526.xml"/><Relationship Id="rId10" Type="http://schemas.openxmlformats.org/officeDocument/2006/relationships/tags" Target="../tags/tag479.xml"/><Relationship Id="rId31" Type="http://schemas.openxmlformats.org/officeDocument/2006/relationships/tags" Target="../tags/tag500.xml"/><Relationship Id="rId44" Type="http://schemas.openxmlformats.org/officeDocument/2006/relationships/tags" Target="../tags/tag513.xml"/><Relationship Id="rId52" Type="http://schemas.openxmlformats.org/officeDocument/2006/relationships/tags" Target="../tags/tag521.xml"/><Relationship Id="rId60" Type="http://schemas.openxmlformats.org/officeDocument/2006/relationships/image" Target="../media/image16.emf"/><Relationship Id="rId4" Type="http://schemas.openxmlformats.org/officeDocument/2006/relationships/tags" Target="../tags/tag473.xml"/><Relationship Id="rId9" Type="http://schemas.openxmlformats.org/officeDocument/2006/relationships/tags" Target="../tags/tag478.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13" Type="http://schemas.openxmlformats.org/officeDocument/2006/relationships/tags" Target="../tags/tag539.xml"/><Relationship Id="rId18" Type="http://schemas.openxmlformats.org/officeDocument/2006/relationships/tags" Target="../tags/tag544.xml"/><Relationship Id="rId26" Type="http://schemas.openxmlformats.org/officeDocument/2006/relationships/tags" Target="../tags/tag552.xml"/><Relationship Id="rId39" Type="http://schemas.openxmlformats.org/officeDocument/2006/relationships/tags" Target="../tags/tag565.xml"/><Relationship Id="rId21" Type="http://schemas.openxmlformats.org/officeDocument/2006/relationships/tags" Target="../tags/tag547.xml"/><Relationship Id="rId34" Type="http://schemas.openxmlformats.org/officeDocument/2006/relationships/tags" Target="../tags/tag560.xml"/><Relationship Id="rId42" Type="http://schemas.openxmlformats.org/officeDocument/2006/relationships/tags" Target="../tags/tag568.xml"/><Relationship Id="rId47" Type="http://schemas.openxmlformats.org/officeDocument/2006/relationships/tags" Target="../tags/tag573.xml"/><Relationship Id="rId50" Type="http://schemas.openxmlformats.org/officeDocument/2006/relationships/tags" Target="../tags/tag576.xml"/><Relationship Id="rId55" Type="http://schemas.openxmlformats.org/officeDocument/2006/relationships/tags" Target="../tags/tag581.xml"/><Relationship Id="rId7" Type="http://schemas.openxmlformats.org/officeDocument/2006/relationships/tags" Target="../tags/tag533.xml"/><Relationship Id="rId2" Type="http://schemas.openxmlformats.org/officeDocument/2006/relationships/tags" Target="../tags/tag528.xml"/><Relationship Id="rId16" Type="http://schemas.openxmlformats.org/officeDocument/2006/relationships/tags" Target="../tags/tag542.xml"/><Relationship Id="rId29" Type="http://schemas.openxmlformats.org/officeDocument/2006/relationships/tags" Target="../tags/tag555.xml"/><Relationship Id="rId11" Type="http://schemas.openxmlformats.org/officeDocument/2006/relationships/tags" Target="../tags/tag537.xml"/><Relationship Id="rId24" Type="http://schemas.openxmlformats.org/officeDocument/2006/relationships/tags" Target="../tags/tag550.xml"/><Relationship Id="rId32" Type="http://schemas.openxmlformats.org/officeDocument/2006/relationships/tags" Target="../tags/tag558.xml"/><Relationship Id="rId37" Type="http://schemas.openxmlformats.org/officeDocument/2006/relationships/tags" Target="../tags/tag563.xml"/><Relationship Id="rId40" Type="http://schemas.openxmlformats.org/officeDocument/2006/relationships/tags" Target="../tags/tag566.xml"/><Relationship Id="rId45" Type="http://schemas.openxmlformats.org/officeDocument/2006/relationships/tags" Target="../tags/tag571.xml"/><Relationship Id="rId53" Type="http://schemas.openxmlformats.org/officeDocument/2006/relationships/tags" Target="../tags/tag579.xml"/><Relationship Id="rId5" Type="http://schemas.openxmlformats.org/officeDocument/2006/relationships/tags" Target="../tags/tag531.xml"/><Relationship Id="rId19" Type="http://schemas.openxmlformats.org/officeDocument/2006/relationships/tags" Target="../tags/tag545.xml"/><Relationship Id="rId4" Type="http://schemas.openxmlformats.org/officeDocument/2006/relationships/tags" Target="../tags/tag530.xml"/><Relationship Id="rId9" Type="http://schemas.openxmlformats.org/officeDocument/2006/relationships/tags" Target="../tags/tag535.xml"/><Relationship Id="rId14" Type="http://schemas.openxmlformats.org/officeDocument/2006/relationships/tags" Target="../tags/tag540.xml"/><Relationship Id="rId22" Type="http://schemas.openxmlformats.org/officeDocument/2006/relationships/tags" Target="../tags/tag548.xml"/><Relationship Id="rId27" Type="http://schemas.openxmlformats.org/officeDocument/2006/relationships/tags" Target="../tags/tag553.xml"/><Relationship Id="rId30" Type="http://schemas.openxmlformats.org/officeDocument/2006/relationships/tags" Target="../tags/tag556.xml"/><Relationship Id="rId35" Type="http://schemas.openxmlformats.org/officeDocument/2006/relationships/tags" Target="../tags/tag561.xml"/><Relationship Id="rId43" Type="http://schemas.openxmlformats.org/officeDocument/2006/relationships/tags" Target="../tags/tag569.xml"/><Relationship Id="rId48" Type="http://schemas.openxmlformats.org/officeDocument/2006/relationships/tags" Target="../tags/tag574.xml"/><Relationship Id="rId56" Type="http://schemas.openxmlformats.org/officeDocument/2006/relationships/slideLayout" Target="../slideLayouts/slideLayout124.xml"/><Relationship Id="rId8" Type="http://schemas.openxmlformats.org/officeDocument/2006/relationships/tags" Target="../tags/tag534.xml"/><Relationship Id="rId51" Type="http://schemas.openxmlformats.org/officeDocument/2006/relationships/tags" Target="../tags/tag577.xml"/><Relationship Id="rId3" Type="http://schemas.openxmlformats.org/officeDocument/2006/relationships/tags" Target="../tags/tag529.xml"/><Relationship Id="rId12" Type="http://schemas.openxmlformats.org/officeDocument/2006/relationships/tags" Target="../tags/tag538.xml"/><Relationship Id="rId17" Type="http://schemas.openxmlformats.org/officeDocument/2006/relationships/tags" Target="../tags/tag543.xml"/><Relationship Id="rId25" Type="http://schemas.openxmlformats.org/officeDocument/2006/relationships/tags" Target="../tags/tag551.xml"/><Relationship Id="rId33" Type="http://schemas.openxmlformats.org/officeDocument/2006/relationships/tags" Target="../tags/tag559.xml"/><Relationship Id="rId38" Type="http://schemas.openxmlformats.org/officeDocument/2006/relationships/tags" Target="../tags/tag564.xml"/><Relationship Id="rId46" Type="http://schemas.openxmlformats.org/officeDocument/2006/relationships/tags" Target="../tags/tag572.xml"/><Relationship Id="rId20" Type="http://schemas.openxmlformats.org/officeDocument/2006/relationships/tags" Target="../tags/tag546.xml"/><Relationship Id="rId41" Type="http://schemas.openxmlformats.org/officeDocument/2006/relationships/tags" Target="../tags/tag567.xml"/><Relationship Id="rId54" Type="http://schemas.openxmlformats.org/officeDocument/2006/relationships/tags" Target="../tags/tag580.xml"/><Relationship Id="rId1" Type="http://schemas.openxmlformats.org/officeDocument/2006/relationships/tags" Target="../tags/tag527.xml"/><Relationship Id="rId6" Type="http://schemas.openxmlformats.org/officeDocument/2006/relationships/tags" Target="../tags/tag532.xml"/><Relationship Id="rId15" Type="http://schemas.openxmlformats.org/officeDocument/2006/relationships/tags" Target="../tags/tag541.xml"/><Relationship Id="rId23" Type="http://schemas.openxmlformats.org/officeDocument/2006/relationships/tags" Target="../tags/tag549.xml"/><Relationship Id="rId28" Type="http://schemas.openxmlformats.org/officeDocument/2006/relationships/tags" Target="../tags/tag554.xml"/><Relationship Id="rId36" Type="http://schemas.openxmlformats.org/officeDocument/2006/relationships/tags" Target="../tags/tag562.xml"/><Relationship Id="rId49" Type="http://schemas.openxmlformats.org/officeDocument/2006/relationships/tags" Target="../tags/tag575.xml"/><Relationship Id="rId57" Type="http://schemas.openxmlformats.org/officeDocument/2006/relationships/chart" Target="../charts/chart14.xml"/><Relationship Id="rId10" Type="http://schemas.openxmlformats.org/officeDocument/2006/relationships/tags" Target="../tags/tag536.xml"/><Relationship Id="rId31" Type="http://schemas.openxmlformats.org/officeDocument/2006/relationships/tags" Target="../tags/tag557.xml"/><Relationship Id="rId44" Type="http://schemas.openxmlformats.org/officeDocument/2006/relationships/tags" Target="../tags/tag570.xml"/><Relationship Id="rId52" Type="http://schemas.openxmlformats.org/officeDocument/2006/relationships/tags" Target="../tags/tag578.xml"/></Relationships>
</file>

<file path=ppt/slides/_rels/slide21.xml.rels><?xml version="1.0" encoding="UTF-8" standalone="yes"?>
<Relationships xmlns="http://schemas.openxmlformats.org/package/2006/relationships"><Relationship Id="rId13" Type="http://schemas.openxmlformats.org/officeDocument/2006/relationships/tags" Target="../tags/tag594.xml"/><Relationship Id="rId18" Type="http://schemas.openxmlformats.org/officeDocument/2006/relationships/tags" Target="../tags/tag599.xml"/><Relationship Id="rId26" Type="http://schemas.openxmlformats.org/officeDocument/2006/relationships/tags" Target="../tags/tag607.xml"/><Relationship Id="rId39" Type="http://schemas.openxmlformats.org/officeDocument/2006/relationships/tags" Target="../tags/tag620.xml"/><Relationship Id="rId21" Type="http://schemas.openxmlformats.org/officeDocument/2006/relationships/tags" Target="../tags/tag602.xml"/><Relationship Id="rId34" Type="http://schemas.openxmlformats.org/officeDocument/2006/relationships/tags" Target="../tags/tag615.xml"/><Relationship Id="rId42" Type="http://schemas.openxmlformats.org/officeDocument/2006/relationships/tags" Target="../tags/tag623.xml"/><Relationship Id="rId47" Type="http://schemas.openxmlformats.org/officeDocument/2006/relationships/tags" Target="../tags/tag628.xml"/><Relationship Id="rId50" Type="http://schemas.openxmlformats.org/officeDocument/2006/relationships/tags" Target="../tags/tag631.xml"/><Relationship Id="rId55" Type="http://schemas.openxmlformats.org/officeDocument/2006/relationships/tags" Target="../tags/tag636.xml"/><Relationship Id="rId63" Type="http://schemas.openxmlformats.org/officeDocument/2006/relationships/slideLayout" Target="../slideLayouts/slideLayout124.xml"/><Relationship Id="rId7" Type="http://schemas.openxmlformats.org/officeDocument/2006/relationships/tags" Target="../tags/tag588.xml"/><Relationship Id="rId2" Type="http://schemas.openxmlformats.org/officeDocument/2006/relationships/tags" Target="../tags/tag583.xml"/><Relationship Id="rId16" Type="http://schemas.openxmlformats.org/officeDocument/2006/relationships/tags" Target="../tags/tag597.xml"/><Relationship Id="rId29" Type="http://schemas.openxmlformats.org/officeDocument/2006/relationships/tags" Target="../tags/tag610.xml"/><Relationship Id="rId11" Type="http://schemas.openxmlformats.org/officeDocument/2006/relationships/tags" Target="../tags/tag592.xml"/><Relationship Id="rId24" Type="http://schemas.openxmlformats.org/officeDocument/2006/relationships/tags" Target="../tags/tag605.xml"/><Relationship Id="rId32" Type="http://schemas.openxmlformats.org/officeDocument/2006/relationships/tags" Target="../tags/tag613.xml"/><Relationship Id="rId37" Type="http://schemas.openxmlformats.org/officeDocument/2006/relationships/tags" Target="../tags/tag618.xml"/><Relationship Id="rId40" Type="http://schemas.openxmlformats.org/officeDocument/2006/relationships/tags" Target="../tags/tag621.xml"/><Relationship Id="rId45" Type="http://schemas.openxmlformats.org/officeDocument/2006/relationships/tags" Target="../tags/tag626.xml"/><Relationship Id="rId53" Type="http://schemas.openxmlformats.org/officeDocument/2006/relationships/tags" Target="../tags/tag634.xml"/><Relationship Id="rId58" Type="http://schemas.openxmlformats.org/officeDocument/2006/relationships/tags" Target="../tags/tag639.xml"/><Relationship Id="rId5" Type="http://schemas.openxmlformats.org/officeDocument/2006/relationships/tags" Target="../tags/tag586.xml"/><Relationship Id="rId61" Type="http://schemas.openxmlformats.org/officeDocument/2006/relationships/tags" Target="../tags/tag642.xml"/><Relationship Id="rId19" Type="http://schemas.openxmlformats.org/officeDocument/2006/relationships/tags" Target="../tags/tag600.xml"/><Relationship Id="rId14" Type="http://schemas.openxmlformats.org/officeDocument/2006/relationships/tags" Target="../tags/tag595.xml"/><Relationship Id="rId22" Type="http://schemas.openxmlformats.org/officeDocument/2006/relationships/tags" Target="../tags/tag603.xml"/><Relationship Id="rId27" Type="http://schemas.openxmlformats.org/officeDocument/2006/relationships/tags" Target="../tags/tag608.xml"/><Relationship Id="rId30" Type="http://schemas.openxmlformats.org/officeDocument/2006/relationships/tags" Target="../tags/tag611.xml"/><Relationship Id="rId35" Type="http://schemas.openxmlformats.org/officeDocument/2006/relationships/tags" Target="../tags/tag616.xml"/><Relationship Id="rId43" Type="http://schemas.openxmlformats.org/officeDocument/2006/relationships/tags" Target="../tags/tag624.xml"/><Relationship Id="rId48" Type="http://schemas.openxmlformats.org/officeDocument/2006/relationships/tags" Target="../tags/tag629.xml"/><Relationship Id="rId56" Type="http://schemas.openxmlformats.org/officeDocument/2006/relationships/tags" Target="../tags/tag637.xml"/><Relationship Id="rId8" Type="http://schemas.openxmlformats.org/officeDocument/2006/relationships/tags" Target="../tags/tag589.xml"/><Relationship Id="rId51" Type="http://schemas.openxmlformats.org/officeDocument/2006/relationships/tags" Target="../tags/tag632.xml"/><Relationship Id="rId3" Type="http://schemas.openxmlformats.org/officeDocument/2006/relationships/tags" Target="../tags/tag584.xml"/><Relationship Id="rId12" Type="http://schemas.openxmlformats.org/officeDocument/2006/relationships/tags" Target="../tags/tag593.xml"/><Relationship Id="rId17" Type="http://schemas.openxmlformats.org/officeDocument/2006/relationships/tags" Target="../tags/tag598.xml"/><Relationship Id="rId25" Type="http://schemas.openxmlformats.org/officeDocument/2006/relationships/tags" Target="../tags/tag606.xml"/><Relationship Id="rId33" Type="http://schemas.openxmlformats.org/officeDocument/2006/relationships/tags" Target="../tags/tag614.xml"/><Relationship Id="rId38" Type="http://schemas.openxmlformats.org/officeDocument/2006/relationships/tags" Target="../tags/tag619.xml"/><Relationship Id="rId46" Type="http://schemas.openxmlformats.org/officeDocument/2006/relationships/tags" Target="../tags/tag627.xml"/><Relationship Id="rId59" Type="http://schemas.openxmlformats.org/officeDocument/2006/relationships/tags" Target="../tags/tag640.xml"/><Relationship Id="rId20" Type="http://schemas.openxmlformats.org/officeDocument/2006/relationships/tags" Target="../tags/tag601.xml"/><Relationship Id="rId41" Type="http://schemas.openxmlformats.org/officeDocument/2006/relationships/tags" Target="../tags/tag622.xml"/><Relationship Id="rId54" Type="http://schemas.openxmlformats.org/officeDocument/2006/relationships/tags" Target="../tags/tag635.xml"/><Relationship Id="rId62" Type="http://schemas.openxmlformats.org/officeDocument/2006/relationships/tags" Target="../tags/tag643.xml"/><Relationship Id="rId1" Type="http://schemas.openxmlformats.org/officeDocument/2006/relationships/tags" Target="../tags/tag582.xml"/><Relationship Id="rId6" Type="http://schemas.openxmlformats.org/officeDocument/2006/relationships/tags" Target="../tags/tag587.xml"/><Relationship Id="rId15" Type="http://schemas.openxmlformats.org/officeDocument/2006/relationships/tags" Target="../tags/tag596.xml"/><Relationship Id="rId23" Type="http://schemas.openxmlformats.org/officeDocument/2006/relationships/tags" Target="../tags/tag604.xml"/><Relationship Id="rId28" Type="http://schemas.openxmlformats.org/officeDocument/2006/relationships/tags" Target="../tags/tag609.xml"/><Relationship Id="rId36" Type="http://schemas.openxmlformats.org/officeDocument/2006/relationships/tags" Target="../tags/tag617.xml"/><Relationship Id="rId49" Type="http://schemas.openxmlformats.org/officeDocument/2006/relationships/tags" Target="../tags/tag630.xml"/><Relationship Id="rId57" Type="http://schemas.openxmlformats.org/officeDocument/2006/relationships/tags" Target="../tags/tag638.xml"/><Relationship Id="rId10" Type="http://schemas.openxmlformats.org/officeDocument/2006/relationships/tags" Target="../tags/tag591.xml"/><Relationship Id="rId31" Type="http://schemas.openxmlformats.org/officeDocument/2006/relationships/tags" Target="../tags/tag612.xml"/><Relationship Id="rId44" Type="http://schemas.openxmlformats.org/officeDocument/2006/relationships/tags" Target="../tags/tag625.xml"/><Relationship Id="rId52" Type="http://schemas.openxmlformats.org/officeDocument/2006/relationships/tags" Target="../tags/tag633.xml"/><Relationship Id="rId60" Type="http://schemas.openxmlformats.org/officeDocument/2006/relationships/tags" Target="../tags/tag641.xml"/><Relationship Id="rId4" Type="http://schemas.openxmlformats.org/officeDocument/2006/relationships/tags" Target="../tags/tag585.xml"/><Relationship Id="rId9" Type="http://schemas.openxmlformats.org/officeDocument/2006/relationships/tags" Target="../tags/tag590.xml"/></Relationships>
</file>

<file path=ppt/slides/_rels/slide22.xml.rels><?xml version="1.0" encoding="UTF-8" standalone="yes"?>
<Relationships xmlns="http://schemas.openxmlformats.org/package/2006/relationships"><Relationship Id="rId3" Type="http://schemas.openxmlformats.org/officeDocument/2006/relationships/tags" Target="../tags/tag646.xml"/><Relationship Id="rId2" Type="http://schemas.openxmlformats.org/officeDocument/2006/relationships/tags" Target="../tags/tag645.xml"/><Relationship Id="rId1" Type="http://schemas.openxmlformats.org/officeDocument/2006/relationships/tags" Target="../tags/tag644.xml"/><Relationship Id="rId5" Type="http://schemas.openxmlformats.org/officeDocument/2006/relationships/slideLayout" Target="../slideLayouts/slideLayout124.xml"/><Relationship Id="rId4" Type="http://schemas.openxmlformats.org/officeDocument/2006/relationships/tags" Target="../tags/tag647.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5.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5.xml"/></Relationships>
</file>

<file path=ppt/slides/_rels/slide25.xml.rels><?xml version="1.0" encoding="UTF-8" standalone="yes"?>
<Relationships xmlns="http://schemas.openxmlformats.org/package/2006/relationships"><Relationship Id="rId3" Type="http://schemas.openxmlformats.org/officeDocument/2006/relationships/image" Target="../media/image51.jpeg"/><Relationship Id="rId2" Type="http://schemas.openxmlformats.org/officeDocument/2006/relationships/notesSlide" Target="../notesSlides/notesSlide8.xml"/><Relationship Id="rId1" Type="http://schemas.openxmlformats.org/officeDocument/2006/relationships/slideLayout" Target="../slideLayouts/slideLayout66.xml"/><Relationship Id="rId6" Type="http://schemas.openxmlformats.org/officeDocument/2006/relationships/image" Target="../media/image53.png"/><Relationship Id="rId5" Type="http://schemas.microsoft.com/office/2007/relationships/hdphoto" Target="../media/hdphoto1.wdp"/><Relationship Id="rId4" Type="http://schemas.openxmlformats.org/officeDocument/2006/relationships/image" Target="../media/image52.png"/></Relationships>
</file>

<file path=ppt/slides/_rels/slide26.xml.rels><?xml version="1.0" encoding="UTF-8" standalone="yes"?>
<Relationships xmlns="http://schemas.openxmlformats.org/package/2006/relationships"><Relationship Id="rId3" Type="http://schemas.openxmlformats.org/officeDocument/2006/relationships/image" Target="../media/image54.jpeg"/><Relationship Id="rId2" Type="http://schemas.openxmlformats.org/officeDocument/2006/relationships/notesSlide" Target="../notesSlides/notesSlide9.xml"/><Relationship Id="rId1" Type="http://schemas.openxmlformats.org/officeDocument/2006/relationships/slideLayout" Target="../slideLayouts/slideLayout79.xml"/><Relationship Id="rId4" Type="http://schemas.openxmlformats.org/officeDocument/2006/relationships/image" Target="../media/image55.png"/></Relationships>
</file>

<file path=ppt/slides/_rels/slide27.xml.rels><?xml version="1.0" encoding="UTF-8" standalone="yes"?>
<Relationships xmlns="http://schemas.openxmlformats.org/package/2006/relationships"><Relationship Id="rId3" Type="http://schemas.openxmlformats.org/officeDocument/2006/relationships/image" Target="../media/image56.jpeg"/><Relationship Id="rId2" Type="http://schemas.openxmlformats.org/officeDocument/2006/relationships/notesSlide" Target="../notesSlides/notesSlide10.xml"/><Relationship Id="rId1" Type="http://schemas.openxmlformats.org/officeDocument/2006/relationships/slideLayout" Target="../slideLayouts/slideLayout92.xml"/></Relationships>
</file>

<file path=ppt/slides/_rels/slide28.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11.xml"/><Relationship Id="rId1" Type="http://schemas.openxmlformats.org/officeDocument/2006/relationships/slideLayout" Target="../slideLayouts/slideLayout92.xml"/><Relationship Id="rId4" Type="http://schemas.openxmlformats.org/officeDocument/2006/relationships/image" Target="../media/image57.png"/></Relationships>
</file>

<file path=ppt/slides/_rels/slide29.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12.xml"/><Relationship Id="rId1" Type="http://schemas.openxmlformats.org/officeDocument/2006/relationships/slideLayout" Target="../slideLayouts/slideLayout80.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5.xml"/></Relationships>
</file>

<file path=ppt/slides/_rels/slide30.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13.xml"/><Relationship Id="rId1" Type="http://schemas.openxmlformats.org/officeDocument/2006/relationships/slideLayout" Target="../slideLayouts/slideLayout95.xml"/><Relationship Id="rId5" Type="http://schemas.openxmlformats.org/officeDocument/2006/relationships/image" Target="../media/image55.png"/><Relationship Id="rId4" Type="http://schemas.openxmlformats.org/officeDocument/2006/relationships/hyperlink" Target="https://nap.nationalacademies.org/26500" TargetMode="External"/></Relationships>
</file>

<file path=ppt/slides/_rels/slide31.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14.xml"/><Relationship Id="rId1" Type="http://schemas.openxmlformats.org/officeDocument/2006/relationships/slideLayout" Target="../slideLayouts/slideLayout92.xml"/><Relationship Id="rId4" Type="http://schemas.openxmlformats.org/officeDocument/2006/relationships/image" Target="../media/image55.png"/></Relationships>
</file>

<file path=ppt/slides/_rels/slide32.xml.rels><?xml version="1.0" encoding="UTF-8" standalone="yes"?>
<Relationships xmlns="http://schemas.openxmlformats.org/package/2006/relationships"><Relationship Id="rId8" Type="http://schemas.openxmlformats.org/officeDocument/2006/relationships/image" Target="../media/image64.svg"/><Relationship Id="rId13" Type="http://schemas.openxmlformats.org/officeDocument/2006/relationships/image" Target="../media/image69.png"/><Relationship Id="rId18" Type="http://schemas.openxmlformats.org/officeDocument/2006/relationships/image" Target="../media/image74.svg"/><Relationship Id="rId3" Type="http://schemas.openxmlformats.org/officeDocument/2006/relationships/image" Target="../media/image55.png"/><Relationship Id="rId21" Type="http://schemas.openxmlformats.org/officeDocument/2006/relationships/image" Target="../media/image77.png"/><Relationship Id="rId7" Type="http://schemas.openxmlformats.org/officeDocument/2006/relationships/image" Target="../media/image63.png"/><Relationship Id="rId12" Type="http://schemas.openxmlformats.org/officeDocument/2006/relationships/image" Target="../media/image68.svg"/><Relationship Id="rId17" Type="http://schemas.openxmlformats.org/officeDocument/2006/relationships/image" Target="../media/image73.png"/><Relationship Id="rId2" Type="http://schemas.openxmlformats.org/officeDocument/2006/relationships/notesSlide" Target="../notesSlides/notesSlide15.xml"/><Relationship Id="rId16" Type="http://schemas.openxmlformats.org/officeDocument/2006/relationships/image" Target="../media/image72.svg"/><Relationship Id="rId20" Type="http://schemas.openxmlformats.org/officeDocument/2006/relationships/image" Target="../media/image76.svg"/><Relationship Id="rId1" Type="http://schemas.openxmlformats.org/officeDocument/2006/relationships/slideLayout" Target="../slideLayouts/slideLayout92.xml"/><Relationship Id="rId6" Type="http://schemas.openxmlformats.org/officeDocument/2006/relationships/image" Target="../media/image62.svg"/><Relationship Id="rId11" Type="http://schemas.openxmlformats.org/officeDocument/2006/relationships/image" Target="../media/image67.png"/><Relationship Id="rId5" Type="http://schemas.openxmlformats.org/officeDocument/2006/relationships/image" Target="../media/image61.png"/><Relationship Id="rId15" Type="http://schemas.openxmlformats.org/officeDocument/2006/relationships/image" Target="../media/image71.png"/><Relationship Id="rId10" Type="http://schemas.openxmlformats.org/officeDocument/2006/relationships/image" Target="../media/image66.svg"/><Relationship Id="rId19" Type="http://schemas.openxmlformats.org/officeDocument/2006/relationships/image" Target="../media/image75.png"/><Relationship Id="rId4" Type="http://schemas.openxmlformats.org/officeDocument/2006/relationships/image" Target="../media/image60.jpeg"/><Relationship Id="rId9" Type="http://schemas.openxmlformats.org/officeDocument/2006/relationships/image" Target="../media/image65.png"/><Relationship Id="rId14" Type="http://schemas.openxmlformats.org/officeDocument/2006/relationships/image" Target="../media/image70.svg"/><Relationship Id="rId22" Type="http://schemas.openxmlformats.org/officeDocument/2006/relationships/image" Target="../media/image78.svg"/></Relationships>
</file>

<file path=ppt/slides/_rels/slide33.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16.xml"/><Relationship Id="rId1" Type="http://schemas.openxmlformats.org/officeDocument/2006/relationships/slideLayout" Target="../slideLayouts/slideLayout92.xml"/></Relationships>
</file>

<file path=ppt/slides/_rels/slide34.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17.xml"/><Relationship Id="rId1" Type="http://schemas.openxmlformats.org/officeDocument/2006/relationships/slideLayout" Target="../slideLayouts/slideLayout92.xml"/><Relationship Id="rId5" Type="http://schemas.openxmlformats.org/officeDocument/2006/relationships/image" Target="../media/image62.svg"/><Relationship Id="rId4" Type="http://schemas.openxmlformats.org/officeDocument/2006/relationships/image" Target="../media/image61.png"/></Relationships>
</file>

<file path=ppt/slides/_rels/slide35.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image" Target="../media/image55.png"/><Relationship Id="rId1" Type="http://schemas.openxmlformats.org/officeDocument/2006/relationships/slideLayout" Target="../slideLayouts/slideLayout92.xml"/><Relationship Id="rId5" Type="http://schemas.openxmlformats.org/officeDocument/2006/relationships/image" Target="../media/image79.jpeg"/><Relationship Id="rId4" Type="http://schemas.openxmlformats.org/officeDocument/2006/relationships/image" Target="../media/image76.svg"/></Relationships>
</file>

<file path=ppt/slides/_rels/slide36.xml.rels><?xml version="1.0" encoding="UTF-8" standalone="yes"?>
<Relationships xmlns="http://schemas.openxmlformats.org/package/2006/relationships"><Relationship Id="rId3" Type="http://schemas.openxmlformats.org/officeDocument/2006/relationships/image" Target="../media/image80.jpeg"/><Relationship Id="rId2" Type="http://schemas.openxmlformats.org/officeDocument/2006/relationships/notesSlide" Target="../notesSlides/notesSlide18.xml"/><Relationship Id="rId1" Type="http://schemas.openxmlformats.org/officeDocument/2006/relationships/slideLayout" Target="../slideLayouts/slideLayout92.xml"/><Relationship Id="rId6" Type="http://schemas.openxmlformats.org/officeDocument/2006/relationships/image" Target="../media/image70.svg"/><Relationship Id="rId5" Type="http://schemas.openxmlformats.org/officeDocument/2006/relationships/image" Target="../media/image69.png"/><Relationship Id="rId4" Type="http://schemas.openxmlformats.org/officeDocument/2006/relationships/image" Target="../media/image55.png"/></Relationships>
</file>

<file path=ppt/slides/_rels/slide37.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19.xml"/><Relationship Id="rId1" Type="http://schemas.openxmlformats.org/officeDocument/2006/relationships/slideLayout" Target="../slideLayouts/slideLayout80.xml"/><Relationship Id="rId4" Type="http://schemas.openxmlformats.org/officeDocument/2006/relationships/image" Target="../media/image81.jpeg"/></Relationships>
</file>

<file path=ppt/slides/_rels/slide38.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image" Target="../media/image55.png"/><Relationship Id="rId1" Type="http://schemas.openxmlformats.org/officeDocument/2006/relationships/slideLayout" Target="../slideLayouts/slideLayout92.xml"/><Relationship Id="rId5" Type="http://schemas.openxmlformats.org/officeDocument/2006/relationships/image" Target="../media/image82.jpeg"/><Relationship Id="rId4" Type="http://schemas.openxmlformats.org/officeDocument/2006/relationships/image" Target="../media/image66.svg"/></Relationships>
</file>

<file path=ppt/slides/_rels/slide39.xml.rels><?xml version="1.0" encoding="UTF-8" standalone="yes"?>
<Relationships xmlns="http://schemas.openxmlformats.org/package/2006/relationships"><Relationship Id="rId3" Type="http://schemas.openxmlformats.org/officeDocument/2006/relationships/image" Target="../media/image66.svg"/><Relationship Id="rId7" Type="http://schemas.openxmlformats.org/officeDocument/2006/relationships/image" Target="../media/image83.jpeg"/><Relationship Id="rId2" Type="http://schemas.openxmlformats.org/officeDocument/2006/relationships/image" Target="../media/image65.png"/><Relationship Id="rId1" Type="http://schemas.openxmlformats.org/officeDocument/2006/relationships/slideLayout" Target="../slideLayouts/slideLayout92.xml"/><Relationship Id="rId6" Type="http://schemas.openxmlformats.org/officeDocument/2006/relationships/image" Target="../media/image68.svg"/><Relationship Id="rId5" Type="http://schemas.openxmlformats.org/officeDocument/2006/relationships/image" Target="../media/image67.png"/><Relationship Id="rId4" Type="http://schemas.openxmlformats.org/officeDocument/2006/relationships/image" Target="../media/image55.pn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5.xml"/></Relationships>
</file>

<file path=ppt/slides/_rels/slide40.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image" Target="../media/image55.png"/><Relationship Id="rId1" Type="http://schemas.openxmlformats.org/officeDocument/2006/relationships/slideLayout" Target="../slideLayouts/slideLayout92.xml"/><Relationship Id="rId4" Type="http://schemas.openxmlformats.org/officeDocument/2006/relationships/image" Target="../media/image68.svg"/></Relationships>
</file>

<file path=ppt/slides/_rels/slide41.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20.xml"/><Relationship Id="rId1" Type="http://schemas.openxmlformats.org/officeDocument/2006/relationships/slideLayout" Target="../slideLayouts/slideLayout92.xml"/><Relationship Id="rId5" Type="http://schemas.openxmlformats.org/officeDocument/2006/relationships/image" Target="../media/image64.svg"/><Relationship Id="rId4" Type="http://schemas.openxmlformats.org/officeDocument/2006/relationships/image" Target="../media/image63.png"/></Relationships>
</file>

<file path=ppt/slides/_rels/slide42.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21.xml"/><Relationship Id="rId1" Type="http://schemas.openxmlformats.org/officeDocument/2006/relationships/slideLayout" Target="../slideLayouts/slideLayout92.xml"/><Relationship Id="rId5" Type="http://schemas.openxmlformats.org/officeDocument/2006/relationships/image" Target="../media/image74.svg"/><Relationship Id="rId4" Type="http://schemas.openxmlformats.org/officeDocument/2006/relationships/image" Target="../media/image73.png"/></Relationships>
</file>

<file path=ppt/slides/_rels/slide43.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22.xml"/><Relationship Id="rId1" Type="http://schemas.openxmlformats.org/officeDocument/2006/relationships/slideLayout" Target="../slideLayouts/slideLayout92.xml"/><Relationship Id="rId5" Type="http://schemas.openxmlformats.org/officeDocument/2006/relationships/image" Target="../media/image74.svg"/><Relationship Id="rId4" Type="http://schemas.openxmlformats.org/officeDocument/2006/relationships/image" Target="../media/image73.png"/></Relationships>
</file>

<file path=ppt/slides/_rels/slide44.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image" Target="../media/image55.png"/><Relationship Id="rId1" Type="http://schemas.openxmlformats.org/officeDocument/2006/relationships/slideLayout" Target="../slideLayouts/slideLayout92.xml"/><Relationship Id="rId4" Type="http://schemas.openxmlformats.org/officeDocument/2006/relationships/image" Target="../media/image76.svg"/></Relationships>
</file>

<file path=ppt/slides/_rels/slide45.xml.rels><?xml version="1.0" encoding="UTF-8" standalone="yes"?>
<Relationships xmlns="http://schemas.openxmlformats.org/package/2006/relationships"><Relationship Id="rId8" Type="http://schemas.openxmlformats.org/officeDocument/2006/relationships/image" Target="../media/image64.svg"/><Relationship Id="rId13" Type="http://schemas.openxmlformats.org/officeDocument/2006/relationships/image" Target="../media/image69.png"/><Relationship Id="rId18" Type="http://schemas.openxmlformats.org/officeDocument/2006/relationships/image" Target="../media/image74.svg"/><Relationship Id="rId3" Type="http://schemas.openxmlformats.org/officeDocument/2006/relationships/image" Target="../media/image60.jpeg"/><Relationship Id="rId21" Type="http://schemas.openxmlformats.org/officeDocument/2006/relationships/image" Target="../media/image77.png"/><Relationship Id="rId7" Type="http://schemas.openxmlformats.org/officeDocument/2006/relationships/image" Target="../media/image63.png"/><Relationship Id="rId12" Type="http://schemas.openxmlformats.org/officeDocument/2006/relationships/image" Target="../media/image68.svg"/><Relationship Id="rId17" Type="http://schemas.openxmlformats.org/officeDocument/2006/relationships/image" Target="../media/image73.png"/><Relationship Id="rId2" Type="http://schemas.openxmlformats.org/officeDocument/2006/relationships/notesSlide" Target="../notesSlides/notesSlide23.xml"/><Relationship Id="rId16" Type="http://schemas.openxmlformats.org/officeDocument/2006/relationships/image" Target="../media/image72.svg"/><Relationship Id="rId20" Type="http://schemas.openxmlformats.org/officeDocument/2006/relationships/image" Target="../media/image76.svg"/><Relationship Id="rId1" Type="http://schemas.openxmlformats.org/officeDocument/2006/relationships/slideLayout" Target="../slideLayouts/slideLayout92.xml"/><Relationship Id="rId6" Type="http://schemas.openxmlformats.org/officeDocument/2006/relationships/image" Target="../media/image62.svg"/><Relationship Id="rId11" Type="http://schemas.openxmlformats.org/officeDocument/2006/relationships/image" Target="../media/image67.png"/><Relationship Id="rId5" Type="http://schemas.openxmlformats.org/officeDocument/2006/relationships/image" Target="../media/image61.png"/><Relationship Id="rId15" Type="http://schemas.openxmlformats.org/officeDocument/2006/relationships/image" Target="../media/image71.png"/><Relationship Id="rId10" Type="http://schemas.openxmlformats.org/officeDocument/2006/relationships/image" Target="../media/image66.svg"/><Relationship Id="rId19" Type="http://schemas.openxmlformats.org/officeDocument/2006/relationships/image" Target="../media/image75.png"/><Relationship Id="rId4" Type="http://schemas.openxmlformats.org/officeDocument/2006/relationships/image" Target="../media/image55.png"/><Relationship Id="rId9" Type="http://schemas.openxmlformats.org/officeDocument/2006/relationships/image" Target="../media/image65.png"/><Relationship Id="rId14" Type="http://schemas.openxmlformats.org/officeDocument/2006/relationships/image" Target="../media/image70.svg"/><Relationship Id="rId22" Type="http://schemas.openxmlformats.org/officeDocument/2006/relationships/image" Target="../media/image78.svg"/></Relationships>
</file>

<file path=ppt/slides/_rels/slide46.xml.rels><?xml version="1.0" encoding="UTF-8" standalone="yes"?>
<Relationships xmlns="http://schemas.openxmlformats.org/package/2006/relationships"><Relationship Id="rId3" Type="http://schemas.openxmlformats.org/officeDocument/2006/relationships/image" Target="../media/image54.jpeg"/><Relationship Id="rId2" Type="http://schemas.openxmlformats.org/officeDocument/2006/relationships/notesSlide" Target="../notesSlides/notesSlide24.xml"/><Relationship Id="rId1" Type="http://schemas.openxmlformats.org/officeDocument/2006/relationships/slideLayout" Target="../slideLayouts/slideLayout79.xml"/><Relationship Id="rId4" Type="http://schemas.openxmlformats.org/officeDocument/2006/relationships/image" Target="../media/image55.png"/></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15.xml"/></Relationships>
</file>

<file path=ppt/slides/_rels/slide48.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image" Target="../media/image84.jpeg"/><Relationship Id="rId1" Type="http://schemas.openxmlformats.org/officeDocument/2006/relationships/slideLayout" Target="../slideLayouts/slideLayout32.xml"/></Relationships>
</file>

<file path=ppt/slides/_rels/slide49.xml.rels><?xml version="1.0" encoding="UTF-8" standalone="yes"?>
<Relationships xmlns="http://schemas.openxmlformats.org/package/2006/relationships"><Relationship Id="rId3" Type="http://schemas.openxmlformats.org/officeDocument/2006/relationships/image" Target="../media/image84.jpeg"/><Relationship Id="rId2" Type="http://schemas.openxmlformats.org/officeDocument/2006/relationships/notesSlide" Target="../notesSlides/notesSlide26.xml"/><Relationship Id="rId1" Type="http://schemas.openxmlformats.org/officeDocument/2006/relationships/slideLayout" Target="../slideLayouts/slideLayout45.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5.xml"/></Relationships>
</file>

<file path=ppt/slides/_rels/slide50.xml.rels><?xml version="1.0" encoding="UTF-8" standalone="yes"?>
<Relationships xmlns="http://schemas.openxmlformats.org/package/2006/relationships"><Relationship Id="rId8" Type="http://schemas.openxmlformats.org/officeDocument/2006/relationships/image" Target="../media/image92.png"/><Relationship Id="rId13" Type="http://schemas.openxmlformats.org/officeDocument/2006/relationships/image" Target="../media/image97.png"/><Relationship Id="rId3" Type="http://schemas.openxmlformats.org/officeDocument/2006/relationships/image" Target="../media/image87.png"/><Relationship Id="rId7" Type="http://schemas.openxmlformats.org/officeDocument/2006/relationships/image" Target="../media/image91.png"/><Relationship Id="rId12" Type="http://schemas.openxmlformats.org/officeDocument/2006/relationships/image" Target="../media/image96.png"/><Relationship Id="rId2" Type="http://schemas.openxmlformats.org/officeDocument/2006/relationships/image" Target="../media/image86.png"/><Relationship Id="rId16" Type="http://schemas.openxmlformats.org/officeDocument/2006/relationships/image" Target="../media/image100.png"/><Relationship Id="rId1" Type="http://schemas.openxmlformats.org/officeDocument/2006/relationships/slideLayout" Target="../slideLayouts/slideLayout46.xml"/><Relationship Id="rId6" Type="http://schemas.openxmlformats.org/officeDocument/2006/relationships/image" Target="../media/image90.png"/><Relationship Id="rId11" Type="http://schemas.openxmlformats.org/officeDocument/2006/relationships/image" Target="../media/image95.jpeg"/><Relationship Id="rId5" Type="http://schemas.openxmlformats.org/officeDocument/2006/relationships/image" Target="../media/image89.png"/><Relationship Id="rId15" Type="http://schemas.openxmlformats.org/officeDocument/2006/relationships/image" Target="../media/image99.png"/><Relationship Id="rId10" Type="http://schemas.openxmlformats.org/officeDocument/2006/relationships/image" Target="../media/image94.png"/><Relationship Id="rId4" Type="http://schemas.openxmlformats.org/officeDocument/2006/relationships/image" Target="../media/image88.png"/><Relationship Id="rId9" Type="http://schemas.openxmlformats.org/officeDocument/2006/relationships/image" Target="../media/image93.jpeg"/><Relationship Id="rId14" Type="http://schemas.openxmlformats.org/officeDocument/2006/relationships/image" Target="../media/image98.png"/></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46.xml"/></Relationships>
</file>

<file path=ppt/slides/_rels/slide52.xml.rels><?xml version="1.0" encoding="UTF-8" standalone="yes"?>
<Relationships xmlns="http://schemas.openxmlformats.org/package/2006/relationships"><Relationship Id="rId2" Type="http://schemas.openxmlformats.org/officeDocument/2006/relationships/image" Target="../media/image84.jpeg"/><Relationship Id="rId1" Type="http://schemas.openxmlformats.org/officeDocument/2006/relationships/slideLayout" Target="../slideLayouts/slideLayout45.xml"/></Relationships>
</file>

<file path=ppt/slides/_rels/slide53.xml.rels><?xml version="1.0" encoding="UTF-8" standalone="yes"?>
<Relationships xmlns="http://schemas.openxmlformats.org/package/2006/relationships"><Relationship Id="rId2" Type="http://schemas.openxmlformats.org/officeDocument/2006/relationships/image" Target="../media/image101.png"/><Relationship Id="rId1" Type="http://schemas.openxmlformats.org/officeDocument/2006/relationships/slideLayout" Target="../slideLayouts/slideLayout46.xml"/></Relationships>
</file>

<file path=ppt/slides/_rels/slide54.xml.rels><?xml version="1.0" encoding="UTF-8" standalone="yes"?>
<Relationships xmlns="http://schemas.openxmlformats.org/package/2006/relationships"><Relationship Id="rId3" Type="http://schemas.openxmlformats.org/officeDocument/2006/relationships/image" Target="../media/image102.png"/><Relationship Id="rId2" Type="http://schemas.openxmlformats.org/officeDocument/2006/relationships/notesSlide" Target="../notesSlides/notesSlide27.xml"/><Relationship Id="rId1" Type="http://schemas.openxmlformats.org/officeDocument/2006/relationships/slideLayout" Target="../slideLayouts/slideLayout46.xml"/></Relationships>
</file>

<file path=ppt/slides/_rels/slide55.xml.rels><?xml version="1.0" encoding="UTF-8" standalone="yes"?>
<Relationships xmlns="http://schemas.openxmlformats.org/package/2006/relationships"><Relationship Id="rId2" Type="http://schemas.openxmlformats.org/officeDocument/2006/relationships/image" Target="../media/image103.png"/><Relationship Id="rId1" Type="http://schemas.openxmlformats.org/officeDocument/2006/relationships/slideLayout" Target="../slideLayouts/slideLayout46.xml"/></Relationships>
</file>

<file path=ppt/slides/_rels/slide56.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46.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46.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46.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46.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102.xml"/><Relationship Id="rId2" Type="http://schemas.openxmlformats.org/officeDocument/2006/relationships/tags" Target="../tags/tag266.xml"/><Relationship Id="rId1" Type="http://schemas.openxmlformats.org/officeDocument/2006/relationships/vmlDrawing" Target="../drawings/vmlDrawing44.vml"/><Relationship Id="rId5" Type="http://schemas.openxmlformats.org/officeDocument/2006/relationships/image" Target="../media/image14.emf"/><Relationship Id="rId4" Type="http://schemas.openxmlformats.org/officeDocument/2006/relationships/oleObject" Target="../embeddings/oleObject44.bin"/></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46.xml"/></Relationships>
</file>

<file path=ppt/slides/_rels/slide61.xml.rels><?xml version="1.0" encoding="UTF-8" standalone="yes"?>
<Relationships xmlns="http://schemas.openxmlformats.org/package/2006/relationships"><Relationship Id="rId3" Type="http://schemas.openxmlformats.org/officeDocument/2006/relationships/image" Target="../media/image84.jpeg"/><Relationship Id="rId2" Type="http://schemas.openxmlformats.org/officeDocument/2006/relationships/notesSlide" Target="../notesSlides/notesSlide29.xml"/><Relationship Id="rId1" Type="http://schemas.openxmlformats.org/officeDocument/2006/relationships/slideLayout" Target="../slideLayouts/slideLayout45.xml"/></Relationships>
</file>

<file path=ppt/slides/_rels/slide62.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46.xml"/></Relationships>
</file>

<file path=ppt/slides/_rels/slide63.xml.rels><?xml version="1.0" encoding="UTF-8" standalone="yes"?>
<Relationships xmlns="http://schemas.openxmlformats.org/package/2006/relationships"><Relationship Id="rId3" Type="http://schemas.openxmlformats.org/officeDocument/2006/relationships/image" Target="../media/image84.jpeg"/><Relationship Id="rId2" Type="http://schemas.openxmlformats.org/officeDocument/2006/relationships/notesSlide" Target="../notesSlides/notesSlide31.xml"/><Relationship Id="rId1" Type="http://schemas.openxmlformats.org/officeDocument/2006/relationships/slideLayout" Target="../slideLayouts/slideLayout45.xml"/></Relationships>
</file>

<file path=ppt/slides/_rels/slide64.xml.rels><?xml version="1.0" encoding="UTF-8" standalone="yes"?>
<Relationships xmlns="http://schemas.openxmlformats.org/package/2006/relationships"><Relationship Id="rId2" Type="http://schemas.openxmlformats.org/officeDocument/2006/relationships/image" Target="../media/image101.png"/><Relationship Id="rId1" Type="http://schemas.openxmlformats.org/officeDocument/2006/relationships/slideLayout" Target="../slideLayouts/slideLayout46.xml"/></Relationships>
</file>

<file path=ppt/slides/_rels/slide65.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46.xml"/></Relationships>
</file>

<file path=ppt/slides/_rels/slide66.xml.rels><?xml version="1.0" encoding="UTF-8" standalone="yes"?>
<Relationships xmlns="http://schemas.openxmlformats.org/package/2006/relationships"><Relationship Id="rId2" Type="http://schemas.openxmlformats.org/officeDocument/2006/relationships/image" Target="../media/image84.jpeg"/><Relationship Id="rId1" Type="http://schemas.openxmlformats.org/officeDocument/2006/relationships/slideLayout" Target="../slideLayouts/slideLayout45.xml"/></Relationships>
</file>

<file path=ppt/slides/_rels/slide67.xml.rels><?xml version="1.0" encoding="UTF-8" standalone="yes"?>
<Relationships xmlns="http://schemas.openxmlformats.org/package/2006/relationships"><Relationship Id="rId1" Type="http://schemas.openxmlformats.org/officeDocument/2006/relationships/slideLayout" Target="../slideLayouts/slideLayout46.xml"/></Relationships>
</file>

<file path=ppt/slides/_rels/slide68.xml.rels><?xml version="1.0" encoding="UTF-8" standalone="yes"?>
<Relationships xmlns="http://schemas.openxmlformats.org/package/2006/relationships"><Relationship Id="rId3" Type="http://schemas.openxmlformats.org/officeDocument/2006/relationships/image" Target="../media/image104.jpeg"/><Relationship Id="rId2" Type="http://schemas.openxmlformats.org/officeDocument/2006/relationships/notesSlide" Target="../notesSlides/notesSlide33.xml"/><Relationship Id="rId1" Type="http://schemas.openxmlformats.org/officeDocument/2006/relationships/slideLayout" Target="../slideLayouts/slideLayout46.xml"/></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46.xml"/></Relationships>
</file>

<file path=ppt/slides/_rels/slide7.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5.xml"/><Relationship Id="rId1" Type="http://schemas.openxmlformats.org/officeDocument/2006/relationships/slideLayout" Target="../slideLayouts/slideLayout104.xml"/></Relationships>
</file>

<file path=ppt/slides/_rels/slide70.xml.rels><?xml version="1.0" encoding="UTF-8" standalone="yes"?>
<Relationships xmlns="http://schemas.openxmlformats.org/package/2006/relationships"><Relationship Id="rId1" Type="http://schemas.openxmlformats.org/officeDocument/2006/relationships/slideLayout" Target="../slideLayouts/slideLayout46.xml"/></Relationships>
</file>

<file path=ppt/slides/_rels/slide71.xml.rels><?xml version="1.0" encoding="UTF-8" standalone="yes"?>
<Relationships xmlns="http://schemas.openxmlformats.org/package/2006/relationships"><Relationship Id="rId1" Type="http://schemas.openxmlformats.org/officeDocument/2006/relationships/slideLayout" Target="../slideLayouts/slideLayout46.xml"/></Relationships>
</file>

<file path=ppt/slides/_rels/slide72.xml.rels><?xml version="1.0" encoding="UTF-8" standalone="yes"?>
<Relationships xmlns="http://schemas.openxmlformats.org/package/2006/relationships"><Relationship Id="rId1" Type="http://schemas.openxmlformats.org/officeDocument/2006/relationships/slideLayout" Target="../slideLayouts/slideLayout46.xml"/></Relationships>
</file>

<file path=ppt/slides/_rels/slide73.xml.rels><?xml version="1.0" encoding="UTF-8" standalone="yes"?>
<Relationships xmlns="http://schemas.openxmlformats.org/package/2006/relationships"><Relationship Id="rId1" Type="http://schemas.openxmlformats.org/officeDocument/2006/relationships/slideLayout" Target="../slideLayouts/slideLayout46.xml"/></Relationships>
</file>

<file path=ppt/slides/_rels/slide74.xml.rels><?xml version="1.0" encoding="UTF-8" standalone="yes"?>
<Relationships xmlns="http://schemas.openxmlformats.org/package/2006/relationships"><Relationship Id="rId1" Type="http://schemas.openxmlformats.org/officeDocument/2006/relationships/slideLayout" Target="../slideLayouts/slideLayout46.xml"/></Relationships>
</file>

<file path=ppt/slides/_rels/slide75.xml.rels><?xml version="1.0" encoding="UTF-8" standalone="yes"?>
<Relationships xmlns="http://schemas.openxmlformats.org/package/2006/relationships"><Relationship Id="rId2" Type="http://schemas.openxmlformats.org/officeDocument/2006/relationships/image" Target="../media/image84.jpeg"/><Relationship Id="rId1" Type="http://schemas.openxmlformats.org/officeDocument/2006/relationships/slideLayout" Target="../slideLayouts/slideLayout45.xml"/></Relationships>
</file>

<file path=ppt/slides/_rels/slide76.xml.rels><?xml version="1.0" encoding="UTF-8" standalone="yes"?>
<Relationships xmlns="http://schemas.openxmlformats.org/package/2006/relationships"><Relationship Id="rId1" Type="http://schemas.openxmlformats.org/officeDocument/2006/relationships/slideLayout" Target="../slideLayouts/slideLayout46.xml"/></Relationships>
</file>

<file path=ppt/slides/_rels/slide77.xml.rels><?xml version="1.0" encoding="UTF-8" standalone="yes"?>
<Relationships xmlns="http://schemas.openxmlformats.org/package/2006/relationships"><Relationship Id="rId1" Type="http://schemas.openxmlformats.org/officeDocument/2006/relationships/slideLayout" Target="../slideLayouts/slideLayout46.xml"/></Relationships>
</file>

<file path=ppt/slides/_rels/slide78.xml.rels><?xml version="1.0" encoding="UTF-8" standalone="yes"?>
<Relationships xmlns="http://schemas.openxmlformats.org/package/2006/relationships"><Relationship Id="rId1" Type="http://schemas.openxmlformats.org/officeDocument/2006/relationships/slideLayout" Target="../slideLayouts/slideLayout46.xml"/></Relationships>
</file>

<file path=ppt/slides/_rels/slide79.xml.rels><?xml version="1.0" encoding="UTF-8" standalone="yes"?>
<Relationships xmlns="http://schemas.openxmlformats.org/package/2006/relationships"><Relationship Id="rId2" Type="http://schemas.openxmlformats.org/officeDocument/2006/relationships/image" Target="../media/image84.jpeg"/><Relationship Id="rId1" Type="http://schemas.openxmlformats.org/officeDocument/2006/relationships/slideLayout" Target="../slideLayouts/slideLayout45.xml"/></Relationships>
</file>

<file path=ppt/slides/_rels/slide8.xml.rels><?xml version="1.0" encoding="UTF-8" standalone="yes"?>
<Relationships xmlns="http://schemas.openxmlformats.org/package/2006/relationships"><Relationship Id="rId3" Type="http://schemas.openxmlformats.org/officeDocument/2006/relationships/tags" Target="../tags/tag269.xml"/><Relationship Id="rId7" Type="http://schemas.openxmlformats.org/officeDocument/2006/relationships/slideLayout" Target="../slideLayouts/slideLayout124.xml"/><Relationship Id="rId2" Type="http://schemas.openxmlformats.org/officeDocument/2006/relationships/tags" Target="../tags/tag268.xml"/><Relationship Id="rId1" Type="http://schemas.openxmlformats.org/officeDocument/2006/relationships/tags" Target="../tags/tag267.xml"/><Relationship Id="rId6" Type="http://schemas.openxmlformats.org/officeDocument/2006/relationships/tags" Target="../tags/tag272.xml"/><Relationship Id="rId5" Type="http://schemas.openxmlformats.org/officeDocument/2006/relationships/tags" Target="../tags/tag271.xml"/><Relationship Id="rId4" Type="http://schemas.openxmlformats.org/officeDocument/2006/relationships/tags" Target="../tags/tag270.xml"/></Relationships>
</file>

<file path=ppt/slides/_rels/slide80.xml.rels><?xml version="1.0" encoding="UTF-8" standalone="yes"?>
<Relationships xmlns="http://schemas.openxmlformats.org/package/2006/relationships"><Relationship Id="rId3" Type="http://schemas.openxmlformats.org/officeDocument/2006/relationships/image" Target="../media/image84.jpeg"/><Relationship Id="rId2" Type="http://schemas.openxmlformats.org/officeDocument/2006/relationships/notesSlide" Target="../notesSlides/notesSlide34.xml"/><Relationship Id="rId1" Type="http://schemas.openxmlformats.org/officeDocument/2006/relationships/slideLayout" Target="../slideLayouts/slideLayout45.xml"/></Relationships>
</file>

<file path=ppt/slides/_rels/slide81.xml.rels><?xml version="1.0" encoding="UTF-8" standalone="yes"?>
<Relationships xmlns="http://schemas.openxmlformats.org/package/2006/relationships"><Relationship Id="rId2" Type="http://schemas.openxmlformats.org/officeDocument/2006/relationships/image" Target="../media/image84.jpeg"/><Relationship Id="rId1" Type="http://schemas.openxmlformats.org/officeDocument/2006/relationships/slideLayout" Target="../slideLayouts/slideLayout39.xml"/></Relationships>
</file>

<file path=ppt/slides/_rels/slide82.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15.xml"/></Relationships>
</file>

<file path=ppt/slides/_rels/slide83.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15.xml"/></Relationships>
</file>

<file path=ppt/slides/_rels/slide8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5.xml.rels><?xml version="1.0" encoding="UTF-8" standalone="yes"?>
<Relationships xmlns="http://schemas.openxmlformats.org/package/2006/relationships"><Relationship Id="rId13" Type="http://schemas.openxmlformats.org/officeDocument/2006/relationships/image" Target="../media/image116.svg"/><Relationship Id="rId18" Type="http://schemas.openxmlformats.org/officeDocument/2006/relationships/image" Target="../media/image121.png"/><Relationship Id="rId26" Type="http://schemas.openxmlformats.org/officeDocument/2006/relationships/image" Target="../media/image129.png"/><Relationship Id="rId39" Type="http://schemas.openxmlformats.org/officeDocument/2006/relationships/image" Target="../media/image142.svg"/><Relationship Id="rId21" Type="http://schemas.openxmlformats.org/officeDocument/2006/relationships/image" Target="../media/image124.svg"/><Relationship Id="rId34" Type="http://schemas.openxmlformats.org/officeDocument/2006/relationships/image" Target="../media/image137.png"/><Relationship Id="rId42" Type="http://schemas.openxmlformats.org/officeDocument/2006/relationships/image" Target="../media/image145.png"/><Relationship Id="rId7" Type="http://schemas.openxmlformats.org/officeDocument/2006/relationships/image" Target="../media/image110.svg"/><Relationship Id="rId2" Type="http://schemas.openxmlformats.org/officeDocument/2006/relationships/image" Target="../media/image105.png"/><Relationship Id="rId16" Type="http://schemas.openxmlformats.org/officeDocument/2006/relationships/image" Target="../media/image119.png"/><Relationship Id="rId20" Type="http://schemas.openxmlformats.org/officeDocument/2006/relationships/image" Target="../media/image123.png"/><Relationship Id="rId29" Type="http://schemas.openxmlformats.org/officeDocument/2006/relationships/image" Target="../media/image132.svg"/><Relationship Id="rId41" Type="http://schemas.openxmlformats.org/officeDocument/2006/relationships/image" Target="../media/image144.svg"/><Relationship Id="rId1" Type="http://schemas.openxmlformats.org/officeDocument/2006/relationships/slideLayout" Target="../slideLayouts/slideLayout2.xml"/><Relationship Id="rId6" Type="http://schemas.openxmlformats.org/officeDocument/2006/relationships/image" Target="../media/image109.png"/><Relationship Id="rId11" Type="http://schemas.openxmlformats.org/officeDocument/2006/relationships/image" Target="../media/image114.svg"/><Relationship Id="rId24" Type="http://schemas.openxmlformats.org/officeDocument/2006/relationships/image" Target="../media/image127.png"/><Relationship Id="rId32" Type="http://schemas.openxmlformats.org/officeDocument/2006/relationships/image" Target="../media/image135.png"/><Relationship Id="rId37" Type="http://schemas.openxmlformats.org/officeDocument/2006/relationships/image" Target="../media/image140.svg"/><Relationship Id="rId40" Type="http://schemas.openxmlformats.org/officeDocument/2006/relationships/image" Target="../media/image143.png"/><Relationship Id="rId5" Type="http://schemas.openxmlformats.org/officeDocument/2006/relationships/image" Target="../media/image108.svg"/><Relationship Id="rId15" Type="http://schemas.openxmlformats.org/officeDocument/2006/relationships/image" Target="../media/image118.svg"/><Relationship Id="rId23" Type="http://schemas.openxmlformats.org/officeDocument/2006/relationships/image" Target="../media/image126.svg"/><Relationship Id="rId28" Type="http://schemas.openxmlformats.org/officeDocument/2006/relationships/image" Target="../media/image131.png"/><Relationship Id="rId36" Type="http://schemas.openxmlformats.org/officeDocument/2006/relationships/image" Target="../media/image139.png"/><Relationship Id="rId10" Type="http://schemas.openxmlformats.org/officeDocument/2006/relationships/image" Target="../media/image113.png"/><Relationship Id="rId19" Type="http://schemas.openxmlformats.org/officeDocument/2006/relationships/image" Target="../media/image122.svg"/><Relationship Id="rId31" Type="http://schemas.openxmlformats.org/officeDocument/2006/relationships/image" Target="../media/image134.svg"/><Relationship Id="rId4" Type="http://schemas.openxmlformats.org/officeDocument/2006/relationships/image" Target="../media/image107.png"/><Relationship Id="rId9" Type="http://schemas.openxmlformats.org/officeDocument/2006/relationships/image" Target="../media/image112.svg"/><Relationship Id="rId14" Type="http://schemas.openxmlformats.org/officeDocument/2006/relationships/image" Target="../media/image117.png"/><Relationship Id="rId22" Type="http://schemas.openxmlformats.org/officeDocument/2006/relationships/image" Target="../media/image125.png"/><Relationship Id="rId27" Type="http://schemas.openxmlformats.org/officeDocument/2006/relationships/image" Target="../media/image130.svg"/><Relationship Id="rId30" Type="http://schemas.openxmlformats.org/officeDocument/2006/relationships/image" Target="../media/image133.png"/><Relationship Id="rId35" Type="http://schemas.openxmlformats.org/officeDocument/2006/relationships/image" Target="../media/image138.svg"/><Relationship Id="rId43" Type="http://schemas.openxmlformats.org/officeDocument/2006/relationships/image" Target="../media/image146.svg"/><Relationship Id="rId8" Type="http://schemas.openxmlformats.org/officeDocument/2006/relationships/image" Target="../media/image111.png"/><Relationship Id="rId3" Type="http://schemas.openxmlformats.org/officeDocument/2006/relationships/image" Target="../media/image106.svg"/><Relationship Id="rId12" Type="http://schemas.openxmlformats.org/officeDocument/2006/relationships/image" Target="../media/image115.png"/><Relationship Id="rId17" Type="http://schemas.openxmlformats.org/officeDocument/2006/relationships/image" Target="../media/image120.svg"/><Relationship Id="rId25" Type="http://schemas.openxmlformats.org/officeDocument/2006/relationships/image" Target="../media/image128.svg"/><Relationship Id="rId33" Type="http://schemas.openxmlformats.org/officeDocument/2006/relationships/image" Target="../media/image136.svg"/><Relationship Id="rId38" Type="http://schemas.openxmlformats.org/officeDocument/2006/relationships/image" Target="../media/image141.png"/></Relationships>
</file>

<file path=ppt/slides/_rels/slide86.xml.rels><?xml version="1.0" encoding="UTF-8" standalone="yes"?>
<Relationships xmlns="http://schemas.openxmlformats.org/package/2006/relationships"><Relationship Id="rId8" Type="http://schemas.openxmlformats.org/officeDocument/2006/relationships/image" Target="../media/image111.png"/><Relationship Id="rId3" Type="http://schemas.openxmlformats.org/officeDocument/2006/relationships/image" Target="../media/image106.svg"/><Relationship Id="rId7" Type="http://schemas.openxmlformats.org/officeDocument/2006/relationships/image" Target="../media/image110.svg"/><Relationship Id="rId2" Type="http://schemas.openxmlformats.org/officeDocument/2006/relationships/image" Target="../media/image105.png"/><Relationship Id="rId1" Type="http://schemas.openxmlformats.org/officeDocument/2006/relationships/slideLayout" Target="../slideLayouts/slideLayout2.xml"/><Relationship Id="rId6" Type="http://schemas.openxmlformats.org/officeDocument/2006/relationships/image" Target="../media/image109.png"/><Relationship Id="rId5" Type="http://schemas.openxmlformats.org/officeDocument/2006/relationships/image" Target="../media/image108.svg"/><Relationship Id="rId4" Type="http://schemas.openxmlformats.org/officeDocument/2006/relationships/image" Target="../media/image107.png"/><Relationship Id="rId9" Type="http://schemas.openxmlformats.org/officeDocument/2006/relationships/image" Target="../media/image112.svg"/></Relationships>
</file>

<file path=ppt/slides/_rels/slide87.xml.rels><?xml version="1.0" encoding="UTF-8" standalone="yes"?>
<Relationships xmlns="http://schemas.openxmlformats.org/package/2006/relationships"><Relationship Id="rId8" Type="http://schemas.openxmlformats.org/officeDocument/2006/relationships/image" Target="../media/image119.png"/><Relationship Id="rId13" Type="http://schemas.openxmlformats.org/officeDocument/2006/relationships/image" Target="../media/image124.svg"/><Relationship Id="rId3" Type="http://schemas.openxmlformats.org/officeDocument/2006/relationships/image" Target="../media/image114.svg"/><Relationship Id="rId7" Type="http://schemas.openxmlformats.org/officeDocument/2006/relationships/image" Target="../media/image118.svg"/><Relationship Id="rId12" Type="http://schemas.openxmlformats.org/officeDocument/2006/relationships/image" Target="../media/image123.png"/><Relationship Id="rId2" Type="http://schemas.openxmlformats.org/officeDocument/2006/relationships/image" Target="../media/image113.png"/><Relationship Id="rId1" Type="http://schemas.openxmlformats.org/officeDocument/2006/relationships/slideLayout" Target="../slideLayouts/slideLayout2.xml"/><Relationship Id="rId6" Type="http://schemas.openxmlformats.org/officeDocument/2006/relationships/image" Target="../media/image117.png"/><Relationship Id="rId11" Type="http://schemas.openxmlformats.org/officeDocument/2006/relationships/image" Target="../media/image122.svg"/><Relationship Id="rId5" Type="http://schemas.openxmlformats.org/officeDocument/2006/relationships/image" Target="../media/image116.svg"/><Relationship Id="rId10" Type="http://schemas.openxmlformats.org/officeDocument/2006/relationships/image" Target="../media/image121.png"/><Relationship Id="rId4" Type="http://schemas.openxmlformats.org/officeDocument/2006/relationships/image" Target="../media/image115.png"/><Relationship Id="rId9" Type="http://schemas.openxmlformats.org/officeDocument/2006/relationships/image" Target="../media/image120.svg"/></Relationships>
</file>

<file path=ppt/slides/_rels/slide88.xml.rels><?xml version="1.0" encoding="UTF-8" standalone="yes"?>
<Relationships xmlns="http://schemas.openxmlformats.org/package/2006/relationships"><Relationship Id="rId8" Type="http://schemas.openxmlformats.org/officeDocument/2006/relationships/image" Target="../media/image130.svg"/><Relationship Id="rId3" Type="http://schemas.openxmlformats.org/officeDocument/2006/relationships/image" Target="../media/image125.png"/><Relationship Id="rId7" Type="http://schemas.openxmlformats.org/officeDocument/2006/relationships/image" Target="../media/image129.png"/><Relationship Id="rId2" Type="http://schemas.openxmlformats.org/officeDocument/2006/relationships/notesSlide" Target="../notesSlides/notesSlide37.xml"/><Relationship Id="rId1" Type="http://schemas.openxmlformats.org/officeDocument/2006/relationships/slideLayout" Target="../slideLayouts/slideLayout2.xml"/><Relationship Id="rId6" Type="http://schemas.openxmlformats.org/officeDocument/2006/relationships/image" Target="../media/image128.svg"/><Relationship Id="rId5" Type="http://schemas.openxmlformats.org/officeDocument/2006/relationships/image" Target="../media/image127.png"/><Relationship Id="rId10" Type="http://schemas.openxmlformats.org/officeDocument/2006/relationships/image" Target="../media/image132.svg"/><Relationship Id="rId4" Type="http://schemas.openxmlformats.org/officeDocument/2006/relationships/image" Target="../media/image126.svg"/><Relationship Id="rId9" Type="http://schemas.openxmlformats.org/officeDocument/2006/relationships/image" Target="../media/image131.png"/></Relationships>
</file>

<file path=ppt/slides/_rels/slide89.xml.rels><?xml version="1.0" encoding="UTF-8" standalone="yes"?>
<Relationships xmlns="http://schemas.openxmlformats.org/package/2006/relationships"><Relationship Id="rId8" Type="http://schemas.openxmlformats.org/officeDocument/2006/relationships/image" Target="../media/image139.png"/><Relationship Id="rId3" Type="http://schemas.openxmlformats.org/officeDocument/2006/relationships/image" Target="../media/image134.svg"/><Relationship Id="rId7" Type="http://schemas.openxmlformats.org/officeDocument/2006/relationships/image" Target="../media/image138.svg"/><Relationship Id="rId2" Type="http://schemas.openxmlformats.org/officeDocument/2006/relationships/image" Target="../media/image133.png"/><Relationship Id="rId1" Type="http://schemas.openxmlformats.org/officeDocument/2006/relationships/slideLayout" Target="../slideLayouts/slideLayout2.xml"/><Relationship Id="rId6" Type="http://schemas.openxmlformats.org/officeDocument/2006/relationships/image" Target="../media/image137.png"/><Relationship Id="rId5" Type="http://schemas.openxmlformats.org/officeDocument/2006/relationships/image" Target="../media/image136.svg"/><Relationship Id="rId4" Type="http://schemas.openxmlformats.org/officeDocument/2006/relationships/image" Target="../media/image135.png"/><Relationship Id="rId9" Type="http://schemas.openxmlformats.org/officeDocument/2006/relationships/image" Target="../media/image140.svg"/></Relationships>
</file>

<file path=ppt/slides/_rels/slide9.xml.rels><?xml version="1.0" encoding="UTF-8" standalone="yes"?>
<Relationships xmlns="http://schemas.openxmlformats.org/package/2006/relationships"><Relationship Id="rId8" Type="http://schemas.openxmlformats.org/officeDocument/2006/relationships/tags" Target="../tags/tag280.xml"/><Relationship Id="rId13" Type="http://schemas.openxmlformats.org/officeDocument/2006/relationships/tags" Target="../tags/tag285.xml"/><Relationship Id="rId18" Type="http://schemas.openxmlformats.org/officeDocument/2006/relationships/tags" Target="../tags/tag290.xml"/><Relationship Id="rId26" Type="http://schemas.openxmlformats.org/officeDocument/2006/relationships/tags" Target="../tags/tag298.xml"/><Relationship Id="rId3" Type="http://schemas.openxmlformats.org/officeDocument/2006/relationships/tags" Target="../tags/tag275.xml"/><Relationship Id="rId21" Type="http://schemas.openxmlformats.org/officeDocument/2006/relationships/tags" Target="../tags/tag293.xml"/><Relationship Id="rId7" Type="http://schemas.openxmlformats.org/officeDocument/2006/relationships/tags" Target="../tags/tag279.xml"/><Relationship Id="rId12" Type="http://schemas.openxmlformats.org/officeDocument/2006/relationships/tags" Target="../tags/tag284.xml"/><Relationship Id="rId17" Type="http://schemas.openxmlformats.org/officeDocument/2006/relationships/tags" Target="../tags/tag289.xml"/><Relationship Id="rId25" Type="http://schemas.openxmlformats.org/officeDocument/2006/relationships/tags" Target="../tags/tag297.xml"/><Relationship Id="rId2" Type="http://schemas.openxmlformats.org/officeDocument/2006/relationships/tags" Target="../tags/tag274.xml"/><Relationship Id="rId16" Type="http://schemas.openxmlformats.org/officeDocument/2006/relationships/tags" Target="../tags/tag288.xml"/><Relationship Id="rId20" Type="http://schemas.openxmlformats.org/officeDocument/2006/relationships/tags" Target="../tags/tag292.xml"/><Relationship Id="rId29" Type="http://schemas.openxmlformats.org/officeDocument/2006/relationships/slideLayout" Target="../slideLayouts/slideLayout124.xml"/><Relationship Id="rId1" Type="http://schemas.openxmlformats.org/officeDocument/2006/relationships/tags" Target="../tags/tag273.xml"/><Relationship Id="rId6" Type="http://schemas.openxmlformats.org/officeDocument/2006/relationships/tags" Target="../tags/tag278.xml"/><Relationship Id="rId11" Type="http://schemas.openxmlformats.org/officeDocument/2006/relationships/tags" Target="../tags/tag283.xml"/><Relationship Id="rId24" Type="http://schemas.openxmlformats.org/officeDocument/2006/relationships/tags" Target="../tags/tag296.xml"/><Relationship Id="rId5" Type="http://schemas.openxmlformats.org/officeDocument/2006/relationships/tags" Target="../tags/tag277.xml"/><Relationship Id="rId15" Type="http://schemas.openxmlformats.org/officeDocument/2006/relationships/tags" Target="../tags/tag287.xml"/><Relationship Id="rId23" Type="http://schemas.openxmlformats.org/officeDocument/2006/relationships/tags" Target="../tags/tag295.xml"/><Relationship Id="rId28" Type="http://schemas.openxmlformats.org/officeDocument/2006/relationships/tags" Target="../tags/tag300.xml"/><Relationship Id="rId10" Type="http://schemas.openxmlformats.org/officeDocument/2006/relationships/tags" Target="../tags/tag282.xml"/><Relationship Id="rId19" Type="http://schemas.openxmlformats.org/officeDocument/2006/relationships/tags" Target="../tags/tag291.xml"/><Relationship Id="rId31" Type="http://schemas.openxmlformats.org/officeDocument/2006/relationships/chart" Target="../charts/chart2.xml"/><Relationship Id="rId4" Type="http://schemas.openxmlformats.org/officeDocument/2006/relationships/tags" Target="../tags/tag276.xml"/><Relationship Id="rId9" Type="http://schemas.openxmlformats.org/officeDocument/2006/relationships/tags" Target="../tags/tag281.xml"/><Relationship Id="rId14" Type="http://schemas.openxmlformats.org/officeDocument/2006/relationships/tags" Target="../tags/tag286.xml"/><Relationship Id="rId22" Type="http://schemas.openxmlformats.org/officeDocument/2006/relationships/tags" Target="../tags/tag294.xml"/><Relationship Id="rId27" Type="http://schemas.openxmlformats.org/officeDocument/2006/relationships/tags" Target="../tags/tag299.xml"/><Relationship Id="rId30" Type="http://schemas.openxmlformats.org/officeDocument/2006/relationships/chart" Target="../charts/chart1.xml"/></Relationships>
</file>

<file path=ppt/slides/_rels/slide90.xml.rels><?xml version="1.0" encoding="UTF-8" standalone="yes"?>
<Relationships xmlns="http://schemas.openxmlformats.org/package/2006/relationships"><Relationship Id="rId8" Type="http://schemas.openxmlformats.org/officeDocument/2006/relationships/image" Target="../media/image135.png"/><Relationship Id="rId3" Type="http://schemas.openxmlformats.org/officeDocument/2006/relationships/image" Target="../media/image142.svg"/><Relationship Id="rId7" Type="http://schemas.openxmlformats.org/officeDocument/2006/relationships/image" Target="../media/image146.svg"/><Relationship Id="rId2" Type="http://schemas.openxmlformats.org/officeDocument/2006/relationships/image" Target="../media/image141.png"/><Relationship Id="rId1" Type="http://schemas.openxmlformats.org/officeDocument/2006/relationships/slideLayout" Target="../slideLayouts/slideLayout2.xml"/><Relationship Id="rId6" Type="http://schemas.openxmlformats.org/officeDocument/2006/relationships/image" Target="../media/image145.png"/><Relationship Id="rId5" Type="http://schemas.openxmlformats.org/officeDocument/2006/relationships/image" Target="../media/image144.svg"/><Relationship Id="rId4" Type="http://schemas.openxmlformats.org/officeDocument/2006/relationships/image" Target="../media/image143.png"/><Relationship Id="rId9" Type="http://schemas.openxmlformats.org/officeDocument/2006/relationships/image" Target="../media/image136.svg"/></Relationships>
</file>

<file path=ppt/slides/_rels/slide9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2.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15.xml"/></Relationships>
</file>

<file path=ppt/slides/_rels/slide9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4.xml.rels><?xml version="1.0" encoding="UTF-8" standalone="yes"?>
<Relationships xmlns="http://schemas.openxmlformats.org/package/2006/relationships"><Relationship Id="rId8" Type="http://schemas.openxmlformats.org/officeDocument/2006/relationships/image" Target="../media/image153.png"/><Relationship Id="rId3" Type="http://schemas.openxmlformats.org/officeDocument/2006/relationships/image" Target="../media/image148.svg"/><Relationship Id="rId7" Type="http://schemas.openxmlformats.org/officeDocument/2006/relationships/image" Target="../media/image152.svg"/><Relationship Id="rId2" Type="http://schemas.openxmlformats.org/officeDocument/2006/relationships/image" Target="../media/image147.png"/><Relationship Id="rId1" Type="http://schemas.openxmlformats.org/officeDocument/2006/relationships/slideLayout" Target="../slideLayouts/slideLayout2.xml"/><Relationship Id="rId6" Type="http://schemas.openxmlformats.org/officeDocument/2006/relationships/image" Target="../media/image151.png"/><Relationship Id="rId5" Type="http://schemas.openxmlformats.org/officeDocument/2006/relationships/image" Target="../media/image150.svg"/><Relationship Id="rId4" Type="http://schemas.openxmlformats.org/officeDocument/2006/relationships/image" Target="../media/image149.png"/><Relationship Id="rId9" Type="http://schemas.openxmlformats.org/officeDocument/2006/relationships/image" Target="../media/image154.svg"/></Relationships>
</file>

<file path=ppt/slides/_rels/slide95.xml.rels><?xml version="1.0" encoding="UTF-8" standalone="yes"?>
<Relationships xmlns="http://schemas.openxmlformats.org/package/2006/relationships"><Relationship Id="rId8" Type="http://schemas.openxmlformats.org/officeDocument/2006/relationships/image" Target="../media/image161.png"/><Relationship Id="rId3" Type="http://schemas.openxmlformats.org/officeDocument/2006/relationships/image" Target="../media/image156.svg"/><Relationship Id="rId7" Type="http://schemas.openxmlformats.org/officeDocument/2006/relationships/image" Target="../media/image160.svg"/><Relationship Id="rId2" Type="http://schemas.openxmlformats.org/officeDocument/2006/relationships/image" Target="../media/image155.png"/><Relationship Id="rId1" Type="http://schemas.openxmlformats.org/officeDocument/2006/relationships/slideLayout" Target="../slideLayouts/slideLayout2.xml"/><Relationship Id="rId6" Type="http://schemas.openxmlformats.org/officeDocument/2006/relationships/image" Target="../media/image159.png"/><Relationship Id="rId11" Type="http://schemas.openxmlformats.org/officeDocument/2006/relationships/image" Target="../media/image164.svg"/><Relationship Id="rId5" Type="http://schemas.openxmlformats.org/officeDocument/2006/relationships/image" Target="../media/image158.svg"/><Relationship Id="rId10" Type="http://schemas.openxmlformats.org/officeDocument/2006/relationships/image" Target="../media/image163.png"/><Relationship Id="rId4" Type="http://schemas.openxmlformats.org/officeDocument/2006/relationships/image" Target="../media/image157.png"/><Relationship Id="rId9" Type="http://schemas.openxmlformats.org/officeDocument/2006/relationships/image" Target="../media/image162.svg"/></Relationships>
</file>

<file path=ppt/slides/_rels/slide96.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15.xml"/></Relationships>
</file>

<file path=ppt/slides/_rels/slide97.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15.xml"/></Relationships>
</file>

<file path=ppt/slides/_rels/slide9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9.xml.rels><?xml version="1.0" encoding="UTF-8" standalone="yes"?>
<Relationships xmlns="http://schemas.openxmlformats.org/package/2006/relationships"><Relationship Id="rId8" Type="http://schemas.openxmlformats.org/officeDocument/2006/relationships/image" Target="../media/image170.svg"/><Relationship Id="rId13" Type="http://schemas.openxmlformats.org/officeDocument/2006/relationships/image" Target="../media/image175.png"/><Relationship Id="rId3" Type="http://schemas.openxmlformats.org/officeDocument/2006/relationships/image" Target="../media/image165.png"/><Relationship Id="rId7" Type="http://schemas.openxmlformats.org/officeDocument/2006/relationships/image" Target="../media/image169.png"/><Relationship Id="rId12" Type="http://schemas.openxmlformats.org/officeDocument/2006/relationships/image" Target="../media/image174.svg"/><Relationship Id="rId2" Type="http://schemas.openxmlformats.org/officeDocument/2006/relationships/notesSlide" Target="../notesSlides/notesSlide41.xml"/><Relationship Id="rId1" Type="http://schemas.openxmlformats.org/officeDocument/2006/relationships/slideLayout" Target="../slideLayouts/slideLayout2.xml"/><Relationship Id="rId6" Type="http://schemas.openxmlformats.org/officeDocument/2006/relationships/image" Target="../media/image168.svg"/><Relationship Id="rId11" Type="http://schemas.openxmlformats.org/officeDocument/2006/relationships/image" Target="../media/image173.png"/><Relationship Id="rId5" Type="http://schemas.openxmlformats.org/officeDocument/2006/relationships/image" Target="../media/image167.png"/><Relationship Id="rId10" Type="http://schemas.openxmlformats.org/officeDocument/2006/relationships/image" Target="../media/image172.svg"/><Relationship Id="rId4" Type="http://schemas.openxmlformats.org/officeDocument/2006/relationships/image" Target="../media/image166.svg"/><Relationship Id="rId9" Type="http://schemas.openxmlformats.org/officeDocument/2006/relationships/image" Target="../media/image171.png"/><Relationship Id="rId14" Type="http://schemas.openxmlformats.org/officeDocument/2006/relationships/image" Target="../media/image176.sv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Title 5">
            <a:extLst>
              <a:ext uri="{FF2B5EF4-FFF2-40B4-BE49-F238E27FC236}">
                <a16:creationId xmlns:a16="http://schemas.microsoft.com/office/drawing/2014/main" id="{7E9EEA3E-45E3-0239-E69A-BE3F5FBC9AB7}"/>
              </a:ext>
            </a:extLst>
          </p:cNvPr>
          <p:cNvSpPr>
            <a:spLocks noGrp="1" noChangeArrowheads="1"/>
          </p:cNvSpPr>
          <p:nvPr>
            <p:ph type="ctrTitle"/>
          </p:nvPr>
        </p:nvSpPr>
        <p:spPr>
          <a:xfrm>
            <a:off x="609600" y="1066800"/>
            <a:ext cx="10165976" cy="2590800"/>
          </a:xfrm>
        </p:spPr>
        <p:txBody>
          <a:bodyPr/>
          <a:lstStyle/>
          <a:p>
            <a:pPr algn="l"/>
            <a:r>
              <a:rPr lang="en-US" altLang="en-US" sz="5400" b="1">
                <a:solidFill>
                  <a:schemeClr val="bg1"/>
                </a:solidFill>
              </a:rPr>
              <a:t>Nuclear Energy Advisory Committee (NEAC) Meeting</a:t>
            </a:r>
          </a:p>
        </p:txBody>
      </p:sp>
      <p:sp>
        <p:nvSpPr>
          <p:cNvPr id="20483" name="Subtitle 6">
            <a:extLst>
              <a:ext uri="{FF2B5EF4-FFF2-40B4-BE49-F238E27FC236}">
                <a16:creationId xmlns:a16="http://schemas.microsoft.com/office/drawing/2014/main" id="{681152D8-4998-8D5B-9854-96A67EBE53DE}"/>
              </a:ext>
            </a:extLst>
          </p:cNvPr>
          <p:cNvSpPr>
            <a:spLocks noGrp="1" noChangeArrowheads="1"/>
          </p:cNvSpPr>
          <p:nvPr>
            <p:ph type="subTitle" idx="1"/>
          </p:nvPr>
        </p:nvSpPr>
        <p:spPr>
          <a:xfrm>
            <a:off x="609600" y="3276600"/>
            <a:ext cx="8816975" cy="2209800"/>
          </a:xfrm>
        </p:spPr>
        <p:txBody>
          <a:bodyPr/>
          <a:lstStyle/>
          <a:p>
            <a:pPr algn="l"/>
            <a:endParaRPr lang="en-US" altLang="en-US" sz="2000" b="1" i="1">
              <a:solidFill>
                <a:schemeClr val="bg1"/>
              </a:solidFill>
            </a:endParaRPr>
          </a:p>
          <a:p>
            <a:pPr algn="l"/>
            <a:endParaRPr lang="en-US" altLang="en-US" sz="2000" b="1" i="1">
              <a:solidFill>
                <a:schemeClr val="bg1"/>
              </a:solidFill>
            </a:endParaRPr>
          </a:p>
          <a:p>
            <a:pPr algn="l"/>
            <a:r>
              <a:rPr lang="en-US" altLang="en-US" b="1">
                <a:solidFill>
                  <a:schemeClr val="bg1"/>
                </a:solidFill>
              </a:rPr>
              <a:t>Krystal D. Milam, Designated Federal Officer</a:t>
            </a:r>
            <a:endParaRPr lang="en-US" altLang="en-US" b="1">
              <a:solidFill>
                <a:schemeClr val="bg1"/>
              </a:solidFill>
              <a:cs typeface="Calibri"/>
            </a:endParaRPr>
          </a:p>
          <a:p>
            <a:pPr algn="l"/>
            <a:r>
              <a:rPr lang="en-US" altLang="en-US" b="1">
                <a:solidFill>
                  <a:schemeClr val="bg1"/>
                </a:solidFill>
              </a:rPr>
              <a:t>August 9, 2023</a:t>
            </a:r>
          </a:p>
          <a:p>
            <a:pPr algn="l"/>
            <a:r>
              <a:rPr lang="en-US" altLang="en-US" sz="2000" b="1" i="1">
                <a:solidFill>
                  <a:schemeClr val="bg1"/>
                </a:solidFill>
              </a:rPr>
              <a:t>				</a:t>
            </a:r>
            <a:endParaRPr lang="en-US" altLang="en-US" sz="2000" b="1">
              <a:solidFill>
                <a:schemeClr val="bg1"/>
              </a:solidFill>
            </a:endParaRP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6" hidden="1">
            <a:extLst>
              <a:ext uri="{FF2B5EF4-FFF2-40B4-BE49-F238E27FC236}">
                <a16:creationId xmlns:a16="http://schemas.microsoft.com/office/drawing/2014/main" id="{2820A807-6A8F-4F06-8280-A309333A3B59}"/>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7937" name="think-cell Slide" r:id="rId14" imgW="360" imgH="360" progId="TCLayout.ActiveDocument.1">
                  <p:embed/>
                </p:oleObj>
              </mc:Choice>
              <mc:Fallback>
                <p:oleObj name="think-cell Slide" r:id="rId14" imgW="360" imgH="360" progId="TCLayout.ActiveDocument.1">
                  <p:embed/>
                  <p:pic>
                    <p:nvPicPr>
                      <p:cNvPr id="5" name="Object 6" hidden="1">
                        <a:extLst>
                          <a:ext uri="{FF2B5EF4-FFF2-40B4-BE49-F238E27FC236}">
                            <a16:creationId xmlns:a16="http://schemas.microsoft.com/office/drawing/2014/main" id="{2820A807-6A8F-4F06-8280-A309333A3B59}"/>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140" name="Title 139">
            <a:extLst>
              <a:ext uri="{FF2B5EF4-FFF2-40B4-BE49-F238E27FC236}">
                <a16:creationId xmlns:a16="http://schemas.microsoft.com/office/drawing/2014/main" id="{B81FB49F-F930-4AE1-B54B-5FF20958D8EF}"/>
              </a:ext>
            </a:extLst>
          </p:cNvPr>
          <p:cNvSpPr>
            <a:spLocks noGrp="1"/>
          </p:cNvSpPr>
          <p:nvPr>
            <p:ph type="title"/>
          </p:nvPr>
        </p:nvSpPr>
        <p:spPr>
          <a:xfrm>
            <a:off x="554736" y="275483"/>
            <a:ext cx="11137615" cy="731520"/>
          </a:xfrm>
        </p:spPr>
        <p:txBody>
          <a:bodyPr vert="horz"/>
          <a:lstStyle/>
          <a:p>
            <a:r>
              <a:rPr lang="en-US" sz="2400"/>
              <a:t>Nuclear has a unique value proposition for the net-zero grid</a:t>
            </a:r>
          </a:p>
        </p:txBody>
      </p:sp>
      <p:grpSp>
        <p:nvGrpSpPr>
          <p:cNvPr id="2" name="Group 1">
            <a:extLst>
              <a:ext uri="{FF2B5EF4-FFF2-40B4-BE49-F238E27FC236}">
                <a16:creationId xmlns:a16="http://schemas.microsoft.com/office/drawing/2014/main" id="{914CF970-DF61-FBEB-1701-8C8EEB310978}"/>
              </a:ext>
            </a:extLst>
          </p:cNvPr>
          <p:cNvGrpSpPr/>
          <p:nvPr/>
        </p:nvGrpSpPr>
        <p:grpSpPr>
          <a:xfrm>
            <a:off x="167114" y="1354948"/>
            <a:ext cx="11653351" cy="5113014"/>
            <a:chOff x="167114" y="1354948"/>
            <a:chExt cx="11653351" cy="5113014"/>
          </a:xfrm>
        </p:grpSpPr>
        <p:sp>
          <p:nvSpPr>
            <p:cNvPr id="233" name="Rectangle 232">
              <a:extLst>
                <a:ext uri="{FF2B5EF4-FFF2-40B4-BE49-F238E27FC236}">
                  <a16:creationId xmlns:a16="http://schemas.microsoft.com/office/drawing/2014/main" id="{B49A2044-48AD-4D4B-9FA7-94663713B339}"/>
                </a:ext>
              </a:extLst>
            </p:cNvPr>
            <p:cNvSpPr/>
            <p:nvPr/>
          </p:nvSpPr>
          <p:spPr>
            <a:xfrm>
              <a:off x="10002251" y="5381764"/>
              <a:ext cx="1188720" cy="590374"/>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nl-BE" sz="1600" err="1">
                <a:solidFill>
                  <a:schemeClr val="bg1"/>
                </a:solidFill>
              </a:endParaRPr>
            </a:p>
          </p:txBody>
        </p:sp>
        <p:sp>
          <p:nvSpPr>
            <p:cNvPr id="13" name="Rectangle 12">
              <a:extLst>
                <a:ext uri="{FF2B5EF4-FFF2-40B4-BE49-F238E27FC236}">
                  <a16:creationId xmlns:a16="http://schemas.microsoft.com/office/drawing/2014/main" id="{F0E399C6-0789-408A-B081-CAE9AB6219DA}"/>
                </a:ext>
              </a:extLst>
            </p:cNvPr>
            <p:cNvSpPr/>
            <p:nvPr/>
          </p:nvSpPr>
          <p:spPr>
            <a:xfrm>
              <a:off x="2526188" y="1372935"/>
              <a:ext cx="1188720" cy="573231"/>
            </a:xfrm>
            <a:prstGeom prst="rect">
              <a:avLst/>
            </a:prstGeom>
            <a:solidFill>
              <a:schemeClr val="accent5">
                <a:lumMod val="75000"/>
                <a:lumOff val="2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200" b="1">
                  <a:solidFill>
                    <a:schemeClr val="bg1"/>
                  </a:solidFill>
                </a:rPr>
                <a:t>Clean?</a:t>
              </a:r>
            </a:p>
          </p:txBody>
        </p:sp>
        <p:sp>
          <p:nvSpPr>
            <p:cNvPr id="75" name="Rectangle 74">
              <a:extLst>
                <a:ext uri="{FF2B5EF4-FFF2-40B4-BE49-F238E27FC236}">
                  <a16:creationId xmlns:a16="http://schemas.microsoft.com/office/drawing/2014/main" id="{2F03C97A-573E-448A-A0CE-B001FF73815A}"/>
                </a:ext>
              </a:extLst>
            </p:cNvPr>
            <p:cNvSpPr/>
            <p:nvPr/>
          </p:nvSpPr>
          <p:spPr>
            <a:xfrm>
              <a:off x="3861073" y="1354948"/>
              <a:ext cx="1188720" cy="573231"/>
            </a:xfrm>
            <a:prstGeom prst="rect">
              <a:avLst/>
            </a:prstGeom>
            <a:solidFill>
              <a:schemeClr val="accent5">
                <a:lumMod val="75000"/>
                <a:lumOff val="2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200" b="1">
                  <a:solidFill>
                    <a:schemeClr val="bg1"/>
                  </a:solidFill>
                </a:rPr>
                <a:t>Firm?</a:t>
              </a:r>
            </a:p>
          </p:txBody>
        </p:sp>
        <p:sp>
          <p:nvSpPr>
            <p:cNvPr id="76" name="Rectangle 75">
              <a:extLst>
                <a:ext uri="{FF2B5EF4-FFF2-40B4-BE49-F238E27FC236}">
                  <a16:creationId xmlns:a16="http://schemas.microsoft.com/office/drawing/2014/main" id="{78F33DA7-94F5-40D1-9329-9DF155049D85}"/>
                </a:ext>
              </a:extLst>
            </p:cNvPr>
            <p:cNvSpPr/>
            <p:nvPr/>
          </p:nvSpPr>
          <p:spPr>
            <a:xfrm>
              <a:off x="5215208" y="1369856"/>
              <a:ext cx="1188720" cy="573231"/>
            </a:xfrm>
            <a:prstGeom prst="rect">
              <a:avLst/>
            </a:prstGeom>
            <a:solidFill>
              <a:schemeClr val="accent5">
                <a:lumMod val="75000"/>
                <a:lumOff val="2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200" b="1">
                  <a:solidFill>
                    <a:schemeClr val="bg1"/>
                  </a:solidFill>
                </a:rPr>
                <a:t>Low land use?</a:t>
              </a:r>
            </a:p>
          </p:txBody>
        </p:sp>
        <p:sp>
          <p:nvSpPr>
            <p:cNvPr id="92" name="Rectangle 91">
              <a:extLst>
                <a:ext uri="{FF2B5EF4-FFF2-40B4-BE49-F238E27FC236}">
                  <a16:creationId xmlns:a16="http://schemas.microsoft.com/office/drawing/2014/main" id="{808598F5-93B5-4A76-BCF2-AE2577C6075D}"/>
                </a:ext>
              </a:extLst>
            </p:cNvPr>
            <p:cNvSpPr/>
            <p:nvPr/>
          </p:nvSpPr>
          <p:spPr>
            <a:xfrm>
              <a:off x="564685" y="1372935"/>
              <a:ext cx="1156855" cy="219148"/>
            </a:xfrm>
            <a:prstGeom prst="rect">
              <a:avLst/>
            </a:prstGeom>
            <a:gradFill flip="none" rotWithShape="1">
              <a:gsLst>
                <a:gs pos="0">
                  <a:schemeClr val="accent1"/>
                </a:gs>
                <a:gs pos="50000">
                  <a:schemeClr val="accent2"/>
                </a:gs>
                <a:gs pos="100000">
                  <a:schemeClr val="accent6">
                    <a:lumMod val="20000"/>
                    <a:lumOff val="80000"/>
                  </a:schemeClr>
                </a:gs>
              </a:gsLst>
              <a:lin ang="0" scaled="1"/>
              <a:tileRect/>
            </a:gra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cxnSp>
          <p:nvCxnSpPr>
            <p:cNvPr id="117" name="LineBasicStrong 117">
              <a:extLst>
                <a:ext uri="{FF2B5EF4-FFF2-40B4-BE49-F238E27FC236}">
                  <a16:creationId xmlns:a16="http://schemas.microsoft.com/office/drawing/2014/main" id="{67F851D1-BE8E-42EB-9BF2-0307020513F9}"/>
                </a:ext>
              </a:extLst>
            </p:cNvPr>
            <p:cNvCxnSpPr>
              <a:cxnSpLocks/>
            </p:cNvCxnSpPr>
            <p:nvPr>
              <p:custDataLst>
                <p:tags r:id="rId3"/>
              </p:custDataLst>
            </p:nvPr>
          </p:nvCxnSpPr>
          <p:spPr>
            <a:xfrm>
              <a:off x="234489" y="2069078"/>
              <a:ext cx="11557265" cy="0"/>
            </a:xfrm>
            <a:prstGeom prst="straightConnector1">
              <a:avLst/>
            </a:prstGeom>
            <a:ln w="1270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4" name="TextBox 13">
              <a:extLst>
                <a:ext uri="{FF2B5EF4-FFF2-40B4-BE49-F238E27FC236}">
                  <a16:creationId xmlns:a16="http://schemas.microsoft.com/office/drawing/2014/main" id="{64CFD30B-8218-422F-AC02-249972744990}"/>
                </a:ext>
              </a:extLst>
            </p:cNvPr>
            <p:cNvSpPr txBox="1"/>
            <p:nvPr/>
          </p:nvSpPr>
          <p:spPr>
            <a:xfrm>
              <a:off x="899549" y="2202240"/>
              <a:ext cx="1554480" cy="219456"/>
            </a:xfrm>
            <a:prstGeom prst="rect">
              <a:avLst/>
            </a:prstGeom>
          </p:spPr>
          <p:txBody>
            <a:bodyPr vert="horz" wrap="square" lIns="0" tIns="0" rIns="0" bIns="0" rtlCol="0">
              <a:no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228600" lvl="1" indent="-230400">
                <a:lnSpc>
                  <a:spcPct val="100000"/>
                </a:lnSpc>
                <a:spcBef>
                  <a:spcPts val="0"/>
                </a:spcBef>
                <a:spcAft>
                  <a:spcPts val="300"/>
                </a:spcAft>
                <a:buSzPct val="110000"/>
                <a:buFont typeface="Wingdings" panose="05000000000000000000" pitchFamily="2" charset="2"/>
                <a:buChar char=""/>
                <a:defRPr lang="en-US" sz="1600" dirty="0"/>
              </a:lvl2pPr>
              <a:lvl3pPr marL="439200" lvl="2" indent="-208800">
                <a:lnSpc>
                  <a:spcPct val="100000"/>
                </a:lnSpc>
                <a:spcBef>
                  <a:spcPts val="0"/>
                </a:spcBef>
                <a:spcAft>
                  <a:spcPts val="300"/>
                </a:spcAft>
                <a:buSzPct val="110000"/>
                <a:buFont typeface="Arial" panose="020B0604020202020204" pitchFamily="34" charset="0"/>
                <a:buChar char="‒"/>
                <a:defRPr lang="en-US" sz="1600" dirty="0"/>
              </a:lvl3pPr>
              <a:lvl4pPr marL="604800" lvl="3" indent="-154800">
                <a:lnSpc>
                  <a:spcPct val="100000"/>
                </a:lnSpc>
                <a:spcBef>
                  <a:spcPts val="0"/>
                </a:spcBef>
                <a:spcAft>
                  <a:spcPts val="300"/>
                </a:spcAft>
                <a:buFont typeface="Arial" panose="020B0604020202020204" pitchFamily="34" charset="0"/>
                <a:buChar char="•"/>
                <a:defRPr lang="en-US" sz="1600" dirty="0"/>
              </a:lvl4pPr>
              <a:lvl5pPr marL="813600" lvl="4" indent="-147600">
                <a:lnSpc>
                  <a:spcPct val="100000"/>
                </a:lnSpc>
                <a:spcBef>
                  <a:spcPts val="0"/>
                </a:spcBef>
                <a:spcAft>
                  <a:spcPts val="300"/>
                </a:spcAft>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a:t>Nuclear</a:t>
              </a:r>
            </a:p>
          </p:txBody>
        </p:sp>
        <p:grpSp>
          <p:nvGrpSpPr>
            <p:cNvPr id="30" name="CustomIcon">
              <a:extLst>
                <a:ext uri="{FF2B5EF4-FFF2-40B4-BE49-F238E27FC236}">
                  <a16:creationId xmlns:a16="http://schemas.microsoft.com/office/drawing/2014/main" id="{BDDD4772-DAAC-49E0-B63C-851C4092E879}"/>
                </a:ext>
              </a:extLst>
            </p:cNvPr>
            <p:cNvGrpSpPr>
              <a:grpSpLocks noChangeAspect="1"/>
            </p:cNvGrpSpPr>
            <p:nvPr>
              <p:custDataLst>
                <p:tags r:id="rId4"/>
              </p:custDataLst>
            </p:nvPr>
          </p:nvGrpSpPr>
          <p:grpSpPr>
            <a:xfrm>
              <a:off x="564685" y="2174808"/>
              <a:ext cx="274320" cy="274320"/>
              <a:chOff x="-205105" y="-205105"/>
              <a:chExt cx="1019810" cy="1019810"/>
            </a:xfrm>
          </p:grpSpPr>
          <p:sp>
            <p:nvSpPr>
              <p:cNvPr id="27" name="Oval 26">
                <a:extLst>
                  <a:ext uri="{FF2B5EF4-FFF2-40B4-BE49-F238E27FC236}">
                    <a16:creationId xmlns:a16="http://schemas.microsoft.com/office/drawing/2014/main" id="{78BD7F57-C1E4-4164-B5EA-2F1F91332FF0}"/>
                  </a:ext>
                </a:extLst>
              </p:cNvPr>
              <p:cNvSpPr>
                <a:spLocks noChangeAspect="1"/>
              </p:cNvSpPr>
              <p:nvPr/>
            </p:nvSpPr>
            <p:spPr>
              <a:xfrm>
                <a:off x="-205105" y="-205105"/>
                <a:ext cx="1019810" cy="1019810"/>
              </a:xfrm>
              <a:prstGeom prst="ellipse">
                <a:avLst/>
              </a:prstGeom>
              <a:solidFill>
                <a:schemeClr val="accent1"/>
              </a:solidFill>
              <a:ln w="952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400" err="1">
                  <a:solidFill>
                    <a:schemeClr val="bg1"/>
                  </a:solidFill>
                </a:endParaRPr>
              </a:p>
            </p:txBody>
          </p:sp>
          <p:pic>
            <p:nvPicPr>
              <p:cNvPr id="29" name="Graphic 28">
                <a:extLst>
                  <a:ext uri="{FF2B5EF4-FFF2-40B4-BE49-F238E27FC236}">
                    <a16:creationId xmlns:a16="http://schemas.microsoft.com/office/drawing/2014/main" id="{B3471096-DCBB-4579-B011-C88F61E670A9}"/>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0" y="0"/>
                <a:ext cx="609600" cy="609600"/>
              </a:xfrm>
              <a:prstGeom prst="rect">
                <a:avLst/>
              </a:prstGeom>
            </p:spPr>
          </p:pic>
        </p:grpSp>
        <p:sp>
          <p:nvSpPr>
            <p:cNvPr id="80" name="Rectangle 79">
              <a:extLst>
                <a:ext uri="{FF2B5EF4-FFF2-40B4-BE49-F238E27FC236}">
                  <a16:creationId xmlns:a16="http://schemas.microsoft.com/office/drawing/2014/main" id="{6005D604-A544-4984-ADA9-FC9AEFEDB80B}"/>
                </a:ext>
              </a:extLst>
            </p:cNvPr>
            <p:cNvSpPr/>
            <p:nvPr/>
          </p:nvSpPr>
          <p:spPr>
            <a:xfrm>
              <a:off x="2526188" y="2202240"/>
              <a:ext cx="1188720" cy="219148"/>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400" err="1">
                <a:solidFill>
                  <a:schemeClr val="bg1"/>
                </a:solidFill>
              </a:endParaRPr>
            </a:p>
          </p:txBody>
        </p:sp>
        <p:sp>
          <p:nvSpPr>
            <p:cNvPr id="93" name="Rectangle 92">
              <a:extLst>
                <a:ext uri="{FF2B5EF4-FFF2-40B4-BE49-F238E27FC236}">
                  <a16:creationId xmlns:a16="http://schemas.microsoft.com/office/drawing/2014/main" id="{3524A2AA-5F63-456D-9821-CFDAD317D4AE}"/>
                </a:ext>
              </a:extLst>
            </p:cNvPr>
            <p:cNvSpPr/>
            <p:nvPr/>
          </p:nvSpPr>
          <p:spPr>
            <a:xfrm>
              <a:off x="3861073" y="2202240"/>
              <a:ext cx="1188720" cy="219148"/>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400" err="1">
                <a:solidFill>
                  <a:schemeClr val="bg1"/>
                </a:solidFill>
              </a:endParaRPr>
            </a:p>
          </p:txBody>
        </p:sp>
        <p:sp>
          <p:nvSpPr>
            <p:cNvPr id="105" name="Rectangle 104">
              <a:extLst>
                <a:ext uri="{FF2B5EF4-FFF2-40B4-BE49-F238E27FC236}">
                  <a16:creationId xmlns:a16="http://schemas.microsoft.com/office/drawing/2014/main" id="{534C4E69-F79D-4FCE-9167-4BEDD76EABB5}"/>
                </a:ext>
              </a:extLst>
            </p:cNvPr>
            <p:cNvSpPr/>
            <p:nvPr/>
          </p:nvSpPr>
          <p:spPr>
            <a:xfrm>
              <a:off x="5215208" y="2202240"/>
              <a:ext cx="1188720" cy="219148"/>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400" err="1">
                <a:solidFill>
                  <a:schemeClr val="bg1"/>
                </a:solidFill>
              </a:endParaRPr>
            </a:p>
          </p:txBody>
        </p:sp>
        <p:sp>
          <p:nvSpPr>
            <p:cNvPr id="143" name="Rectangle 142">
              <a:extLst>
                <a:ext uri="{FF2B5EF4-FFF2-40B4-BE49-F238E27FC236}">
                  <a16:creationId xmlns:a16="http://schemas.microsoft.com/office/drawing/2014/main" id="{3D3AEFEC-4D4C-4B0D-B29C-129808352338}"/>
                </a:ext>
              </a:extLst>
            </p:cNvPr>
            <p:cNvSpPr/>
            <p:nvPr/>
          </p:nvSpPr>
          <p:spPr>
            <a:xfrm>
              <a:off x="6569343" y="2202240"/>
              <a:ext cx="1188720" cy="219148"/>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400" err="1">
                <a:solidFill>
                  <a:schemeClr val="bg1"/>
                </a:solidFill>
              </a:endParaRPr>
            </a:p>
          </p:txBody>
        </p:sp>
        <p:sp>
          <p:nvSpPr>
            <p:cNvPr id="144" name="Rectangle 143">
              <a:extLst>
                <a:ext uri="{FF2B5EF4-FFF2-40B4-BE49-F238E27FC236}">
                  <a16:creationId xmlns:a16="http://schemas.microsoft.com/office/drawing/2014/main" id="{A4423B2B-E25C-4913-BFC7-7D22A6256F6E}"/>
                </a:ext>
              </a:extLst>
            </p:cNvPr>
            <p:cNvSpPr/>
            <p:nvPr/>
          </p:nvSpPr>
          <p:spPr>
            <a:xfrm>
              <a:off x="7923478" y="2202240"/>
              <a:ext cx="1188720" cy="219148"/>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400" err="1">
                <a:solidFill>
                  <a:schemeClr val="bg1"/>
                </a:solidFill>
              </a:endParaRPr>
            </a:p>
          </p:txBody>
        </p:sp>
        <p:sp>
          <p:nvSpPr>
            <p:cNvPr id="145" name="Rectangle 144">
              <a:extLst>
                <a:ext uri="{FF2B5EF4-FFF2-40B4-BE49-F238E27FC236}">
                  <a16:creationId xmlns:a16="http://schemas.microsoft.com/office/drawing/2014/main" id="{36423366-15DC-4499-80AB-16EB8120A2AE}"/>
                </a:ext>
              </a:extLst>
            </p:cNvPr>
            <p:cNvSpPr/>
            <p:nvPr/>
          </p:nvSpPr>
          <p:spPr>
            <a:xfrm>
              <a:off x="9277613" y="2202240"/>
              <a:ext cx="1188720" cy="219148"/>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400" err="1">
                <a:solidFill>
                  <a:schemeClr val="bg1"/>
                </a:solidFill>
              </a:endParaRPr>
            </a:p>
          </p:txBody>
        </p:sp>
        <p:sp>
          <p:nvSpPr>
            <p:cNvPr id="194" name="Rectangle 193">
              <a:extLst>
                <a:ext uri="{FF2B5EF4-FFF2-40B4-BE49-F238E27FC236}">
                  <a16:creationId xmlns:a16="http://schemas.microsoft.com/office/drawing/2014/main" id="{66103571-386C-4866-AD76-6D1D1091D680}"/>
                </a:ext>
              </a:extLst>
            </p:cNvPr>
            <p:cNvSpPr/>
            <p:nvPr/>
          </p:nvSpPr>
          <p:spPr>
            <a:xfrm>
              <a:off x="10631745" y="2202240"/>
              <a:ext cx="1188720" cy="219148"/>
            </a:xfrm>
            <a:prstGeom prst="rect">
              <a:avLst/>
            </a:prstGeom>
            <a:solidFill>
              <a:schemeClr val="accent6">
                <a:lumMod val="20000"/>
                <a:lumOff val="8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400" err="1">
                <a:solidFill>
                  <a:schemeClr val="bg1"/>
                </a:solidFill>
              </a:endParaRPr>
            </a:p>
          </p:txBody>
        </p:sp>
        <p:sp>
          <p:nvSpPr>
            <p:cNvPr id="234" name="TextBox 233">
              <a:extLst>
                <a:ext uri="{FF2B5EF4-FFF2-40B4-BE49-F238E27FC236}">
                  <a16:creationId xmlns:a16="http://schemas.microsoft.com/office/drawing/2014/main" id="{9641C00C-F502-434D-9B83-B45605BAA9CB}"/>
                </a:ext>
              </a:extLst>
            </p:cNvPr>
            <p:cNvSpPr txBox="1"/>
            <p:nvPr/>
          </p:nvSpPr>
          <p:spPr>
            <a:xfrm>
              <a:off x="564685" y="1663269"/>
              <a:ext cx="491282" cy="184666"/>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228600" lvl="1" indent="-230400">
                <a:lnSpc>
                  <a:spcPct val="100000"/>
                </a:lnSpc>
                <a:spcBef>
                  <a:spcPts val="0"/>
                </a:spcBef>
                <a:spcAft>
                  <a:spcPts val="300"/>
                </a:spcAft>
                <a:buSzPct val="110000"/>
                <a:buFont typeface="Wingdings" panose="05000000000000000000" pitchFamily="2" charset="2"/>
                <a:buChar char=""/>
                <a:defRPr lang="en-US" sz="1600" dirty="0"/>
              </a:lvl2pPr>
              <a:lvl3pPr marL="439200" lvl="2" indent="-208800">
                <a:lnSpc>
                  <a:spcPct val="100000"/>
                </a:lnSpc>
                <a:spcBef>
                  <a:spcPts val="0"/>
                </a:spcBef>
                <a:spcAft>
                  <a:spcPts val="300"/>
                </a:spcAft>
                <a:buSzPct val="110000"/>
                <a:buFont typeface="Arial" panose="020B0604020202020204" pitchFamily="34" charset="0"/>
                <a:buChar char="‒"/>
                <a:defRPr lang="en-US" sz="1600" dirty="0"/>
              </a:lvl3pPr>
              <a:lvl4pPr marL="604800" lvl="3" indent="-154800">
                <a:lnSpc>
                  <a:spcPct val="100000"/>
                </a:lnSpc>
                <a:spcBef>
                  <a:spcPts val="0"/>
                </a:spcBef>
                <a:spcAft>
                  <a:spcPts val="300"/>
                </a:spcAft>
                <a:buFont typeface="Arial" panose="020B0604020202020204" pitchFamily="34" charset="0"/>
                <a:buChar char="•"/>
                <a:defRPr lang="en-US" sz="1600" dirty="0"/>
              </a:lvl4pPr>
              <a:lvl5pPr marL="813600" lvl="4" indent="-147600">
                <a:lnSpc>
                  <a:spcPct val="100000"/>
                </a:lnSpc>
                <a:spcBef>
                  <a:spcPts val="0"/>
                </a:spcBef>
                <a:spcAft>
                  <a:spcPts val="300"/>
                </a:spcAft>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i="1"/>
                <a:t>High</a:t>
              </a:r>
            </a:p>
          </p:txBody>
        </p:sp>
        <p:sp>
          <p:nvSpPr>
            <p:cNvPr id="235" name="TextBox 234">
              <a:extLst>
                <a:ext uri="{FF2B5EF4-FFF2-40B4-BE49-F238E27FC236}">
                  <a16:creationId xmlns:a16="http://schemas.microsoft.com/office/drawing/2014/main" id="{E7D453F6-8CC3-4C3D-B278-B932CA8E2E69}"/>
                </a:ext>
              </a:extLst>
            </p:cNvPr>
            <p:cNvSpPr txBox="1"/>
            <p:nvPr/>
          </p:nvSpPr>
          <p:spPr>
            <a:xfrm>
              <a:off x="1377726" y="1656922"/>
              <a:ext cx="343814" cy="184666"/>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228600" lvl="1" indent="-230400">
                <a:lnSpc>
                  <a:spcPct val="100000"/>
                </a:lnSpc>
                <a:spcBef>
                  <a:spcPts val="0"/>
                </a:spcBef>
                <a:spcAft>
                  <a:spcPts val="300"/>
                </a:spcAft>
                <a:buSzPct val="110000"/>
                <a:buFont typeface="Wingdings" panose="05000000000000000000" pitchFamily="2" charset="2"/>
                <a:buChar char=""/>
                <a:defRPr lang="en-US" sz="1600" dirty="0"/>
              </a:lvl2pPr>
              <a:lvl3pPr marL="439200" lvl="2" indent="-208800">
                <a:lnSpc>
                  <a:spcPct val="100000"/>
                </a:lnSpc>
                <a:spcBef>
                  <a:spcPts val="0"/>
                </a:spcBef>
                <a:spcAft>
                  <a:spcPts val="300"/>
                </a:spcAft>
                <a:buSzPct val="110000"/>
                <a:buFont typeface="Arial" panose="020B0604020202020204" pitchFamily="34" charset="0"/>
                <a:buChar char="‒"/>
                <a:defRPr lang="en-US" sz="1600" dirty="0"/>
              </a:lvl3pPr>
              <a:lvl4pPr marL="604800" lvl="3" indent="-154800">
                <a:lnSpc>
                  <a:spcPct val="100000"/>
                </a:lnSpc>
                <a:spcBef>
                  <a:spcPts val="0"/>
                </a:spcBef>
                <a:spcAft>
                  <a:spcPts val="300"/>
                </a:spcAft>
                <a:buFont typeface="Arial" panose="020B0604020202020204" pitchFamily="34" charset="0"/>
                <a:buChar char="•"/>
                <a:defRPr lang="en-US" sz="1600" dirty="0"/>
              </a:lvl4pPr>
              <a:lvl5pPr marL="813600" lvl="4" indent="-147600">
                <a:lnSpc>
                  <a:spcPct val="100000"/>
                </a:lnSpc>
                <a:spcBef>
                  <a:spcPts val="0"/>
                </a:spcBef>
                <a:spcAft>
                  <a:spcPts val="300"/>
                </a:spcAft>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i="1"/>
                <a:t>Low</a:t>
              </a:r>
            </a:p>
          </p:txBody>
        </p:sp>
        <p:cxnSp>
          <p:nvCxnSpPr>
            <p:cNvPr id="3" name="Straight Connector 2">
              <a:extLst>
                <a:ext uri="{FF2B5EF4-FFF2-40B4-BE49-F238E27FC236}">
                  <a16:creationId xmlns:a16="http://schemas.microsoft.com/office/drawing/2014/main" id="{8DC4723A-4DC1-49E5-881A-F9D9F8970DD8}"/>
                </a:ext>
              </a:extLst>
            </p:cNvPr>
            <p:cNvCxnSpPr>
              <a:cxnSpLocks/>
            </p:cNvCxnSpPr>
            <p:nvPr/>
          </p:nvCxnSpPr>
          <p:spPr>
            <a:xfrm>
              <a:off x="10549039" y="1372934"/>
              <a:ext cx="0" cy="4617720"/>
            </a:xfrm>
            <a:prstGeom prst="line">
              <a:avLst/>
            </a:prstGeom>
            <a:ln w="12700" cap="flat">
              <a:solidFill>
                <a:schemeClr val="accent6"/>
              </a:solidFill>
              <a:prstDash val="lgDash"/>
              <a:miter lim="800000"/>
              <a:tailEnd type="none"/>
            </a:ln>
          </p:spPr>
          <p:style>
            <a:lnRef idx="1">
              <a:schemeClr val="accent1"/>
            </a:lnRef>
            <a:fillRef idx="0">
              <a:schemeClr val="accent1"/>
            </a:fillRef>
            <a:effectRef idx="0">
              <a:schemeClr val="accent1"/>
            </a:effectRef>
            <a:fontRef idx="minor">
              <a:schemeClr val="tx1"/>
            </a:fontRef>
          </p:style>
        </p:cxnSp>
        <p:sp>
          <p:nvSpPr>
            <p:cNvPr id="15" name="TextBox 14">
              <a:extLst>
                <a:ext uri="{FF2B5EF4-FFF2-40B4-BE49-F238E27FC236}">
                  <a16:creationId xmlns:a16="http://schemas.microsoft.com/office/drawing/2014/main" id="{FBD2D3FC-DF89-4BD6-BE35-D3778988FDFC}"/>
                </a:ext>
              </a:extLst>
            </p:cNvPr>
            <p:cNvSpPr txBox="1"/>
            <p:nvPr/>
          </p:nvSpPr>
          <p:spPr>
            <a:xfrm>
              <a:off x="899549" y="5767668"/>
              <a:ext cx="1554480" cy="219456"/>
            </a:xfrm>
            <a:prstGeom prst="rect">
              <a:avLst/>
            </a:prstGeom>
          </p:spPr>
          <p:txBody>
            <a:bodyPr vert="horz" wrap="square" lIns="0" tIns="0" rIns="0" bIns="0" rtlCol="0">
              <a:no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228600" lvl="1" indent="-230400">
                <a:lnSpc>
                  <a:spcPct val="100000"/>
                </a:lnSpc>
                <a:spcBef>
                  <a:spcPts val="0"/>
                </a:spcBef>
                <a:spcAft>
                  <a:spcPts val="300"/>
                </a:spcAft>
                <a:buSzPct val="110000"/>
                <a:buFont typeface="Wingdings" panose="05000000000000000000" pitchFamily="2" charset="2"/>
                <a:buChar char=""/>
                <a:defRPr lang="en-US" sz="1600" dirty="0"/>
              </a:lvl2pPr>
              <a:lvl3pPr marL="439200" lvl="2" indent="-208800">
                <a:lnSpc>
                  <a:spcPct val="100000"/>
                </a:lnSpc>
                <a:spcBef>
                  <a:spcPts val="0"/>
                </a:spcBef>
                <a:spcAft>
                  <a:spcPts val="300"/>
                </a:spcAft>
                <a:buSzPct val="110000"/>
                <a:buFont typeface="Arial" panose="020B0604020202020204" pitchFamily="34" charset="0"/>
                <a:buChar char="‒"/>
                <a:defRPr lang="en-US" sz="1600" dirty="0"/>
              </a:lvl3pPr>
              <a:lvl4pPr marL="604800" lvl="3" indent="-154800">
                <a:lnSpc>
                  <a:spcPct val="100000"/>
                </a:lnSpc>
                <a:spcBef>
                  <a:spcPts val="0"/>
                </a:spcBef>
                <a:spcAft>
                  <a:spcPts val="300"/>
                </a:spcAft>
                <a:buFont typeface="Arial" panose="020B0604020202020204" pitchFamily="34" charset="0"/>
                <a:buChar char="•"/>
                <a:defRPr lang="en-US" sz="1600" dirty="0"/>
              </a:lvl4pPr>
              <a:lvl5pPr marL="813600" lvl="4" indent="-147600">
                <a:lnSpc>
                  <a:spcPct val="100000"/>
                </a:lnSpc>
                <a:spcBef>
                  <a:spcPts val="0"/>
                </a:spcBef>
                <a:spcAft>
                  <a:spcPts val="300"/>
                </a:spcAft>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a:t>Coal</a:t>
              </a:r>
            </a:p>
          </p:txBody>
        </p:sp>
        <p:sp>
          <p:nvSpPr>
            <p:cNvPr id="81" name="Rectangle 80">
              <a:extLst>
                <a:ext uri="{FF2B5EF4-FFF2-40B4-BE49-F238E27FC236}">
                  <a16:creationId xmlns:a16="http://schemas.microsoft.com/office/drawing/2014/main" id="{9EC2DE4F-CE9C-4C9D-8DC0-8D031C3B393B}"/>
                </a:ext>
              </a:extLst>
            </p:cNvPr>
            <p:cNvSpPr/>
            <p:nvPr/>
          </p:nvSpPr>
          <p:spPr>
            <a:xfrm>
              <a:off x="2526188" y="5767976"/>
              <a:ext cx="1188720" cy="219148"/>
            </a:xfrm>
            <a:prstGeom prst="rect">
              <a:avLst/>
            </a:prstGeom>
            <a:solidFill>
              <a:schemeClr val="accent6">
                <a:lumMod val="20000"/>
                <a:lumOff val="8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400" err="1">
                <a:solidFill>
                  <a:schemeClr val="bg1"/>
                </a:solidFill>
              </a:endParaRPr>
            </a:p>
          </p:txBody>
        </p:sp>
        <p:sp>
          <p:nvSpPr>
            <p:cNvPr id="94" name="Rectangle 93">
              <a:extLst>
                <a:ext uri="{FF2B5EF4-FFF2-40B4-BE49-F238E27FC236}">
                  <a16:creationId xmlns:a16="http://schemas.microsoft.com/office/drawing/2014/main" id="{7DC473AF-CD20-4E7E-B14E-9AB6CC38E0EE}"/>
                </a:ext>
              </a:extLst>
            </p:cNvPr>
            <p:cNvSpPr/>
            <p:nvPr/>
          </p:nvSpPr>
          <p:spPr>
            <a:xfrm>
              <a:off x="3861073" y="5767976"/>
              <a:ext cx="1188720" cy="219148"/>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400" err="1">
                <a:solidFill>
                  <a:schemeClr val="bg1"/>
                </a:solidFill>
              </a:endParaRPr>
            </a:p>
          </p:txBody>
        </p:sp>
        <p:sp>
          <p:nvSpPr>
            <p:cNvPr id="106" name="Rectangle 105">
              <a:extLst>
                <a:ext uri="{FF2B5EF4-FFF2-40B4-BE49-F238E27FC236}">
                  <a16:creationId xmlns:a16="http://schemas.microsoft.com/office/drawing/2014/main" id="{17D35BDD-7001-4E5D-A3CD-F7FD6FE02750}"/>
                </a:ext>
              </a:extLst>
            </p:cNvPr>
            <p:cNvSpPr/>
            <p:nvPr/>
          </p:nvSpPr>
          <p:spPr>
            <a:xfrm>
              <a:off x="5215208" y="5767976"/>
              <a:ext cx="1188720" cy="219148"/>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400" err="1">
                <a:solidFill>
                  <a:schemeClr val="bg1"/>
                </a:solidFill>
              </a:endParaRPr>
            </a:p>
          </p:txBody>
        </p:sp>
        <p:sp>
          <p:nvSpPr>
            <p:cNvPr id="146" name="Rectangle 145">
              <a:extLst>
                <a:ext uri="{FF2B5EF4-FFF2-40B4-BE49-F238E27FC236}">
                  <a16:creationId xmlns:a16="http://schemas.microsoft.com/office/drawing/2014/main" id="{5840B7C9-7C53-4A78-BB08-96BF1715C460}"/>
                </a:ext>
              </a:extLst>
            </p:cNvPr>
            <p:cNvSpPr/>
            <p:nvPr/>
          </p:nvSpPr>
          <p:spPr>
            <a:xfrm>
              <a:off x="6569343" y="5767976"/>
              <a:ext cx="1188720" cy="219148"/>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400" err="1">
                <a:solidFill>
                  <a:schemeClr val="bg1"/>
                </a:solidFill>
              </a:endParaRPr>
            </a:p>
          </p:txBody>
        </p:sp>
        <p:sp>
          <p:nvSpPr>
            <p:cNvPr id="164" name="Rectangle 163">
              <a:extLst>
                <a:ext uri="{FF2B5EF4-FFF2-40B4-BE49-F238E27FC236}">
                  <a16:creationId xmlns:a16="http://schemas.microsoft.com/office/drawing/2014/main" id="{0C43A576-BDED-452E-8C00-D9D8A2063773}"/>
                </a:ext>
              </a:extLst>
            </p:cNvPr>
            <p:cNvSpPr/>
            <p:nvPr/>
          </p:nvSpPr>
          <p:spPr>
            <a:xfrm>
              <a:off x="7923478" y="5371784"/>
              <a:ext cx="1188720" cy="219148"/>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400" err="1">
                <a:solidFill>
                  <a:schemeClr val="bg1"/>
                </a:solidFill>
              </a:endParaRPr>
            </a:p>
          </p:txBody>
        </p:sp>
        <p:sp>
          <p:nvSpPr>
            <p:cNvPr id="175" name="Rectangle 174">
              <a:extLst>
                <a:ext uri="{FF2B5EF4-FFF2-40B4-BE49-F238E27FC236}">
                  <a16:creationId xmlns:a16="http://schemas.microsoft.com/office/drawing/2014/main" id="{C8E01E9A-19EC-49E1-AF3A-CD3A0E6931F1}"/>
                </a:ext>
              </a:extLst>
            </p:cNvPr>
            <p:cNvSpPr/>
            <p:nvPr/>
          </p:nvSpPr>
          <p:spPr>
            <a:xfrm>
              <a:off x="9277613" y="5767976"/>
              <a:ext cx="1188720" cy="219148"/>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400" err="1">
                <a:solidFill>
                  <a:schemeClr val="bg1"/>
                </a:solidFill>
              </a:endParaRPr>
            </a:p>
          </p:txBody>
        </p:sp>
        <p:sp>
          <p:nvSpPr>
            <p:cNvPr id="195" name="Rectangle 194">
              <a:extLst>
                <a:ext uri="{FF2B5EF4-FFF2-40B4-BE49-F238E27FC236}">
                  <a16:creationId xmlns:a16="http://schemas.microsoft.com/office/drawing/2014/main" id="{3A79D401-4C6B-4ADA-A609-0BA932BC0565}"/>
                </a:ext>
              </a:extLst>
            </p:cNvPr>
            <p:cNvSpPr/>
            <p:nvPr/>
          </p:nvSpPr>
          <p:spPr>
            <a:xfrm>
              <a:off x="10631745" y="5371784"/>
              <a:ext cx="1188720" cy="219148"/>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400" err="1">
                <a:solidFill>
                  <a:schemeClr val="bg1"/>
                </a:solidFill>
              </a:endParaRPr>
            </a:p>
          </p:txBody>
        </p:sp>
        <p:sp>
          <p:nvSpPr>
            <p:cNvPr id="82" name="Rectangle 81">
              <a:extLst>
                <a:ext uri="{FF2B5EF4-FFF2-40B4-BE49-F238E27FC236}">
                  <a16:creationId xmlns:a16="http://schemas.microsoft.com/office/drawing/2014/main" id="{73404659-5D2E-4E51-B50F-D528B03801BA}"/>
                </a:ext>
              </a:extLst>
            </p:cNvPr>
            <p:cNvSpPr/>
            <p:nvPr/>
          </p:nvSpPr>
          <p:spPr>
            <a:xfrm>
              <a:off x="2526188" y="4579398"/>
              <a:ext cx="1188720" cy="219148"/>
            </a:xfrm>
            <a:prstGeom prst="rect">
              <a:avLst/>
            </a:prstGeom>
            <a:solidFill>
              <a:srgbClr val="7CC110"/>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400" err="1">
                <a:solidFill>
                  <a:schemeClr val="bg1"/>
                </a:solidFill>
              </a:endParaRPr>
            </a:p>
          </p:txBody>
        </p:sp>
        <p:sp>
          <p:nvSpPr>
            <p:cNvPr id="95" name="Rectangle 94">
              <a:extLst>
                <a:ext uri="{FF2B5EF4-FFF2-40B4-BE49-F238E27FC236}">
                  <a16:creationId xmlns:a16="http://schemas.microsoft.com/office/drawing/2014/main" id="{0D2AFB04-F99C-4310-9F79-A7D866F09829}"/>
                </a:ext>
              </a:extLst>
            </p:cNvPr>
            <p:cNvSpPr/>
            <p:nvPr/>
          </p:nvSpPr>
          <p:spPr>
            <a:xfrm>
              <a:off x="3861073" y="4579398"/>
              <a:ext cx="1188720" cy="219148"/>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400" err="1">
                <a:solidFill>
                  <a:schemeClr val="bg1"/>
                </a:solidFill>
              </a:endParaRPr>
            </a:p>
          </p:txBody>
        </p:sp>
        <p:sp>
          <p:nvSpPr>
            <p:cNvPr id="107" name="Rectangle 106">
              <a:extLst>
                <a:ext uri="{FF2B5EF4-FFF2-40B4-BE49-F238E27FC236}">
                  <a16:creationId xmlns:a16="http://schemas.microsoft.com/office/drawing/2014/main" id="{BD77A2A4-8CDB-4970-9AFB-95C513C48020}"/>
                </a:ext>
              </a:extLst>
            </p:cNvPr>
            <p:cNvSpPr/>
            <p:nvPr/>
          </p:nvSpPr>
          <p:spPr>
            <a:xfrm>
              <a:off x="5215208" y="4579398"/>
              <a:ext cx="1188720" cy="219148"/>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400" err="1">
                <a:solidFill>
                  <a:schemeClr val="bg1"/>
                </a:solidFill>
              </a:endParaRPr>
            </a:p>
          </p:txBody>
        </p:sp>
        <p:sp>
          <p:nvSpPr>
            <p:cNvPr id="16" name="TextBox 15">
              <a:extLst>
                <a:ext uri="{FF2B5EF4-FFF2-40B4-BE49-F238E27FC236}">
                  <a16:creationId xmlns:a16="http://schemas.microsoft.com/office/drawing/2014/main" id="{CF493D56-9D8C-473A-A976-8BEF7FA2B2FD}"/>
                </a:ext>
              </a:extLst>
            </p:cNvPr>
            <p:cNvSpPr txBox="1"/>
            <p:nvPr/>
          </p:nvSpPr>
          <p:spPr>
            <a:xfrm>
              <a:off x="899549" y="4579194"/>
              <a:ext cx="1554480" cy="219456"/>
            </a:xfrm>
            <a:prstGeom prst="rect">
              <a:avLst/>
            </a:prstGeom>
          </p:spPr>
          <p:txBody>
            <a:bodyPr vert="horz" wrap="square" lIns="0" tIns="0" rIns="0" bIns="0" rtlCol="0">
              <a:no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228600" lvl="1" indent="-230400">
                <a:lnSpc>
                  <a:spcPct val="100000"/>
                </a:lnSpc>
                <a:spcBef>
                  <a:spcPts val="0"/>
                </a:spcBef>
                <a:spcAft>
                  <a:spcPts val="300"/>
                </a:spcAft>
                <a:buSzPct val="110000"/>
                <a:buFont typeface="Wingdings" panose="05000000000000000000" pitchFamily="2" charset="2"/>
                <a:buChar char=""/>
                <a:defRPr lang="en-US" sz="1600" dirty="0"/>
              </a:lvl2pPr>
              <a:lvl3pPr marL="439200" lvl="2" indent="-208800">
                <a:lnSpc>
                  <a:spcPct val="100000"/>
                </a:lnSpc>
                <a:spcBef>
                  <a:spcPts val="0"/>
                </a:spcBef>
                <a:spcAft>
                  <a:spcPts val="300"/>
                </a:spcAft>
                <a:buSzPct val="110000"/>
                <a:buFont typeface="Arial" panose="020B0604020202020204" pitchFamily="34" charset="0"/>
                <a:buChar char="‒"/>
                <a:defRPr lang="en-US" sz="1600" dirty="0"/>
              </a:lvl3pPr>
              <a:lvl4pPr marL="604800" lvl="3" indent="-154800">
                <a:lnSpc>
                  <a:spcPct val="100000"/>
                </a:lnSpc>
                <a:spcBef>
                  <a:spcPts val="0"/>
                </a:spcBef>
                <a:spcAft>
                  <a:spcPts val="300"/>
                </a:spcAft>
                <a:buFont typeface="Arial" panose="020B0604020202020204" pitchFamily="34" charset="0"/>
                <a:buChar char="•"/>
                <a:defRPr lang="en-US" sz="1600" dirty="0"/>
              </a:lvl4pPr>
              <a:lvl5pPr marL="813600" lvl="4" indent="-147600">
                <a:lnSpc>
                  <a:spcPct val="100000"/>
                </a:lnSpc>
                <a:spcBef>
                  <a:spcPts val="0"/>
                </a:spcBef>
                <a:spcAft>
                  <a:spcPts val="300"/>
                </a:spcAft>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a:t>Natural gas + CCS</a:t>
              </a:r>
            </a:p>
          </p:txBody>
        </p:sp>
        <p:grpSp>
          <p:nvGrpSpPr>
            <p:cNvPr id="127" name="CustomIcon">
              <a:extLst>
                <a:ext uri="{FF2B5EF4-FFF2-40B4-BE49-F238E27FC236}">
                  <a16:creationId xmlns:a16="http://schemas.microsoft.com/office/drawing/2014/main" id="{A914D075-213B-4F40-BDEA-FC0656B1839C}"/>
                </a:ext>
              </a:extLst>
            </p:cNvPr>
            <p:cNvGrpSpPr>
              <a:grpSpLocks noChangeAspect="1"/>
            </p:cNvGrpSpPr>
            <p:nvPr>
              <p:custDataLst>
                <p:tags r:id="rId5"/>
              </p:custDataLst>
            </p:nvPr>
          </p:nvGrpSpPr>
          <p:grpSpPr>
            <a:xfrm>
              <a:off x="567294" y="4551762"/>
              <a:ext cx="274320" cy="274320"/>
              <a:chOff x="-205105" y="-205105"/>
              <a:chExt cx="1019810" cy="1019810"/>
            </a:xfrm>
          </p:grpSpPr>
          <p:sp>
            <p:nvSpPr>
              <p:cNvPr id="124" name="Oval 123">
                <a:extLst>
                  <a:ext uri="{FF2B5EF4-FFF2-40B4-BE49-F238E27FC236}">
                    <a16:creationId xmlns:a16="http://schemas.microsoft.com/office/drawing/2014/main" id="{F168DDA8-1950-418F-B0EA-BD6458F3D79D}"/>
                  </a:ext>
                </a:extLst>
              </p:cNvPr>
              <p:cNvSpPr>
                <a:spLocks noChangeAspect="1"/>
              </p:cNvSpPr>
              <p:nvPr/>
            </p:nvSpPr>
            <p:spPr>
              <a:xfrm>
                <a:off x="-205105" y="-205105"/>
                <a:ext cx="1019810" cy="1019810"/>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400" err="1">
                  <a:solidFill>
                    <a:schemeClr val="bg1"/>
                  </a:solidFill>
                </a:endParaRPr>
              </a:p>
            </p:txBody>
          </p:sp>
          <p:pic>
            <p:nvPicPr>
              <p:cNvPr id="126" name="Graphic 125">
                <a:extLst>
                  <a:ext uri="{FF2B5EF4-FFF2-40B4-BE49-F238E27FC236}">
                    <a16:creationId xmlns:a16="http://schemas.microsoft.com/office/drawing/2014/main" id="{4C7CEDBF-AB4F-4321-A867-78FF256AD677}"/>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a:off x="0" y="0"/>
                <a:ext cx="609600" cy="609600"/>
              </a:xfrm>
              <a:prstGeom prst="rect">
                <a:avLst/>
              </a:prstGeom>
            </p:spPr>
          </p:pic>
        </p:grpSp>
        <p:sp>
          <p:nvSpPr>
            <p:cNvPr id="147" name="Rectangle 146">
              <a:extLst>
                <a:ext uri="{FF2B5EF4-FFF2-40B4-BE49-F238E27FC236}">
                  <a16:creationId xmlns:a16="http://schemas.microsoft.com/office/drawing/2014/main" id="{ADD0E887-A2F6-40CB-ABD1-3381C2E750B2}"/>
                </a:ext>
              </a:extLst>
            </p:cNvPr>
            <p:cNvSpPr/>
            <p:nvPr/>
          </p:nvSpPr>
          <p:spPr>
            <a:xfrm>
              <a:off x="6569343" y="4579398"/>
              <a:ext cx="1188720" cy="219148"/>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400" err="1">
                <a:solidFill>
                  <a:schemeClr val="bg1"/>
                </a:solidFill>
              </a:endParaRPr>
            </a:p>
          </p:txBody>
        </p:sp>
        <p:sp>
          <p:nvSpPr>
            <p:cNvPr id="163" name="Rectangle 162">
              <a:extLst>
                <a:ext uri="{FF2B5EF4-FFF2-40B4-BE49-F238E27FC236}">
                  <a16:creationId xmlns:a16="http://schemas.microsoft.com/office/drawing/2014/main" id="{BD5BE675-0497-429D-B315-19C8A14946E3}"/>
                </a:ext>
              </a:extLst>
            </p:cNvPr>
            <p:cNvSpPr/>
            <p:nvPr/>
          </p:nvSpPr>
          <p:spPr>
            <a:xfrm>
              <a:off x="7923478" y="4579398"/>
              <a:ext cx="1188720" cy="219148"/>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400" err="1">
                <a:solidFill>
                  <a:schemeClr val="bg1"/>
                </a:solidFill>
              </a:endParaRPr>
            </a:p>
          </p:txBody>
        </p:sp>
        <p:sp>
          <p:nvSpPr>
            <p:cNvPr id="174" name="Rectangle 173">
              <a:extLst>
                <a:ext uri="{FF2B5EF4-FFF2-40B4-BE49-F238E27FC236}">
                  <a16:creationId xmlns:a16="http://schemas.microsoft.com/office/drawing/2014/main" id="{DC50F7B3-93B9-4294-A62E-FEB7095082FD}"/>
                </a:ext>
              </a:extLst>
            </p:cNvPr>
            <p:cNvSpPr/>
            <p:nvPr/>
          </p:nvSpPr>
          <p:spPr>
            <a:xfrm>
              <a:off x="9277613" y="4579398"/>
              <a:ext cx="1188720" cy="219148"/>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400" err="1">
                <a:solidFill>
                  <a:schemeClr val="bg1"/>
                </a:solidFill>
              </a:endParaRPr>
            </a:p>
          </p:txBody>
        </p:sp>
        <p:sp>
          <p:nvSpPr>
            <p:cNvPr id="196" name="Rectangle 195">
              <a:extLst>
                <a:ext uri="{FF2B5EF4-FFF2-40B4-BE49-F238E27FC236}">
                  <a16:creationId xmlns:a16="http://schemas.microsoft.com/office/drawing/2014/main" id="{DEFB7384-2381-4A55-8D1C-085FE60F530C}"/>
                </a:ext>
              </a:extLst>
            </p:cNvPr>
            <p:cNvSpPr/>
            <p:nvPr/>
          </p:nvSpPr>
          <p:spPr>
            <a:xfrm>
              <a:off x="10631745" y="4579398"/>
              <a:ext cx="1188720" cy="219148"/>
            </a:xfrm>
            <a:prstGeom prst="rect">
              <a:avLst/>
            </a:prstGeom>
            <a:solidFill>
              <a:schemeClr val="accent6">
                <a:lumMod val="20000"/>
                <a:lumOff val="8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400" err="1">
                <a:solidFill>
                  <a:schemeClr val="bg1"/>
                </a:solidFill>
              </a:endParaRPr>
            </a:p>
          </p:txBody>
        </p:sp>
        <p:sp>
          <p:nvSpPr>
            <p:cNvPr id="17" name="TextBox 16">
              <a:extLst>
                <a:ext uri="{FF2B5EF4-FFF2-40B4-BE49-F238E27FC236}">
                  <a16:creationId xmlns:a16="http://schemas.microsoft.com/office/drawing/2014/main" id="{91E87EEB-399C-4DE6-AD55-4A5530B555D7}"/>
                </a:ext>
              </a:extLst>
            </p:cNvPr>
            <p:cNvSpPr txBox="1"/>
            <p:nvPr/>
          </p:nvSpPr>
          <p:spPr>
            <a:xfrm>
              <a:off x="899549" y="5371512"/>
              <a:ext cx="1554480" cy="219456"/>
            </a:xfrm>
            <a:prstGeom prst="rect">
              <a:avLst/>
            </a:prstGeom>
          </p:spPr>
          <p:txBody>
            <a:bodyPr vert="horz" wrap="square" lIns="0" tIns="0" rIns="0" bIns="0" rtlCol="0">
              <a:no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228600" lvl="1" indent="-230400">
                <a:lnSpc>
                  <a:spcPct val="100000"/>
                </a:lnSpc>
                <a:spcBef>
                  <a:spcPts val="0"/>
                </a:spcBef>
                <a:spcAft>
                  <a:spcPts val="300"/>
                </a:spcAft>
                <a:buSzPct val="110000"/>
                <a:buFont typeface="Wingdings" panose="05000000000000000000" pitchFamily="2" charset="2"/>
                <a:buChar char=""/>
                <a:defRPr lang="en-US" sz="1600" dirty="0"/>
              </a:lvl2pPr>
              <a:lvl3pPr marL="439200" lvl="2" indent="-208800">
                <a:lnSpc>
                  <a:spcPct val="100000"/>
                </a:lnSpc>
                <a:spcBef>
                  <a:spcPts val="0"/>
                </a:spcBef>
                <a:spcAft>
                  <a:spcPts val="300"/>
                </a:spcAft>
                <a:buSzPct val="110000"/>
                <a:buFont typeface="Arial" panose="020B0604020202020204" pitchFamily="34" charset="0"/>
                <a:buChar char="‒"/>
                <a:defRPr lang="en-US" sz="1600" dirty="0"/>
              </a:lvl3pPr>
              <a:lvl4pPr marL="604800" lvl="3" indent="-154800">
                <a:lnSpc>
                  <a:spcPct val="100000"/>
                </a:lnSpc>
                <a:spcBef>
                  <a:spcPts val="0"/>
                </a:spcBef>
                <a:spcAft>
                  <a:spcPts val="300"/>
                </a:spcAft>
                <a:buFont typeface="Arial" panose="020B0604020202020204" pitchFamily="34" charset="0"/>
                <a:buChar char="•"/>
                <a:defRPr lang="en-US" sz="1600" dirty="0"/>
              </a:lvl4pPr>
              <a:lvl5pPr marL="813600" lvl="4" indent="-147600">
                <a:lnSpc>
                  <a:spcPct val="100000"/>
                </a:lnSpc>
                <a:spcBef>
                  <a:spcPts val="0"/>
                </a:spcBef>
                <a:spcAft>
                  <a:spcPts val="300"/>
                </a:spcAft>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a:t>Natural gas</a:t>
              </a:r>
            </a:p>
          </p:txBody>
        </p:sp>
        <p:sp>
          <p:nvSpPr>
            <p:cNvPr id="83" name="Rectangle 82">
              <a:extLst>
                <a:ext uri="{FF2B5EF4-FFF2-40B4-BE49-F238E27FC236}">
                  <a16:creationId xmlns:a16="http://schemas.microsoft.com/office/drawing/2014/main" id="{231CA3ED-7E11-47E5-AA37-EB207C295E36}"/>
                </a:ext>
              </a:extLst>
            </p:cNvPr>
            <p:cNvSpPr/>
            <p:nvPr/>
          </p:nvSpPr>
          <p:spPr>
            <a:xfrm>
              <a:off x="2526188" y="5371784"/>
              <a:ext cx="1188720" cy="219148"/>
            </a:xfrm>
            <a:prstGeom prst="rect">
              <a:avLst/>
            </a:prstGeom>
            <a:solidFill>
              <a:schemeClr val="accent6">
                <a:lumMod val="20000"/>
                <a:lumOff val="8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400" err="1">
                <a:solidFill>
                  <a:schemeClr val="bg1"/>
                </a:solidFill>
              </a:endParaRPr>
            </a:p>
          </p:txBody>
        </p:sp>
        <p:sp>
          <p:nvSpPr>
            <p:cNvPr id="96" name="Rectangle 95">
              <a:extLst>
                <a:ext uri="{FF2B5EF4-FFF2-40B4-BE49-F238E27FC236}">
                  <a16:creationId xmlns:a16="http://schemas.microsoft.com/office/drawing/2014/main" id="{5FEBF2B2-97C7-47C1-8142-26A3A34117A7}"/>
                </a:ext>
              </a:extLst>
            </p:cNvPr>
            <p:cNvSpPr/>
            <p:nvPr/>
          </p:nvSpPr>
          <p:spPr>
            <a:xfrm>
              <a:off x="3861073" y="5371784"/>
              <a:ext cx="1188720" cy="219148"/>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400" err="1">
                <a:solidFill>
                  <a:schemeClr val="bg1"/>
                </a:solidFill>
              </a:endParaRPr>
            </a:p>
          </p:txBody>
        </p:sp>
        <p:sp>
          <p:nvSpPr>
            <p:cNvPr id="108" name="Rectangle 107">
              <a:extLst>
                <a:ext uri="{FF2B5EF4-FFF2-40B4-BE49-F238E27FC236}">
                  <a16:creationId xmlns:a16="http://schemas.microsoft.com/office/drawing/2014/main" id="{F9661CFE-A482-492A-87BD-795976862E86}"/>
                </a:ext>
              </a:extLst>
            </p:cNvPr>
            <p:cNvSpPr/>
            <p:nvPr/>
          </p:nvSpPr>
          <p:spPr>
            <a:xfrm>
              <a:off x="5215208" y="5371784"/>
              <a:ext cx="1188720" cy="219148"/>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400" err="1">
                <a:solidFill>
                  <a:schemeClr val="bg1"/>
                </a:solidFill>
              </a:endParaRPr>
            </a:p>
          </p:txBody>
        </p:sp>
        <p:sp>
          <p:nvSpPr>
            <p:cNvPr id="148" name="Rectangle 147">
              <a:extLst>
                <a:ext uri="{FF2B5EF4-FFF2-40B4-BE49-F238E27FC236}">
                  <a16:creationId xmlns:a16="http://schemas.microsoft.com/office/drawing/2014/main" id="{76D780E1-0A55-426C-9280-7B1F14BEC062}"/>
                </a:ext>
              </a:extLst>
            </p:cNvPr>
            <p:cNvSpPr/>
            <p:nvPr/>
          </p:nvSpPr>
          <p:spPr>
            <a:xfrm>
              <a:off x="6569343" y="5371784"/>
              <a:ext cx="1188720" cy="219148"/>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400" err="1">
                <a:solidFill>
                  <a:schemeClr val="bg1"/>
                </a:solidFill>
              </a:endParaRPr>
            </a:p>
          </p:txBody>
        </p:sp>
        <p:sp>
          <p:nvSpPr>
            <p:cNvPr id="159" name="Rectangle 158">
              <a:extLst>
                <a:ext uri="{FF2B5EF4-FFF2-40B4-BE49-F238E27FC236}">
                  <a16:creationId xmlns:a16="http://schemas.microsoft.com/office/drawing/2014/main" id="{2CE9858B-20EE-4B2E-8478-C064AF98BEB2}"/>
                </a:ext>
              </a:extLst>
            </p:cNvPr>
            <p:cNvSpPr/>
            <p:nvPr/>
          </p:nvSpPr>
          <p:spPr>
            <a:xfrm>
              <a:off x="7923478" y="5767976"/>
              <a:ext cx="1188720" cy="219148"/>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400" err="1">
                <a:solidFill>
                  <a:schemeClr val="bg1"/>
                </a:solidFill>
              </a:endParaRPr>
            </a:p>
          </p:txBody>
        </p:sp>
        <p:sp>
          <p:nvSpPr>
            <p:cNvPr id="176" name="Rectangle 175">
              <a:extLst>
                <a:ext uri="{FF2B5EF4-FFF2-40B4-BE49-F238E27FC236}">
                  <a16:creationId xmlns:a16="http://schemas.microsoft.com/office/drawing/2014/main" id="{C52E6082-0713-4954-BD24-EB824FD694AC}"/>
                </a:ext>
              </a:extLst>
            </p:cNvPr>
            <p:cNvSpPr/>
            <p:nvPr/>
          </p:nvSpPr>
          <p:spPr>
            <a:xfrm>
              <a:off x="9277613" y="5371784"/>
              <a:ext cx="1188720" cy="219148"/>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400" err="1">
                <a:solidFill>
                  <a:schemeClr val="bg1"/>
                </a:solidFill>
              </a:endParaRPr>
            </a:p>
          </p:txBody>
        </p:sp>
        <p:sp>
          <p:nvSpPr>
            <p:cNvPr id="197" name="Rectangle 196">
              <a:extLst>
                <a:ext uri="{FF2B5EF4-FFF2-40B4-BE49-F238E27FC236}">
                  <a16:creationId xmlns:a16="http://schemas.microsoft.com/office/drawing/2014/main" id="{F835A05E-B47F-429F-BCA9-37D07E0ACDF1}"/>
                </a:ext>
              </a:extLst>
            </p:cNvPr>
            <p:cNvSpPr/>
            <p:nvPr/>
          </p:nvSpPr>
          <p:spPr>
            <a:xfrm>
              <a:off x="10631745" y="5767976"/>
              <a:ext cx="1188720" cy="219148"/>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400" err="1">
                <a:solidFill>
                  <a:schemeClr val="bg1"/>
                </a:solidFill>
              </a:endParaRPr>
            </a:p>
          </p:txBody>
        </p:sp>
        <p:sp>
          <p:nvSpPr>
            <p:cNvPr id="84" name="Rectangle 83">
              <a:extLst>
                <a:ext uri="{FF2B5EF4-FFF2-40B4-BE49-F238E27FC236}">
                  <a16:creationId xmlns:a16="http://schemas.microsoft.com/office/drawing/2014/main" id="{4FA004EF-076D-4D20-AF3F-4DAF183CE3E8}"/>
                </a:ext>
              </a:extLst>
            </p:cNvPr>
            <p:cNvSpPr/>
            <p:nvPr/>
          </p:nvSpPr>
          <p:spPr>
            <a:xfrm>
              <a:off x="2526188" y="4975591"/>
              <a:ext cx="1188720" cy="219148"/>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400" err="1">
                <a:solidFill>
                  <a:schemeClr val="bg1"/>
                </a:solidFill>
              </a:endParaRPr>
            </a:p>
          </p:txBody>
        </p:sp>
        <p:sp>
          <p:nvSpPr>
            <p:cNvPr id="97" name="Rectangle 96">
              <a:extLst>
                <a:ext uri="{FF2B5EF4-FFF2-40B4-BE49-F238E27FC236}">
                  <a16:creationId xmlns:a16="http://schemas.microsoft.com/office/drawing/2014/main" id="{4F74C65A-D06A-4216-B43C-1BA8BFF9BCCF}"/>
                </a:ext>
              </a:extLst>
            </p:cNvPr>
            <p:cNvSpPr/>
            <p:nvPr/>
          </p:nvSpPr>
          <p:spPr>
            <a:xfrm>
              <a:off x="3861073" y="4975591"/>
              <a:ext cx="1188720" cy="219148"/>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400" err="1">
                <a:solidFill>
                  <a:schemeClr val="bg1"/>
                </a:solidFill>
              </a:endParaRPr>
            </a:p>
          </p:txBody>
        </p:sp>
        <p:sp>
          <p:nvSpPr>
            <p:cNvPr id="109" name="Rectangle 108">
              <a:extLst>
                <a:ext uri="{FF2B5EF4-FFF2-40B4-BE49-F238E27FC236}">
                  <a16:creationId xmlns:a16="http://schemas.microsoft.com/office/drawing/2014/main" id="{25E118FB-BE10-4402-9F7E-0128AE1B49CF}"/>
                </a:ext>
              </a:extLst>
            </p:cNvPr>
            <p:cNvSpPr/>
            <p:nvPr/>
          </p:nvSpPr>
          <p:spPr>
            <a:xfrm>
              <a:off x="5215208" y="4975591"/>
              <a:ext cx="1188720" cy="219148"/>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400" err="1">
                <a:solidFill>
                  <a:schemeClr val="bg1"/>
                </a:solidFill>
              </a:endParaRPr>
            </a:p>
          </p:txBody>
        </p:sp>
        <p:sp>
          <p:nvSpPr>
            <p:cNvPr id="149" name="Rectangle 148">
              <a:extLst>
                <a:ext uri="{FF2B5EF4-FFF2-40B4-BE49-F238E27FC236}">
                  <a16:creationId xmlns:a16="http://schemas.microsoft.com/office/drawing/2014/main" id="{2D7D688C-4DD9-4F24-A55D-9ABE0881B7CE}"/>
                </a:ext>
              </a:extLst>
            </p:cNvPr>
            <p:cNvSpPr/>
            <p:nvPr/>
          </p:nvSpPr>
          <p:spPr>
            <a:xfrm>
              <a:off x="6569343" y="4975591"/>
              <a:ext cx="1188720" cy="219148"/>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400" err="1">
                <a:solidFill>
                  <a:schemeClr val="bg1"/>
                </a:solidFill>
              </a:endParaRPr>
            </a:p>
          </p:txBody>
        </p:sp>
        <p:sp>
          <p:nvSpPr>
            <p:cNvPr id="160" name="Rectangle 159">
              <a:extLst>
                <a:ext uri="{FF2B5EF4-FFF2-40B4-BE49-F238E27FC236}">
                  <a16:creationId xmlns:a16="http://schemas.microsoft.com/office/drawing/2014/main" id="{71E1C3AD-9013-4443-9288-FBA1F03E3617}"/>
                </a:ext>
              </a:extLst>
            </p:cNvPr>
            <p:cNvSpPr/>
            <p:nvPr/>
          </p:nvSpPr>
          <p:spPr>
            <a:xfrm>
              <a:off x="7923478" y="4975591"/>
              <a:ext cx="1188720" cy="219148"/>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400" err="1">
                <a:solidFill>
                  <a:schemeClr val="bg1"/>
                </a:solidFill>
              </a:endParaRPr>
            </a:p>
          </p:txBody>
        </p:sp>
        <p:sp>
          <p:nvSpPr>
            <p:cNvPr id="181" name="Rectangle 180">
              <a:extLst>
                <a:ext uri="{FF2B5EF4-FFF2-40B4-BE49-F238E27FC236}">
                  <a16:creationId xmlns:a16="http://schemas.microsoft.com/office/drawing/2014/main" id="{94925543-697E-4567-8FA2-8A089092B611}"/>
                </a:ext>
              </a:extLst>
            </p:cNvPr>
            <p:cNvSpPr/>
            <p:nvPr/>
          </p:nvSpPr>
          <p:spPr>
            <a:xfrm>
              <a:off x="9277613" y="4975591"/>
              <a:ext cx="1188720" cy="219148"/>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400" err="1">
                <a:solidFill>
                  <a:schemeClr val="bg1"/>
                </a:solidFill>
              </a:endParaRPr>
            </a:p>
          </p:txBody>
        </p:sp>
        <p:sp>
          <p:nvSpPr>
            <p:cNvPr id="18" name="TextBox 17">
              <a:extLst>
                <a:ext uri="{FF2B5EF4-FFF2-40B4-BE49-F238E27FC236}">
                  <a16:creationId xmlns:a16="http://schemas.microsoft.com/office/drawing/2014/main" id="{BBC1A908-EA01-4F99-A520-67FB808F3B42}"/>
                </a:ext>
              </a:extLst>
            </p:cNvPr>
            <p:cNvSpPr txBox="1"/>
            <p:nvPr/>
          </p:nvSpPr>
          <p:spPr>
            <a:xfrm>
              <a:off x="899549" y="4975353"/>
              <a:ext cx="1554480" cy="219456"/>
            </a:xfrm>
            <a:prstGeom prst="rect">
              <a:avLst/>
            </a:prstGeom>
          </p:spPr>
          <p:txBody>
            <a:bodyPr vert="horz" wrap="square" lIns="0" tIns="0" rIns="0" bIns="0" rtlCol="0">
              <a:no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228600" lvl="1" indent="-230400">
                <a:lnSpc>
                  <a:spcPct val="100000"/>
                </a:lnSpc>
                <a:spcBef>
                  <a:spcPts val="0"/>
                </a:spcBef>
                <a:spcAft>
                  <a:spcPts val="300"/>
                </a:spcAft>
                <a:buSzPct val="110000"/>
                <a:buFont typeface="Wingdings" panose="05000000000000000000" pitchFamily="2" charset="2"/>
                <a:buChar char=""/>
                <a:defRPr lang="en-US" sz="1600" dirty="0"/>
              </a:lvl2pPr>
              <a:lvl3pPr marL="439200" lvl="2" indent="-208800">
                <a:lnSpc>
                  <a:spcPct val="100000"/>
                </a:lnSpc>
                <a:spcBef>
                  <a:spcPts val="0"/>
                </a:spcBef>
                <a:spcAft>
                  <a:spcPts val="300"/>
                </a:spcAft>
                <a:buSzPct val="110000"/>
                <a:buFont typeface="Arial" panose="020B0604020202020204" pitchFamily="34" charset="0"/>
                <a:buChar char="‒"/>
                <a:defRPr lang="en-US" sz="1600" dirty="0"/>
              </a:lvl3pPr>
              <a:lvl4pPr marL="604800" lvl="3" indent="-154800">
                <a:lnSpc>
                  <a:spcPct val="100000"/>
                </a:lnSpc>
                <a:spcBef>
                  <a:spcPts val="0"/>
                </a:spcBef>
                <a:spcAft>
                  <a:spcPts val="300"/>
                </a:spcAft>
                <a:buFont typeface="Arial" panose="020B0604020202020204" pitchFamily="34" charset="0"/>
                <a:buChar char="•"/>
                <a:defRPr lang="en-US" sz="1600" dirty="0"/>
              </a:lvl4pPr>
              <a:lvl5pPr marL="813600" lvl="4" indent="-147600">
                <a:lnSpc>
                  <a:spcPct val="100000"/>
                </a:lnSpc>
                <a:spcBef>
                  <a:spcPts val="0"/>
                </a:spcBef>
                <a:spcAft>
                  <a:spcPts val="300"/>
                </a:spcAft>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a:t>Coal + CCS</a:t>
              </a:r>
            </a:p>
          </p:txBody>
        </p:sp>
        <p:grpSp>
          <p:nvGrpSpPr>
            <p:cNvPr id="199" name="Group 198">
              <a:extLst>
                <a:ext uri="{FF2B5EF4-FFF2-40B4-BE49-F238E27FC236}">
                  <a16:creationId xmlns:a16="http://schemas.microsoft.com/office/drawing/2014/main" id="{2F10AF22-A3D1-413D-9B4D-50CB78E6A99E}"/>
                </a:ext>
              </a:extLst>
            </p:cNvPr>
            <p:cNvGrpSpPr/>
            <p:nvPr/>
          </p:nvGrpSpPr>
          <p:grpSpPr>
            <a:xfrm>
              <a:off x="560335" y="4947921"/>
              <a:ext cx="274320" cy="274320"/>
              <a:chOff x="10887869" y="2563094"/>
              <a:chExt cx="710187" cy="799035"/>
            </a:xfrm>
          </p:grpSpPr>
          <p:grpSp>
            <p:nvGrpSpPr>
              <p:cNvPr id="193" name="Group 192">
                <a:extLst>
                  <a:ext uri="{FF2B5EF4-FFF2-40B4-BE49-F238E27FC236}">
                    <a16:creationId xmlns:a16="http://schemas.microsoft.com/office/drawing/2014/main" id="{2C47A19F-E5A5-4510-A9E1-3A4CB6B43919}"/>
                  </a:ext>
                </a:extLst>
              </p:cNvPr>
              <p:cNvGrpSpPr/>
              <p:nvPr/>
            </p:nvGrpSpPr>
            <p:grpSpPr>
              <a:xfrm>
                <a:off x="10887869" y="2563094"/>
                <a:ext cx="710187" cy="799035"/>
                <a:chOff x="10887870" y="3087809"/>
                <a:chExt cx="274320" cy="274320"/>
              </a:xfrm>
            </p:grpSpPr>
            <p:sp>
              <p:nvSpPr>
                <p:cNvPr id="191" name="Oval 190">
                  <a:extLst>
                    <a:ext uri="{FF2B5EF4-FFF2-40B4-BE49-F238E27FC236}">
                      <a16:creationId xmlns:a16="http://schemas.microsoft.com/office/drawing/2014/main" id="{4A723A37-F3A1-4E55-9FFB-343D646850E3}"/>
                    </a:ext>
                  </a:extLst>
                </p:cNvPr>
                <p:cNvSpPr>
                  <a:spLocks noChangeAspect="1"/>
                </p:cNvSpPr>
                <p:nvPr/>
              </p:nvSpPr>
              <p:spPr>
                <a:xfrm>
                  <a:off x="10887870" y="3087809"/>
                  <a:ext cx="274320" cy="274320"/>
                </a:xfrm>
                <a:prstGeom prst="ellipse">
                  <a:avLst/>
                </a:prstGeom>
                <a:solidFill>
                  <a:schemeClr val="accent1"/>
                </a:solidFill>
                <a:ln w="952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400" err="1">
                    <a:solidFill>
                      <a:schemeClr val="bg1"/>
                    </a:solidFill>
                  </a:endParaRPr>
                </a:p>
              </p:txBody>
            </p:sp>
            <p:pic>
              <p:nvPicPr>
                <p:cNvPr id="192" name="Graphic 191">
                  <a:extLst>
                    <a:ext uri="{FF2B5EF4-FFF2-40B4-BE49-F238E27FC236}">
                      <a16:creationId xmlns:a16="http://schemas.microsoft.com/office/drawing/2014/main" id="{AC0FB368-6EA0-4420-B3A1-DD0655944902}"/>
                    </a:ext>
                  </a:extLst>
                </p:cNvPr>
                <p:cNvPicPr>
                  <a:picLocks noChangeAspect="1"/>
                </p:cNvPicPr>
                <p:nvPr/>
              </p:nvPicPr>
              <p:blipFill>
                <a:blip r:embed="rId20">
                  <a:extLst>
                    <a:ext uri="{96DAC541-7B7A-43D3-8B79-37D633B846F1}">
                      <asvg:svgBlip xmlns:asvg="http://schemas.microsoft.com/office/drawing/2016/SVG/main" r:embed="rId21"/>
                    </a:ext>
                  </a:extLst>
                </a:blip>
                <a:stretch>
                  <a:fillRect/>
                </a:stretch>
              </p:blipFill>
              <p:spPr>
                <a:xfrm>
                  <a:off x="10943041" y="3142980"/>
                  <a:ext cx="163977" cy="163977"/>
                </a:xfrm>
                <a:prstGeom prst="rect">
                  <a:avLst/>
                </a:prstGeom>
              </p:spPr>
            </p:pic>
          </p:grpSp>
          <p:pic>
            <p:nvPicPr>
              <p:cNvPr id="198" name="Graphic 197">
                <a:extLst>
                  <a:ext uri="{FF2B5EF4-FFF2-40B4-BE49-F238E27FC236}">
                    <a16:creationId xmlns:a16="http://schemas.microsoft.com/office/drawing/2014/main" id="{9CDD92FF-DE18-415B-A066-BEAAC059EFE5}"/>
                  </a:ext>
                </a:extLst>
              </p:cNvPr>
              <p:cNvPicPr>
                <a:picLocks noChangeAspect="1"/>
              </p:cNvPicPr>
              <p:nvPr/>
            </p:nvPicPr>
            <p:blipFill>
              <a:blip r:embed="rId22">
                <a:extLst>
                  <a:ext uri="{96DAC541-7B7A-43D3-8B79-37D633B846F1}">
                    <asvg:svgBlip xmlns:asvg="http://schemas.microsoft.com/office/drawing/2016/SVG/main" r:embed="rId23"/>
                  </a:ext>
                </a:extLst>
              </a:blip>
              <a:stretch>
                <a:fillRect/>
              </a:stretch>
            </p:blipFill>
            <p:spPr>
              <a:xfrm rot="1708395">
                <a:off x="11209064" y="2889057"/>
                <a:ext cx="368514" cy="368514"/>
              </a:xfrm>
              <a:prstGeom prst="rect">
                <a:avLst/>
              </a:prstGeom>
            </p:spPr>
          </p:pic>
        </p:grpSp>
        <p:sp>
          <p:nvSpPr>
            <p:cNvPr id="207" name="Rectangle 206">
              <a:extLst>
                <a:ext uri="{FF2B5EF4-FFF2-40B4-BE49-F238E27FC236}">
                  <a16:creationId xmlns:a16="http://schemas.microsoft.com/office/drawing/2014/main" id="{34CFBB42-618F-45C2-AD09-20252DF73B1C}"/>
                </a:ext>
              </a:extLst>
            </p:cNvPr>
            <p:cNvSpPr/>
            <p:nvPr/>
          </p:nvSpPr>
          <p:spPr>
            <a:xfrm>
              <a:off x="10631745" y="4975591"/>
              <a:ext cx="1188720" cy="219148"/>
            </a:xfrm>
            <a:prstGeom prst="rect">
              <a:avLst/>
            </a:prstGeom>
            <a:solidFill>
              <a:schemeClr val="accent6">
                <a:lumMod val="20000"/>
                <a:lumOff val="8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400" err="1">
                <a:solidFill>
                  <a:schemeClr val="bg1"/>
                </a:solidFill>
              </a:endParaRPr>
            </a:p>
          </p:txBody>
        </p:sp>
        <p:sp>
          <p:nvSpPr>
            <p:cNvPr id="86" name="Rectangle 85">
              <a:extLst>
                <a:ext uri="{FF2B5EF4-FFF2-40B4-BE49-F238E27FC236}">
                  <a16:creationId xmlns:a16="http://schemas.microsoft.com/office/drawing/2014/main" id="{2CD63514-9B2E-47B8-B85A-E87AF3BBDC41}"/>
                </a:ext>
              </a:extLst>
            </p:cNvPr>
            <p:cNvSpPr/>
            <p:nvPr/>
          </p:nvSpPr>
          <p:spPr>
            <a:xfrm>
              <a:off x="2526188" y="3390819"/>
              <a:ext cx="1188720" cy="219148"/>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400" err="1">
                <a:solidFill>
                  <a:schemeClr val="bg1"/>
                </a:solidFill>
              </a:endParaRPr>
            </a:p>
          </p:txBody>
        </p:sp>
        <p:sp>
          <p:nvSpPr>
            <p:cNvPr id="99" name="Rectangle 98">
              <a:extLst>
                <a:ext uri="{FF2B5EF4-FFF2-40B4-BE49-F238E27FC236}">
                  <a16:creationId xmlns:a16="http://schemas.microsoft.com/office/drawing/2014/main" id="{6D9B877A-3E1F-4AC6-80EA-C9725ADA393A}"/>
                </a:ext>
              </a:extLst>
            </p:cNvPr>
            <p:cNvSpPr/>
            <p:nvPr/>
          </p:nvSpPr>
          <p:spPr>
            <a:xfrm>
              <a:off x="3861073" y="3390819"/>
              <a:ext cx="1188720" cy="219148"/>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400" err="1">
                <a:solidFill>
                  <a:schemeClr val="bg1"/>
                </a:solidFill>
              </a:endParaRPr>
            </a:p>
          </p:txBody>
        </p:sp>
        <p:sp>
          <p:nvSpPr>
            <p:cNvPr id="111" name="Rectangle 110">
              <a:extLst>
                <a:ext uri="{FF2B5EF4-FFF2-40B4-BE49-F238E27FC236}">
                  <a16:creationId xmlns:a16="http://schemas.microsoft.com/office/drawing/2014/main" id="{C8D5EADE-EF49-4C81-89A6-996454EE4647}"/>
                </a:ext>
              </a:extLst>
            </p:cNvPr>
            <p:cNvSpPr/>
            <p:nvPr/>
          </p:nvSpPr>
          <p:spPr>
            <a:xfrm>
              <a:off x="5215208" y="3390819"/>
              <a:ext cx="1188720" cy="219148"/>
            </a:xfrm>
            <a:prstGeom prst="rect">
              <a:avLst/>
            </a:prstGeom>
            <a:solidFill>
              <a:schemeClr val="accent6">
                <a:lumMod val="20000"/>
                <a:lumOff val="8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400" err="1">
                <a:solidFill>
                  <a:schemeClr val="bg1"/>
                </a:solidFill>
              </a:endParaRPr>
            </a:p>
          </p:txBody>
        </p:sp>
        <p:sp>
          <p:nvSpPr>
            <p:cNvPr id="151" name="Rectangle 150">
              <a:extLst>
                <a:ext uri="{FF2B5EF4-FFF2-40B4-BE49-F238E27FC236}">
                  <a16:creationId xmlns:a16="http://schemas.microsoft.com/office/drawing/2014/main" id="{318F414B-BC30-4A4C-807A-833EE1B6A4A6}"/>
                </a:ext>
              </a:extLst>
            </p:cNvPr>
            <p:cNvSpPr/>
            <p:nvPr/>
          </p:nvSpPr>
          <p:spPr>
            <a:xfrm>
              <a:off x="6569343" y="3390819"/>
              <a:ext cx="1188720" cy="219148"/>
            </a:xfrm>
            <a:prstGeom prst="rect">
              <a:avLst/>
            </a:prstGeom>
            <a:solidFill>
              <a:schemeClr val="accent6">
                <a:lumMod val="20000"/>
                <a:lumOff val="8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400" err="1">
                <a:solidFill>
                  <a:schemeClr val="bg1"/>
                </a:solidFill>
              </a:endParaRPr>
            </a:p>
          </p:txBody>
        </p:sp>
        <p:sp>
          <p:nvSpPr>
            <p:cNvPr id="166" name="Rectangle 165">
              <a:extLst>
                <a:ext uri="{FF2B5EF4-FFF2-40B4-BE49-F238E27FC236}">
                  <a16:creationId xmlns:a16="http://schemas.microsoft.com/office/drawing/2014/main" id="{A01DBAD9-3CE2-4FC0-BB6C-0D8313F28017}"/>
                </a:ext>
              </a:extLst>
            </p:cNvPr>
            <p:cNvSpPr/>
            <p:nvPr/>
          </p:nvSpPr>
          <p:spPr>
            <a:xfrm>
              <a:off x="7923478" y="3390819"/>
              <a:ext cx="1188720" cy="219148"/>
            </a:xfrm>
            <a:prstGeom prst="rect">
              <a:avLst/>
            </a:prstGeom>
            <a:solidFill>
              <a:schemeClr val="accent6">
                <a:lumMod val="20000"/>
                <a:lumOff val="8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400" err="1">
                <a:solidFill>
                  <a:schemeClr val="bg1"/>
                </a:solidFill>
              </a:endParaRPr>
            </a:p>
          </p:txBody>
        </p:sp>
        <p:sp>
          <p:nvSpPr>
            <p:cNvPr id="179" name="Rectangle 178">
              <a:extLst>
                <a:ext uri="{FF2B5EF4-FFF2-40B4-BE49-F238E27FC236}">
                  <a16:creationId xmlns:a16="http://schemas.microsoft.com/office/drawing/2014/main" id="{E3FB57BD-D474-4C8C-B8A7-A1389AAC1722}"/>
                </a:ext>
              </a:extLst>
            </p:cNvPr>
            <p:cNvSpPr/>
            <p:nvPr/>
          </p:nvSpPr>
          <p:spPr>
            <a:xfrm>
              <a:off x="9277613" y="3390819"/>
              <a:ext cx="1188720" cy="219148"/>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400" err="1">
                <a:solidFill>
                  <a:schemeClr val="bg1"/>
                </a:solidFill>
              </a:endParaRPr>
            </a:p>
          </p:txBody>
        </p:sp>
        <p:sp>
          <p:nvSpPr>
            <p:cNvPr id="20" name="TextBox 19">
              <a:extLst>
                <a:ext uri="{FF2B5EF4-FFF2-40B4-BE49-F238E27FC236}">
                  <a16:creationId xmlns:a16="http://schemas.microsoft.com/office/drawing/2014/main" id="{C3F0B760-DF31-4D1D-8D5C-5C923263FD9C}"/>
                </a:ext>
              </a:extLst>
            </p:cNvPr>
            <p:cNvSpPr txBox="1"/>
            <p:nvPr/>
          </p:nvSpPr>
          <p:spPr>
            <a:xfrm>
              <a:off x="899548" y="3390717"/>
              <a:ext cx="1653950" cy="219456"/>
            </a:xfrm>
            <a:prstGeom prst="rect">
              <a:avLst/>
            </a:prstGeom>
          </p:spPr>
          <p:txBody>
            <a:bodyPr vert="horz" wrap="square" lIns="0" tIns="0" rIns="0" bIns="0" rtlCol="0">
              <a:no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228600" lvl="1" indent="-230400">
                <a:lnSpc>
                  <a:spcPct val="100000"/>
                </a:lnSpc>
                <a:spcBef>
                  <a:spcPts val="0"/>
                </a:spcBef>
                <a:spcAft>
                  <a:spcPts val="300"/>
                </a:spcAft>
                <a:buSzPct val="110000"/>
                <a:buFont typeface="Wingdings" panose="05000000000000000000" pitchFamily="2" charset="2"/>
                <a:buChar char=""/>
                <a:defRPr lang="en-US" sz="1600" dirty="0"/>
              </a:lvl2pPr>
              <a:lvl3pPr marL="439200" lvl="2" indent="-208800">
                <a:lnSpc>
                  <a:spcPct val="100000"/>
                </a:lnSpc>
                <a:spcBef>
                  <a:spcPts val="0"/>
                </a:spcBef>
                <a:spcAft>
                  <a:spcPts val="300"/>
                </a:spcAft>
                <a:buSzPct val="110000"/>
                <a:buFont typeface="Arial" panose="020B0604020202020204" pitchFamily="34" charset="0"/>
                <a:buChar char="‒"/>
                <a:defRPr lang="en-US" sz="1600" dirty="0"/>
              </a:lvl3pPr>
              <a:lvl4pPr marL="604800" lvl="3" indent="-154800">
                <a:lnSpc>
                  <a:spcPct val="100000"/>
                </a:lnSpc>
                <a:spcBef>
                  <a:spcPts val="0"/>
                </a:spcBef>
                <a:spcAft>
                  <a:spcPts val="300"/>
                </a:spcAft>
                <a:buFont typeface="Arial" panose="020B0604020202020204" pitchFamily="34" charset="0"/>
                <a:buChar char="•"/>
                <a:defRPr lang="en-US" sz="1600" dirty="0"/>
              </a:lvl4pPr>
              <a:lvl5pPr marL="813600" lvl="4" indent="-147600">
                <a:lnSpc>
                  <a:spcPct val="100000"/>
                </a:lnSpc>
                <a:spcBef>
                  <a:spcPts val="0"/>
                </a:spcBef>
                <a:spcAft>
                  <a:spcPts val="300"/>
                </a:spcAft>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a:t>Renewables + storage</a:t>
              </a:r>
              <a:r>
                <a:rPr lang="en-US" sz="1200" baseline="30000">
                  <a:latin typeface="Arial"/>
                  <a:cs typeface="+mn-cs"/>
                </a:rPr>
                <a:t>2</a:t>
              </a:r>
              <a:endParaRPr lang="en-US" sz="1200"/>
            </a:p>
          </p:txBody>
        </p:sp>
        <p:grpSp>
          <p:nvGrpSpPr>
            <p:cNvPr id="226" name="CustomIcon">
              <a:extLst>
                <a:ext uri="{FF2B5EF4-FFF2-40B4-BE49-F238E27FC236}">
                  <a16:creationId xmlns:a16="http://schemas.microsoft.com/office/drawing/2014/main" id="{793A8485-0031-4540-BE8A-5A78ED513730}"/>
                </a:ext>
              </a:extLst>
            </p:cNvPr>
            <p:cNvGrpSpPr>
              <a:grpSpLocks noChangeAspect="1"/>
            </p:cNvGrpSpPr>
            <p:nvPr>
              <p:custDataLst>
                <p:tags r:id="rId6"/>
              </p:custDataLst>
            </p:nvPr>
          </p:nvGrpSpPr>
          <p:grpSpPr>
            <a:xfrm>
              <a:off x="572316" y="3363285"/>
              <a:ext cx="274320" cy="274320"/>
              <a:chOff x="-205105" y="-205105"/>
              <a:chExt cx="1019810" cy="1019810"/>
            </a:xfrm>
          </p:grpSpPr>
          <p:sp>
            <p:nvSpPr>
              <p:cNvPr id="223" name="Oval 222">
                <a:extLst>
                  <a:ext uri="{FF2B5EF4-FFF2-40B4-BE49-F238E27FC236}">
                    <a16:creationId xmlns:a16="http://schemas.microsoft.com/office/drawing/2014/main" id="{B5BF6D0B-BDDC-445A-B900-E8EE21C86CCC}"/>
                  </a:ext>
                </a:extLst>
              </p:cNvPr>
              <p:cNvSpPr>
                <a:spLocks noChangeAspect="1"/>
              </p:cNvSpPr>
              <p:nvPr/>
            </p:nvSpPr>
            <p:spPr>
              <a:xfrm>
                <a:off x="-205105" y="-205105"/>
                <a:ext cx="1019810" cy="1019810"/>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nl-BE" sz="1600" err="1">
                  <a:solidFill>
                    <a:schemeClr val="bg1"/>
                  </a:solidFill>
                </a:endParaRPr>
              </a:p>
            </p:txBody>
          </p:sp>
          <p:pic>
            <p:nvPicPr>
              <p:cNvPr id="225" name="Graphic 224">
                <a:extLst>
                  <a:ext uri="{FF2B5EF4-FFF2-40B4-BE49-F238E27FC236}">
                    <a16:creationId xmlns:a16="http://schemas.microsoft.com/office/drawing/2014/main" id="{CF458851-ECFA-4A25-8F5E-EBE46A790E3B}"/>
                  </a:ext>
                </a:extLst>
              </p:cNvPr>
              <p:cNvPicPr>
                <a:picLocks noChangeAspect="1"/>
              </p:cNvPicPr>
              <p:nvPr/>
            </p:nvPicPr>
            <p:blipFill>
              <a:blip r:embed="rId24">
                <a:extLst>
                  <a:ext uri="{96DAC541-7B7A-43D3-8B79-37D633B846F1}">
                    <asvg:svgBlip xmlns:asvg="http://schemas.microsoft.com/office/drawing/2016/SVG/main" r:embed="rId25"/>
                  </a:ext>
                </a:extLst>
              </a:blip>
              <a:stretch>
                <a:fillRect/>
              </a:stretch>
            </p:blipFill>
            <p:spPr>
              <a:xfrm>
                <a:off x="0" y="0"/>
                <a:ext cx="609600" cy="609600"/>
              </a:xfrm>
              <a:prstGeom prst="rect">
                <a:avLst/>
              </a:prstGeom>
            </p:spPr>
          </p:pic>
        </p:grpSp>
        <p:sp>
          <p:nvSpPr>
            <p:cNvPr id="217" name="Rectangle 216">
              <a:extLst>
                <a:ext uri="{FF2B5EF4-FFF2-40B4-BE49-F238E27FC236}">
                  <a16:creationId xmlns:a16="http://schemas.microsoft.com/office/drawing/2014/main" id="{9BE6F8E4-C859-4DE0-945E-2B7B37C7EB3F}"/>
                </a:ext>
              </a:extLst>
            </p:cNvPr>
            <p:cNvSpPr/>
            <p:nvPr/>
          </p:nvSpPr>
          <p:spPr>
            <a:xfrm>
              <a:off x="10631745" y="3390819"/>
              <a:ext cx="1188720" cy="219148"/>
            </a:xfrm>
            <a:prstGeom prst="rect">
              <a:avLst/>
            </a:prstGeom>
            <a:solidFill>
              <a:schemeClr val="accent6">
                <a:lumMod val="20000"/>
                <a:lumOff val="8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400" err="1">
                <a:solidFill>
                  <a:schemeClr val="bg1"/>
                </a:solidFill>
              </a:endParaRPr>
            </a:p>
          </p:txBody>
        </p:sp>
        <p:sp>
          <p:nvSpPr>
            <p:cNvPr id="87" name="Rectangle 86">
              <a:extLst>
                <a:ext uri="{FF2B5EF4-FFF2-40B4-BE49-F238E27FC236}">
                  <a16:creationId xmlns:a16="http://schemas.microsoft.com/office/drawing/2014/main" id="{D4DE44B1-AA2C-428E-BE11-E652F6A337D3}"/>
                </a:ext>
              </a:extLst>
            </p:cNvPr>
            <p:cNvSpPr/>
            <p:nvPr/>
          </p:nvSpPr>
          <p:spPr>
            <a:xfrm>
              <a:off x="2526188" y="3787012"/>
              <a:ext cx="1188720" cy="219148"/>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400" err="1">
                <a:solidFill>
                  <a:schemeClr val="bg1"/>
                </a:solidFill>
              </a:endParaRPr>
            </a:p>
          </p:txBody>
        </p:sp>
        <p:sp>
          <p:nvSpPr>
            <p:cNvPr id="100" name="Rectangle 99">
              <a:extLst>
                <a:ext uri="{FF2B5EF4-FFF2-40B4-BE49-F238E27FC236}">
                  <a16:creationId xmlns:a16="http://schemas.microsoft.com/office/drawing/2014/main" id="{34F5D77B-BC6E-479A-A813-6501F8B562EB}"/>
                </a:ext>
              </a:extLst>
            </p:cNvPr>
            <p:cNvSpPr/>
            <p:nvPr/>
          </p:nvSpPr>
          <p:spPr>
            <a:xfrm>
              <a:off x="3861073" y="3787012"/>
              <a:ext cx="1188720" cy="219148"/>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400" err="1">
                <a:solidFill>
                  <a:schemeClr val="bg1"/>
                </a:solidFill>
              </a:endParaRPr>
            </a:p>
          </p:txBody>
        </p:sp>
        <p:sp>
          <p:nvSpPr>
            <p:cNvPr id="112" name="Rectangle 111">
              <a:extLst>
                <a:ext uri="{FF2B5EF4-FFF2-40B4-BE49-F238E27FC236}">
                  <a16:creationId xmlns:a16="http://schemas.microsoft.com/office/drawing/2014/main" id="{651D4ADC-8D4D-4A25-80D2-6E81892CED9C}"/>
                </a:ext>
              </a:extLst>
            </p:cNvPr>
            <p:cNvSpPr/>
            <p:nvPr/>
          </p:nvSpPr>
          <p:spPr>
            <a:xfrm>
              <a:off x="5215208" y="3787012"/>
              <a:ext cx="1188720" cy="219148"/>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400" err="1">
                <a:solidFill>
                  <a:schemeClr val="bg1"/>
                </a:solidFill>
              </a:endParaRPr>
            </a:p>
          </p:txBody>
        </p:sp>
        <p:sp>
          <p:nvSpPr>
            <p:cNvPr id="152" name="Rectangle 151">
              <a:extLst>
                <a:ext uri="{FF2B5EF4-FFF2-40B4-BE49-F238E27FC236}">
                  <a16:creationId xmlns:a16="http://schemas.microsoft.com/office/drawing/2014/main" id="{2BA6E4E8-6213-49C8-95DD-470F8C6F5569}"/>
                </a:ext>
              </a:extLst>
            </p:cNvPr>
            <p:cNvSpPr/>
            <p:nvPr/>
          </p:nvSpPr>
          <p:spPr>
            <a:xfrm>
              <a:off x="6569343" y="3787012"/>
              <a:ext cx="1188720" cy="219148"/>
            </a:xfrm>
            <a:prstGeom prst="rect">
              <a:avLst/>
            </a:prstGeom>
            <a:solidFill>
              <a:schemeClr val="accent6">
                <a:lumMod val="20000"/>
                <a:lumOff val="8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400" err="1">
                <a:solidFill>
                  <a:schemeClr val="bg1"/>
                </a:solidFill>
              </a:endParaRPr>
            </a:p>
          </p:txBody>
        </p:sp>
        <p:sp>
          <p:nvSpPr>
            <p:cNvPr id="167" name="Rectangle 166">
              <a:extLst>
                <a:ext uri="{FF2B5EF4-FFF2-40B4-BE49-F238E27FC236}">
                  <a16:creationId xmlns:a16="http://schemas.microsoft.com/office/drawing/2014/main" id="{5EAA0BC2-1CAA-4616-BEEE-376F8DBECDFE}"/>
                </a:ext>
              </a:extLst>
            </p:cNvPr>
            <p:cNvSpPr/>
            <p:nvPr/>
          </p:nvSpPr>
          <p:spPr>
            <a:xfrm>
              <a:off x="7923478" y="3787012"/>
              <a:ext cx="1188720" cy="219148"/>
            </a:xfrm>
            <a:prstGeom prst="rect">
              <a:avLst/>
            </a:prstGeom>
            <a:solidFill>
              <a:schemeClr val="accent6">
                <a:lumMod val="20000"/>
                <a:lumOff val="8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400" err="1">
                <a:solidFill>
                  <a:schemeClr val="bg1"/>
                </a:solidFill>
              </a:endParaRPr>
            </a:p>
          </p:txBody>
        </p:sp>
        <p:sp>
          <p:nvSpPr>
            <p:cNvPr id="180" name="Rectangle 179">
              <a:extLst>
                <a:ext uri="{FF2B5EF4-FFF2-40B4-BE49-F238E27FC236}">
                  <a16:creationId xmlns:a16="http://schemas.microsoft.com/office/drawing/2014/main" id="{B70C3CD0-1FE9-4731-A5F0-9473503719A3}"/>
                </a:ext>
              </a:extLst>
            </p:cNvPr>
            <p:cNvSpPr/>
            <p:nvPr/>
          </p:nvSpPr>
          <p:spPr>
            <a:xfrm>
              <a:off x="9277613" y="3787012"/>
              <a:ext cx="1188720" cy="219148"/>
            </a:xfrm>
            <a:prstGeom prst="rect">
              <a:avLst/>
            </a:prstGeom>
            <a:solidFill>
              <a:schemeClr val="accent6">
                <a:lumMod val="20000"/>
                <a:lumOff val="8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400" err="1">
                <a:solidFill>
                  <a:schemeClr val="bg1"/>
                </a:solidFill>
              </a:endParaRPr>
            </a:p>
          </p:txBody>
        </p:sp>
        <p:sp>
          <p:nvSpPr>
            <p:cNvPr id="21" name="TextBox 20">
              <a:extLst>
                <a:ext uri="{FF2B5EF4-FFF2-40B4-BE49-F238E27FC236}">
                  <a16:creationId xmlns:a16="http://schemas.microsoft.com/office/drawing/2014/main" id="{BFE2F77B-47E3-45E2-9AC0-5CBBC6D43F3C}"/>
                </a:ext>
              </a:extLst>
            </p:cNvPr>
            <p:cNvSpPr txBox="1"/>
            <p:nvPr/>
          </p:nvSpPr>
          <p:spPr>
            <a:xfrm>
              <a:off x="899548" y="3786876"/>
              <a:ext cx="1554480" cy="219456"/>
            </a:xfrm>
            <a:prstGeom prst="rect">
              <a:avLst/>
            </a:prstGeom>
          </p:spPr>
          <p:txBody>
            <a:bodyPr vert="horz" wrap="square" lIns="0" tIns="0" rIns="0" bIns="0" rtlCol="0">
              <a:no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228600" lvl="1" indent="-230400">
                <a:lnSpc>
                  <a:spcPct val="100000"/>
                </a:lnSpc>
                <a:spcBef>
                  <a:spcPts val="0"/>
                </a:spcBef>
                <a:spcAft>
                  <a:spcPts val="300"/>
                </a:spcAft>
                <a:buSzPct val="110000"/>
                <a:buFont typeface="Wingdings" panose="05000000000000000000" pitchFamily="2" charset="2"/>
                <a:buChar char=""/>
                <a:defRPr lang="en-US" sz="1600" dirty="0"/>
              </a:lvl2pPr>
              <a:lvl3pPr marL="439200" lvl="2" indent="-208800">
                <a:lnSpc>
                  <a:spcPct val="100000"/>
                </a:lnSpc>
                <a:spcBef>
                  <a:spcPts val="0"/>
                </a:spcBef>
                <a:spcAft>
                  <a:spcPts val="300"/>
                </a:spcAft>
                <a:buSzPct val="110000"/>
                <a:buFont typeface="Arial" panose="020B0604020202020204" pitchFamily="34" charset="0"/>
                <a:buChar char="‒"/>
                <a:defRPr lang="en-US" sz="1600" dirty="0"/>
              </a:lvl3pPr>
              <a:lvl4pPr marL="604800" lvl="3" indent="-154800">
                <a:lnSpc>
                  <a:spcPct val="100000"/>
                </a:lnSpc>
                <a:spcBef>
                  <a:spcPts val="0"/>
                </a:spcBef>
                <a:spcAft>
                  <a:spcPts val="300"/>
                </a:spcAft>
                <a:buFont typeface="Arial" panose="020B0604020202020204" pitchFamily="34" charset="0"/>
                <a:buChar char="•"/>
                <a:defRPr lang="en-US" sz="1600" dirty="0"/>
              </a:lvl4pPr>
              <a:lvl5pPr marL="813600" lvl="4" indent="-147600">
                <a:lnSpc>
                  <a:spcPct val="100000"/>
                </a:lnSpc>
                <a:spcBef>
                  <a:spcPts val="0"/>
                </a:spcBef>
                <a:spcAft>
                  <a:spcPts val="300"/>
                </a:spcAft>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a:t>Renewables: offshore</a:t>
              </a:r>
            </a:p>
          </p:txBody>
        </p:sp>
        <p:grpSp>
          <p:nvGrpSpPr>
            <p:cNvPr id="205" name="Group 204">
              <a:extLst>
                <a:ext uri="{FF2B5EF4-FFF2-40B4-BE49-F238E27FC236}">
                  <a16:creationId xmlns:a16="http://schemas.microsoft.com/office/drawing/2014/main" id="{C7B96D4E-6627-41E8-9EF8-073278095A55}"/>
                </a:ext>
              </a:extLst>
            </p:cNvPr>
            <p:cNvGrpSpPr/>
            <p:nvPr/>
          </p:nvGrpSpPr>
          <p:grpSpPr>
            <a:xfrm>
              <a:off x="564685" y="3759444"/>
              <a:ext cx="274320" cy="274320"/>
              <a:chOff x="10867790" y="3257981"/>
              <a:chExt cx="1005840" cy="924058"/>
            </a:xfrm>
          </p:grpSpPr>
          <p:grpSp>
            <p:nvGrpSpPr>
              <p:cNvPr id="203" name="Group 202">
                <a:extLst>
                  <a:ext uri="{FF2B5EF4-FFF2-40B4-BE49-F238E27FC236}">
                    <a16:creationId xmlns:a16="http://schemas.microsoft.com/office/drawing/2014/main" id="{0843CD8B-1496-449F-8A76-D190889A5244}"/>
                  </a:ext>
                </a:extLst>
              </p:cNvPr>
              <p:cNvGrpSpPr/>
              <p:nvPr/>
            </p:nvGrpSpPr>
            <p:grpSpPr>
              <a:xfrm>
                <a:off x="10867790" y="3257981"/>
                <a:ext cx="1005840" cy="914400"/>
                <a:chOff x="11044044" y="3839801"/>
                <a:chExt cx="274320" cy="274320"/>
              </a:xfrm>
            </p:grpSpPr>
            <p:sp>
              <p:nvSpPr>
                <p:cNvPr id="201" name="Oval 200">
                  <a:extLst>
                    <a:ext uri="{FF2B5EF4-FFF2-40B4-BE49-F238E27FC236}">
                      <a16:creationId xmlns:a16="http://schemas.microsoft.com/office/drawing/2014/main" id="{BDA8C451-F245-4911-8172-A409832B8C26}"/>
                    </a:ext>
                  </a:extLst>
                </p:cNvPr>
                <p:cNvSpPr>
                  <a:spLocks noChangeAspect="1"/>
                </p:cNvSpPr>
                <p:nvPr/>
              </p:nvSpPr>
              <p:spPr>
                <a:xfrm>
                  <a:off x="11044044" y="3839801"/>
                  <a:ext cx="274320" cy="274320"/>
                </a:xfrm>
                <a:prstGeom prst="ellipse">
                  <a:avLst/>
                </a:prstGeom>
                <a:solidFill>
                  <a:schemeClr val="accent1"/>
                </a:solidFill>
                <a:ln w="952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400" err="1">
                    <a:solidFill>
                      <a:schemeClr val="bg1"/>
                    </a:solidFill>
                  </a:endParaRPr>
                </a:p>
              </p:txBody>
            </p:sp>
            <p:pic>
              <p:nvPicPr>
                <p:cNvPr id="202" name="Graphic 201">
                  <a:extLst>
                    <a:ext uri="{FF2B5EF4-FFF2-40B4-BE49-F238E27FC236}">
                      <a16:creationId xmlns:a16="http://schemas.microsoft.com/office/drawing/2014/main" id="{2EE65777-B060-4F41-BBFB-47C05DAAF254}"/>
                    </a:ext>
                  </a:extLst>
                </p:cNvPr>
                <p:cNvPicPr>
                  <a:picLocks noChangeAspect="1"/>
                </p:cNvPicPr>
                <p:nvPr/>
              </p:nvPicPr>
              <p:blipFill>
                <a:blip r:embed="rId26">
                  <a:extLst>
                    <a:ext uri="{96DAC541-7B7A-43D3-8B79-37D633B846F1}">
                      <asvg:svgBlip xmlns:asvg="http://schemas.microsoft.com/office/drawing/2016/SVG/main" r:embed="rId27"/>
                    </a:ext>
                  </a:extLst>
                </a:blip>
                <a:stretch>
                  <a:fillRect/>
                </a:stretch>
              </p:blipFill>
              <p:spPr>
                <a:xfrm>
                  <a:off x="11099215" y="3865963"/>
                  <a:ext cx="163977" cy="163977"/>
                </a:xfrm>
                <a:prstGeom prst="rect">
                  <a:avLst/>
                </a:prstGeom>
              </p:spPr>
            </p:pic>
          </p:grpSp>
          <p:pic>
            <p:nvPicPr>
              <p:cNvPr id="204" name="Graphic 203">
                <a:extLst>
                  <a:ext uri="{FF2B5EF4-FFF2-40B4-BE49-F238E27FC236}">
                    <a16:creationId xmlns:a16="http://schemas.microsoft.com/office/drawing/2014/main" id="{E3EDA4CE-EA9E-464B-AC64-F775958B478C}"/>
                  </a:ext>
                </a:extLst>
              </p:cNvPr>
              <p:cNvPicPr>
                <a:picLocks noChangeAspect="1"/>
              </p:cNvPicPr>
              <p:nvPr/>
            </p:nvPicPr>
            <p:blipFill>
              <a:blip r:embed="rId28">
                <a:extLst>
                  <a:ext uri="{96DAC541-7B7A-43D3-8B79-37D633B846F1}">
                    <asvg:svgBlip xmlns:asvg="http://schemas.microsoft.com/office/drawing/2016/SVG/main" r:embed="rId29"/>
                  </a:ext>
                </a:extLst>
              </a:blip>
              <a:stretch>
                <a:fillRect/>
              </a:stretch>
            </p:blipFill>
            <p:spPr>
              <a:xfrm>
                <a:off x="11179410" y="3799443"/>
                <a:ext cx="382596" cy="382596"/>
              </a:xfrm>
              <a:prstGeom prst="rect">
                <a:avLst/>
              </a:prstGeom>
            </p:spPr>
          </p:pic>
        </p:grpSp>
        <p:sp>
          <p:nvSpPr>
            <p:cNvPr id="224" name="Rectangle 223">
              <a:extLst>
                <a:ext uri="{FF2B5EF4-FFF2-40B4-BE49-F238E27FC236}">
                  <a16:creationId xmlns:a16="http://schemas.microsoft.com/office/drawing/2014/main" id="{7FFB5A72-5C5B-4A31-B28D-734DFBB54B62}"/>
                </a:ext>
              </a:extLst>
            </p:cNvPr>
            <p:cNvSpPr/>
            <p:nvPr/>
          </p:nvSpPr>
          <p:spPr>
            <a:xfrm>
              <a:off x="10631745" y="3787012"/>
              <a:ext cx="1188720" cy="219148"/>
            </a:xfrm>
            <a:prstGeom prst="rect">
              <a:avLst/>
            </a:prstGeom>
            <a:solidFill>
              <a:schemeClr val="accent6">
                <a:lumMod val="20000"/>
                <a:lumOff val="8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400" err="1">
                <a:solidFill>
                  <a:schemeClr val="bg1"/>
                </a:solidFill>
              </a:endParaRPr>
            </a:p>
          </p:txBody>
        </p:sp>
        <p:sp>
          <p:nvSpPr>
            <p:cNvPr id="26" name="TextBox 25">
              <a:extLst>
                <a:ext uri="{FF2B5EF4-FFF2-40B4-BE49-F238E27FC236}">
                  <a16:creationId xmlns:a16="http://schemas.microsoft.com/office/drawing/2014/main" id="{6C23FA08-EFA4-475E-859D-06B2024300E4}"/>
                </a:ext>
              </a:extLst>
            </p:cNvPr>
            <p:cNvSpPr txBox="1"/>
            <p:nvPr/>
          </p:nvSpPr>
          <p:spPr>
            <a:xfrm>
              <a:off x="899549" y="2994558"/>
              <a:ext cx="1554480" cy="219456"/>
            </a:xfrm>
            <a:prstGeom prst="rect">
              <a:avLst/>
            </a:prstGeom>
          </p:spPr>
          <p:txBody>
            <a:bodyPr vert="horz" wrap="square" lIns="0" tIns="0" rIns="0" bIns="0" rtlCol="0">
              <a:no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228600" lvl="1" indent="-230400">
                <a:lnSpc>
                  <a:spcPct val="100000"/>
                </a:lnSpc>
                <a:spcBef>
                  <a:spcPts val="0"/>
                </a:spcBef>
                <a:spcAft>
                  <a:spcPts val="300"/>
                </a:spcAft>
                <a:buSzPct val="110000"/>
                <a:buFont typeface="Wingdings" panose="05000000000000000000" pitchFamily="2" charset="2"/>
                <a:buChar char=""/>
                <a:defRPr lang="en-US" sz="1600" dirty="0"/>
              </a:lvl2pPr>
              <a:lvl3pPr marL="439200" lvl="2" indent="-208800">
                <a:lnSpc>
                  <a:spcPct val="100000"/>
                </a:lnSpc>
                <a:spcBef>
                  <a:spcPts val="0"/>
                </a:spcBef>
                <a:spcAft>
                  <a:spcPts val="300"/>
                </a:spcAft>
                <a:buSzPct val="110000"/>
                <a:buFont typeface="Arial" panose="020B0604020202020204" pitchFamily="34" charset="0"/>
                <a:buChar char="‒"/>
                <a:defRPr lang="en-US" sz="1600" dirty="0"/>
              </a:lvl3pPr>
              <a:lvl4pPr marL="604800" lvl="3" indent="-154800">
                <a:lnSpc>
                  <a:spcPct val="100000"/>
                </a:lnSpc>
                <a:spcBef>
                  <a:spcPts val="0"/>
                </a:spcBef>
                <a:spcAft>
                  <a:spcPts val="300"/>
                </a:spcAft>
                <a:buFont typeface="Arial" panose="020B0604020202020204" pitchFamily="34" charset="0"/>
                <a:buChar char="•"/>
                <a:defRPr lang="en-US" sz="1600" dirty="0"/>
              </a:lvl4pPr>
              <a:lvl5pPr marL="813600" lvl="4" indent="-147600">
                <a:lnSpc>
                  <a:spcPct val="100000"/>
                </a:lnSpc>
                <a:spcBef>
                  <a:spcPts val="0"/>
                </a:spcBef>
                <a:spcAft>
                  <a:spcPts val="300"/>
                </a:spcAft>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200"/>
                <a:t>Geothermal</a:t>
              </a:r>
            </a:p>
          </p:txBody>
        </p:sp>
        <p:grpSp>
          <p:nvGrpSpPr>
            <p:cNvPr id="73" name="CustomIcon">
              <a:extLst>
                <a:ext uri="{FF2B5EF4-FFF2-40B4-BE49-F238E27FC236}">
                  <a16:creationId xmlns:a16="http://schemas.microsoft.com/office/drawing/2014/main" id="{F75A10F6-84CC-4BD9-90EC-471BCFAAF64D}"/>
                </a:ext>
              </a:extLst>
            </p:cNvPr>
            <p:cNvGrpSpPr>
              <a:grpSpLocks noChangeAspect="1"/>
            </p:cNvGrpSpPr>
            <p:nvPr>
              <p:custDataLst>
                <p:tags r:id="rId7"/>
              </p:custDataLst>
            </p:nvPr>
          </p:nvGrpSpPr>
          <p:grpSpPr>
            <a:xfrm>
              <a:off x="564685" y="2967126"/>
              <a:ext cx="274320" cy="274320"/>
              <a:chOff x="-205105" y="-205105"/>
              <a:chExt cx="1019810" cy="1019810"/>
            </a:xfrm>
          </p:grpSpPr>
          <p:sp>
            <p:nvSpPr>
              <p:cNvPr id="70" name="Oval 69">
                <a:extLst>
                  <a:ext uri="{FF2B5EF4-FFF2-40B4-BE49-F238E27FC236}">
                    <a16:creationId xmlns:a16="http://schemas.microsoft.com/office/drawing/2014/main" id="{14A4BEE6-A354-4E00-8FF6-DA6032053548}"/>
                  </a:ext>
                </a:extLst>
              </p:cNvPr>
              <p:cNvSpPr>
                <a:spLocks noChangeAspect="1"/>
              </p:cNvSpPr>
              <p:nvPr/>
            </p:nvSpPr>
            <p:spPr>
              <a:xfrm>
                <a:off x="-205105" y="-205105"/>
                <a:ext cx="1019810" cy="1019810"/>
              </a:xfrm>
              <a:prstGeom prst="ellipse">
                <a:avLst/>
              </a:prstGeom>
              <a:solidFill>
                <a:schemeClr val="accent1"/>
              </a:solidFill>
              <a:ln w="952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400" err="1">
                  <a:solidFill>
                    <a:schemeClr val="bg1"/>
                  </a:solidFill>
                </a:endParaRPr>
              </a:p>
            </p:txBody>
          </p:sp>
          <p:pic>
            <p:nvPicPr>
              <p:cNvPr id="72" name="Graphic 71">
                <a:extLst>
                  <a:ext uri="{FF2B5EF4-FFF2-40B4-BE49-F238E27FC236}">
                    <a16:creationId xmlns:a16="http://schemas.microsoft.com/office/drawing/2014/main" id="{CB67048F-9457-41D1-9CE4-926E1117DAE3}"/>
                  </a:ext>
                </a:extLst>
              </p:cNvPr>
              <p:cNvPicPr>
                <a:picLocks noChangeAspect="1"/>
              </p:cNvPicPr>
              <p:nvPr/>
            </p:nvPicPr>
            <p:blipFill>
              <a:blip r:embed="rId30">
                <a:extLst>
                  <a:ext uri="{96DAC541-7B7A-43D3-8B79-37D633B846F1}">
                    <asvg:svgBlip xmlns:asvg="http://schemas.microsoft.com/office/drawing/2016/SVG/main" r:embed="rId31"/>
                  </a:ext>
                </a:extLst>
              </a:blip>
              <a:stretch>
                <a:fillRect/>
              </a:stretch>
            </p:blipFill>
            <p:spPr>
              <a:xfrm>
                <a:off x="0" y="0"/>
                <a:ext cx="609600" cy="609600"/>
              </a:xfrm>
              <a:prstGeom prst="rect">
                <a:avLst/>
              </a:prstGeom>
            </p:spPr>
          </p:pic>
        </p:grpSp>
        <p:sp>
          <p:nvSpPr>
            <p:cNvPr id="88" name="Rectangle 87">
              <a:extLst>
                <a:ext uri="{FF2B5EF4-FFF2-40B4-BE49-F238E27FC236}">
                  <a16:creationId xmlns:a16="http://schemas.microsoft.com/office/drawing/2014/main" id="{ACC0DE31-5F4B-4C25-8056-A4A4F4B95654}"/>
                </a:ext>
              </a:extLst>
            </p:cNvPr>
            <p:cNvSpPr/>
            <p:nvPr/>
          </p:nvSpPr>
          <p:spPr>
            <a:xfrm>
              <a:off x="2526188" y="2994626"/>
              <a:ext cx="1188720" cy="219148"/>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400" err="1">
                <a:solidFill>
                  <a:schemeClr val="bg1"/>
                </a:solidFill>
              </a:endParaRPr>
            </a:p>
          </p:txBody>
        </p:sp>
        <p:sp>
          <p:nvSpPr>
            <p:cNvPr id="101" name="Rectangle 100">
              <a:extLst>
                <a:ext uri="{FF2B5EF4-FFF2-40B4-BE49-F238E27FC236}">
                  <a16:creationId xmlns:a16="http://schemas.microsoft.com/office/drawing/2014/main" id="{E73016CA-69D2-48C8-B185-10095943FD57}"/>
                </a:ext>
              </a:extLst>
            </p:cNvPr>
            <p:cNvSpPr/>
            <p:nvPr/>
          </p:nvSpPr>
          <p:spPr>
            <a:xfrm>
              <a:off x="3861073" y="2994626"/>
              <a:ext cx="1188720" cy="219148"/>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400" err="1">
                <a:solidFill>
                  <a:schemeClr val="bg1"/>
                </a:solidFill>
              </a:endParaRPr>
            </a:p>
          </p:txBody>
        </p:sp>
        <p:sp>
          <p:nvSpPr>
            <p:cNvPr id="113" name="Rectangle 112">
              <a:extLst>
                <a:ext uri="{FF2B5EF4-FFF2-40B4-BE49-F238E27FC236}">
                  <a16:creationId xmlns:a16="http://schemas.microsoft.com/office/drawing/2014/main" id="{30CCEF07-1A83-4BE3-9D1E-F5B857004AAA}"/>
                </a:ext>
              </a:extLst>
            </p:cNvPr>
            <p:cNvSpPr/>
            <p:nvPr/>
          </p:nvSpPr>
          <p:spPr>
            <a:xfrm>
              <a:off x="5215208" y="2994626"/>
              <a:ext cx="1188720" cy="219148"/>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400" err="1">
                <a:solidFill>
                  <a:schemeClr val="bg1"/>
                </a:solidFill>
              </a:endParaRPr>
            </a:p>
          </p:txBody>
        </p:sp>
        <p:sp>
          <p:nvSpPr>
            <p:cNvPr id="153" name="Rectangle 152">
              <a:extLst>
                <a:ext uri="{FF2B5EF4-FFF2-40B4-BE49-F238E27FC236}">
                  <a16:creationId xmlns:a16="http://schemas.microsoft.com/office/drawing/2014/main" id="{82E2AF0E-10B4-4D3B-A5E8-297EBAE2B33A}"/>
                </a:ext>
              </a:extLst>
            </p:cNvPr>
            <p:cNvSpPr/>
            <p:nvPr/>
          </p:nvSpPr>
          <p:spPr>
            <a:xfrm>
              <a:off x="6569343" y="2994626"/>
              <a:ext cx="1188720" cy="219148"/>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400" err="1">
                <a:solidFill>
                  <a:schemeClr val="bg1"/>
                </a:solidFill>
              </a:endParaRPr>
            </a:p>
          </p:txBody>
        </p:sp>
        <p:sp>
          <p:nvSpPr>
            <p:cNvPr id="170" name="Rectangle 169">
              <a:extLst>
                <a:ext uri="{FF2B5EF4-FFF2-40B4-BE49-F238E27FC236}">
                  <a16:creationId xmlns:a16="http://schemas.microsoft.com/office/drawing/2014/main" id="{1DDC2A3F-60EA-47D3-AEAF-A0212FEFB25F}"/>
                </a:ext>
              </a:extLst>
            </p:cNvPr>
            <p:cNvSpPr/>
            <p:nvPr/>
          </p:nvSpPr>
          <p:spPr>
            <a:xfrm>
              <a:off x="7923478" y="2994626"/>
              <a:ext cx="1188720" cy="219148"/>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400" err="1">
                <a:solidFill>
                  <a:schemeClr val="bg1"/>
                </a:solidFill>
              </a:endParaRPr>
            </a:p>
          </p:txBody>
        </p:sp>
        <p:sp>
          <p:nvSpPr>
            <p:cNvPr id="182" name="Rectangle 181">
              <a:extLst>
                <a:ext uri="{FF2B5EF4-FFF2-40B4-BE49-F238E27FC236}">
                  <a16:creationId xmlns:a16="http://schemas.microsoft.com/office/drawing/2014/main" id="{047BFCBD-52C0-422F-8CAD-AFA5B83594C9}"/>
                </a:ext>
              </a:extLst>
            </p:cNvPr>
            <p:cNvSpPr/>
            <p:nvPr/>
          </p:nvSpPr>
          <p:spPr>
            <a:xfrm>
              <a:off x="9277613" y="2994626"/>
              <a:ext cx="1188720" cy="219148"/>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400" err="1">
                <a:solidFill>
                  <a:schemeClr val="bg1"/>
                </a:solidFill>
              </a:endParaRPr>
            </a:p>
          </p:txBody>
        </p:sp>
        <p:sp>
          <p:nvSpPr>
            <p:cNvPr id="227" name="Rectangle 226">
              <a:extLst>
                <a:ext uri="{FF2B5EF4-FFF2-40B4-BE49-F238E27FC236}">
                  <a16:creationId xmlns:a16="http://schemas.microsoft.com/office/drawing/2014/main" id="{BED99794-815B-46BA-99D1-2583FFC88D3B}"/>
                </a:ext>
              </a:extLst>
            </p:cNvPr>
            <p:cNvSpPr/>
            <p:nvPr/>
          </p:nvSpPr>
          <p:spPr>
            <a:xfrm>
              <a:off x="10631745" y="2994626"/>
              <a:ext cx="1188720" cy="219148"/>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400" err="1">
                <a:solidFill>
                  <a:schemeClr val="bg1"/>
                </a:solidFill>
              </a:endParaRPr>
            </a:p>
          </p:txBody>
        </p:sp>
        <p:grpSp>
          <p:nvGrpSpPr>
            <p:cNvPr id="54" name="CustomIcon">
              <a:extLst>
                <a:ext uri="{FF2B5EF4-FFF2-40B4-BE49-F238E27FC236}">
                  <a16:creationId xmlns:a16="http://schemas.microsoft.com/office/drawing/2014/main" id="{A43DA33F-94ED-493F-BD0E-E9A017AD5872}"/>
                </a:ext>
              </a:extLst>
            </p:cNvPr>
            <p:cNvGrpSpPr>
              <a:grpSpLocks noChangeAspect="1"/>
            </p:cNvGrpSpPr>
            <p:nvPr>
              <p:custDataLst>
                <p:tags r:id="rId8"/>
              </p:custDataLst>
            </p:nvPr>
          </p:nvGrpSpPr>
          <p:grpSpPr>
            <a:xfrm>
              <a:off x="564685" y="2570967"/>
              <a:ext cx="274320" cy="274320"/>
              <a:chOff x="-205105" y="-205105"/>
              <a:chExt cx="1019810" cy="1019810"/>
            </a:xfrm>
          </p:grpSpPr>
          <p:sp>
            <p:nvSpPr>
              <p:cNvPr id="51" name="Oval 50">
                <a:extLst>
                  <a:ext uri="{FF2B5EF4-FFF2-40B4-BE49-F238E27FC236}">
                    <a16:creationId xmlns:a16="http://schemas.microsoft.com/office/drawing/2014/main" id="{973110DC-EC63-49BB-B903-DC5D836A5575}"/>
                  </a:ext>
                </a:extLst>
              </p:cNvPr>
              <p:cNvSpPr>
                <a:spLocks noChangeAspect="1"/>
              </p:cNvSpPr>
              <p:nvPr/>
            </p:nvSpPr>
            <p:spPr>
              <a:xfrm>
                <a:off x="-205105" y="-205105"/>
                <a:ext cx="1019810" cy="1019810"/>
              </a:xfrm>
              <a:prstGeom prst="ellipse">
                <a:avLst/>
              </a:prstGeom>
              <a:solidFill>
                <a:schemeClr val="accent1"/>
              </a:solidFill>
              <a:ln w="952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400" err="1">
                  <a:solidFill>
                    <a:schemeClr val="bg1"/>
                  </a:solidFill>
                </a:endParaRPr>
              </a:p>
            </p:txBody>
          </p:sp>
          <p:pic>
            <p:nvPicPr>
              <p:cNvPr id="53" name="Graphic 52">
                <a:extLst>
                  <a:ext uri="{FF2B5EF4-FFF2-40B4-BE49-F238E27FC236}">
                    <a16:creationId xmlns:a16="http://schemas.microsoft.com/office/drawing/2014/main" id="{A6C4A37E-3E7C-4BB5-9969-2340741B879C}"/>
                  </a:ext>
                </a:extLst>
              </p:cNvPr>
              <p:cNvPicPr>
                <a:picLocks noChangeAspect="1"/>
              </p:cNvPicPr>
              <p:nvPr/>
            </p:nvPicPr>
            <p:blipFill>
              <a:blip r:embed="rId28">
                <a:extLst>
                  <a:ext uri="{96DAC541-7B7A-43D3-8B79-37D633B846F1}">
                    <asvg:svgBlip xmlns:asvg="http://schemas.microsoft.com/office/drawing/2016/SVG/main" r:embed="rId29"/>
                  </a:ext>
                </a:extLst>
              </a:blip>
              <a:stretch>
                <a:fillRect/>
              </a:stretch>
            </p:blipFill>
            <p:spPr>
              <a:xfrm>
                <a:off x="0" y="0"/>
                <a:ext cx="609600" cy="609600"/>
              </a:xfrm>
              <a:prstGeom prst="rect">
                <a:avLst/>
              </a:prstGeom>
            </p:spPr>
          </p:pic>
        </p:grpSp>
        <p:sp>
          <p:nvSpPr>
            <p:cNvPr id="66" name="TextBox 65">
              <a:extLst>
                <a:ext uri="{FF2B5EF4-FFF2-40B4-BE49-F238E27FC236}">
                  <a16:creationId xmlns:a16="http://schemas.microsoft.com/office/drawing/2014/main" id="{44A63C5D-2C75-47D7-A7FB-FD65EEC3B87F}"/>
                </a:ext>
              </a:extLst>
            </p:cNvPr>
            <p:cNvSpPr txBox="1"/>
            <p:nvPr/>
          </p:nvSpPr>
          <p:spPr>
            <a:xfrm>
              <a:off x="899549" y="2598399"/>
              <a:ext cx="1554480" cy="219456"/>
            </a:xfrm>
            <a:prstGeom prst="rect">
              <a:avLst/>
            </a:prstGeom>
          </p:spPr>
          <p:txBody>
            <a:bodyPr vert="horz" wrap="square" lIns="0" tIns="0" rIns="0" bIns="0" rtlCol="0">
              <a:no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228600" lvl="1" indent="-230400">
                <a:lnSpc>
                  <a:spcPct val="100000"/>
                </a:lnSpc>
                <a:spcBef>
                  <a:spcPts val="0"/>
                </a:spcBef>
                <a:spcAft>
                  <a:spcPts val="300"/>
                </a:spcAft>
                <a:buSzPct val="110000"/>
                <a:buFont typeface="Wingdings" panose="05000000000000000000" pitchFamily="2" charset="2"/>
                <a:buChar char=""/>
                <a:defRPr lang="en-US" sz="1600" dirty="0"/>
              </a:lvl2pPr>
              <a:lvl3pPr marL="439200" lvl="2" indent="-208800">
                <a:lnSpc>
                  <a:spcPct val="100000"/>
                </a:lnSpc>
                <a:spcBef>
                  <a:spcPts val="0"/>
                </a:spcBef>
                <a:spcAft>
                  <a:spcPts val="300"/>
                </a:spcAft>
                <a:buSzPct val="110000"/>
                <a:buFont typeface="Arial" panose="020B0604020202020204" pitchFamily="34" charset="0"/>
                <a:buChar char="‒"/>
                <a:defRPr lang="en-US" sz="1600" dirty="0"/>
              </a:lvl3pPr>
              <a:lvl4pPr marL="604800" lvl="3" indent="-154800">
                <a:lnSpc>
                  <a:spcPct val="100000"/>
                </a:lnSpc>
                <a:spcBef>
                  <a:spcPts val="0"/>
                </a:spcBef>
                <a:spcAft>
                  <a:spcPts val="300"/>
                </a:spcAft>
                <a:buFont typeface="Arial" panose="020B0604020202020204" pitchFamily="34" charset="0"/>
                <a:buChar char="•"/>
                <a:defRPr lang="en-US" sz="1600" dirty="0"/>
              </a:lvl4pPr>
              <a:lvl5pPr marL="813600" lvl="4" indent="-147600">
                <a:lnSpc>
                  <a:spcPct val="100000"/>
                </a:lnSpc>
                <a:spcBef>
                  <a:spcPts val="0"/>
                </a:spcBef>
                <a:spcAft>
                  <a:spcPts val="300"/>
                </a:spcAft>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200"/>
                <a:t>Hydropower</a:t>
              </a:r>
            </a:p>
          </p:txBody>
        </p:sp>
        <p:sp>
          <p:nvSpPr>
            <p:cNvPr id="89" name="Rectangle 88">
              <a:extLst>
                <a:ext uri="{FF2B5EF4-FFF2-40B4-BE49-F238E27FC236}">
                  <a16:creationId xmlns:a16="http://schemas.microsoft.com/office/drawing/2014/main" id="{2C154427-DDDB-4D2A-9008-318E5F661D77}"/>
                </a:ext>
              </a:extLst>
            </p:cNvPr>
            <p:cNvSpPr/>
            <p:nvPr/>
          </p:nvSpPr>
          <p:spPr>
            <a:xfrm>
              <a:off x="2526188" y="2598433"/>
              <a:ext cx="1188720" cy="219148"/>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400" err="1">
                <a:solidFill>
                  <a:schemeClr val="bg1"/>
                </a:solidFill>
              </a:endParaRPr>
            </a:p>
          </p:txBody>
        </p:sp>
        <p:sp>
          <p:nvSpPr>
            <p:cNvPr id="102" name="Rectangle 101">
              <a:extLst>
                <a:ext uri="{FF2B5EF4-FFF2-40B4-BE49-F238E27FC236}">
                  <a16:creationId xmlns:a16="http://schemas.microsoft.com/office/drawing/2014/main" id="{3EE2D7FE-1E42-48B1-886E-661BBC50ECCD}"/>
                </a:ext>
              </a:extLst>
            </p:cNvPr>
            <p:cNvSpPr/>
            <p:nvPr/>
          </p:nvSpPr>
          <p:spPr>
            <a:xfrm>
              <a:off x="3861073" y="2598433"/>
              <a:ext cx="1188720" cy="219148"/>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400" err="1">
                <a:solidFill>
                  <a:schemeClr val="bg1"/>
                </a:solidFill>
              </a:endParaRPr>
            </a:p>
          </p:txBody>
        </p:sp>
        <p:sp>
          <p:nvSpPr>
            <p:cNvPr id="114" name="Rectangle 113">
              <a:extLst>
                <a:ext uri="{FF2B5EF4-FFF2-40B4-BE49-F238E27FC236}">
                  <a16:creationId xmlns:a16="http://schemas.microsoft.com/office/drawing/2014/main" id="{027CCB8D-A263-4164-B9C9-6035AE4557EB}"/>
                </a:ext>
              </a:extLst>
            </p:cNvPr>
            <p:cNvSpPr/>
            <p:nvPr/>
          </p:nvSpPr>
          <p:spPr>
            <a:xfrm>
              <a:off x="5215208" y="2598433"/>
              <a:ext cx="1188720" cy="219148"/>
            </a:xfrm>
            <a:prstGeom prst="rect">
              <a:avLst/>
            </a:prstGeom>
            <a:solidFill>
              <a:schemeClr val="accent6">
                <a:lumMod val="20000"/>
                <a:lumOff val="8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400" err="1">
                <a:solidFill>
                  <a:schemeClr val="bg1"/>
                </a:solidFill>
              </a:endParaRPr>
            </a:p>
          </p:txBody>
        </p:sp>
        <p:sp>
          <p:nvSpPr>
            <p:cNvPr id="155" name="Rectangle 154">
              <a:extLst>
                <a:ext uri="{FF2B5EF4-FFF2-40B4-BE49-F238E27FC236}">
                  <a16:creationId xmlns:a16="http://schemas.microsoft.com/office/drawing/2014/main" id="{A98A2ED5-4923-48D4-9ECE-7BD0C1512782}"/>
                </a:ext>
              </a:extLst>
            </p:cNvPr>
            <p:cNvSpPr/>
            <p:nvPr/>
          </p:nvSpPr>
          <p:spPr>
            <a:xfrm>
              <a:off x="6569343" y="2598433"/>
              <a:ext cx="1188720" cy="219148"/>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400" err="1">
                <a:solidFill>
                  <a:schemeClr val="bg1"/>
                </a:solidFill>
              </a:endParaRPr>
            </a:p>
          </p:txBody>
        </p:sp>
        <p:sp>
          <p:nvSpPr>
            <p:cNvPr id="169" name="Rectangle 168">
              <a:extLst>
                <a:ext uri="{FF2B5EF4-FFF2-40B4-BE49-F238E27FC236}">
                  <a16:creationId xmlns:a16="http://schemas.microsoft.com/office/drawing/2014/main" id="{045EDA19-D6BD-4A4A-BF25-B639B91AB47B}"/>
                </a:ext>
              </a:extLst>
            </p:cNvPr>
            <p:cNvSpPr/>
            <p:nvPr/>
          </p:nvSpPr>
          <p:spPr>
            <a:xfrm>
              <a:off x="7923478" y="2598433"/>
              <a:ext cx="1188720" cy="219148"/>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400" err="1">
                <a:solidFill>
                  <a:schemeClr val="bg1"/>
                </a:solidFill>
              </a:endParaRPr>
            </a:p>
          </p:txBody>
        </p:sp>
        <p:sp>
          <p:nvSpPr>
            <p:cNvPr id="183" name="Rectangle 182">
              <a:extLst>
                <a:ext uri="{FF2B5EF4-FFF2-40B4-BE49-F238E27FC236}">
                  <a16:creationId xmlns:a16="http://schemas.microsoft.com/office/drawing/2014/main" id="{1B786C23-0658-4CE2-AF26-669622F29BB1}"/>
                </a:ext>
              </a:extLst>
            </p:cNvPr>
            <p:cNvSpPr/>
            <p:nvPr/>
          </p:nvSpPr>
          <p:spPr>
            <a:xfrm>
              <a:off x="9277613" y="2598433"/>
              <a:ext cx="1188720" cy="219148"/>
            </a:xfrm>
            <a:prstGeom prst="rect">
              <a:avLst/>
            </a:prstGeom>
            <a:solidFill>
              <a:schemeClr val="accent6">
                <a:lumMod val="20000"/>
                <a:lumOff val="8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400" err="1">
                <a:solidFill>
                  <a:schemeClr val="bg1"/>
                </a:solidFill>
              </a:endParaRPr>
            </a:p>
          </p:txBody>
        </p:sp>
        <p:sp>
          <p:nvSpPr>
            <p:cNvPr id="236" name="Rectangle 235">
              <a:extLst>
                <a:ext uri="{FF2B5EF4-FFF2-40B4-BE49-F238E27FC236}">
                  <a16:creationId xmlns:a16="http://schemas.microsoft.com/office/drawing/2014/main" id="{32A9D133-511E-4AFD-951F-9BEE83F84F31}"/>
                </a:ext>
              </a:extLst>
            </p:cNvPr>
            <p:cNvSpPr/>
            <p:nvPr/>
          </p:nvSpPr>
          <p:spPr>
            <a:xfrm>
              <a:off x="10631745" y="2598433"/>
              <a:ext cx="1188720" cy="219148"/>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400" err="1">
                <a:solidFill>
                  <a:schemeClr val="bg1"/>
                </a:solidFill>
              </a:endParaRPr>
            </a:p>
          </p:txBody>
        </p:sp>
        <p:sp>
          <p:nvSpPr>
            <p:cNvPr id="85" name="Rectangle 84">
              <a:extLst>
                <a:ext uri="{FF2B5EF4-FFF2-40B4-BE49-F238E27FC236}">
                  <a16:creationId xmlns:a16="http://schemas.microsoft.com/office/drawing/2014/main" id="{942CC98D-AC39-42E1-BB09-C58D1677CA0A}"/>
                </a:ext>
              </a:extLst>
            </p:cNvPr>
            <p:cNvSpPr/>
            <p:nvPr/>
          </p:nvSpPr>
          <p:spPr>
            <a:xfrm>
              <a:off x="2526188" y="4183205"/>
              <a:ext cx="1188720" cy="219148"/>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400" err="1">
                <a:solidFill>
                  <a:schemeClr val="bg1"/>
                </a:solidFill>
              </a:endParaRPr>
            </a:p>
          </p:txBody>
        </p:sp>
        <p:sp>
          <p:nvSpPr>
            <p:cNvPr id="98" name="Rectangle 97">
              <a:extLst>
                <a:ext uri="{FF2B5EF4-FFF2-40B4-BE49-F238E27FC236}">
                  <a16:creationId xmlns:a16="http://schemas.microsoft.com/office/drawing/2014/main" id="{046B5359-18C2-4484-A307-87BF1B5164CD}"/>
                </a:ext>
              </a:extLst>
            </p:cNvPr>
            <p:cNvSpPr/>
            <p:nvPr/>
          </p:nvSpPr>
          <p:spPr>
            <a:xfrm>
              <a:off x="3861073" y="4183205"/>
              <a:ext cx="1188720" cy="219148"/>
            </a:xfrm>
            <a:prstGeom prst="rect">
              <a:avLst/>
            </a:prstGeom>
            <a:solidFill>
              <a:schemeClr val="accent6">
                <a:lumMod val="20000"/>
                <a:lumOff val="8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400" err="1">
                <a:solidFill>
                  <a:schemeClr val="bg1"/>
                </a:solidFill>
              </a:endParaRPr>
            </a:p>
          </p:txBody>
        </p:sp>
        <p:sp>
          <p:nvSpPr>
            <p:cNvPr id="110" name="Rectangle 109">
              <a:extLst>
                <a:ext uri="{FF2B5EF4-FFF2-40B4-BE49-F238E27FC236}">
                  <a16:creationId xmlns:a16="http://schemas.microsoft.com/office/drawing/2014/main" id="{740A2809-A9E5-45DD-B620-0F7F083CE0CE}"/>
                </a:ext>
              </a:extLst>
            </p:cNvPr>
            <p:cNvSpPr/>
            <p:nvPr/>
          </p:nvSpPr>
          <p:spPr>
            <a:xfrm>
              <a:off x="5215208" y="4183205"/>
              <a:ext cx="1188720" cy="219148"/>
            </a:xfrm>
            <a:prstGeom prst="rect">
              <a:avLst/>
            </a:prstGeom>
            <a:solidFill>
              <a:schemeClr val="accent6">
                <a:lumMod val="20000"/>
                <a:lumOff val="8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400" err="1">
                <a:solidFill>
                  <a:schemeClr val="bg1"/>
                </a:solidFill>
              </a:endParaRPr>
            </a:p>
          </p:txBody>
        </p:sp>
        <p:sp>
          <p:nvSpPr>
            <p:cNvPr id="150" name="Rectangle 149">
              <a:extLst>
                <a:ext uri="{FF2B5EF4-FFF2-40B4-BE49-F238E27FC236}">
                  <a16:creationId xmlns:a16="http://schemas.microsoft.com/office/drawing/2014/main" id="{4A6DE08A-D4B4-4B22-8893-6C82024AD604}"/>
                </a:ext>
              </a:extLst>
            </p:cNvPr>
            <p:cNvSpPr/>
            <p:nvPr/>
          </p:nvSpPr>
          <p:spPr>
            <a:xfrm>
              <a:off x="6569343" y="4183205"/>
              <a:ext cx="1188720" cy="219148"/>
            </a:xfrm>
            <a:prstGeom prst="rect">
              <a:avLst/>
            </a:prstGeom>
            <a:solidFill>
              <a:schemeClr val="accent6">
                <a:lumMod val="20000"/>
                <a:lumOff val="8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400" err="1">
                <a:solidFill>
                  <a:schemeClr val="bg1"/>
                </a:solidFill>
              </a:endParaRPr>
            </a:p>
          </p:txBody>
        </p:sp>
        <p:sp>
          <p:nvSpPr>
            <p:cNvPr id="165" name="Rectangle 164">
              <a:extLst>
                <a:ext uri="{FF2B5EF4-FFF2-40B4-BE49-F238E27FC236}">
                  <a16:creationId xmlns:a16="http://schemas.microsoft.com/office/drawing/2014/main" id="{74F0091F-5355-47F0-87EE-E8E1F84204ED}"/>
                </a:ext>
              </a:extLst>
            </p:cNvPr>
            <p:cNvSpPr/>
            <p:nvPr/>
          </p:nvSpPr>
          <p:spPr>
            <a:xfrm>
              <a:off x="7923478" y="4183205"/>
              <a:ext cx="1188720" cy="219148"/>
            </a:xfrm>
            <a:prstGeom prst="rect">
              <a:avLst/>
            </a:prstGeom>
            <a:solidFill>
              <a:schemeClr val="accent6">
                <a:lumMod val="20000"/>
                <a:lumOff val="8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400" err="1">
                <a:solidFill>
                  <a:schemeClr val="bg1"/>
                </a:solidFill>
              </a:endParaRPr>
            </a:p>
          </p:txBody>
        </p:sp>
        <p:sp>
          <p:nvSpPr>
            <p:cNvPr id="178" name="Rectangle 177">
              <a:extLst>
                <a:ext uri="{FF2B5EF4-FFF2-40B4-BE49-F238E27FC236}">
                  <a16:creationId xmlns:a16="http://schemas.microsoft.com/office/drawing/2014/main" id="{C04170C8-2723-4494-AF8B-2446FBC7DFC1}"/>
                </a:ext>
              </a:extLst>
            </p:cNvPr>
            <p:cNvSpPr/>
            <p:nvPr/>
          </p:nvSpPr>
          <p:spPr>
            <a:xfrm>
              <a:off x="9277613" y="4183205"/>
              <a:ext cx="1188720" cy="219148"/>
            </a:xfrm>
            <a:prstGeom prst="rect">
              <a:avLst/>
            </a:prstGeom>
            <a:solidFill>
              <a:schemeClr val="accent6">
                <a:lumMod val="20000"/>
                <a:lumOff val="8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400" err="1">
                <a:solidFill>
                  <a:schemeClr val="bg1"/>
                </a:solidFill>
              </a:endParaRPr>
            </a:p>
          </p:txBody>
        </p:sp>
        <p:sp>
          <p:nvSpPr>
            <p:cNvPr id="216" name="Rectangle 215">
              <a:extLst>
                <a:ext uri="{FF2B5EF4-FFF2-40B4-BE49-F238E27FC236}">
                  <a16:creationId xmlns:a16="http://schemas.microsoft.com/office/drawing/2014/main" id="{AEA83468-8DBB-4BBF-9A60-DB8462B1B659}"/>
                </a:ext>
              </a:extLst>
            </p:cNvPr>
            <p:cNvSpPr/>
            <p:nvPr/>
          </p:nvSpPr>
          <p:spPr>
            <a:xfrm>
              <a:off x="10631745" y="4183205"/>
              <a:ext cx="1188720" cy="219148"/>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400" err="1">
                <a:solidFill>
                  <a:schemeClr val="bg1"/>
                </a:solidFill>
              </a:endParaRPr>
            </a:p>
          </p:txBody>
        </p:sp>
        <p:sp>
          <p:nvSpPr>
            <p:cNvPr id="19" name="TextBox 18">
              <a:extLst>
                <a:ext uri="{FF2B5EF4-FFF2-40B4-BE49-F238E27FC236}">
                  <a16:creationId xmlns:a16="http://schemas.microsoft.com/office/drawing/2014/main" id="{FE969AF3-B5CE-4CC4-96CC-C1EDE217595F}"/>
                </a:ext>
              </a:extLst>
            </p:cNvPr>
            <p:cNvSpPr txBox="1"/>
            <p:nvPr/>
          </p:nvSpPr>
          <p:spPr>
            <a:xfrm>
              <a:off x="899548" y="4183035"/>
              <a:ext cx="1554480" cy="219456"/>
            </a:xfrm>
            <a:prstGeom prst="rect">
              <a:avLst/>
            </a:prstGeom>
          </p:spPr>
          <p:txBody>
            <a:bodyPr vert="horz" wrap="square" lIns="0" tIns="0" rIns="0" bIns="0" rtlCol="0">
              <a:no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228600" lvl="1" indent="-230400">
                <a:lnSpc>
                  <a:spcPct val="100000"/>
                </a:lnSpc>
                <a:spcBef>
                  <a:spcPts val="0"/>
                </a:spcBef>
                <a:spcAft>
                  <a:spcPts val="300"/>
                </a:spcAft>
                <a:buSzPct val="110000"/>
                <a:buFont typeface="Wingdings" panose="05000000000000000000" pitchFamily="2" charset="2"/>
                <a:buChar char=""/>
                <a:defRPr lang="en-US" sz="1600" dirty="0"/>
              </a:lvl2pPr>
              <a:lvl3pPr marL="439200" lvl="2" indent="-208800">
                <a:lnSpc>
                  <a:spcPct val="100000"/>
                </a:lnSpc>
                <a:spcBef>
                  <a:spcPts val="0"/>
                </a:spcBef>
                <a:spcAft>
                  <a:spcPts val="300"/>
                </a:spcAft>
                <a:buSzPct val="110000"/>
                <a:buFont typeface="Arial" panose="020B0604020202020204" pitchFamily="34" charset="0"/>
                <a:buChar char="‒"/>
                <a:defRPr lang="en-US" sz="1600" dirty="0"/>
              </a:lvl3pPr>
              <a:lvl4pPr marL="604800" lvl="3" indent="-154800">
                <a:lnSpc>
                  <a:spcPct val="100000"/>
                </a:lnSpc>
                <a:spcBef>
                  <a:spcPts val="0"/>
                </a:spcBef>
                <a:spcAft>
                  <a:spcPts val="300"/>
                </a:spcAft>
                <a:buFont typeface="Arial" panose="020B0604020202020204" pitchFamily="34" charset="0"/>
                <a:buChar char="•"/>
                <a:defRPr lang="en-US" sz="1600" dirty="0"/>
              </a:lvl4pPr>
              <a:lvl5pPr marL="813600" lvl="4" indent="-147600">
                <a:lnSpc>
                  <a:spcPct val="100000"/>
                </a:lnSpc>
                <a:spcBef>
                  <a:spcPts val="0"/>
                </a:spcBef>
                <a:spcAft>
                  <a:spcPts val="300"/>
                </a:spcAft>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a:t>Renewables: onshore</a:t>
              </a:r>
            </a:p>
          </p:txBody>
        </p:sp>
        <p:grpSp>
          <p:nvGrpSpPr>
            <p:cNvPr id="71" name="Group 70">
              <a:extLst>
                <a:ext uri="{FF2B5EF4-FFF2-40B4-BE49-F238E27FC236}">
                  <a16:creationId xmlns:a16="http://schemas.microsoft.com/office/drawing/2014/main" id="{D57F47DD-F134-49DD-8694-C1C3A826F821}"/>
                </a:ext>
              </a:extLst>
            </p:cNvPr>
            <p:cNvGrpSpPr/>
            <p:nvPr/>
          </p:nvGrpSpPr>
          <p:grpSpPr>
            <a:xfrm>
              <a:off x="585066" y="4155603"/>
              <a:ext cx="274320" cy="274320"/>
              <a:chOff x="1003300" y="2527300"/>
              <a:chExt cx="1019810" cy="1019810"/>
            </a:xfrm>
          </p:grpSpPr>
          <p:grpSp>
            <p:nvGrpSpPr>
              <p:cNvPr id="69" name="CustomIcon">
                <a:extLst>
                  <a:ext uri="{FF2B5EF4-FFF2-40B4-BE49-F238E27FC236}">
                    <a16:creationId xmlns:a16="http://schemas.microsoft.com/office/drawing/2014/main" id="{E6BC41B8-5194-4DCA-A1F7-EBA815F9A1C1}"/>
                  </a:ext>
                </a:extLst>
              </p:cNvPr>
              <p:cNvGrpSpPr>
                <a:grpSpLocks noChangeAspect="1"/>
              </p:cNvGrpSpPr>
              <p:nvPr>
                <p:custDataLst>
                  <p:tags r:id="rId12"/>
                </p:custDataLst>
              </p:nvPr>
            </p:nvGrpSpPr>
            <p:grpSpPr>
              <a:xfrm>
                <a:off x="1003300" y="2527300"/>
                <a:ext cx="1019810" cy="1019810"/>
                <a:chOff x="-205105" y="-205105"/>
                <a:chExt cx="1019810" cy="1019810"/>
              </a:xfrm>
            </p:grpSpPr>
            <p:sp>
              <p:nvSpPr>
                <p:cNvPr id="58" name="Oval 57">
                  <a:extLst>
                    <a:ext uri="{FF2B5EF4-FFF2-40B4-BE49-F238E27FC236}">
                      <a16:creationId xmlns:a16="http://schemas.microsoft.com/office/drawing/2014/main" id="{C24987B8-78D3-4B95-A022-4A1BC3870B9F}"/>
                    </a:ext>
                  </a:extLst>
                </p:cNvPr>
                <p:cNvSpPr>
                  <a:spLocks noChangeAspect="1"/>
                </p:cNvSpPr>
                <p:nvPr/>
              </p:nvSpPr>
              <p:spPr>
                <a:xfrm>
                  <a:off x="-205105" y="-205105"/>
                  <a:ext cx="1019810" cy="1019810"/>
                </a:xfrm>
                <a:prstGeom prst="ellipse">
                  <a:avLst/>
                </a:prstGeom>
                <a:solidFill>
                  <a:schemeClr val="accent1"/>
                </a:solidFill>
                <a:ln w="6350"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pic>
              <p:nvPicPr>
                <p:cNvPr id="68" name="Graphic 67">
                  <a:extLst>
                    <a:ext uri="{FF2B5EF4-FFF2-40B4-BE49-F238E27FC236}">
                      <a16:creationId xmlns:a16="http://schemas.microsoft.com/office/drawing/2014/main" id="{6BC901AE-1DF3-4019-B4FC-4518F71EC7CF}"/>
                    </a:ext>
                  </a:extLst>
                </p:cNvPr>
                <p:cNvPicPr>
                  <a:picLocks noChangeAspect="1"/>
                </p:cNvPicPr>
                <p:nvPr/>
              </p:nvPicPr>
              <p:blipFill>
                <a:blip r:embed="rId32">
                  <a:extLst>
                    <a:ext uri="{96DAC541-7B7A-43D3-8B79-37D633B846F1}">
                      <asvg:svgBlip xmlns:asvg="http://schemas.microsoft.com/office/drawing/2016/SVG/main" r:embed="rId33"/>
                    </a:ext>
                  </a:extLst>
                </a:blip>
                <a:stretch>
                  <a:fillRect/>
                </a:stretch>
              </p:blipFill>
              <p:spPr>
                <a:xfrm>
                  <a:off x="-88251" y="132080"/>
                  <a:ext cx="477520" cy="477520"/>
                </a:xfrm>
                <a:prstGeom prst="rect">
                  <a:avLst/>
                </a:prstGeom>
              </p:spPr>
            </p:pic>
          </p:grpSp>
          <p:pic>
            <p:nvPicPr>
              <p:cNvPr id="241" name="Graphic 240">
                <a:extLst>
                  <a:ext uri="{FF2B5EF4-FFF2-40B4-BE49-F238E27FC236}">
                    <a16:creationId xmlns:a16="http://schemas.microsoft.com/office/drawing/2014/main" id="{298F9A54-81C6-4E37-A999-FEE9DDD4CCED}"/>
                  </a:ext>
                </a:extLst>
              </p:cNvPr>
              <p:cNvPicPr>
                <a:picLocks noChangeAspect="1"/>
              </p:cNvPicPr>
              <p:nvPr/>
            </p:nvPicPr>
            <p:blipFill>
              <a:blip r:embed="rId34">
                <a:extLst>
                  <a:ext uri="{96DAC541-7B7A-43D3-8B79-37D633B846F1}">
                    <asvg:svgBlip xmlns:asvg="http://schemas.microsoft.com/office/drawing/2016/SVG/main" r:embed="rId35"/>
                  </a:ext>
                </a:extLst>
              </a:blip>
              <a:stretch>
                <a:fillRect/>
              </a:stretch>
            </p:blipFill>
            <p:spPr>
              <a:xfrm>
                <a:off x="1432646" y="2662005"/>
                <a:ext cx="531769" cy="531769"/>
              </a:xfrm>
              <a:prstGeom prst="rect">
                <a:avLst/>
              </a:prstGeom>
            </p:spPr>
          </p:pic>
        </p:grpSp>
        <p:sp>
          <p:nvSpPr>
            <p:cNvPr id="242" name="Rectangle 241">
              <a:extLst>
                <a:ext uri="{FF2B5EF4-FFF2-40B4-BE49-F238E27FC236}">
                  <a16:creationId xmlns:a16="http://schemas.microsoft.com/office/drawing/2014/main" id="{BBFCC6B7-F8D2-4341-988D-18FD86660E70}"/>
                </a:ext>
              </a:extLst>
            </p:cNvPr>
            <p:cNvSpPr/>
            <p:nvPr/>
          </p:nvSpPr>
          <p:spPr>
            <a:xfrm rot="16200000">
              <a:off x="-1579247" y="3950475"/>
              <a:ext cx="3911954" cy="274320"/>
            </a:xfrm>
            <a:prstGeom prst="rect">
              <a:avLst/>
            </a:prstGeom>
            <a:solidFill>
              <a:schemeClr val="accent5">
                <a:lumMod val="75000"/>
                <a:lumOff val="2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200" b="1">
                  <a:solidFill>
                    <a:schemeClr val="bg1"/>
                  </a:solidFill>
                </a:rPr>
                <a:t>Power source</a:t>
              </a:r>
            </a:p>
          </p:txBody>
        </p:sp>
        <p:sp>
          <p:nvSpPr>
            <p:cNvPr id="156" name="Rectangle 155">
              <a:extLst>
                <a:ext uri="{FF2B5EF4-FFF2-40B4-BE49-F238E27FC236}">
                  <a16:creationId xmlns:a16="http://schemas.microsoft.com/office/drawing/2014/main" id="{DF71D252-38DE-4F7D-A737-C61F73F962A4}"/>
                </a:ext>
              </a:extLst>
            </p:cNvPr>
            <p:cNvSpPr/>
            <p:nvPr/>
          </p:nvSpPr>
          <p:spPr>
            <a:xfrm>
              <a:off x="6569343" y="1370302"/>
              <a:ext cx="1188720" cy="573231"/>
            </a:xfrm>
            <a:prstGeom prst="rect">
              <a:avLst/>
            </a:prstGeom>
            <a:solidFill>
              <a:schemeClr val="accent5">
                <a:lumMod val="75000"/>
                <a:lumOff val="2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200" b="1">
                  <a:solidFill>
                    <a:schemeClr val="bg1"/>
                  </a:solidFill>
                </a:rPr>
                <a:t>Low transmission buildout?</a:t>
              </a:r>
            </a:p>
          </p:txBody>
        </p:sp>
        <p:sp>
          <p:nvSpPr>
            <p:cNvPr id="157" name="Rectangle 156">
              <a:extLst>
                <a:ext uri="{FF2B5EF4-FFF2-40B4-BE49-F238E27FC236}">
                  <a16:creationId xmlns:a16="http://schemas.microsoft.com/office/drawing/2014/main" id="{6263E8DC-9669-4B00-A0D3-FCE7CD05B546}"/>
                </a:ext>
              </a:extLst>
            </p:cNvPr>
            <p:cNvSpPr/>
            <p:nvPr/>
          </p:nvSpPr>
          <p:spPr>
            <a:xfrm>
              <a:off x="7923478" y="1370302"/>
              <a:ext cx="1188720" cy="573231"/>
            </a:xfrm>
            <a:prstGeom prst="rect">
              <a:avLst/>
            </a:prstGeom>
            <a:solidFill>
              <a:schemeClr val="accent5">
                <a:lumMod val="75000"/>
                <a:lumOff val="2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spcBef>
                  <a:spcPts val="300"/>
                </a:spcBef>
                <a:spcAft>
                  <a:spcPts val="300"/>
                </a:spcAft>
              </a:pPr>
              <a:r>
                <a:rPr lang="en-US" sz="1200" b="1">
                  <a:solidFill>
                    <a:schemeClr val="bg1"/>
                  </a:solidFill>
                </a:rPr>
                <a:t>Concentrated local economic benefits?</a:t>
              </a:r>
            </a:p>
          </p:txBody>
        </p:sp>
        <p:sp>
          <p:nvSpPr>
            <p:cNvPr id="158" name="Rectangle 157">
              <a:extLst>
                <a:ext uri="{FF2B5EF4-FFF2-40B4-BE49-F238E27FC236}">
                  <a16:creationId xmlns:a16="http://schemas.microsoft.com/office/drawing/2014/main" id="{0BFB763C-74D5-470F-BA60-77E1B33FF185}"/>
                </a:ext>
              </a:extLst>
            </p:cNvPr>
            <p:cNvSpPr/>
            <p:nvPr/>
          </p:nvSpPr>
          <p:spPr>
            <a:xfrm>
              <a:off x="9277613" y="1370302"/>
              <a:ext cx="1188720" cy="573231"/>
            </a:xfrm>
            <a:prstGeom prst="rect">
              <a:avLst/>
            </a:prstGeom>
            <a:solidFill>
              <a:schemeClr val="accent5">
                <a:lumMod val="75000"/>
                <a:lumOff val="2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spcBef>
                  <a:spcPts val="300"/>
                </a:spcBef>
                <a:spcAft>
                  <a:spcPts val="300"/>
                </a:spcAft>
              </a:pPr>
              <a:r>
                <a:rPr lang="en-US" sz="1200" b="1">
                  <a:solidFill>
                    <a:schemeClr val="bg1"/>
                  </a:solidFill>
                </a:rPr>
                <a:t>Additional applications?</a:t>
              </a:r>
              <a:r>
                <a:rPr lang="en-US" sz="1200" b="1" baseline="30000">
                  <a:solidFill>
                    <a:schemeClr val="bg1"/>
                  </a:solidFill>
                </a:rPr>
                <a:t>1</a:t>
              </a:r>
              <a:r>
                <a:rPr lang="en-US" sz="1200" b="1">
                  <a:solidFill>
                    <a:schemeClr val="bg1"/>
                  </a:solidFill>
                </a:rPr>
                <a:t> </a:t>
              </a:r>
            </a:p>
          </p:txBody>
        </p:sp>
        <p:sp>
          <p:nvSpPr>
            <p:cNvPr id="162" name="Rectangle 161">
              <a:extLst>
                <a:ext uri="{FF2B5EF4-FFF2-40B4-BE49-F238E27FC236}">
                  <a16:creationId xmlns:a16="http://schemas.microsoft.com/office/drawing/2014/main" id="{70C950CF-9F93-48EC-A3CB-7513AB97E566}"/>
                </a:ext>
              </a:extLst>
            </p:cNvPr>
            <p:cNvSpPr/>
            <p:nvPr/>
          </p:nvSpPr>
          <p:spPr>
            <a:xfrm>
              <a:off x="10631745" y="1370302"/>
              <a:ext cx="1188720" cy="573231"/>
            </a:xfrm>
            <a:prstGeom prst="rect">
              <a:avLst/>
            </a:prstGeom>
            <a:solidFill>
              <a:schemeClr val="accent5">
                <a:lumMod val="75000"/>
                <a:lumOff val="2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200" b="1">
                  <a:solidFill>
                    <a:schemeClr val="bg1"/>
                  </a:solidFill>
                </a:rPr>
                <a:t>Cost competitive today?</a:t>
              </a:r>
            </a:p>
          </p:txBody>
        </p:sp>
        <p:sp>
          <p:nvSpPr>
            <p:cNvPr id="168" name="4. Footnote">
              <a:extLst>
                <a:ext uri="{FF2B5EF4-FFF2-40B4-BE49-F238E27FC236}">
                  <a16:creationId xmlns:a16="http://schemas.microsoft.com/office/drawing/2014/main" id="{47EAEDC5-23D3-4633-A7F4-A0082E014A5F}"/>
                </a:ext>
              </a:extLst>
            </p:cNvPr>
            <p:cNvSpPr txBox="1"/>
            <p:nvPr>
              <p:custDataLst>
                <p:tags r:id="rId9"/>
              </p:custDataLst>
            </p:nvPr>
          </p:nvSpPr>
          <p:spPr>
            <a:xfrm>
              <a:off x="167114" y="6129408"/>
              <a:ext cx="11412246" cy="338554"/>
            </a:xfrm>
            <a:prstGeom prst="rect">
              <a:avLst/>
            </a:prstGeom>
            <a:noFill/>
          </p:spPr>
          <p:txBody>
            <a:bodyPr wrap="square" lIns="0" tIns="0" rIns="0" bIns="0" rtlCol="0" anchor="b">
              <a:spAutoFit/>
            </a:bodyPr>
            <a:lstStyle/>
            <a:p>
              <a:pPr marL="219075" marR="0" lvl="0" indent="-228600" algn="l" defTabSz="914400" rtl="0" eaLnBrk="1" fontAlgn="auto" latinLnBrk="0" hangingPunct="1">
                <a:lnSpc>
                  <a:spcPct val="100000"/>
                </a:lnSpc>
                <a:spcBef>
                  <a:spcPts val="0"/>
                </a:spcBef>
                <a:spcAft>
                  <a:spcPts val="0"/>
                </a:spcAft>
                <a:buClrTx/>
                <a:buSzTx/>
                <a:buFontTx/>
                <a:buAutoNum type="arabicPeriod"/>
                <a:tabLst/>
                <a:defRPr/>
              </a:pPr>
              <a:r>
                <a:rPr lang="en-US" sz="1100" kern="1200">
                  <a:latin typeface="+mn-lt"/>
                  <a:ea typeface="+mn-ea"/>
                  <a:cs typeface="Arial" panose="020B0604020202020204" pitchFamily="34" charset="0"/>
                </a:rPr>
                <a:t>Additional applications include clean hydrogen generation, industrial process heat, desalination of water, district heating, off-grid power, and craft propulsion and power</a:t>
              </a:r>
            </a:p>
            <a:p>
              <a:pPr marL="219075" marR="0" lvl="0" indent="-228600" algn="l" defTabSz="914400" rtl="0" eaLnBrk="1" fontAlgn="auto" latinLnBrk="0" hangingPunct="1">
                <a:lnSpc>
                  <a:spcPct val="100000"/>
                </a:lnSpc>
                <a:spcBef>
                  <a:spcPts val="0"/>
                </a:spcBef>
                <a:spcAft>
                  <a:spcPts val="0"/>
                </a:spcAft>
                <a:buClrTx/>
                <a:buSzTx/>
                <a:buFontTx/>
                <a:buAutoNum type="arabicPeriod"/>
                <a:tabLst/>
                <a:defRPr/>
              </a:pPr>
              <a:r>
                <a:rPr lang="en-US" sz="1100" kern="1200">
                  <a:latin typeface="+mn-lt"/>
                  <a:ea typeface="+mn-ea"/>
                  <a:cs typeface="Arial" panose="020B0604020202020204" pitchFamily="34" charset="0"/>
                </a:rPr>
                <a:t>Renewables + storage includes renewables coupled with long duration energy storage or renewables coupled with hydrogen storage</a:t>
              </a:r>
            </a:p>
          </p:txBody>
        </p:sp>
        <p:grpSp>
          <p:nvGrpSpPr>
            <p:cNvPr id="12" name="CustomIcon">
              <a:extLst>
                <a:ext uri="{FF2B5EF4-FFF2-40B4-BE49-F238E27FC236}">
                  <a16:creationId xmlns:a16="http://schemas.microsoft.com/office/drawing/2014/main" id="{4BAD6061-C1E9-D8B7-16DF-21AEA77C2708}"/>
                </a:ext>
              </a:extLst>
            </p:cNvPr>
            <p:cNvGrpSpPr>
              <a:grpSpLocks noChangeAspect="1"/>
            </p:cNvGrpSpPr>
            <p:nvPr>
              <p:custDataLst>
                <p:tags r:id="rId10"/>
              </p:custDataLst>
            </p:nvPr>
          </p:nvGrpSpPr>
          <p:grpSpPr>
            <a:xfrm>
              <a:off x="564684" y="5344080"/>
              <a:ext cx="274320" cy="274320"/>
              <a:chOff x="-205105" y="-205105"/>
              <a:chExt cx="1019810" cy="1019810"/>
            </a:xfrm>
          </p:grpSpPr>
          <p:sp>
            <p:nvSpPr>
              <p:cNvPr id="22" name="Oval 21">
                <a:extLst>
                  <a:ext uri="{FF2B5EF4-FFF2-40B4-BE49-F238E27FC236}">
                    <a16:creationId xmlns:a16="http://schemas.microsoft.com/office/drawing/2014/main" id="{2E64BDB3-AA90-1E2A-9B97-D458B2F82C03}"/>
                  </a:ext>
                </a:extLst>
              </p:cNvPr>
              <p:cNvSpPr>
                <a:spLocks noChangeAspect="1"/>
              </p:cNvSpPr>
              <p:nvPr/>
            </p:nvSpPr>
            <p:spPr>
              <a:xfrm>
                <a:off x="-205105" y="-205105"/>
                <a:ext cx="1019810" cy="1019810"/>
              </a:xfrm>
              <a:prstGeom prst="ellipse">
                <a:avLst/>
              </a:prstGeom>
              <a:solidFill>
                <a:schemeClr val="accent1"/>
              </a:solidFill>
              <a:ln w="952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400" err="1">
                  <a:solidFill>
                    <a:schemeClr val="bg1"/>
                  </a:solidFill>
                </a:endParaRPr>
              </a:p>
            </p:txBody>
          </p:sp>
          <p:pic>
            <p:nvPicPr>
              <p:cNvPr id="23" name="Graphic 22">
                <a:extLst>
                  <a:ext uri="{FF2B5EF4-FFF2-40B4-BE49-F238E27FC236}">
                    <a16:creationId xmlns:a16="http://schemas.microsoft.com/office/drawing/2014/main" id="{13B9DB53-CB05-9E87-A296-874D07E68A8C}"/>
                  </a:ext>
                </a:extLst>
              </p:cNvPr>
              <p:cNvPicPr>
                <a:picLocks noChangeAspect="1"/>
              </p:cNvPicPr>
              <p:nvPr/>
            </p:nvPicPr>
            <p:blipFill>
              <a:blip r:embed="rId36">
                <a:extLst>
                  <a:ext uri="{96DAC541-7B7A-43D3-8B79-37D633B846F1}">
                    <asvg:svgBlip xmlns:asvg="http://schemas.microsoft.com/office/drawing/2016/SVG/main" r:embed="rId37"/>
                  </a:ext>
                </a:extLst>
              </a:blip>
              <a:stretch>
                <a:fillRect/>
              </a:stretch>
            </p:blipFill>
            <p:spPr>
              <a:xfrm>
                <a:off x="0" y="0"/>
                <a:ext cx="609600" cy="609600"/>
              </a:xfrm>
              <a:prstGeom prst="rect">
                <a:avLst/>
              </a:prstGeom>
            </p:spPr>
          </p:pic>
        </p:grpSp>
        <p:grpSp>
          <p:nvGrpSpPr>
            <p:cNvPr id="24" name="CustomIcon">
              <a:extLst>
                <a:ext uri="{FF2B5EF4-FFF2-40B4-BE49-F238E27FC236}">
                  <a16:creationId xmlns:a16="http://schemas.microsoft.com/office/drawing/2014/main" id="{7E5842A1-DF6E-26DC-9065-4E4F1069FCDF}"/>
                </a:ext>
              </a:extLst>
            </p:cNvPr>
            <p:cNvGrpSpPr>
              <a:grpSpLocks noChangeAspect="1"/>
            </p:cNvGrpSpPr>
            <p:nvPr>
              <p:custDataLst>
                <p:tags r:id="rId11"/>
              </p:custDataLst>
            </p:nvPr>
          </p:nvGrpSpPr>
          <p:grpSpPr>
            <a:xfrm>
              <a:off x="564685" y="5740236"/>
              <a:ext cx="274320" cy="274320"/>
              <a:chOff x="-205105" y="-205105"/>
              <a:chExt cx="1019810" cy="1019810"/>
            </a:xfrm>
          </p:grpSpPr>
          <p:sp>
            <p:nvSpPr>
              <p:cNvPr id="25" name="Oval 24">
                <a:extLst>
                  <a:ext uri="{FF2B5EF4-FFF2-40B4-BE49-F238E27FC236}">
                    <a16:creationId xmlns:a16="http://schemas.microsoft.com/office/drawing/2014/main" id="{60B23455-3B96-7E21-E67B-DBCAAB7A4532}"/>
                  </a:ext>
                </a:extLst>
              </p:cNvPr>
              <p:cNvSpPr>
                <a:spLocks noChangeAspect="1"/>
              </p:cNvSpPr>
              <p:nvPr/>
            </p:nvSpPr>
            <p:spPr>
              <a:xfrm>
                <a:off x="-205105" y="-205105"/>
                <a:ext cx="1019810" cy="1019810"/>
              </a:xfrm>
              <a:prstGeom prst="ellipse">
                <a:avLst/>
              </a:prstGeom>
              <a:solidFill>
                <a:schemeClr val="accent1"/>
              </a:solidFill>
              <a:ln w="952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400" err="1">
                  <a:solidFill>
                    <a:schemeClr val="bg1"/>
                  </a:solidFill>
                </a:endParaRPr>
              </a:p>
            </p:txBody>
          </p:sp>
          <p:pic>
            <p:nvPicPr>
              <p:cNvPr id="28" name="Graphic 27">
                <a:extLst>
                  <a:ext uri="{FF2B5EF4-FFF2-40B4-BE49-F238E27FC236}">
                    <a16:creationId xmlns:a16="http://schemas.microsoft.com/office/drawing/2014/main" id="{BE2BD019-C8E7-17C0-75AD-9DCE79A7A625}"/>
                  </a:ext>
                </a:extLst>
              </p:cNvPr>
              <p:cNvPicPr>
                <a:picLocks noChangeAspect="1"/>
              </p:cNvPicPr>
              <p:nvPr/>
            </p:nvPicPr>
            <p:blipFill>
              <a:blip r:embed="rId20">
                <a:extLst>
                  <a:ext uri="{96DAC541-7B7A-43D3-8B79-37D633B846F1}">
                    <asvg:svgBlip xmlns:asvg="http://schemas.microsoft.com/office/drawing/2016/SVG/main" r:embed="rId21"/>
                  </a:ext>
                </a:extLst>
              </a:blip>
              <a:stretch>
                <a:fillRect/>
              </a:stretch>
            </p:blipFill>
            <p:spPr>
              <a:xfrm>
                <a:off x="0" y="0"/>
                <a:ext cx="609600" cy="609600"/>
              </a:xfrm>
              <a:prstGeom prst="rect">
                <a:avLst/>
              </a:prstGeom>
            </p:spPr>
          </p:pic>
        </p:grpSp>
      </p:grpSp>
    </p:spTree>
    <p:extLst>
      <p:ext uri="{BB962C8B-B14F-4D97-AF65-F5344CB8AC3E}">
        <p14:creationId xmlns:p14="http://schemas.microsoft.com/office/powerpoint/2010/main" val="474131091"/>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7CD58E-BFF0-31D7-7AF0-B06E8CFA7E4E}"/>
              </a:ext>
            </a:extLst>
          </p:cNvPr>
          <p:cNvSpPr>
            <a:spLocks noGrp="1"/>
          </p:cNvSpPr>
          <p:nvPr>
            <p:ph type="title"/>
          </p:nvPr>
        </p:nvSpPr>
        <p:spPr/>
        <p:txBody>
          <a:bodyPr/>
          <a:lstStyle/>
          <a:p>
            <a:r>
              <a:rPr lang="en-US"/>
              <a:t>Follow on topics and next steps for the Workforce Subcommittee</a:t>
            </a:r>
          </a:p>
        </p:txBody>
      </p:sp>
      <p:sp>
        <p:nvSpPr>
          <p:cNvPr id="4" name="Slide Number Placeholder 3">
            <a:extLst>
              <a:ext uri="{FF2B5EF4-FFF2-40B4-BE49-F238E27FC236}">
                <a16:creationId xmlns:a16="http://schemas.microsoft.com/office/drawing/2014/main" id="{AD91375A-CA17-BC66-AADD-7CE7A8289C1F}"/>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7926BA8-E0F8-42A8-A83C-EBAA1A1E8FCD}" type="slidenum">
              <a:rPr kumimoji="0" lang="en-US" sz="900" b="0" i="0" u="none" strike="noStrike" kern="1200" cap="none" spc="0" normalizeH="0" baseline="0" noProof="0" smtClean="0">
                <a:ln>
                  <a:noFill/>
                </a:ln>
                <a:solidFill>
                  <a:srgbClr val="214877">
                    <a:tint val="75000"/>
                  </a:srgbClr>
                </a:solidFill>
                <a:effectLst/>
                <a:uLnTx/>
                <a:uFillTx/>
                <a:latin typeface="Franklin Gothic Boo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0</a:t>
            </a:fld>
            <a:endParaRPr kumimoji="0" lang="en-US" sz="900" b="0" i="0" u="none" strike="noStrike" kern="1200" cap="none" spc="0" normalizeH="0" baseline="0" noProof="0">
              <a:ln>
                <a:noFill/>
              </a:ln>
              <a:solidFill>
                <a:srgbClr val="214877">
                  <a:tint val="75000"/>
                </a:srgbClr>
              </a:solidFill>
              <a:effectLst/>
              <a:uLnTx/>
              <a:uFillTx/>
              <a:latin typeface="Franklin Gothic Book"/>
              <a:ea typeface="+mn-ea"/>
              <a:cs typeface="+mn-cs"/>
            </a:endParaRPr>
          </a:p>
        </p:txBody>
      </p:sp>
      <p:sp>
        <p:nvSpPr>
          <p:cNvPr id="5" name="Content Placeholder 2">
            <a:extLst>
              <a:ext uri="{FF2B5EF4-FFF2-40B4-BE49-F238E27FC236}">
                <a16:creationId xmlns:a16="http://schemas.microsoft.com/office/drawing/2014/main" id="{03EED860-0112-BB03-4BFE-5420FF00BA0B}"/>
              </a:ext>
            </a:extLst>
          </p:cNvPr>
          <p:cNvSpPr>
            <a:spLocks noGrp="1"/>
          </p:cNvSpPr>
          <p:nvPr>
            <p:ph idx="1"/>
          </p:nvPr>
        </p:nvSpPr>
        <p:spPr>
          <a:xfrm>
            <a:off x="838200" y="1592865"/>
            <a:ext cx="10515600" cy="4616743"/>
          </a:xfrm>
        </p:spPr>
        <p:txBody>
          <a:bodyPr/>
          <a:lstStyle/>
          <a:p>
            <a:r>
              <a:rPr lang="en-US" sz="2000"/>
              <a:t>Work alongside the </a:t>
            </a:r>
            <a:r>
              <a:rPr lang="en-US" sz="2000" b="1"/>
              <a:t>infrastructure subcommittee </a:t>
            </a:r>
            <a:r>
              <a:rPr lang="en-US" sz="2000"/>
              <a:t>to identify what existing and desirable infrastructure would best support the future nuclear workforce</a:t>
            </a:r>
          </a:p>
          <a:p>
            <a:r>
              <a:rPr lang="en-US" sz="2000"/>
              <a:t>Coordinate with the </a:t>
            </a:r>
            <a:r>
              <a:rPr lang="en-US" sz="2000" b="1"/>
              <a:t>international subcommittee</a:t>
            </a:r>
            <a:r>
              <a:rPr lang="en-US" sz="2000"/>
              <a:t> to assess how other countries succeed at training a nuclear workforce and what aspects are worth emulating</a:t>
            </a:r>
          </a:p>
          <a:p>
            <a:r>
              <a:rPr lang="en-US" sz="2000"/>
              <a:t>Interface with other units in DOE and elsewhere on training international leaders and decision-makers</a:t>
            </a:r>
          </a:p>
          <a:p>
            <a:r>
              <a:rPr lang="en-US" sz="2000"/>
              <a:t>Develop specific suggestions on how to expand the language and definition of appropriations to help broaden future workforce funding targets</a:t>
            </a:r>
          </a:p>
          <a:p>
            <a:r>
              <a:rPr lang="en-US" sz="2000"/>
              <a:t>Learn more about topics such as:</a:t>
            </a:r>
          </a:p>
          <a:p>
            <a:pPr lvl="1"/>
            <a:r>
              <a:rPr lang="en-US" sz="2000"/>
              <a:t>The role of tribal colleges in contributing to the future workforce;</a:t>
            </a:r>
          </a:p>
          <a:p>
            <a:pPr lvl="1"/>
            <a:r>
              <a:rPr lang="en-US" sz="2000"/>
              <a:t>Unconventional workforce challenges (temporary, transient, surge workforce), potentially through examples from other industries;</a:t>
            </a:r>
          </a:p>
          <a:p>
            <a:pPr lvl="1"/>
            <a:r>
              <a:rPr lang="en-US" sz="2000"/>
              <a:t>Successful models to train workers to engage critically with their own industry, and how nuclear workforce curricula could emulate these.</a:t>
            </a:r>
          </a:p>
        </p:txBody>
      </p:sp>
    </p:spTree>
    <p:extLst>
      <p:ext uri="{BB962C8B-B14F-4D97-AF65-F5344CB8AC3E}">
        <p14:creationId xmlns:p14="http://schemas.microsoft.com/office/powerpoint/2010/main" val="2880596432"/>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Title 5">
            <a:extLst>
              <a:ext uri="{FF2B5EF4-FFF2-40B4-BE49-F238E27FC236}">
                <a16:creationId xmlns:a16="http://schemas.microsoft.com/office/drawing/2014/main" id="{7E9EEA3E-45E3-0239-E69A-BE3F5FBC9AB7}"/>
              </a:ext>
            </a:extLst>
          </p:cNvPr>
          <p:cNvSpPr>
            <a:spLocks noGrp="1" noChangeArrowheads="1"/>
          </p:cNvSpPr>
          <p:nvPr>
            <p:ph type="ctrTitle"/>
          </p:nvPr>
        </p:nvSpPr>
        <p:spPr>
          <a:xfrm>
            <a:off x="609600" y="1066800"/>
            <a:ext cx="10165976" cy="2590800"/>
          </a:xfrm>
        </p:spPr>
        <p:txBody>
          <a:bodyPr/>
          <a:lstStyle/>
          <a:p>
            <a:pPr algn="l"/>
            <a:r>
              <a:rPr lang="en-US" altLang="en-US" sz="5400" b="1">
                <a:solidFill>
                  <a:schemeClr val="bg1"/>
                </a:solidFill>
              </a:rPr>
              <a:t>Break</a:t>
            </a:r>
          </a:p>
        </p:txBody>
      </p:sp>
      <p:sp>
        <p:nvSpPr>
          <p:cNvPr id="20483" name="Subtitle 6">
            <a:extLst>
              <a:ext uri="{FF2B5EF4-FFF2-40B4-BE49-F238E27FC236}">
                <a16:creationId xmlns:a16="http://schemas.microsoft.com/office/drawing/2014/main" id="{681152D8-4998-8D5B-9854-96A67EBE53DE}"/>
              </a:ext>
            </a:extLst>
          </p:cNvPr>
          <p:cNvSpPr>
            <a:spLocks noGrp="1" noChangeArrowheads="1"/>
          </p:cNvSpPr>
          <p:nvPr>
            <p:ph type="subTitle" idx="1"/>
          </p:nvPr>
        </p:nvSpPr>
        <p:spPr>
          <a:xfrm>
            <a:off x="609600" y="3276600"/>
            <a:ext cx="8816975" cy="2209800"/>
          </a:xfrm>
        </p:spPr>
        <p:txBody>
          <a:bodyPr/>
          <a:lstStyle/>
          <a:p>
            <a:pPr algn="l"/>
            <a:endParaRPr lang="en-US" altLang="en-US" sz="2000" b="1" i="1">
              <a:solidFill>
                <a:schemeClr val="bg1"/>
              </a:solidFill>
            </a:endParaRPr>
          </a:p>
          <a:p>
            <a:pPr algn="l"/>
            <a:endParaRPr lang="en-US" altLang="en-US" sz="2000" b="1" i="1">
              <a:solidFill>
                <a:schemeClr val="bg1"/>
              </a:solidFill>
            </a:endParaRPr>
          </a:p>
          <a:p>
            <a:pPr algn="l"/>
            <a:r>
              <a:rPr lang="en-US" altLang="en-US" b="1">
                <a:solidFill>
                  <a:schemeClr val="bg1"/>
                </a:solidFill>
              </a:rPr>
              <a:t>Return: 2:30 pm</a:t>
            </a:r>
          </a:p>
          <a:p>
            <a:pPr algn="l"/>
            <a:r>
              <a:rPr lang="en-US" altLang="en-US" sz="2000" b="1" i="1">
                <a:solidFill>
                  <a:schemeClr val="bg1"/>
                </a:solidFill>
              </a:rPr>
              <a:t>				</a:t>
            </a:r>
            <a:endParaRPr lang="en-US" altLang="en-US" sz="2000" b="1">
              <a:solidFill>
                <a:schemeClr val="bg1"/>
              </a:solidFill>
            </a:endParaRPr>
          </a:p>
        </p:txBody>
      </p:sp>
    </p:spTree>
    <p:extLst>
      <p:ext uri="{BB962C8B-B14F-4D97-AF65-F5344CB8AC3E}">
        <p14:creationId xmlns:p14="http://schemas.microsoft.com/office/powerpoint/2010/main" val="2932372001"/>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Title 5">
            <a:extLst>
              <a:ext uri="{FF2B5EF4-FFF2-40B4-BE49-F238E27FC236}">
                <a16:creationId xmlns:a16="http://schemas.microsoft.com/office/drawing/2014/main" id="{7E9EEA3E-45E3-0239-E69A-BE3F5FBC9AB7}"/>
              </a:ext>
            </a:extLst>
          </p:cNvPr>
          <p:cNvSpPr>
            <a:spLocks noGrp="1" noChangeArrowheads="1"/>
          </p:cNvSpPr>
          <p:nvPr>
            <p:ph type="ctrTitle"/>
          </p:nvPr>
        </p:nvSpPr>
        <p:spPr>
          <a:xfrm>
            <a:off x="609600" y="1066800"/>
            <a:ext cx="10165976" cy="2590800"/>
          </a:xfrm>
        </p:spPr>
        <p:txBody>
          <a:bodyPr/>
          <a:lstStyle/>
          <a:p>
            <a:pPr algn="l"/>
            <a:r>
              <a:rPr lang="en-US" altLang="en-US" sz="5400" b="1">
                <a:solidFill>
                  <a:schemeClr val="bg1"/>
                </a:solidFill>
              </a:rPr>
              <a:t>International Engagement</a:t>
            </a:r>
            <a:endParaRPr lang="en-US" altLang="en-US" sz="5400" b="1">
              <a:solidFill>
                <a:schemeClr val="bg1"/>
              </a:solidFill>
              <a:cs typeface="Calibri Light"/>
            </a:endParaRPr>
          </a:p>
        </p:txBody>
      </p:sp>
      <p:sp>
        <p:nvSpPr>
          <p:cNvPr id="20483" name="Subtitle 6">
            <a:extLst>
              <a:ext uri="{FF2B5EF4-FFF2-40B4-BE49-F238E27FC236}">
                <a16:creationId xmlns:a16="http://schemas.microsoft.com/office/drawing/2014/main" id="{681152D8-4998-8D5B-9854-96A67EBE53DE}"/>
              </a:ext>
            </a:extLst>
          </p:cNvPr>
          <p:cNvSpPr>
            <a:spLocks noGrp="1" noChangeArrowheads="1"/>
          </p:cNvSpPr>
          <p:nvPr>
            <p:ph type="subTitle" idx="1"/>
          </p:nvPr>
        </p:nvSpPr>
        <p:spPr>
          <a:xfrm>
            <a:off x="609600" y="3276600"/>
            <a:ext cx="8816975" cy="2209800"/>
          </a:xfrm>
        </p:spPr>
        <p:txBody>
          <a:bodyPr/>
          <a:lstStyle/>
          <a:p>
            <a:pPr algn="l"/>
            <a:endParaRPr lang="en-US" altLang="en-US" sz="2000" b="1" i="1">
              <a:solidFill>
                <a:schemeClr val="bg1"/>
              </a:solidFill>
            </a:endParaRPr>
          </a:p>
          <a:p>
            <a:pPr algn="l"/>
            <a:endParaRPr lang="en-US" altLang="en-US" sz="2000" b="1" i="1">
              <a:solidFill>
                <a:schemeClr val="bg1"/>
              </a:solidFill>
            </a:endParaRPr>
          </a:p>
          <a:p>
            <a:pPr algn="l"/>
            <a:r>
              <a:rPr lang="en-US" altLang="en-US" b="1">
                <a:solidFill>
                  <a:schemeClr val="bg1"/>
                </a:solidFill>
                <a:cs typeface="Calibri"/>
              </a:rPr>
              <a:t>The Hon. William D. Magwood, IV</a:t>
            </a:r>
            <a:endParaRPr lang="en-US" altLang="en-US" b="1">
              <a:solidFill>
                <a:schemeClr val="bg1"/>
              </a:solidFill>
            </a:endParaRPr>
          </a:p>
          <a:p>
            <a:pPr algn="l"/>
            <a:r>
              <a:rPr lang="en-US" altLang="en-US" b="1">
                <a:solidFill>
                  <a:schemeClr val="bg1"/>
                </a:solidFill>
              </a:rPr>
              <a:t>NEAC Subcommittee updates and discussion</a:t>
            </a:r>
            <a:r>
              <a:rPr lang="en-US" altLang="en-US" sz="2000" b="1" i="1">
                <a:solidFill>
                  <a:schemeClr val="bg1"/>
                </a:solidFill>
              </a:rPr>
              <a:t>		</a:t>
            </a:r>
            <a:endParaRPr lang="en-US" altLang="en-US" sz="2000" b="1">
              <a:solidFill>
                <a:schemeClr val="bg1"/>
              </a:solidFill>
              <a:cs typeface="Calibri"/>
            </a:endParaRPr>
          </a:p>
        </p:txBody>
      </p:sp>
    </p:spTree>
    <p:extLst>
      <p:ext uri="{BB962C8B-B14F-4D97-AF65-F5344CB8AC3E}">
        <p14:creationId xmlns:p14="http://schemas.microsoft.com/office/powerpoint/2010/main" val="3227054382"/>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A3E15E3-804B-C0F2-687C-DB9E9E893EE6}"/>
              </a:ext>
            </a:extLst>
          </p:cNvPr>
          <p:cNvSpPr>
            <a:spLocks noGrp="1"/>
          </p:cNvSpPr>
          <p:nvPr>
            <p:ph type="title"/>
          </p:nvPr>
        </p:nvSpPr>
        <p:spPr>
          <a:xfrm>
            <a:off x="838200" y="788894"/>
            <a:ext cx="10515600" cy="901794"/>
          </a:xfrm>
        </p:spPr>
        <p:txBody>
          <a:bodyPr/>
          <a:lstStyle/>
          <a:p>
            <a:r>
              <a:rPr lang="en-US" sz="4000"/>
              <a:t>Overview of the scope and progress of the International subcommittee</a:t>
            </a:r>
          </a:p>
        </p:txBody>
      </p:sp>
      <p:sp>
        <p:nvSpPr>
          <p:cNvPr id="3" name="Content Placeholder 2">
            <a:extLst>
              <a:ext uri="{FF2B5EF4-FFF2-40B4-BE49-F238E27FC236}">
                <a16:creationId xmlns:a16="http://schemas.microsoft.com/office/drawing/2014/main" id="{8465AAE0-0C6D-9733-D979-BE90EE4BFF79}"/>
              </a:ext>
            </a:extLst>
          </p:cNvPr>
          <p:cNvSpPr>
            <a:spLocks noGrp="1"/>
          </p:cNvSpPr>
          <p:nvPr>
            <p:ph idx="1"/>
          </p:nvPr>
        </p:nvSpPr>
        <p:spPr/>
        <p:txBody>
          <a:bodyPr/>
          <a:lstStyle/>
          <a:p>
            <a:r>
              <a:rPr lang="en-US" sz="2400"/>
              <a:t>Launched its work with the </a:t>
            </a:r>
            <a:r>
              <a:rPr lang="en-US" sz="2400" b="1"/>
              <a:t>goal of understanding the driving objectives of the US government’s international nuclear energy activities.</a:t>
            </a:r>
            <a:endParaRPr lang="en-US" sz="2400"/>
          </a:p>
          <a:p>
            <a:r>
              <a:rPr lang="en-US" sz="2400"/>
              <a:t>Subcommittee </a:t>
            </a:r>
            <a:r>
              <a:rPr lang="en-US" sz="2400" b="1"/>
              <a:t>met with a range of senior officials</a:t>
            </a:r>
            <a:r>
              <a:rPr lang="en-US" sz="2400"/>
              <a:t>, including:</a:t>
            </a:r>
          </a:p>
          <a:p>
            <a:pPr lvl="1"/>
            <a:r>
              <a:rPr lang="en-US" sz="2000"/>
              <a:t>Undersecretary of State for Arms Control and International Security</a:t>
            </a:r>
          </a:p>
          <a:p>
            <a:pPr lvl="1"/>
            <a:r>
              <a:rPr lang="en-US" sz="2000"/>
              <a:t>DOE Assistant Secretary for International Affairs</a:t>
            </a:r>
          </a:p>
          <a:p>
            <a:pPr lvl="1"/>
            <a:r>
              <a:rPr lang="en-US" sz="2000"/>
              <a:t>Deputy Administer for Defense Nuclear Nonproliferation at the National Nuclear Security </a:t>
            </a:r>
          </a:p>
          <a:p>
            <a:pPr lvl="1"/>
            <a:r>
              <a:rPr lang="en-US" sz="2000"/>
              <a:t>Assistant Secretary of Commerce for Industry and Analysis</a:t>
            </a:r>
          </a:p>
          <a:p>
            <a:r>
              <a:rPr lang="en-US" sz="2400" b="1"/>
              <a:t>Through these conversations</a:t>
            </a:r>
            <a:r>
              <a:rPr lang="en-US" sz="2400"/>
              <a:t>, found:</a:t>
            </a:r>
          </a:p>
          <a:p>
            <a:pPr lvl="1"/>
            <a:r>
              <a:rPr lang="en-US" sz="2000"/>
              <a:t>Support for the domestic benefits of a strong nuclear industry and of U.S. climate goals</a:t>
            </a:r>
          </a:p>
          <a:p>
            <a:pPr lvl="1"/>
            <a:r>
              <a:rPr lang="en-US" sz="2000"/>
              <a:t>Common understanding across the many agencies</a:t>
            </a:r>
          </a:p>
          <a:p>
            <a:pPr lvl="1"/>
            <a:r>
              <a:rPr lang="en-US" sz="2000"/>
              <a:t>Appreciation for the bipartisan nature of these policies</a:t>
            </a:r>
          </a:p>
          <a:p>
            <a:pPr marL="342900" lvl="1" indent="0">
              <a:buNone/>
            </a:pPr>
            <a:endParaRPr lang="en-US" sz="2000"/>
          </a:p>
          <a:p>
            <a:pPr lvl="1"/>
            <a:endParaRPr lang="en-US" sz="2000"/>
          </a:p>
          <a:p>
            <a:pPr lvl="1"/>
            <a:endParaRPr lang="en-US" sz="2000"/>
          </a:p>
        </p:txBody>
      </p:sp>
      <p:sp>
        <p:nvSpPr>
          <p:cNvPr id="4" name="Slide Number Placeholder 3">
            <a:extLst>
              <a:ext uri="{FF2B5EF4-FFF2-40B4-BE49-F238E27FC236}">
                <a16:creationId xmlns:a16="http://schemas.microsoft.com/office/drawing/2014/main" id="{F748BA7A-7866-F9F1-2F05-BFC7CA5E8FBE}"/>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7926BA8-E0F8-42A8-A83C-EBAA1A1E8FCD}" type="slidenum">
              <a:rPr kumimoji="0" lang="en-US" sz="900" b="0" i="0" u="none" strike="noStrike" kern="1200" cap="none" spc="0" normalizeH="0" baseline="0" noProof="0" dirty="0" smtClean="0">
                <a:ln>
                  <a:noFill/>
                </a:ln>
                <a:solidFill>
                  <a:srgbClr val="214877">
                    <a:tint val="75000"/>
                  </a:srgbClr>
                </a:solidFill>
                <a:effectLst/>
                <a:uLnTx/>
                <a:uFillTx/>
                <a:latin typeface="Franklin Gothic Boo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a:t>
            </a:fld>
            <a:endParaRPr kumimoji="0" lang="en-US" sz="900" b="0" i="0" u="none" strike="noStrike" kern="1200" cap="none" spc="0" normalizeH="0" baseline="0" noProof="0">
              <a:ln>
                <a:noFill/>
              </a:ln>
              <a:solidFill>
                <a:srgbClr val="214877">
                  <a:tint val="75000"/>
                </a:srgbClr>
              </a:solidFill>
              <a:effectLst/>
              <a:uLnTx/>
              <a:uFillTx/>
              <a:latin typeface="Franklin Gothic Book"/>
              <a:ea typeface="+mn-ea"/>
              <a:cs typeface="+mn-cs"/>
            </a:endParaRPr>
          </a:p>
        </p:txBody>
      </p:sp>
    </p:spTree>
    <p:extLst>
      <p:ext uri="{BB962C8B-B14F-4D97-AF65-F5344CB8AC3E}">
        <p14:creationId xmlns:p14="http://schemas.microsoft.com/office/powerpoint/2010/main" val="3644459492"/>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A3E15E3-804B-C0F2-687C-DB9E9E893EE6}"/>
              </a:ext>
            </a:extLst>
          </p:cNvPr>
          <p:cNvSpPr>
            <a:spLocks noGrp="1"/>
          </p:cNvSpPr>
          <p:nvPr>
            <p:ph type="title"/>
          </p:nvPr>
        </p:nvSpPr>
        <p:spPr/>
        <p:txBody>
          <a:bodyPr/>
          <a:lstStyle/>
          <a:p>
            <a:r>
              <a:rPr lang="en-US"/>
              <a:t>Summary of initial observations</a:t>
            </a:r>
          </a:p>
        </p:txBody>
      </p:sp>
      <p:sp>
        <p:nvSpPr>
          <p:cNvPr id="4" name="Slide Number Placeholder 3">
            <a:extLst>
              <a:ext uri="{FF2B5EF4-FFF2-40B4-BE49-F238E27FC236}">
                <a16:creationId xmlns:a16="http://schemas.microsoft.com/office/drawing/2014/main" id="{F748BA7A-7866-F9F1-2F05-BFC7CA5E8FBE}"/>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7926BA8-E0F8-42A8-A83C-EBAA1A1E8FCD}" type="slidenum">
              <a:rPr kumimoji="0" lang="en-US" sz="900" b="0" i="0" u="none" strike="noStrike" kern="1200" cap="none" spc="0" normalizeH="0" baseline="0" noProof="0" smtClean="0">
                <a:ln>
                  <a:noFill/>
                </a:ln>
                <a:solidFill>
                  <a:srgbClr val="214877">
                    <a:tint val="75000"/>
                  </a:srgbClr>
                </a:solidFill>
                <a:effectLst/>
                <a:uLnTx/>
                <a:uFillTx/>
                <a:latin typeface="Franklin Gothic Boo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4</a:t>
            </a:fld>
            <a:endParaRPr kumimoji="0" lang="en-US" sz="900" b="0" i="0" u="none" strike="noStrike" kern="1200" cap="none" spc="0" normalizeH="0" baseline="0" noProof="0">
              <a:ln>
                <a:noFill/>
              </a:ln>
              <a:solidFill>
                <a:srgbClr val="214877">
                  <a:tint val="75000"/>
                </a:srgbClr>
              </a:solidFill>
              <a:effectLst/>
              <a:uLnTx/>
              <a:uFillTx/>
              <a:latin typeface="Franklin Gothic Book"/>
              <a:ea typeface="+mn-ea"/>
              <a:cs typeface="+mn-cs"/>
            </a:endParaRPr>
          </a:p>
        </p:txBody>
      </p:sp>
      <p:sp>
        <p:nvSpPr>
          <p:cNvPr id="13" name="Content Placeholder 2">
            <a:extLst>
              <a:ext uri="{FF2B5EF4-FFF2-40B4-BE49-F238E27FC236}">
                <a16:creationId xmlns:a16="http://schemas.microsoft.com/office/drawing/2014/main" id="{F1B7F75A-D91F-4BC7-C2C9-66A26C40C854}"/>
              </a:ext>
            </a:extLst>
          </p:cNvPr>
          <p:cNvSpPr txBox="1">
            <a:spLocks/>
          </p:cNvSpPr>
          <p:nvPr/>
        </p:nvSpPr>
        <p:spPr bwMode="auto">
          <a:xfrm>
            <a:off x="944573" y="2962886"/>
            <a:ext cx="2971800" cy="14463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171450" indent="-171450" algn="l" rtl="0" eaLnBrk="0" fontAlgn="base" hangingPunct="0">
              <a:lnSpc>
                <a:spcPct val="90000"/>
              </a:lnSpc>
              <a:spcBef>
                <a:spcPts val="750"/>
              </a:spcBef>
              <a:spcAft>
                <a:spcPct val="0"/>
              </a:spcAft>
              <a:buFont typeface="Arial" panose="020B0604020202020204" pitchFamily="34" charset="0"/>
              <a:buChar char="•"/>
              <a:defRPr sz="2100" kern="1200">
                <a:solidFill>
                  <a:schemeClr val="tx1"/>
                </a:solidFill>
                <a:latin typeface="+mn-lt"/>
                <a:ea typeface="+mn-ea"/>
                <a:cs typeface="+mn-cs"/>
              </a:defRPr>
            </a:lvl1pPr>
            <a:lvl2pPr marL="514350" indent="-171450" algn="l" rtl="0" eaLnBrk="0" fontAlgn="base" hangingPunct="0">
              <a:lnSpc>
                <a:spcPct val="90000"/>
              </a:lnSpc>
              <a:spcBef>
                <a:spcPts val="375"/>
              </a:spcBef>
              <a:spcAft>
                <a:spcPct val="0"/>
              </a:spcAft>
              <a:buFont typeface="Arial" panose="020B0604020202020204" pitchFamily="34" charset="0"/>
              <a:buChar char="•"/>
              <a:defRPr kern="1200">
                <a:solidFill>
                  <a:schemeClr val="tx1"/>
                </a:solidFill>
                <a:latin typeface="+mn-lt"/>
                <a:ea typeface="+mn-ea"/>
                <a:cs typeface="+mn-cs"/>
              </a:defRPr>
            </a:lvl2pPr>
            <a:lvl3pPr marL="857250" indent="-171450" algn="l" rtl="0" eaLnBrk="0" fontAlgn="base" hangingPunct="0">
              <a:lnSpc>
                <a:spcPct val="90000"/>
              </a:lnSpc>
              <a:spcBef>
                <a:spcPts val="375"/>
              </a:spcBef>
              <a:spcAft>
                <a:spcPct val="0"/>
              </a:spcAft>
              <a:buFont typeface="Arial" panose="020B0604020202020204" pitchFamily="34" charset="0"/>
              <a:buChar char="•"/>
              <a:defRPr sz="1500" kern="1200">
                <a:solidFill>
                  <a:schemeClr val="tx1"/>
                </a:solidFill>
                <a:latin typeface="+mn-lt"/>
                <a:ea typeface="+mn-ea"/>
                <a:cs typeface="+mn-cs"/>
              </a:defRPr>
            </a:lvl3pPr>
            <a:lvl4pPr marL="1200150" indent="-171450" algn="l" rtl="0" eaLnBrk="0" fontAlgn="base" hangingPunct="0">
              <a:lnSpc>
                <a:spcPct val="90000"/>
              </a:lnSpc>
              <a:spcBef>
                <a:spcPts val="375"/>
              </a:spcBef>
              <a:spcAft>
                <a:spcPct val="0"/>
              </a:spcAft>
              <a:buFont typeface="Arial" panose="020B0604020202020204" pitchFamily="34" charset="0"/>
              <a:buChar char="•"/>
              <a:defRPr kern="1200">
                <a:solidFill>
                  <a:schemeClr val="tx1"/>
                </a:solidFill>
                <a:latin typeface="+mn-lt"/>
                <a:ea typeface="+mn-ea"/>
                <a:cs typeface="+mn-cs"/>
              </a:defRPr>
            </a:lvl4pPr>
            <a:lvl5pPr marL="1543050" indent="-171450" algn="l" rtl="0" eaLnBrk="0" fontAlgn="base" hangingPunct="0">
              <a:lnSpc>
                <a:spcPct val="90000"/>
              </a:lnSpc>
              <a:spcBef>
                <a:spcPts val="375"/>
              </a:spcBef>
              <a:spcAft>
                <a:spcPct val="0"/>
              </a:spcAft>
              <a:buFont typeface="Arial" panose="020B0604020202020204" pitchFamily="34" charset="0"/>
              <a:buChar char="•"/>
              <a:defRPr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buNone/>
            </a:pPr>
            <a:r>
              <a:rPr lang="en-US" sz="2000" b="1"/>
              <a:t>Concerns about in the U.S. government’s current framework:</a:t>
            </a:r>
          </a:p>
          <a:p>
            <a:r>
              <a:rPr lang="en-US" sz="2000"/>
              <a:t>Various agencies largely operate in their own lanes</a:t>
            </a:r>
          </a:p>
          <a:p>
            <a:r>
              <a:rPr lang="en-US" sz="2000"/>
              <a:t>No clear organizing mechanism or strategic focus</a:t>
            </a:r>
          </a:p>
          <a:p>
            <a:r>
              <a:rPr lang="en-US" sz="2000"/>
              <a:t>There are gaps in the policy framework</a:t>
            </a:r>
          </a:p>
        </p:txBody>
      </p:sp>
      <p:sp>
        <p:nvSpPr>
          <p:cNvPr id="15" name="Content Placeholder 2">
            <a:extLst>
              <a:ext uri="{FF2B5EF4-FFF2-40B4-BE49-F238E27FC236}">
                <a16:creationId xmlns:a16="http://schemas.microsoft.com/office/drawing/2014/main" id="{C42664CE-AD1E-927C-DB61-6E81A217623B}"/>
              </a:ext>
            </a:extLst>
          </p:cNvPr>
          <p:cNvSpPr txBox="1">
            <a:spLocks/>
          </p:cNvSpPr>
          <p:nvPr/>
        </p:nvSpPr>
        <p:spPr bwMode="auto">
          <a:xfrm>
            <a:off x="4616394" y="2962886"/>
            <a:ext cx="2971800" cy="14463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171450" indent="-171450" algn="l" rtl="0" eaLnBrk="0" fontAlgn="base" hangingPunct="0">
              <a:lnSpc>
                <a:spcPct val="90000"/>
              </a:lnSpc>
              <a:spcBef>
                <a:spcPts val="750"/>
              </a:spcBef>
              <a:spcAft>
                <a:spcPct val="0"/>
              </a:spcAft>
              <a:buFont typeface="Arial" panose="020B0604020202020204" pitchFamily="34" charset="0"/>
              <a:buChar char="•"/>
              <a:defRPr sz="2100" kern="1200">
                <a:solidFill>
                  <a:schemeClr val="tx1"/>
                </a:solidFill>
                <a:latin typeface="+mn-lt"/>
                <a:ea typeface="+mn-ea"/>
                <a:cs typeface="+mn-cs"/>
              </a:defRPr>
            </a:lvl1pPr>
            <a:lvl2pPr marL="514350" indent="-171450" algn="l" rtl="0" eaLnBrk="0" fontAlgn="base" hangingPunct="0">
              <a:lnSpc>
                <a:spcPct val="90000"/>
              </a:lnSpc>
              <a:spcBef>
                <a:spcPts val="375"/>
              </a:spcBef>
              <a:spcAft>
                <a:spcPct val="0"/>
              </a:spcAft>
              <a:buFont typeface="Arial" panose="020B0604020202020204" pitchFamily="34" charset="0"/>
              <a:buChar char="•"/>
              <a:defRPr kern="1200">
                <a:solidFill>
                  <a:schemeClr val="tx1"/>
                </a:solidFill>
                <a:latin typeface="+mn-lt"/>
                <a:ea typeface="+mn-ea"/>
                <a:cs typeface="+mn-cs"/>
              </a:defRPr>
            </a:lvl2pPr>
            <a:lvl3pPr marL="857250" indent="-171450" algn="l" rtl="0" eaLnBrk="0" fontAlgn="base" hangingPunct="0">
              <a:lnSpc>
                <a:spcPct val="90000"/>
              </a:lnSpc>
              <a:spcBef>
                <a:spcPts val="375"/>
              </a:spcBef>
              <a:spcAft>
                <a:spcPct val="0"/>
              </a:spcAft>
              <a:buFont typeface="Arial" panose="020B0604020202020204" pitchFamily="34" charset="0"/>
              <a:buChar char="•"/>
              <a:defRPr sz="1500" kern="1200">
                <a:solidFill>
                  <a:schemeClr val="tx1"/>
                </a:solidFill>
                <a:latin typeface="+mn-lt"/>
                <a:ea typeface="+mn-ea"/>
                <a:cs typeface="+mn-cs"/>
              </a:defRPr>
            </a:lvl3pPr>
            <a:lvl4pPr marL="1200150" indent="-171450" algn="l" rtl="0" eaLnBrk="0" fontAlgn="base" hangingPunct="0">
              <a:lnSpc>
                <a:spcPct val="90000"/>
              </a:lnSpc>
              <a:spcBef>
                <a:spcPts val="375"/>
              </a:spcBef>
              <a:spcAft>
                <a:spcPct val="0"/>
              </a:spcAft>
              <a:buFont typeface="Arial" panose="020B0604020202020204" pitchFamily="34" charset="0"/>
              <a:buChar char="•"/>
              <a:defRPr kern="1200">
                <a:solidFill>
                  <a:schemeClr val="tx1"/>
                </a:solidFill>
                <a:latin typeface="+mn-lt"/>
                <a:ea typeface="+mn-ea"/>
                <a:cs typeface="+mn-cs"/>
              </a:defRPr>
            </a:lvl4pPr>
            <a:lvl5pPr marL="1543050" indent="-171450" algn="l" rtl="0" eaLnBrk="0" fontAlgn="base" hangingPunct="0">
              <a:lnSpc>
                <a:spcPct val="90000"/>
              </a:lnSpc>
              <a:spcBef>
                <a:spcPts val="375"/>
              </a:spcBef>
              <a:spcAft>
                <a:spcPct val="0"/>
              </a:spcAft>
              <a:buFont typeface="Arial" panose="020B0604020202020204" pitchFamily="34" charset="0"/>
              <a:buChar char="•"/>
              <a:defRPr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buNone/>
            </a:pPr>
            <a:r>
              <a:rPr lang="en-US" sz="2000" b="1"/>
              <a:t>Example: U.S. is overmatched by the competition overseas:</a:t>
            </a:r>
          </a:p>
          <a:p>
            <a:r>
              <a:rPr lang="en-US" sz="2000"/>
              <a:t>Agencies haven’t developed a strategy to address this fact</a:t>
            </a:r>
          </a:p>
          <a:p>
            <a:r>
              <a:rPr lang="en-US" sz="2000"/>
              <a:t>Heroic effort in one case have dealt with the financing issue in one case, but this was complex and time-consuming</a:t>
            </a:r>
          </a:p>
        </p:txBody>
      </p:sp>
      <p:sp>
        <p:nvSpPr>
          <p:cNvPr id="16" name="Content Placeholder 2">
            <a:extLst>
              <a:ext uri="{FF2B5EF4-FFF2-40B4-BE49-F238E27FC236}">
                <a16:creationId xmlns:a16="http://schemas.microsoft.com/office/drawing/2014/main" id="{478C89D2-22A4-3787-6154-05B85AC8CA9D}"/>
              </a:ext>
            </a:extLst>
          </p:cNvPr>
          <p:cNvSpPr txBox="1">
            <a:spLocks/>
          </p:cNvSpPr>
          <p:nvPr/>
        </p:nvSpPr>
        <p:spPr bwMode="auto">
          <a:xfrm>
            <a:off x="8288214" y="2962886"/>
            <a:ext cx="2971800" cy="14463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171450" indent="-171450" algn="l" rtl="0" eaLnBrk="0" fontAlgn="base" hangingPunct="0">
              <a:lnSpc>
                <a:spcPct val="90000"/>
              </a:lnSpc>
              <a:spcBef>
                <a:spcPts val="750"/>
              </a:spcBef>
              <a:spcAft>
                <a:spcPct val="0"/>
              </a:spcAft>
              <a:buFont typeface="Arial" panose="020B0604020202020204" pitchFamily="34" charset="0"/>
              <a:buChar char="•"/>
              <a:defRPr sz="2100" kern="1200">
                <a:solidFill>
                  <a:schemeClr val="tx1"/>
                </a:solidFill>
                <a:latin typeface="+mn-lt"/>
                <a:ea typeface="+mn-ea"/>
                <a:cs typeface="+mn-cs"/>
              </a:defRPr>
            </a:lvl1pPr>
            <a:lvl2pPr marL="514350" indent="-171450" algn="l" rtl="0" eaLnBrk="0" fontAlgn="base" hangingPunct="0">
              <a:lnSpc>
                <a:spcPct val="90000"/>
              </a:lnSpc>
              <a:spcBef>
                <a:spcPts val="375"/>
              </a:spcBef>
              <a:spcAft>
                <a:spcPct val="0"/>
              </a:spcAft>
              <a:buFont typeface="Arial" panose="020B0604020202020204" pitchFamily="34" charset="0"/>
              <a:buChar char="•"/>
              <a:defRPr kern="1200">
                <a:solidFill>
                  <a:schemeClr val="tx1"/>
                </a:solidFill>
                <a:latin typeface="+mn-lt"/>
                <a:ea typeface="+mn-ea"/>
                <a:cs typeface="+mn-cs"/>
              </a:defRPr>
            </a:lvl2pPr>
            <a:lvl3pPr marL="857250" indent="-171450" algn="l" rtl="0" eaLnBrk="0" fontAlgn="base" hangingPunct="0">
              <a:lnSpc>
                <a:spcPct val="90000"/>
              </a:lnSpc>
              <a:spcBef>
                <a:spcPts val="375"/>
              </a:spcBef>
              <a:spcAft>
                <a:spcPct val="0"/>
              </a:spcAft>
              <a:buFont typeface="Arial" panose="020B0604020202020204" pitchFamily="34" charset="0"/>
              <a:buChar char="•"/>
              <a:defRPr sz="1500" kern="1200">
                <a:solidFill>
                  <a:schemeClr val="tx1"/>
                </a:solidFill>
                <a:latin typeface="+mn-lt"/>
                <a:ea typeface="+mn-ea"/>
                <a:cs typeface="+mn-cs"/>
              </a:defRPr>
            </a:lvl3pPr>
            <a:lvl4pPr marL="1200150" indent="-171450" algn="l" rtl="0" eaLnBrk="0" fontAlgn="base" hangingPunct="0">
              <a:lnSpc>
                <a:spcPct val="90000"/>
              </a:lnSpc>
              <a:spcBef>
                <a:spcPts val="375"/>
              </a:spcBef>
              <a:spcAft>
                <a:spcPct val="0"/>
              </a:spcAft>
              <a:buFont typeface="Arial" panose="020B0604020202020204" pitchFamily="34" charset="0"/>
              <a:buChar char="•"/>
              <a:defRPr kern="1200">
                <a:solidFill>
                  <a:schemeClr val="tx1"/>
                </a:solidFill>
                <a:latin typeface="+mn-lt"/>
                <a:ea typeface="+mn-ea"/>
                <a:cs typeface="+mn-cs"/>
              </a:defRPr>
            </a:lvl4pPr>
            <a:lvl5pPr marL="1543050" indent="-171450" algn="l" rtl="0" eaLnBrk="0" fontAlgn="base" hangingPunct="0">
              <a:lnSpc>
                <a:spcPct val="90000"/>
              </a:lnSpc>
              <a:spcBef>
                <a:spcPts val="375"/>
              </a:spcBef>
              <a:spcAft>
                <a:spcPct val="0"/>
              </a:spcAft>
              <a:buFont typeface="Arial" panose="020B0604020202020204" pitchFamily="34" charset="0"/>
              <a:buChar char="•"/>
              <a:defRPr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buNone/>
            </a:pPr>
            <a:r>
              <a:rPr lang="en-US" sz="2000" b="1"/>
              <a:t>Lack of long-term view in developing relationships with potential partners:</a:t>
            </a:r>
          </a:p>
          <a:p>
            <a:r>
              <a:rPr lang="en-US" sz="2000"/>
              <a:t>Example: Whereas Russia and China engage with Africa countries early and establish significant training programs, the US typically engages quite late in the progress toward building plants</a:t>
            </a:r>
          </a:p>
        </p:txBody>
      </p:sp>
      <p:pic>
        <p:nvPicPr>
          <p:cNvPr id="18" name="Graphic 17" descr="User network outline">
            <a:extLst>
              <a:ext uri="{FF2B5EF4-FFF2-40B4-BE49-F238E27FC236}">
                <a16:creationId xmlns:a16="http://schemas.microsoft.com/office/drawing/2014/main" id="{05A8F225-679D-4541-2924-DF4CE6C01060}"/>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596907" y="1583388"/>
            <a:ext cx="1217066" cy="1217066"/>
          </a:xfrm>
          <a:prstGeom prst="rect">
            <a:avLst/>
          </a:prstGeom>
        </p:spPr>
      </p:pic>
      <p:pic>
        <p:nvPicPr>
          <p:cNvPr id="20" name="Graphic 19" descr="Remote learning science outline">
            <a:extLst>
              <a:ext uri="{FF2B5EF4-FFF2-40B4-BE49-F238E27FC236}">
                <a16:creationId xmlns:a16="http://schemas.microsoft.com/office/drawing/2014/main" id="{0389C7A6-0D3F-E08B-8644-991548836BDB}"/>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9137081" y="1583388"/>
            <a:ext cx="1217066" cy="1217066"/>
          </a:xfrm>
          <a:prstGeom prst="rect">
            <a:avLst/>
          </a:prstGeom>
        </p:spPr>
      </p:pic>
      <p:pic>
        <p:nvPicPr>
          <p:cNvPr id="22" name="Graphic 21" descr="Playbook outline">
            <a:extLst>
              <a:ext uri="{FF2B5EF4-FFF2-40B4-BE49-F238E27FC236}">
                <a16:creationId xmlns:a16="http://schemas.microsoft.com/office/drawing/2014/main" id="{FBBC7F7F-DDF2-8661-46FC-2360A1F60159}"/>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366994" y="1583388"/>
            <a:ext cx="1217066" cy="1217066"/>
          </a:xfrm>
          <a:prstGeom prst="rect">
            <a:avLst/>
          </a:prstGeom>
        </p:spPr>
      </p:pic>
    </p:spTree>
    <p:extLst>
      <p:ext uri="{BB962C8B-B14F-4D97-AF65-F5344CB8AC3E}">
        <p14:creationId xmlns:p14="http://schemas.microsoft.com/office/powerpoint/2010/main" val="777559559"/>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A3E15E3-804B-C0F2-687C-DB9E9E893EE6}"/>
              </a:ext>
            </a:extLst>
          </p:cNvPr>
          <p:cNvSpPr>
            <a:spLocks noGrp="1"/>
          </p:cNvSpPr>
          <p:nvPr>
            <p:ph type="title"/>
          </p:nvPr>
        </p:nvSpPr>
        <p:spPr/>
        <p:txBody>
          <a:bodyPr/>
          <a:lstStyle/>
          <a:p>
            <a:r>
              <a:rPr lang="en-US"/>
              <a:t>Primary Observations and Suggestions</a:t>
            </a:r>
          </a:p>
        </p:txBody>
      </p:sp>
      <p:sp>
        <p:nvSpPr>
          <p:cNvPr id="4" name="Slide Number Placeholder 3">
            <a:extLst>
              <a:ext uri="{FF2B5EF4-FFF2-40B4-BE49-F238E27FC236}">
                <a16:creationId xmlns:a16="http://schemas.microsoft.com/office/drawing/2014/main" id="{F748BA7A-7866-F9F1-2F05-BFC7CA5E8FBE}"/>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7926BA8-E0F8-42A8-A83C-EBAA1A1E8FCD}" type="slidenum">
              <a:rPr kumimoji="0" lang="en-US" sz="900" b="0" i="0" u="none" strike="noStrike" kern="1200" cap="none" spc="0" normalizeH="0" baseline="0" noProof="0" smtClean="0">
                <a:ln>
                  <a:noFill/>
                </a:ln>
                <a:solidFill>
                  <a:srgbClr val="214877">
                    <a:tint val="75000"/>
                  </a:srgbClr>
                </a:solidFill>
                <a:effectLst/>
                <a:uLnTx/>
                <a:uFillTx/>
                <a:latin typeface="Franklin Gothic Boo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5</a:t>
            </a:fld>
            <a:endParaRPr kumimoji="0" lang="en-US" sz="900" b="0" i="0" u="none" strike="noStrike" kern="1200" cap="none" spc="0" normalizeH="0" baseline="0" noProof="0">
              <a:ln>
                <a:noFill/>
              </a:ln>
              <a:solidFill>
                <a:srgbClr val="214877">
                  <a:tint val="75000"/>
                </a:srgbClr>
              </a:solidFill>
              <a:effectLst/>
              <a:uLnTx/>
              <a:uFillTx/>
              <a:latin typeface="Franklin Gothic Book"/>
              <a:ea typeface="+mn-ea"/>
              <a:cs typeface="+mn-cs"/>
            </a:endParaRPr>
          </a:p>
        </p:txBody>
      </p:sp>
      <p:pic>
        <p:nvPicPr>
          <p:cNvPr id="5" name="Graphic 4" descr="Badge 1 outline">
            <a:extLst>
              <a:ext uri="{FF2B5EF4-FFF2-40B4-BE49-F238E27FC236}">
                <a16:creationId xmlns:a16="http://schemas.microsoft.com/office/drawing/2014/main" id="{06755EEB-F6FB-0FE9-C443-57EFCB02529F}"/>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38200" y="1951453"/>
            <a:ext cx="1232476" cy="1232476"/>
          </a:xfrm>
          <a:prstGeom prst="rect">
            <a:avLst/>
          </a:prstGeom>
        </p:spPr>
      </p:pic>
      <p:pic>
        <p:nvPicPr>
          <p:cNvPr id="6" name="Graphic 5" descr="Badge outline">
            <a:extLst>
              <a:ext uri="{FF2B5EF4-FFF2-40B4-BE49-F238E27FC236}">
                <a16:creationId xmlns:a16="http://schemas.microsoft.com/office/drawing/2014/main" id="{8ED21E2E-B1C8-E101-2683-36A098D63D9F}"/>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838200" y="4366033"/>
            <a:ext cx="1232476" cy="1232476"/>
          </a:xfrm>
          <a:prstGeom prst="rect">
            <a:avLst/>
          </a:prstGeom>
        </p:spPr>
      </p:pic>
      <p:pic>
        <p:nvPicPr>
          <p:cNvPr id="7" name="Graphic 6" descr="Badge 3 outline">
            <a:extLst>
              <a:ext uri="{FF2B5EF4-FFF2-40B4-BE49-F238E27FC236}">
                <a16:creationId xmlns:a16="http://schemas.microsoft.com/office/drawing/2014/main" id="{E6015323-7938-7EC7-008E-394F5A2D9DA2}"/>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5670176" y="1951453"/>
            <a:ext cx="1232476" cy="1232476"/>
          </a:xfrm>
          <a:prstGeom prst="rect">
            <a:avLst/>
          </a:prstGeom>
        </p:spPr>
      </p:pic>
      <p:pic>
        <p:nvPicPr>
          <p:cNvPr id="9" name="Graphic 8" descr="Badge 4 outline">
            <a:extLst>
              <a:ext uri="{FF2B5EF4-FFF2-40B4-BE49-F238E27FC236}">
                <a16:creationId xmlns:a16="http://schemas.microsoft.com/office/drawing/2014/main" id="{D1D24EC6-20B8-EC5D-89BB-9103FA340F1D}"/>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5670176" y="4366033"/>
            <a:ext cx="1234440" cy="1234440"/>
          </a:xfrm>
          <a:prstGeom prst="rect">
            <a:avLst/>
          </a:prstGeom>
        </p:spPr>
      </p:pic>
      <p:sp>
        <p:nvSpPr>
          <p:cNvPr id="10" name="Content Placeholder 2">
            <a:extLst>
              <a:ext uri="{FF2B5EF4-FFF2-40B4-BE49-F238E27FC236}">
                <a16:creationId xmlns:a16="http://schemas.microsoft.com/office/drawing/2014/main" id="{5217B9FE-313E-31B3-E825-B4ABB2E59233}"/>
              </a:ext>
            </a:extLst>
          </p:cNvPr>
          <p:cNvSpPr txBox="1">
            <a:spLocks/>
          </p:cNvSpPr>
          <p:nvPr/>
        </p:nvSpPr>
        <p:spPr bwMode="auto">
          <a:xfrm>
            <a:off x="2202905" y="1951453"/>
            <a:ext cx="3335042" cy="14463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171450" indent="-171450" algn="l" rtl="0" eaLnBrk="0" fontAlgn="base" hangingPunct="0">
              <a:lnSpc>
                <a:spcPct val="90000"/>
              </a:lnSpc>
              <a:spcBef>
                <a:spcPts val="750"/>
              </a:spcBef>
              <a:spcAft>
                <a:spcPct val="0"/>
              </a:spcAft>
              <a:buFont typeface="Arial" panose="020B0604020202020204" pitchFamily="34" charset="0"/>
              <a:buChar char="•"/>
              <a:defRPr sz="2100" kern="1200">
                <a:solidFill>
                  <a:schemeClr val="tx1"/>
                </a:solidFill>
                <a:latin typeface="+mn-lt"/>
                <a:ea typeface="+mn-ea"/>
                <a:cs typeface="+mn-cs"/>
              </a:defRPr>
            </a:lvl1pPr>
            <a:lvl2pPr marL="514350" indent="-171450" algn="l" rtl="0" eaLnBrk="0" fontAlgn="base" hangingPunct="0">
              <a:lnSpc>
                <a:spcPct val="90000"/>
              </a:lnSpc>
              <a:spcBef>
                <a:spcPts val="375"/>
              </a:spcBef>
              <a:spcAft>
                <a:spcPct val="0"/>
              </a:spcAft>
              <a:buFont typeface="Arial" panose="020B0604020202020204" pitchFamily="34" charset="0"/>
              <a:buChar char="•"/>
              <a:defRPr kern="1200">
                <a:solidFill>
                  <a:schemeClr val="tx1"/>
                </a:solidFill>
                <a:latin typeface="+mn-lt"/>
                <a:ea typeface="+mn-ea"/>
                <a:cs typeface="+mn-cs"/>
              </a:defRPr>
            </a:lvl2pPr>
            <a:lvl3pPr marL="857250" indent="-171450" algn="l" rtl="0" eaLnBrk="0" fontAlgn="base" hangingPunct="0">
              <a:lnSpc>
                <a:spcPct val="90000"/>
              </a:lnSpc>
              <a:spcBef>
                <a:spcPts val="375"/>
              </a:spcBef>
              <a:spcAft>
                <a:spcPct val="0"/>
              </a:spcAft>
              <a:buFont typeface="Arial" panose="020B0604020202020204" pitchFamily="34" charset="0"/>
              <a:buChar char="•"/>
              <a:defRPr sz="1500" kern="1200">
                <a:solidFill>
                  <a:schemeClr val="tx1"/>
                </a:solidFill>
                <a:latin typeface="+mn-lt"/>
                <a:ea typeface="+mn-ea"/>
                <a:cs typeface="+mn-cs"/>
              </a:defRPr>
            </a:lvl3pPr>
            <a:lvl4pPr marL="1200150" indent="-171450" algn="l" rtl="0" eaLnBrk="0" fontAlgn="base" hangingPunct="0">
              <a:lnSpc>
                <a:spcPct val="90000"/>
              </a:lnSpc>
              <a:spcBef>
                <a:spcPts val="375"/>
              </a:spcBef>
              <a:spcAft>
                <a:spcPct val="0"/>
              </a:spcAft>
              <a:buFont typeface="Arial" panose="020B0604020202020204" pitchFamily="34" charset="0"/>
              <a:buChar char="•"/>
              <a:defRPr kern="1200">
                <a:solidFill>
                  <a:schemeClr val="tx1"/>
                </a:solidFill>
                <a:latin typeface="+mn-lt"/>
                <a:ea typeface="+mn-ea"/>
                <a:cs typeface="+mn-cs"/>
              </a:defRPr>
            </a:lvl4pPr>
            <a:lvl5pPr marL="1543050" indent="-171450" algn="l" rtl="0" eaLnBrk="0" fontAlgn="base" hangingPunct="0">
              <a:lnSpc>
                <a:spcPct val="90000"/>
              </a:lnSpc>
              <a:spcBef>
                <a:spcPts val="375"/>
              </a:spcBef>
              <a:spcAft>
                <a:spcPct val="0"/>
              </a:spcAft>
              <a:buFont typeface="Arial" panose="020B0604020202020204" pitchFamily="34" charset="0"/>
              <a:buChar char="•"/>
              <a:defRPr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buNone/>
            </a:pPr>
            <a:r>
              <a:rPr lang="en-US" sz="2000" b="1"/>
              <a:t>Strategic vision: </a:t>
            </a:r>
            <a:r>
              <a:rPr lang="en-US" sz="1800"/>
              <a:t>The USG requires a more comprehensive strategic framework in which NE and other elements can work and cooperate.  The subcommittee suggests a policy-level interagency discussion</a:t>
            </a:r>
            <a:endParaRPr lang="en-US" sz="1800" b="1"/>
          </a:p>
        </p:txBody>
      </p:sp>
      <p:sp>
        <p:nvSpPr>
          <p:cNvPr id="12" name="Content Placeholder 2">
            <a:extLst>
              <a:ext uri="{FF2B5EF4-FFF2-40B4-BE49-F238E27FC236}">
                <a16:creationId xmlns:a16="http://schemas.microsoft.com/office/drawing/2014/main" id="{0E8AFFD3-0D3F-C049-F427-D1B57097510F}"/>
              </a:ext>
            </a:extLst>
          </p:cNvPr>
          <p:cNvSpPr txBox="1">
            <a:spLocks/>
          </p:cNvSpPr>
          <p:nvPr/>
        </p:nvSpPr>
        <p:spPr bwMode="auto">
          <a:xfrm>
            <a:off x="2202905" y="4366033"/>
            <a:ext cx="3335042" cy="14463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171450" indent="-171450" algn="l" rtl="0" eaLnBrk="0" fontAlgn="base" hangingPunct="0">
              <a:lnSpc>
                <a:spcPct val="90000"/>
              </a:lnSpc>
              <a:spcBef>
                <a:spcPts val="750"/>
              </a:spcBef>
              <a:spcAft>
                <a:spcPct val="0"/>
              </a:spcAft>
              <a:buFont typeface="Arial" panose="020B0604020202020204" pitchFamily="34" charset="0"/>
              <a:buChar char="•"/>
              <a:defRPr sz="2100" kern="1200">
                <a:solidFill>
                  <a:schemeClr val="tx1"/>
                </a:solidFill>
                <a:latin typeface="+mn-lt"/>
                <a:ea typeface="+mn-ea"/>
                <a:cs typeface="+mn-cs"/>
              </a:defRPr>
            </a:lvl1pPr>
            <a:lvl2pPr marL="514350" indent="-171450" algn="l" rtl="0" eaLnBrk="0" fontAlgn="base" hangingPunct="0">
              <a:lnSpc>
                <a:spcPct val="90000"/>
              </a:lnSpc>
              <a:spcBef>
                <a:spcPts val="375"/>
              </a:spcBef>
              <a:spcAft>
                <a:spcPct val="0"/>
              </a:spcAft>
              <a:buFont typeface="Arial" panose="020B0604020202020204" pitchFamily="34" charset="0"/>
              <a:buChar char="•"/>
              <a:defRPr kern="1200">
                <a:solidFill>
                  <a:schemeClr val="tx1"/>
                </a:solidFill>
                <a:latin typeface="+mn-lt"/>
                <a:ea typeface="+mn-ea"/>
                <a:cs typeface="+mn-cs"/>
              </a:defRPr>
            </a:lvl2pPr>
            <a:lvl3pPr marL="857250" indent="-171450" algn="l" rtl="0" eaLnBrk="0" fontAlgn="base" hangingPunct="0">
              <a:lnSpc>
                <a:spcPct val="90000"/>
              </a:lnSpc>
              <a:spcBef>
                <a:spcPts val="375"/>
              </a:spcBef>
              <a:spcAft>
                <a:spcPct val="0"/>
              </a:spcAft>
              <a:buFont typeface="Arial" panose="020B0604020202020204" pitchFamily="34" charset="0"/>
              <a:buChar char="•"/>
              <a:defRPr sz="1500" kern="1200">
                <a:solidFill>
                  <a:schemeClr val="tx1"/>
                </a:solidFill>
                <a:latin typeface="+mn-lt"/>
                <a:ea typeface="+mn-ea"/>
                <a:cs typeface="+mn-cs"/>
              </a:defRPr>
            </a:lvl3pPr>
            <a:lvl4pPr marL="1200150" indent="-171450" algn="l" rtl="0" eaLnBrk="0" fontAlgn="base" hangingPunct="0">
              <a:lnSpc>
                <a:spcPct val="90000"/>
              </a:lnSpc>
              <a:spcBef>
                <a:spcPts val="375"/>
              </a:spcBef>
              <a:spcAft>
                <a:spcPct val="0"/>
              </a:spcAft>
              <a:buFont typeface="Arial" panose="020B0604020202020204" pitchFamily="34" charset="0"/>
              <a:buChar char="•"/>
              <a:defRPr kern="1200">
                <a:solidFill>
                  <a:schemeClr val="tx1"/>
                </a:solidFill>
                <a:latin typeface="+mn-lt"/>
                <a:ea typeface="+mn-ea"/>
                <a:cs typeface="+mn-cs"/>
              </a:defRPr>
            </a:lvl4pPr>
            <a:lvl5pPr marL="1543050" indent="-171450" algn="l" rtl="0" eaLnBrk="0" fontAlgn="base" hangingPunct="0">
              <a:lnSpc>
                <a:spcPct val="90000"/>
              </a:lnSpc>
              <a:spcBef>
                <a:spcPts val="375"/>
              </a:spcBef>
              <a:spcAft>
                <a:spcPct val="0"/>
              </a:spcAft>
              <a:buFont typeface="Arial" panose="020B0604020202020204" pitchFamily="34" charset="0"/>
              <a:buChar char="•"/>
              <a:defRPr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buNone/>
            </a:pPr>
            <a:r>
              <a:rPr lang="en-US" sz="2000" b="1"/>
              <a:t>Long-term investment in overseas relationships: </a:t>
            </a:r>
            <a:r>
              <a:rPr lang="en-US" sz="1800"/>
              <a:t>The US should provide enhanced support to identify and develop potential customer nations</a:t>
            </a:r>
            <a:endParaRPr lang="en-US" sz="1800" b="1"/>
          </a:p>
        </p:txBody>
      </p:sp>
      <p:sp>
        <p:nvSpPr>
          <p:cNvPr id="13" name="Content Placeholder 2">
            <a:extLst>
              <a:ext uri="{FF2B5EF4-FFF2-40B4-BE49-F238E27FC236}">
                <a16:creationId xmlns:a16="http://schemas.microsoft.com/office/drawing/2014/main" id="{6B623ED7-621D-2BED-01B2-DF3BC0812D44}"/>
              </a:ext>
            </a:extLst>
          </p:cNvPr>
          <p:cNvSpPr txBox="1">
            <a:spLocks/>
          </p:cNvSpPr>
          <p:nvPr/>
        </p:nvSpPr>
        <p:spPr bwMode="auto">
          <a:xfrm>
            <a:off x="7036845" y="4366033"/>
            <a:ext cx="3335042" cy="14463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171450" indent="-171450" algn="l" rtl="0" eaLnBrk="0" fontAlgn="base" hangingPunct="0">
              <a:lnSpc>
                <a:spcPct val="90000"/>
              </a:lnSpc>
              <a:spcBef>
                <a:spcPts val="750"/>
              </a:spcBef>
              <a:spcAft>
                <a:spcPct val="0"/>
              </a:spcAft>
              <a:buFont typeface="Arial" panose="020B0604020202020204" pitchFamily="34" charset="0"/>
              <a:buChar char="•"/>
              <a:defRPr sz="2100" kern="1200">
                <a:solidFill>
                  <a:schemeClr val="tx1"/>
                </a:solidFill>
                <a:latin typeface="+mn-lt"/>
                <a:ea typeface="+mn-ea"/>
                <a:cs typeface="+mn-cs"/>
              </a:defRPr>
            </a:lvl1pPr>
            <a:lvl2pPr marL="514350" indent="-171450" algn="l" rtl="0" eaLnBrk="0" fontAlgn="base" hangingPunct="0">
              <a:lnSpc>
                <a:spcPct val="90000"/>
              </a:lnSpc>
              <a:spcBef>
                <a:spcPts val="375"/>
              </a:spcBef>
              <a:spcAft>
                <a:spcPct val="0"/>
              </a:spcAft>
              <a:buFont typeface="Arial" panose="020B0604020202020204" pitchFamily="34" charset="0"/>
              <a:buChar char="•"/>
              <a:defRPr kern="1200">
                <a:solidFill>
                  <a:schemeClr val="tx1"/>
                </a:solidFill>
                <a:latin typeface="+mn-lt"/>
                <a:ea typeface="+mn-ea"/>
                <a:cs typeface="+mn-cs"/>
              </a:defRPr>
            </a:lvl2pPr>
            <a:lvl3pPr marL="857250" indent="-171450" algn="l" rtl="0" eaLnBrk="0" fontAlgn="base" hangingPunct="0">
              <a:lnSpc>
                <a:spcPct val="90000"/>
              </a:lnSpc>
              <a:spcBef>
                <a:spcPts val="375"/>
              </a:spcBef>
              <a:spcAft>
                <a:spcPct val="0"/>
              </a:spcAft>
              <a:buFont typeface="Arial" panose="020B0604020202020204" pitchFamily="34" charset="0"/>
              <a:buChar char="•"/>
              <a:defRPr sz="1500" kern="1200">
                <a:solidFill>
                  <a:schemeClr val="tx1"/>
                </a:solidFill>
                <a:latin typeface="+mn-lt"/>
                <a:ea typeface="+mn-ea"/>
                <a:cs typeface="+mn-cs"/>
              </a:defRPr>
            </a:lvl3pPr>
            <a:lvl4pPr marL="1200150" indent="-171450" algn="l" rtl="0" eaLnBrk="0" fontAlgn="base" hangingPunct="0">
              <a:lnSpc>
                <a:spcPct val="90000"/>
              </a:lnSpc>
              <a:spcBef>
                <a:spcPts val="375"/>
              </a:spcBef>
              <a:spcAft>
                <a:spcPct val="0"/>
              </a:spcAft>
              <a:buFont typeface="Arial" panose="020B0604020202020204" pitchFamily="34" charset="0"/>
              <a:buChar char="•"/>
              <a:defRPr kern="1200">
                <a:solidFill>
                  <a:schemeClr val="tx1"/>
                </a:solidFill>
                <a:latin typeface="+mn-lt"/>
                <a:ea typeface="+mn-ea"/>
                <a:cs typeface="+mn-cs"/>
              </a:defRPr>
            </a:lvl4pPr>
            <a:lvl5pPr marL="1543050" indent="-171450" algn="l" rtl="0" eaLnBrk="0" fontAlgn="base" hangingPunct="0">
              <a:lnSpc>
                <a:spcPct val="90000"/>
              </a:lnSpc>
              <a:spcBef>
                <a:spcPts val="375"/>
              </a:spcBef>
              <a:spcAft>
                <a:spcPct val="0"/>
              </a:spcAft>
              <a:buFont typeface="Arial" panose="020B0604020202020204" pitchFamily="34" charset="0"/>
              <a:buChar char="•"/>
              <a:defRPr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buNone/>
            </a:pPr>
            <a:r>
              <a:rPr lang="en-US" sz="2000" b="1"/>
              <a:t>Export policies: </a:t>
            </a:r>
            <a:r>
              <a:rPr lang="en-US" sz="1800"/>
              <a:t>As the global market for nuclear exports rapidly expands, framework agreements will be needed with more partner countries</a:t>
            </a:r>
            <a:endParaRPr lang="en-US" sz="1800" b="1"/>
          </a:p>
        </p:txBody>
      </p:sp>
      <p:sp>
        <p:nvSpPr>
          <p:cNvPr id="15" name="Content Placeholder 2">
            <a:extLst>
              <a:ext uri="{FF2B5EF4-FFF2-40B4-BE49-F238E27FC236}">
                <a16:creationId xmlns:a16="http://schemas.microsoft.com/office/drawing/2014/main" id="{1B58512A-9CE6-EA70-4C65-167BB98553E4}"/>
              </a:ext>
            </a:extLst>
          </p:cNvPr>
          <p:cNvSpPr txBox="1">
            <a:spLocks/>
          </p:cNvSpPr>
          <p:nvPr/>
        </p:nvSpPr>
        <p:spPr bwMode="auto">
          <a:xfrm>
            <a:off x="7036845" y="1951453"/>
            <a:ext cx="3335042" cy="14463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171450" indent="-171450" algn="l" rtl="0" eaLnBrk="0" fontAlgn="base" hangingPunct="0">
              <a:lnSpc>
                <a:spcPct val="90000"/>
              </a:lnSpc>
              <a:spcBef>
                <a:spcPts val="750"/>
              </a:spcBef>
              <a:spcAft>
                <a:spcPct val="0"/>
              </a:spcAft>
              <a:buFont typeface="Arial" panose="020B0604020202020204" pitchFamily="34" charset="0"/>
              <a:buChar char="•"/>
              <a:defRPr sz="2100" kern="1200">
                <a:solidFill>
                  <a:schemeClr val="tx1"/>
                </a:solidFill>
                <a:latin typeface="+mn-lt"/>
                <a:ea typeface="+mn-ea"/>
                <a:cs typeface="+mn-cs"/>
              </a:defRPr>
            </a:lvl1pPr>
            <a:lvl2pPr marL="514350" indent="-171450" algn="l" rtl="0" eaLnBrk="0" fontAlgn="base" hangingPunct="0">
              <a:lnSpc>
                <a:spcPct val="90000"/>
              </a:lnSpc>
              <a:spcBef>
                <a:spcPts val="375"/>
              </a:spcBef>
              <a:spcAft>
                <a:spcPct val="0"/>
              </a:spcAft>
              <a:buFont typeface="Arial" panose="020B0604020202020204" pitchFamily="34" charset="0"/>
              <a:buChar char="•"/>
              <a:defRPr kern="1200">
                <a:solidFill>
                  <a:schemeClr val="tx1"/>
                </a:solidFill>
                <a:latin typeface="+mn-lt"/>
                <a:ea typeface="+mn-ea"/>
                <a:cs typeface="+mn-cs"/>
              </a:defRPr>
            </a:lvl2pPr>
            <a:lvl3pPr marL="857250" indent="-171450" algn="l" rtl="0" eaLnBrk="0" fontAlgn="base" hangingPunct="0">
              <a:lnSpc>
                <a:spcPct val="90000"/>
              </a:lnSpc>
              <a:spcBef>
                <a:spcPts val="375"/>
              </a:spcBef>
              <a:spcAft>
                <a:spcPct val="0"/>
              </a:spcAft>
              <a:buFont typeface="Arial" panose="020B0604020202020204" pitchFamily="34" charset="0"/>
              <a:buChar char="•"/>
              <a:defRPr sz="1500" kern="1200">
                <a:solidFill>
                  <a:schemeClr val="tx1"/>
                </a:solidFill>
                <a:latin typeface="+mn-lt"/>
                <a:ea typeface="+mn-ea"/>
                <a:cs typeface="+mn-cs"/>
              </a:defRPr>
            </a:lvl3pPr>
            <a:lvl4pPr marL="1200150" indent="-171450" algn="l" rtl="0" eaLnBrk="0" fontAlgn="base" hangingPunct="0">
              <a:lnSpc>
                <a:spcPct val="90000"/>
              </a:lnSpc>
              <a:spcBef>
                <a:spcPts val="375"/>
              </a:spcBef>
              <a:spcAft>
                <a:spcPct val="0"/>
              </a:spcAft>
              <a:buFont typeface="Arial" panose="020B0604020202020204" pitchFamily="34" charset="0"/>
              <a:buChar char="•"/>
              <a:defRPr kern="1200">
                <a:solidFill>
                  <a:schemeClr val="tx1"/>
                </a:solidFill>
                <a:latin typeface="+mn-lt"/>
                <a:ea typeface="+mn-ea"/>
                <a:cs typeface="+mn-cs"/>
              </a:defRPr>
            </a:lvl4pPr>
            <a:lvl5pPr marL="1543050" indent="-171450" algn="l" rtl="0" eaLnBrk="0" fontAlgn="base" hangingPunct="0">
              <a:lnSpc>
                <a:spcPct val="90000"/>
              </a:lnSpc>
              <a:spcBef>
                <a:spcPts val="375"/>
              </a:spcBef>
              <a:spcAft>
                <a:spcPct val="0"/>
              </a:spcAft>
              <a:buFont typeface="Arial" panose="020B0604020202020204" pitchFamily="34" charset="0"/>
              <a:buChar char="•"/>
              <a:defRPr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buNone/>
            </a:pPr>
            <a:r>
              <a:rPr lang="en-US" sz="2000" b="1"/>
              <a:t>Financing of Overseas Projects: </a:t>
            </a:r>
            <a:r>
              <a:rPr lang="en-US" sz="1800"/>
              <a:t>Financing is critical to U.S. nuclear competitiveness abroad. Ex-IM, U.S. IDFC and USTDA must have the capacity and latitude to compete and multinational institutions should be updated</a:t>
            </a:r>
            <a:endParaRPr lang="en-US" sz="1800" b="1"/>
          </a:p>
        </p:txBody>
      </p:sp>
    </p:spTree>
    <p:extLst>
      <p:ext uri="{BB962C8B-B14F-4D97-AF65-F5344CB8AC3E}">
        <p14:creationId xmlns:p14="http://schemas.microsoft.com/office/powerpoint/2010/main" val="2990070202"/>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A3E15E3-804B-C0F2-687C-DB9E9E893EE6}"/>
              </a:ext>
            </a:extLst>
          </p:cNvPr>
          <p:cNvSpPr>
            <a:spLocks noGrp="1"/>
          </p:cNvSpPr>
          <p:nvPr>
            <p:ph type="title"/>
          </p:nvPr>
        </p:nvSpPr>
        <p:spPr/>
        <p:txBody>
          <a:bodyPr/>
          <a:lstStyle/>
          <a:p>
            <a:r>
              <a:rPr lang="en-US"/>
              <a:t>Focus Areas for the subcommittee</a:t>
            </a:r>
          </a:p>
        </p:txBody>
      </p:sp>
      <p:sp>
        <p:nvSpPr>
          <p:cNvPr id="4" name="Slide Number Placeholder 3">
            <a:extLst>
              <a:ext uri="{FF2B5EF4-FFF2-40B4-BE49-F238E27FC236}">
                <a16:creationId xmlns:a16="http://schemas.microsoft.com/office/drawing/2014/main" id="{F748BA7A-7866-F9F1-2F05-BFC7CA5E8FBE}"/>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7926BA8-E0F8-42A8-A83C-EBAA1A1E8FCD}" type="slidenum">
              <a:rPr kumimoji="0" lang="en-US" sz="900" b="0" i="0" u="none" strike="noStrike" kern="1200" cap="none" spc="0" normalizeH="0" baseline="0" noProof="0" smtClean="0">
                <a:ln>
                  <a:noFill/>
                </a:ln>
                <a:solidFill>
                  <a:srgbClr val="214877">
                    <a:tint val="75000"/>
                  </a:srgbClr>
                </a:solidFill>
                <a:effectLst/>
                <a:uLnTx/>
                <a:uFillTx/>
                <a:latin typeface="Franklin Gothic Boo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6</a:t>
            </a:fld>
            <a:endParaRPr kumimoji="0" lang="en-US" sz="900" b="0" i="0" u="none" strike="noStrike" kern="1200" cap="none" spc="0" normalizeH="0" baseline="0" noProof="0">
              <a:ln>
                <a:noFill/>
              </a:ln>
              <a:solidFill>
                <a:srgbClr val="214877">
                  <a:tint val="75000"/>
                </a:srgbClr>
              </a:solidFill>
              <a:effectLst/>
              <a:uLnTx/>
              <a:uFillTx/>
              <a:latin typeface="Franklin Gothic Book"/>
              <a:ea typeface="+mn-ea"/>
              <a:cs typeface="+mn-cs"/>
            </a:endParaRPr>
          </a:p>
        </p:txBody>
      </p:sp>
      <p:sp>
        <p:nvSpPr>
          <p:cNvPr id="5" name="Content Placeholder 2">
            <a:extLst>
              <a:ext uri="{FF2B5EF4-FFF2-40B4-BE49-F238E27FC236}">
                <a16:creationId xmlns:a16="http://schemas.microsoft.com/office/drawing/2014/main" id="{F9204619-21A8-6C3B-29E8-EC88458711B6}"/>
              </a:ext>
            </a:extLst>
          </p:cNvPr>
          <p:cNvSpPr txBox="1">
            <a:spLocks/>
          </p:cNvSpPr>
          <p:nvPr/>
        </p:nvSpPr>
        <p:spPr bwMode="auto">
          <a:xfrm>
            <a:off x="990600" y="1745265"/>
            <a:ext cx="10515600" cy="46167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171450" indent="-171450" algn="l" rtl="0" eaLnBrk="0" fontAlgn="base" hangingPunct="0">
              <a:lnSpc>
                <a:spcPct val="90000"/>
              </a:lnSpc>
              <a:spcBef>
                <a:spcPts val="750"/>
              </a:spcBef>
              <a:spcAft>
                <a:spcPct val="0"/>
              </a:spcAft>
              <a:buFont typeface="Arial" panose="020B0604020202020204" pitchFamily="34" charset="0"/>
              <a:buChar char="•"/>
              <a:defRPr sz="2100" kern="1200">
                <a:solidFill>
                  <a:schemeClr val="tx1"/>
                </a:solidFill>
                <a:latin typeface="+mn-lt"/>
                <a:ea typeface="+mn-ea"/>
                <a:cs typeface="+mn-cs"/>
              </a:defRPr>
            </a:lvl1pPr>
            <a:lvl2pPr marL="514350" indent="-171450" algn="l" rtl="0" eaLnBrk="0" fontAlgn="base" hangingPunct="0">
              <a:lnSpc>
                <a:spcPct val="90000"/>
              </a:lnSpc>
              <a:spcBef>
                <a:spcPts val="375"/>
              </a:spcBef>
              <a:spcAft>
                <a:spcPct val="0"/>
              </a:spcAft>
              <a:buFont typeface="Arial" panose="020B0604020202020204" pitchFamily="34" charset="0"/>
              <a:buChar char="•"/>
              <a:defRPr kern="1200">
                <a:solidFill>
                  <a:schemeClr val="tx1"/>
                </a:solidFill>
                <a:latin typeface="+mn-lt"/>
                <a:ea typeface="+mn-ea"/>
                <a:cs typeface="+mn-cs"/>
              </a:defRPr>
            </a:lvl2pPr>
            <a:lvl3pPr marL="857250" indent="-171450" algn="l" rtl="0" eaLnBrk="0" fontAlgn="base" hangingPunct="0">
              <a:lnSpc>
                <a:spcPct val="90000"/>
              </a:lnSpc>
              <a:spcBef>
                <a:spcPts val="375"/>
              </a:spcBef>
              <a:spcAft>
                <a:spcPct val="0"/>
              </a:spcAft>
              <a:buFont typeface="Arial" panose="020B0604020202020204" pitchFamily="34" charset="0"/>
              <a:buChar char="•"/>
              <a:defRPr sz="1500" kern="1200">
                <a:solidFill>
                  <a:schemeClr val="tx1"/>
                </a:solidFill>
                <a:latin typeface="+mn-lt"/>
                <a:ea typeface="+mn-ea"/>
                <a:cs typeface="+mn-cs"/>
              </a:defRPr>
            </a:lvl3pPr>
            <a:lvl4pPr marL="1200150" indent="-171450" algn="l" rtl="0" eaLnBrk="0" fontAlgn="base" hangingPunct="0">
              <a:lnSpc>
                <a:spcPct val="90000"/>
              </a:lnSpc>
              <a:spcBef>
                <a:spcPts val="375"/>
              </a:spcBef>
              <a:spcAft>
                <a:spcPct val="0"/>
              </a:spcAft>
              <a:buFont typeface="Arial" panose="020B0604020202020204" pitchFamily="34" charset="0"/>
              <a:buChar char="•"/>
              <a:defRPr kern="1200">
                <a:solidFill>
                  <a:schemeClr val="tx1"/>
                </a:solidFill>
                <a:latin typeface="+mn-lt"/>
                <a:ea typeface="+mn-ea"/>
                <a:cs typeface="+mn-cs"/>
              </a:defRPr>
            </a:lvl4pPr>
            <a:lvl5pPr marL="1543050" indent="-171450" algn="l" rtl="0" eaLnBrk="0" fontAlgn="base" hangingPunct="0">
              <a:lnSpc>
                <a:spcPct val="90000"/>
              </a:lnSpc>
              <a:spcBef>
                <a:spcPts val="375"/>
              </a:spcBef>
              <a:spcAft>
                <a:spcPct val="0"/>
              </a:spcAft>
              <a:buFont typeface="Arial" panose="020B0604020202020204" pitchFamily="34" charset="0"/>
              <a:buChar char="•"/>
              <a:defRPr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US" sz="2400"/>
              <a:t>Ensure a U</a:t>
            </a:r>
            <a:r>
              <a:rPr lang="en-US" sz="2400" b="1"/>
              <a:t>.S. solution for fuel supply</a:t>
            </a:r>
            <a:r>
              <a:rPr lang="en-US" sz="2400"/>
              <a:t>, particularly LEU and HALEU. This is a threshold issue for both the near term and the long term and is essential in building the confidence of potential partners.  Further work is needed; suggest cooperation with Infrastructure subcommittee.</a:t>
            </a:r>
          </a:p>
          <a:p>
            <a:endParaRPr lang="en-US" sz="2400"/>
          </a:p>
          <a:p>
            <a:r>
              <a:rPr lang="en-US" sz="2400"/>
              <a:t>The Subcommittee plans to make </a:t>
            </a:r>
            <a:r>
              <a:rPr lang="en-US" sz="2400" b="1"/>
              <a:t>Financing of Overseas Projects </a:t>
            </a:r>
            <a:r>
              <a:rPr lang="en-US" sz="2400"/>
              <a:t>a key focus area for the coming months and will investigate the views of the involved organizations, both in the US Government and in international financial institutions. The Subcommittee will also maintain awareness of relevant legislation pending in Congress</a:t>
            </a:r>
          </a:p>
          <a:p>
            <a:pPr lvl="1"/>
            <a:endParaRPr lang="en-US" sz="2000"/>
          </a:p>
        </p:txBody>
      </p:sp>
      <p:pic>
        <p:nvPicPr>
          <p:cNvPr id="7" name="Graphic 6" descr="Badge 6 with solid fill">
            <a:extLst>
              <a:ext uri="{FF2B5EF4-FFF2-40B4-BE49-F238E27FC236}">
                <a16:creationId xmlns:a16="http://schemas.microsoft.com/office/drawing/2014/main" id="{AAE79607-1B5D-DBD4-36F4-83C42D815F0A}"/>
              </a:ext>
            </a:extLst>
          </p:cNvPr>
          <p:cNvPicPr>
            <a:picLocks noChangeAspect="1"/>
          </p:cNvPicPr>
          <p:nvPr/>
        </p:nvPicPr>
        <p:blipFill>
          <a:blip r:embed="rId2" cstate="hq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685800" y="3521289"/>
            <a:ext cx="564502" cy="564502"/>
          </a:xfrm>
          <a:prstGeom prst="rect">
            <a:avLst/>
          </a:prstGeom>
        </p:spPr>
      </p:pic>
      <p:pic>
        <p:nvPicPr>
          <p:cNvPr id="9" name="Graphic 8" descr="Badge 5 with solid fill">
            <a:extLst>
              <a:ext uri="{FF2B5EF4-FFF2-40B4-BE49-F238E27FC236}">
                <a16:creationId xmlns:a16="http://schemas.microsoft.com/office/drawing/2014/main" id="{CD8EC248-82C0-3B12-F184-66F062DBE0A2}"/>
              </a:ext>
            </a:extLst>
          </p:cNvPr>
          <p:cNvPicPr>
            <a:picLocks noChangeAspect="1"/>
          </p:cNvPicPr>
          <p:nvPr/>
        </p:nvPicPr>
        <p:blipFill>
          <a:blip r:embed="rId4" cstate="hq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685800" y="1652410"/>
            <a:ext cx="564502" cy="564502"/>
          </a:xfrm>
          <a:prstGeom prst="rect">
            <a:avLst/>
          </a:prstGeom>
        </p:spPr>
      </p:pic>
    </p:spTree>
    <p:extLst>
      <p:ext uri="{BB962C8B-B14F-4D97-AF65-F5344CB8AC3E}">
        <p14:creationId xmlns:p14="http://schemas.microsoft.com/office/powerpoint/2010/main" val="1363283921"/>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Title 5">
            <a:extLst>
              <a:ext uri="{FF2B5EF4-FFF2-40B4-BE49-F238E27FC236}">
                <a16:creationId xmlns:a16="http://schemas.microsoft.com/office/drawing/2014/main" id="{7E9EEA3E-45E3-0239-E69A-BE3F5FBC9AB7}"/>
              </a:ext>
            </a:extLst>
          </p:cNvPr>
          <p:cNvSpPr>
            <a:spLocks noGrp="1" noChangeArrowheads="1"/>
          </p:cNvSpPr>
          <p:nvPr>
            <p:ph type="ctrTitle"/>
          </p:nvPr>
        </p:nvSpPr>
        <p:spPr>
          <a:xfrm>
            <a:off x="609600" y="1066800"/>
            <a:ext cx="10165976" cy="2590800"/>
          </a:xfrm>
        </p:spPr>
        <p:txBody>
          <a:bodyPr/>
          <a:lstStyle/>
          <a:p>
            <a:pPr algn="l"/>
            <a:r>
              <a:rPr lang="en-US" altLang="en-US" sz="5400" b="1">
                <a:solidFill>
                  <a:schemeClr val="bg1"/>
                </a:solidFill>
              </a:rPr>
              <a:t>Break</a:t>
            </a:r>
          </a:p>
        </p:txBody>
      </p:sp>
      <p:sp>
        <p:nvSpPr>
          <p:cNvPr id="20483" name="Subtitle 6">
            <a:extLst>
              <a:ext uri="{FF2B5EF4-FFF2-40B4-BE49-F238E27FC236}">
                <a16:creationId xmlns:a16="http://schemas.microsoft.com/office/drawing/2014/main" id="{681152D8-4998-8D5B-9854-96A67EBE53DE}"/>
              </a:ext>
            </a:extLst>
          </p:cNvPr>
          <p:cNvSpPr>
            <a:spLocks noGrp="1" noChangeArrowheads="1"/>
          </p:cNvSpPr>
          <p:nvPr>
            <p:ph type="subTitle" idx="1"/>
          </p:nvPr>
        </p:nvSpPr>
        <p:spPr>
          <a:xfrm>
            <a:off x="609600" y="3276600"/>
            <a:ext cx="8816975" cy="2209800"/>
          </a:xfrm>
        </p:spPr>
        <p:txBody>
          <a:bodyPr/>
          <a:lstStyle/>
          <a:p>
            <a:pPr algn="l"/>
            <a:endParaRPr lang="en-US" altLang="en-US" sz="2000" b="1" i="1">
              <a:solidFill>
                <a:schemeClr val="bg1"/>
              </a:solidFill>
            </a:endParaRPr>
          </a:p>
          <a:p>
            <a:pPr algn="l"/>
            <a:endParaRPr lang="en-US" altLang="en-US" sz="2000" b="1" i="1">
              <a:solidFill>
                <a:schemeClr val="bg1"/>
              </a:solidFill>
            </a:endParaRPr>
          </a:p>
          <a:p>
            <a:pPr algn="l"/>
            <a:r>
              <a:rPr lang="en-US" altLang="en-US" b="1">
                <a:solidFill>
                  <a:schemeClr val="bg1"/>
                </a:solidFill>
              </a:rPr>
              <a:t>Return: 3:15 pm</a:t>
            </a:r>
            <a:endParaRPr lang="en-US" altLang="en-US" sz="2000" b="1" i="1">
              <a:solidFill>
                <a:schemeClr val="bg1"/>
              </a:solidFill>
              <a:cs typeface="Calibri"/>
            </a:endParaRPr>
          </a:p>
        </p:txBody>
      </p:sp>
    </p:spTree>
    <p:extLst>
      <p:ext uri="{BB962C8B-B14F-4D97-AF65-F5344CB8AC3E}">
        <p14:creationId xmlns:p14="http://schemas.microsoft.com/office/powerpoint/2010/main" val="1825030323"/>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Title 5">
            <a:extLst>
              <a:ext uri="{FF2B5EF4-FFF2-40B4-BE49-F238E27FC236}">
                <a16:creationId xmlns:a16="http://schemas.microsoft.com/office/drawing/2014/main" id="{7E9EEA3E-45E3-0239-E69A-BE3F5FBC9AB7}"/>
              </a:ext>
            </a:extLst>
          </p:cNvPr>
          <p:cNvSpPr>
            <a:spLocks noGrp="1" noChangeArrowheads="1"/>
          </p:cNvSpPr>
          <p:nvPr>
            <p:ph type="ctrTitle"/>
          </p:nvPr>
        </p:nvSpPr>
        <p:spPr>
          <a:xfrm>
            <a:off x="609600" y="1066800"/>
            <a:ext cx="10165976" cy="2590800"/>
          </a:xfrm>
        </p:spPr>
        <p:txBody>
          <a:bodyPr/>
          <a:lstStyle/>
          <a:p>
            <a:pPr algn="l"/>
            <a:r>
              <a:rPr lang="en-US" altLang="en-US" sz="5400" b="1">
                <a:solidFill>
                  <a:schemeClr val="bg1"/>
                </a:solidFill>
              </a:rPr>
              <a:t>Public Comment</a:t>
            </a:r>
          </a:p>
        </p:txBody>
      </p:sp>
      <p:sp>
        <p:nvSpPr>
          <p:cNvPr id="3" name="Subtitle 6">
            <a:extLst>
              <a:ext uri="{FF2B5EF4-FFF2-40B4-BE49-F238E27FC236}">
                <a16:creationId xmlns:a16="http://schemas.microsoft.com/office/drawing/2014/main" id="{1B250B5C-00FA-EEA8-785C-506A59E2AAB4}"/>
              </a:ext>
            </a:extLst>
          </p:cNvPr>
          <p:cNvSpPr>
            <a:spLocks noGrp="1" noChangeArrowheads="1"/>
          </p:cNvSpPr>
          <p:nvPr>
            <p:ph type="subTitle" idx="1"/>
          </p:nvPr>
        </p:nvSpPr>
        <p:spPr>
          <a:xfrm>
            <a:off x="609600" y="3276600"/>
            <a:ext cx="8816975" cy="2209800"/>
          </a:xfrm>
        </p:spPr>
        <p:txBody>
          <a:bodyPr/>
          <a:lstStyle/>
          <a:p>
            <a:pPr algn="l"/>
            <a:endParaRPr lang="en-US" altLang="en-US" sz="2000" b="1" i="1">
              <a:solidFill>
                <a:schemeClr val="bg1"/>
              </a:solidFill>
            </a:endParaRPr>
          </a:p>
          <a:p>
            <a:pPr algn="l"/>
            <a:endParaRPr lang="en-US" altLang="en-US" sz="2000" b="1" i="1">
              <a:solidFill>
                <a:schemeClr val="bg1"/>
              </a:solidFill>
            </a:endParaRPr>
          </a:p>
          <a:p>
            <a:pPr algn="l"/>
            <a:r>
              <a:rPr lang="en-US" altLang="en-US" b="1">
                <a:solidFill>
                  <a:schemeClr val="bg1"/>
                </a:solidFill>
              </a:rPr>
              <a:t>3:15 pm – 3:35 pm</a:t>
            </a:r>
            <a:endParaRPr lang="en-US" altLang="en-US" sz="2000" b="1" i="1">
              <a:solidFill>
                <a:schemeClr val="bg1"/>
              </a:solidFill>
              <a:cs typeface="Calibri"/>
            </a:endParaRPr>
          </a:p>
        </p:txBody>
      </p:sp>
    </p:spTree>
    <p:extLst>
      <p:ext uri="{BB962C8B-B14F-4D97-AF65-F5344CB8AC3E}">
        <p14:creationId xmlns:p14="http://schemas.microsoft.com/office/powerpoint/2010/main" val="1238406532"/>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Title 5">
            <a:extLst>
              <a:ext uri="{FF2B5EF4-FFF2-40B4-BE49-F238E27FC236}">
                <a16:creationId xmlns:a16="http://schemas.microsoft.com/office/drawing/2014/main" id="{7E9EEA3E-45E3-0239-E69A-BE3F5FBC9AB7}"/>
              </a:ext>
            </a:extLst>
          </p:cNvPr>
          <p:cNvSpPr>
            <a:spLocks noGrp="1" noChangeArrowheads="1"/>
          </p:cNvSpPr>
          <p:nvPr>
            <p:ph type="ctrTitle"/>
          </p:nvPr>
        </p:nvSpPr>
        <p:spPr>
          <a:xfrm>
            <a:off x="609600" y="1066800"/>
            <a:ext cx="10165976" cy="2590800"/>
          </a:xfrm>
        </p:spPr>
        <p:txBody>
          <a:bodyPr/>
          <a:lstStyle/>
          <a:p>
            <a:pPr algn="l"/>
            <a:r>
              <a:rPr lang="en-US" altLang="en-US" sz="5400" b="1">
                <a:solidFill>
                  <a:schemeClr val="bg1"/>
                </a:solidFill>
              </a:rPr>
              <a:t>Closing Remarks</a:t>
            </a:r>
          </a:p>
        </p:txBody>
      </p:sp>
      <p:sp>
        <p:nvSpPr>
          <p:cNvPr id="20483" name="Subtitle 6">
            <a:extLst>
              <a:ext uri="{FF2B5EF4-FFF2-40B4-BE49-F238E27FC236}">
                <a16:creationId xmlns:a16="http://schemas.microsoft.com/office/drawing/2014/main" id="{681152D8-4998-8D5B-9854-96A67EBE53DE}"/>
              </a:ext>
            </a:extLst>
          </p:cNvPr>
          <p:cNvSpPr>
            <a:spLocks noGrp="1" noChangeArrowheads="1"/>
          </p:cNvSpPr>
          <p:nvPr>
            <p:ph type="subTitle" idx="1"/>
          </p:nvPr>
        </p:nvSpPr>
        <p:spPr>
          <a:xfrm>
            <a:off x="609600" y="3276600"/>
            <a:ext cx="8816975" cy="2209800"/>
          </a:xfrm>
        </p:spPr>
        <p:txBody>
          <a:bodyPr/>
          <a:lstStyle/>
          <a:p>
            <a:pPr algn="l"/>
            <a:endParaRPr lang="en-US" altLang="en-US" sz="2000" b="1" i="1">
              <a:solidFill>
                <a:schemeClr val="bg1"/>
              </a:solidFill>
            </a:endParaRPr>
          </a:p>
          <a:p>
            <a:pPr algn="l"/>
            <a:endParaRPr lang="en-US" altLang="en-US" sz="2000" b="1" i="1">
              <a:solidFill>
                <a:schemeClr val="bg1"/>
              </a:solidFill>
            </a:endParaRPr>
          </a:p>
          <a:p>
            <a:pPr algn="l"/>
            <a:r>
              <a:rPr lang="en-US" b="1">
                <a:solidFill>
                  <a:schemeClr val="bg1"/>
                </a:solidFill>
              </a:rPr>
              <a:t>Assistant Secretary Dr. Katy Huff</a:t>
            </a:r>
            <a:endParaRPr lang="en-US">
              <a:solidFill>
                <a:schemeClr val="bg1"/>
              </a:solidFill>
            </a:endParaRPr>
          </a:p>
          <a:p>
            <a:pPr algn="l"/>
            <a:r>
              <a:rPr lang="en-US" b="1">
                <a:solidFill>
                  <a:schemeClr val="bg1"/>
                </a:solidFill>
              </a:rPr>
              <a:t>The Honorable William D. Magwood, IV, Chair</a:t>
            </a:r>
            <a:endParaRPr lang="en-US">
              <a:solidFill>
                <a:schemeClr val="bg1"/>
              </a:solidFill>
            </a:endParaRPr>
          </a:p>
          <a:p>
            <a:pPr algn="l"/>
            <a:r>
              <a:rPr lang="en-US" altLang="en-US" sz="2000" b="1" i="1">
                <a:solidFill>
                  <a:schemeClr val="bg1"/>
                </a:solidFill>
              </a:rPr>
              <a:t>				</a:t>
            </a:r>
            <a:endParaRPr lang="en-US" altLang="en-US" sz="2000" b="1">
              <a:solidFill>
                <a:schemeClr val="bg1"/>
              </a:solidFill>
            </a:endParaRPr>
          </a:p>
        </p:txBody>
      </p:sp>
    </p:spTree>
    <p:extLst>
      <p:ext uri="{BB962C8B-B14F-4D97-AF65-F5344CB8AC3E}">
        <p14:creationId xmlns:p14="http://schemas.microsoft.com/office/powerpoint/2010/main" val="103975926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6" hidden="1">
            <a:extLst>
              <a:ext uri="{FF2B5EF4-FFF2-40B4-BE49-F238E27FC236}">
                <a16:creationId xmlns:a16="http://schemas.microsoft.com/office/drawing/2014/main" id="{2820A807-6A8F-4F06-8280-A309333A3B59}"/>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8961" name="think-cell Slide" r:id="rId27" imgW="360" imgH="360" progId="TCLayout.ActiveDocument.1">
                  <p:embed/>
                </p:oleObj>
              </mc:Choice>
              <mc:Fallback>
                <p:oleObj name="think-cell Slide" r:id="rId27" imgW="360" imgH="360" progId="TCLayout.ActiveDocument.1">
                  <p:embed/>
                  <p:pic>
                    <p:nvPicPr>
                      <p:cNvPr id="5" name="Object 6" hidden="1">
                        <a:extLst>
                          <a:ext uri="{FF2B5EF4-FFF2-40B4-BE49-F238E27FC236}">
                            <a16:creationId xmlns:a16="http://schemas.microsoft.com/office/drawing/2014/main" id="{2820A807-6A8F-4F06-8280-A309333A3B59}"/>
                          </a:ext>
                        </a:extLst>
                      </p:cNvPr>
                      <p:cNvPicPr/>
                      <p:nvPr/>
                    </p:nvPicPr>
                    <p:blipFill>
                      <a:blip r:embed="rId28"/>
                      <a:stretch>
                        <a:fillRect/>
                      </a:stretch>
                    </p:blipFill>
                    <p:spPr>
                      <a:xfrm>
                        <a:off x="1588" y="1588"/>
                        <a:ext cx="1588" cy="1588"/>
                      </a:xfrm>
                      <a:prstGeom prst="rect">
                        <a:avLst/>
                      </a:prstGeom>
                    </p:spPr>
                  </p:pic>
                </p:oleObj>
              </mc:Fallback>
            </mc:AlternateContent>
          </a:graphicData>
        </a:graphic>
      </p:graphicFrame>
      <p:sp>
        <p:nvSpPr>
          <p:cNvPr id="140" name="Title 139">
            <a:extLst>
              <a:ext uri="{FF2B5EF4-FFF2-40B4-BE49-F238E27FC236}">
                <a16:creationId xmlns:a16="http://schemas.microsoft.com/office/drawing/2014/main" id="{B81FB49F-F930-4AE1-B54B-5FF20958D8EF}"/>
              </a:ext>
            </a:extLst>
          </p:cNvPr>
          <p:cNvSpPr>
            <a:spLocks noGrp="1"/>
          </p:cNvSpPr>
          <p:nvPr>
            <p:ph type="title"/>
          </p:nvPr>
        </p:nvSpPr>
        <p:spPr>
          <a:xfrm>
            <a:off x="554736" y="275483"/>
            <a:ext cx="11137615" cy="731520"/>
          </a:xfrm>
        </p:spPr>
        <p:txBody>
          <a:bodyPr vert="horz"/>
          <a:lstStyle/>
          <a:p>
            <a:r>
              <a:rPr lang="en-US" sz="2400"/>
              <a:t>Nuclear is expected to be cost competitive with other clean firm resources</a:t>
            </a:r>
          </a:p>
        </p:txBody>
      </p:sp>
      <p:cxnSp>
        <p:nvCxnSpPr>
          <p:cNvPr id="4" name="Straight Connector 3">
            <a:extLst>
              <a:ext uri="{FF2B5EF4-FFF2-40B4-BE49-F238E27FC236}">
                <a16:creationId xmlns:a16="http://schemas.microsoft.com/office/drawing/2014/main" id="{C286B036-1367-CD57-4AA9-235ADDC353F7}"/>
              </a:ext>
            </a:extLst>
          </p:cNvPr>
          <p:cNvCxnSpPr/>
          <p:nvPr>
            <p:custDataLst>
              <p:tags r:id="rId3"/>
            </p:custDataLst>
          </p:nvPr>
        </p:nvCxnSpPr>
        <p:spPr bwMode="gray">
          <a:xfrm>
            <a:off x="4110550" y="2520950"/>
            <a:ext cx="0" cy="1774825"/>
          </a:xfrm>
          <a:prstGeom prst="line">
            <a:avLst/>
          </a:prstGeom>
          <a:ln w="6350" cap="flat" cmpd="sng" algn="ctr">
            <a:solidFill>
              <a:srgbClr val="D0D0D0"/>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 name="Straight Connector 5">
            <a:extLst>
              <a:ext uri="{FF2B5EF4-FFF2-40B4-BE49-F238E27FC236}">
                <a16:creationId xmlns:a16="http://schemas.microsoft.com/office/drawing/2014/main" id="{88F76B9A-6082-CCEF-C0D0-61F5DAF095E6}"/>
              </a:ext>
            </a:extLst>
          </p:cNvPr>
          <p:cNvCxnSpPr/>
          <p:nvPr>
            <p:custDataLst>
              <p:tags r:id="rId4"/>
            </p:custDataLst>
          </p:nvPr>
        </p:nvCxnSpPr>
        <p:spPr bwMode="gray">
          <a:xfrm>
            <a:off x="4842388" y="2520950"/>
            <a:ext cx="0" cy="1774825"/>
          </a:xfrm>
          <a:prstGeom prst="line">
            <a:avLst/>
          </a:prstGeom>
          <a:ln w="6350" cap="flat" cmpd="sng" algn="ctr">
            <a:solidFill>
              <a:srgbClr val="D0D0D0"/>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 name="Straight Connector 6">
            <a:extLst>
              <a:ext uri="{FF2B5EF4-FFF2-40B4-BE49-F238E27FC236}">
                <a16:creationId xmlns:a16="http://schemas.microsoft.com/office/drawing/2014/main" id="{A3934E56-96EA-2AEC-D7DA-6929C16F95C5}"/>
              </a:ext>
            </a:extLst>
          </p:cNvPr>
          <p:cNvCxnSpPr/>
          <p:nvPr>
            <p:custDataLst>
              <p:tags r:id="rId5"/>
            </p:custDataLst>
          </p:nvPr>
        </p:nvCxnSpPr>
        <p:spPr bwMode="gray">
          <a:xfrm>
            <a:off x="6302888" y="2520950"/>
            <a:ext cx="0" cy="1774825"/>
          </a:xfrm>
          <a:prstGeom prst="line">
            <a:avLst/>
          </a:prstGeom>
          <a:ln w="6350" cap="flat" cmpd="sng" algn="ctr">
            <a:solidFill>
              <a:srgbClr val="D0D0D0"/>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 name="Straight Connector 7">
            <a:extLst>
              <a:ext uri="{FF2B5EF4-FFF2-40B4-BE49-F238E27FC236}">
                <a16:creationId xmlns:a16="http://schemas.microsoft.com/office/drawing/2014/main" id="{5E4CE03B-D8A2-1106-1A77-AD315A677C70}"/>
              </a:ext>
            </a:extLst>
          </p:cNvPr>
          <p:cNvCxnSpPr/>
          <p:nvPr>
            <p:custDataLst>
              <p:tags r:id="rId6"/>
            </p:custDataLst>
          </p:nvPr>
        </p:nvCxnSpPr>
        <p:spPr bwMode="gray">
          <a:xfrm>
            <a:off x="3380300" y="2520950"/>
            <a:ext cx="0" cy="1774825"/>
          </a:xfrm>
          <a:prstGeom prst="line">
            <a:avLst/>
          </a:prstGeom>
          <a:ln w="6350" cap="flat" cmpd="sng" algn="ctr">
            <a:solidFill>
              <a:srgbClr val="D0D0D0"/>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 name="Straight Connector 8">
            <a:extLst>
              <a:ext uri="{FF2B5EF4-FFF2-40B4-BE49-F238E27FC236}">
                <a16:creationId xmlns:a16="http://schemas.microsoft.com/office/drawing/2014/main" id="{E2AB6655-053B-F8D2-1A6A-FA1D93ACC351}"/>
              </a:ext>
            </a:extLst>
          </p:cNvPr>
          <p:cNvCxnSpPr/>
          <p:nvPr>
            <p:custDataLst>
              <p:tags r:id="rId7"/>
            </p:custDataLst>
          </p:nvPr>
        </p:nvCxnSpPr>
        <p:spPr bwMode="gray">
          <a:xfrm>
            <a:off x="8495225" y="2520950"/>
            <a:ext cx="0" cy="1774825"/>
          </a:xfrm>
          <a:prstGeom prst="line">
            <a:avLst/>
          </a:prstGeom>
          <a:ln w="6350" cap="flat" cmpd="sng" algn="ctr">
            <a:solidFill>
              <a:srgbClr val="D0D0D0"/>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 name="Straight Connector 9">
            <a:extLst>
              <a:ext uri="{FF2B5EF4-FFF2-40B4-BE49-F238E27FC236}">
                <a16:creationId xmlns:a16="http://schemas.microsoft.com/office/drawing/2014/main" id="{A6361B2E-FFA7-2B0D-E023-48A1F5FB0145}"/>
              </a:ext>
            </a:extLst>
          </p:cNvPr>
          <p:cNvCxnSpPr/>
          <p:nvPr>
            <p:custDataLst>
              <p:tags r:id="rId8"/>
            </p:custDataLst>
          </p:nvPr>
        </p:nvCxnSpPr>
        <p:spPr bwMode="gray">
          <a:xfrm>
            <a:off x="5572638" y="2520950"/>
            <a:ext cx="0" cy="1774825"/>
          </a:xfrm>
          <a:prstGeom prst="line">
            <a:avLst/>
          </a:prstGeom>
          <a:ln w="6350" cap="flat" cmpd="sng" algn="ctr">
            <a:solidFill>
              <a:srgbClr val="D0D0D0"/>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 name="Straight Connector 10">
            <a:extLst>
              <a:ext uri="{FF2B5EF4-FFF2-40B4-BE49-F238E27FC236}">
                <a16:creationId xmlns:a16="http://schemas.microsoft.com/office/drawing/2014/main" id="{98D562FF-FDEE-15E8-36D4-939E397D2CFF}"/>
              </a:ext>
            </a:extLst>
          </p:cNvPr>
          <p:cNvCxnSpPr/>
          <p:nvPr>
            <p:custDataLst>
              <p:tags r:id="rId9"/>
            </p:custDataLst>
          </p:nvPr>
        </p:nvCxnSpPr>
        <p:spPr bwMode="gray">
          <a:xfrm>
            <a:off x="7033138" y="2520950"/>
            <a:ext cx="0" cy="1774825"/>
          </a:xfrm>
          <a:prstGeom prst="line">
            <a:avLst/>
          </a:prstGeom>
          <a:ln w="6350" cap="flat" cmpd="sng" algn="ctr">
            <a:solidFill>
              <a:srgbClr val="D0D0D0"/>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1" name="Straight Connector 30">
            <a:extLst>
              <a:ext uri="{FF2B5EF4-FFF2-40B4-BE49-F238E27FC236}">
                <a16:creationId xmlns:a16="http://schemas.microsoft.com/office/drawing/2014/main" id="{9B60886E-60CD-CDC5-803D-93F54825E261}"/>
              </a:ext>
            </a:extLst>
          </p:cNvPr>
          <p:cNvCxnSpPr/>
          <p:nvPr>
            <p:custDataLst>
              <p:tags r:id="rId10"/>
            </p:custDataLst>
          </p:nvPr>
        </p:nvCxnSpPr>
        <p:spPr bwMode="gray">
          <a:xfrm>
            <a:off x="7764975" y="2520950"/>
            <a:ext cx="0" cy="1774825"/>
          </a:xfrm>
          <a:prstGeom prst="line">
            <a:avLst/>
          </a:prstGeom>
          <a:ln w="6350" cap="flat" cmpd="sng" algn="ctr">
            <a:solidFill>
              <a:srgbClr val="D0D0D0"/>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8" name="Straight Connector 227">
            <a:extLst>
              <a:ext uri="{FF2B5EF4-FFF2-40B4-BE49-F238E27FC236}">
                <a16:creationId xmlns:a16="http://schemas.microsoft.com/office/drawing/2014/main" id="{59D4037C-94D4-B0F7-724A-1F54FD4B5306}"/>
              </a:ext>
            </a:extLst>
          </p:cNvPr>
          <p:cNvCxnSpPr/>
          <p:nvPr>
            <p:custDataLst>
              <p:tags r:id="rId11"/>
            </p:custDataLst>
          </p:nvPr>
        </p:nvCxnSpPr>
        <p:spPr bwMode="gray">
          <a:xfrm>
            <a:off x="9225475" y="2520950"/>
            <a:ext cx="0" cy="1774825"/>
          </a:xfrm>
          <a:prstGeom prst="line">
            <a:avLst/>
          </a:prstGeom>
          <a:ln w="6350" cap="flat" cmpd="sng" algn="ctr">
            <a:solidFill>
              <a:srgbClr val="D0D0D0"/>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9" name="Straight Connector 228">
            <a:extLst>
              <a:ext uri="{FF2B5EF4-FFF2-40B4-BE49-F238E27FC236}">
                <a16:creationId xmlns:a16="http://schemas.microsoft.com/office/drawing/2014/main" id="{C43B31CE-E463-9E9E-AE0E-9A73FE3E94EA}"/>
              </a:ext>
            </a:extLst>
          </p:cNvPr>
          <p:cNvCxnSpPr/>
          <p:nvPr>
            <p:custDataLst>
              <p:tags r:id="rId12"/>
            </p:custDataLst>
          </p:nvPr>
        </p:nvCxnSpPr>
        <p:spPr bwMode="gray">
          <a:xfrm>
            <a:off x="9955725" y="2520950"/>
            <a:ext cx="0" cy="1774825"/>
          </a:xfrm>
          <a:prstGeom prst="line">
            <a:avLst/>
          </a:prstGeom>
          <a:ln w="6350" cap="flat" cmpd="sng" algn="ctr">
            <a:solidFill>
              <a:srgbClr val="D0D0D0"/>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30" name="Straight Connector 229">
            <a:extLst>
              <a:ext uri="{FF2B5EF4-FFF2-40B4-BE49-F238E27FC236}">
                <a16:creationId xmlns:a16="http://schemas.microsoft.com/office/drawing/2014/main" id="{2B2E771F-537E-6819-BA39-91CDB6E87E56}"/>
              </a:ext>
            </a:extLst>
          </p:cNvPr>
          <p:cNvCxnSpPr/>
          <p:nvPr>
            <p:custDataLst>
              <p:tags r:id="rId13"/>
            </p:custDataLst>
          </p:nvPr>
        </p:nvCxnSpPr>
        <p:spPr bwMode="gray">
          <a:xfrm>
            <a:off x="10687563" y="2520950"/>
            <a:ext cx="0" cy="1774825"/>
          </a:xfrm>
          <a:prstGeom prst="line">
            <a:avLst/>
          </a:prstGeom>
          <a:ln w="6350" cap="flat" cmpd="sng" algn="ctr">
            <a:solidFill>
              <a:srgbClr val="D0D0D0"/>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31" name="Straight Connector 230">
            <a:extLst>
              <a:ext uri="{FF2B5EF4-FFF2-40B4-BE49-F238E27FC236}">
                <a16:creationId xmlns:a16="http://schemas.microsoft.com/office/drawing/2014/main" id="{9A91D39C-B400-8FF8-9DFF-3C644647558E}"/>
              </a:ext>
            </a:extLst>
          </p:cNvPr>
          <p:cNvCxnSpPr/>
          <p:nvPr>
            <p:custDataLst>
              <p:tags r:id="rId14"/>
            </p:custDataLst>
          </p:nvPr>
        </p:nvCxnSpPr>
        <p:spPr bwMode="gray">
          <a:xfrm>
            <a:off x="11417813" y="2520950"/>
            <a:ext cx="0" cy="1774825"/>
          </a:xfrm>
          <a:prstGeom prst="line">
            <a:avLst/>
          </a:prstGeom>
          <a:ln w="6350" cap="flat" cmpd="sng" algn="ctr">
            <a:solidFill>
              <a:srgbClr val="D0D0D0"/>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graphicFrame>
        <p:nvGraphicFramePr>
          <p:cNvPr id="232" name="Chart 231">
            <a:extLst>
              <a:ext uri="{FF2B5EF4-FFF2-40B4-BE49-F238E27FC236}">
                <a16:creationId xmlns:a16="http://schemas.microsoft.com/office/drawing/2014/main" id="{4F8E3262-2985-2339-EB6D-81FBD381B7AD}"/>
              </a:ext>
            </a:extLst>
          </p:cNvPr>
          <p:cNvGraphicFramePr/>
          <p:nvPr>
            <p:custDataLst>
              <p:tags r:id="rId15"/>
            </p:custDataLst>
            <p:extLst>
              <p:ext uri="{D42A27DB-BD31-4B8C-83A1-F6EECF244321}">
                <p14:modId xmlns:p14="http://schemas.microsoft.com/office/powerpoint/2010/main" val="4210235669"/>
              </p:ext>
            </p:extLst>
          </p:nvPr>
        </p:nvGraphicFramePr>
        <p:xfrm>
          <a:off x="2648463" y="2438400"/>
          <a:ext cx="8851900" cy="1939925"/>
        </p:xfrm>
        <a:graphic>
          <a:graphicData uri="http://schemas.openxmlformats.org/drawingml/2006/chart">
            <c:chart xmlns:c="http://schemas.openxmlformats.org/drawingml/2006/chart" xmlns:r="http://schemas.openxmlformats.org/officeDocument/2006/relationships" r:id="rId29"/>
          </a:graphicData>
        </a:graphic>
      </p:graphicFrame>
      <p:sp useBgFill="1">
        <p:nvSpPr>
          <p:cNvPr id="237" name="Freeform: Shape 236">
            <a:extLst>
              <a:ext uri="{FF2B5EF4-FFF2-40B4-BE49-F238E27FC236}">
                <a16:creationId xmlns:a16="http://schemas.microsoft.com/office/drawing/2014/main" id="{25ADC68C-9420-CB92-EF7A-9D54BB3F3F0B}"/>
              </a:ext>
            </a:extLst>
          </p:cNvPr>
          <p:cNvSpPr/>
          <p:nvPr>
            <p:custDataLst>
              <p:tags r:id="rId16"/>
            </p:custDataLst>
          </p:nvPr>
        </p:nvSpPr>
        <p:spPr bwMode="auto">
          <a:xfrm>
            <a:off x="2835788" y="3236913"/>
            <a:ext cx="149226" cy="342901"/>
          </a:xfrm>
          <a:custGeom>
            <a:avLst/>
            <a:gdLst/>
            <a:ahLst/>
            <a:cxnLst/>
            <a:rect l="0" t="0" r="0" b="0"/>
            <a:pathLst>
              <a:path w="149226" h="342901">
                <a:moveTo>
                  <a:pt x="149225" y="0"/>
                </a:moveTo>
                <a:lnTo>
                  <a:pt x="57150" y="342900"/>
                </a:lnTo>
                <a:lnTo>
                  <a:pt x="0" y="342900"/>
                </a:lnTo>
                <a:lnTo>
                  <a:pt x="92075" y="0"/>
                </a:lnTo>
                <a:close/>
              </a:path>
            </a:pathLst>
          </a:custGeom>
          <a:ln w="6350" cap="sq">
            <a:no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useBgFill="1">
        <p:nvSpPr>
          <p:cNvPr id="238" name="Freeform: Shape 237">
            <a:extLst>
              <a:ext uri="{FF2B5EF4-FFF2-40B4-BE49-F238E27FC236}">
                <a16:creationId xmlns:a16="http://schemas.microsoft.com/office/drawing/2014/main" id="{B5D5F583-EFED-A632-7A04-6835E2985BA2}"/>
              </a:ext>
            </a:extLst>
          </p:cNvPr>
          <p:cNvSpPr/>
          <p:nvPr>
            <p:custDataLst>
              <p:tags r:id="rId17"/>
            </p:custDataLst>
          </p:nvPr>
        </p:nvSpPr>
        <p:spPr bwMode="auto">
          <a:xfrm>
            <a:off x="2835788" y="3827463"/>
            <a:ext cx="149226" cy="344488"/>
          </a:xfrm>
          <a:custGeom>
            <a:avLst/>
            <a:gdLst/>
            <a:ahLst/>
            <a:cxnLst/>
            <a:rect l="0" t="0" r="0" b="0"/>
            <a:pathLst>
              <a:path w="149226" h="344488">
                <a:moveTo>
                  <a:pt x="149225" y="0"/>
                </a:moveTo>
                <a:lnTo>
                  <a:pt x="57150" y="344487"/>
                </a:lnTo>
                <a:lnTo>
                  <a:pt x="0" y="344487"/>
                </a:lnTo>
                <a:lnTo>
                  <a:pt x="92075" y="0"/>
                </a:lnTo>
                <a:close/>
              </a:path>
            </a:pathLst>
          </a:custGeom>
          <a:ln w="6350" cap="sq">
            <a:no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useBgFill="1">
        <p:nvSpPr>
          <p:cNvPr id="239" name="Freeform: Shape 238">
            <a:extLst>
              <a:ext uri="{FF2B5EF4-FFF2-40B4-BE49-F238E27FC236}">
                <a16:creationId xmlns:a16="http://schemas.microsoft.com/office/drawing/2014/main" id="{37208CD3-CB41-BF81-BCE2-B6266A0F478F}"/>
              </a:ext>
            </a:extLst>
          </p:cNvPr>
          <p:cNvSpPr/>
          <p:nvPr>
            <p:custDataLst>
              <p:tags r:id="rId18"/>
            </p:custDataLst>
          </p:nvPr>
        </p:nvSpPr>
        <p:spPr bwMode="auto">
          <a:xfrm>
            <a:off x="2835788" y="2644775"/>
            <a:ext cx="149226" cy="344489"/>
          </a:xfrm>
          <a:custGeom>
            <a:avLst/>
            <a:gdLst/>
            <a:ahLst/>
            <a:cxnLst/>
            <a:rect l="0" t="0" r="0" b="0"/>
            <a:pathLst>
              <a:path w="149226" h="344489">
                <a:moveTo>
                  <a:pt x="149225" y="0"/>
                </a:moveTo>
                <a:lnTo>
                  <a:pt x="57150" y="344488"/>
                </a:lnTo>
                <a:lnTo>
                  <a:pt x="0" y="344488"/>
                </a:lnTo>
                <a:lnTo>
                  <a:pt x="92075" y="0"/>
                </a:lnTo>
                <a:close/>
              </a:path>
            </a:pathLst>
          </a:custGeom>
          <a:ln w="6350" cap="sq">
            <a:no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240" name="Text Placeholder 4">
            <a:extLst>
              <a:ext uri="{FF2B5EF4-FFF2-40B4-BE49-F238E27FC236}">
                <a16:creationId xmlns:a16="http://schemas.microsoft.com/office/drawing/2014/main" id="{B565FE90-E4BB-2632-60BA-E1F2CDD8D4D9}"/>
              </a:ext>
            </a:extLst>
          </p:cNvPr>
          <p:cNvSpPr>
            <a:spLocks noGrp="1"/>
          </p:cNvSpPr>
          <p:nvPr>
            <p:custDataLst>
              <p:tags r:id="rId19"/>
            </p:custDataLst>
          </p:nvPr>
        </p:nvSpPr>
        <p:spPr bwMode="auto">
          <a:xfrm>
            <a:off x="547686" y="3195638"/>
            <a:ext cx="2062677" cy="42545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30400" algn="l" defTabSz="914400" rtl="0" eaLnBrk="1" latinLnBrk="0" hangingPunct="1">
              <a:lnSpc>
                <a:spcPct val="100000"/>
              </a:lnSpc>
              <a:spcBef>
                <a:spcPts val="0"/>
              </a:spcBef>
              <a:spcAft>
                <a:spcPts val="300"/>
              </a:spcAft>
              <a:buSzPct val="110000"/>
              <a:buFont typeface="Wingdings" panose="05000000000000000000" pitchFamily="2" charset="2"/>
              <a:buChar char=""/>
              <a:defRPr lang="en-US" sz="1600" kern="1200" dirty="0">
                <a:solidFill>
                  <a:schemeClr val="tx1"/>
                </a:solidFill>
                <a:latin typeface="+mn-lt"/>
                <a:ea typeface="+mn-ea"/>
                <a:cs typeface="+mn-cs"/>
              </a:defRPr>
            </a:lvl2pPr>
            <a:lvl3pPr marL="439200" indent="-208800" algn="l" defTabSz="914400" rtl="0" eaLnBrk="1" latinLnBrk="0" hangingPunct="1">
              <a:lnSpc>
                <a:spcPct val="100000"/>
              </a:lnSpc>
              <a:spcBef>
                <a:spcPts val="0"/>
              </a:spcBef>
              <a:spcAft>
                <a:spcPts val="300"/>
              </a:spcAft>
              <a:buSzPct val="110000"/>
              <a:buFont typeface="Arial" panose="020B0604020202020204" pitchFamily="34" charset="0"/>
              <a:buChar char="‒"/>
              <a:defRPr lang="en-US" sz="1600" kern="1200" dirty="0">
                <a:solidFill>
                  <a:schemeClr val="tx1"/>
                </a:solidFill>
                <a:latin typeface="+mn-lt"/>
                <a:ea typeface="+mn-ea"/>
                <a:cs typeface="+mn-cs"/>
              </a:defRPr>
            </a:lvl3pPr>
            <a:lvl4pPr marL="604800" indent="-154800" algn="l" defTabSz="914400" rtl="0" eaLnBrk="1" latinLnBrk="0" hangingPunct="1">
              <a:lnSpc>
                <a:spcPct val="100000"/>
              </a:lnSpc>
              <a:spcBef>
                <a:spcPts val="0"/>
              </a:spcBef>
              <a:spcAft>
                <a:spcPts val="300"/>
              </a:spcAft>
              <a:buFont typeface="Arial" panose="020B0604020202020204" pitchFamily="34" charset="0"/>
              <a:buChar char="•"/>
              <a:defRPr lang="en-US" sz="1600" kern="1200" dirty="0">
                <a:solidFill>
                  <a:schemeClr val="tx1"/>
                </a:solidFill>
                <a:latin typeface="+mn-lt"/>
                <a:ea typeface="+mn-ea"/>
                <a:cs typeface="+mn-cs"/>
              </a:defRPr>
            </a:lvl4pPr>
            <a:lvl5pPr marL="813600" indent="-147600" algn="l" defTabSz="914400" rtl="0" eaLnBrk="1" latinLnBrk="0" hangingPunct="1">
              <a:lnSpc>
                <a:spcPct val="100000"/>
              </a:lnSpc>
              <a:spcBef>
                <a:spcPts val="0"/>
              </a:spcBef>
              <a:spcAft>
                <a:spcPts val="300"/>
              </a:spcAft>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sz="1400">
                <a:cs typeface="+mn-cs"/>
              </a:rPr>
              <a:t>Renewables with storage </a:t>
            </a:r>
          </a:p>
          <a:p>
            <a:pPr>
              <a:spcBef>
                <a:spcPct val="0"/>
              </a:spcBef>
              <a:spcAft>
                <a:spcPct val="0"/>
              </a:spcAft>
            </a:pPr>
            <a:r>
              <a:rPr lang="en-US" altLang="en-US" sz="1400">
                <a:cs typeface="+mn-cs"/>
              </a:rPr>
              <a:t>for 24/7 load matching</a:t>
            </a:r>
            <a:r>
              <a:rPr lang="en-US" altLang="en-US" sz="1400" baseline="30000">
                <a:cs typeface="+mn-cs"/>
              </a:rPr>
              <a:t>2  </a:t>
            </a:r>
            <a:endParaRPr lang="en-US" sz="1400" baseline="30000">
              <a:cs typeface="+mn-cs"/>
            </a:endParaRPr>
          </a:p>
        </p:txBody>
      </p:sp>
      <p:sp>
        <p:nvSpPr>
          <p:cNvPr id="243" name="Text Placeholder 4">
            <a:extLst>
              <a:ext uri="{FF2B5EF4-FFF2-40B4-BE49-F238E27FC236}">
                <a16:creationId xmlns:a16="http://schemas.microsoft.com/office/drawing/2014/main" id="{0673BDA7-A104-8252-09FB-DA9A1B1FAF5C}"/>
              </a:ext>
            </a:extLst>
          </p:cNvPr>
          <p:cNvSpPr>
            <a:spLocks noGrp="1"/>
          </p:cNvSpPr>
          <p:nvPr>
            <p:custDataLst>
              <p:tags r:id="rId20"/>
            </p:custDataLst>
          </p:nvPr>
        </p:nvSpPr>
        <p:spPr bwMode="auto">
          <a:xfrm>
            <a:off x="547686" y="2709863"/>
            <a:ext cx="2062677"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30400" algn="l" defTabSz="914400" rtl="0" eaLnBrk="1" latinLnBrk="0" hangingPunct="1">
              <a:lnSpc>
                <a:spcPct val="100000"/>
              </a:lnSpc>
              <a:spcBef>
                <a:spcPts val="0"/>
              </a:spcBef>
              <a:spcAft>
                <a:spcPts val="300"/>
              </a:spcAft>
              <a:buSzPct val="110000"/>
              <a:buFont typeface="Wingdings" panose="05000000000000000000" pitchFamily="2" charset="2"/>
              <a:buChar char=""/>
              <a:defRPr lang="en-US" sz="1600" kern="1200" dirty="0">
                <a:solidFill>
                  <a:schemeClr val="tx1"/>
                </a:solidFill>
                <a:latin typeface="+mn-lt"/>
                <a:ea typeface="+mn-ea"/>
                <a:cs typeface="+mn-cs"/>
              </a:defRPr>
            </a:lvl2pPr>
            <a:lvl3pPr marL="439200" indent="-208800" algn="l" defTabSz="914400" rtl="0" eaLnBrk="1" latinLnBrk="0" hangingPunct="1">
              <a:lnSpc>
                <a:spcPct val="100000"/>
              </a:lnSpc>
              <a:spcBef>
                <a:spcPts val="0"/>
              </a:spcBef>
              <a:spcAft>
                <a:spcPts val="300"/>
              </a:spcAft>
              <a:buSzPct val="110000"/>
              <a:buFont typeface="Arial" panose="020B0604020202020204" pitchFamily="34" charset="0"/>
              <a:buChar char="‒"/>
              <a:defRPr lang="en-US" sz="1600" kern="1200" dirty="0">
                <a:solidFill>
                  <a:schemeClr val="tx1"/>
                </a:solidFill>
                <a:latin typeface="+mn-lt"/>
                <a:ea typeface="+mn-ea"/>
                <a:cs typeface="+mn-cs"/>
              </a:defRPr>
            </a:lvl3pPr>
            <a:lvl4pPr marL="604800" indent="-154800" algn="l" defTabSz="914400" rtl="0" eaLnBrk="1" latinLnBrk="0" hangingPunct="1">
              <a:lnSpc>
                <a:spcPct val="100000"/>
              </a:lnSpc>
              <a:spcBef>
                <a:spcPts val="0"/>
              </a:spcBef>
              <a:spcAft>
                <a:spcPts val="300"/>
              </a:spcAft>
              <a:buFont typeface="Arial" panose="020B0604020202020204" pitchFamily="34" charset="0"/>
              <a:buChar char="•"/>
              <a:defRPr lang="en-US" sz="1600" kern="1200" dirty="0">
                <a:solidFill>
                  <a:schemeClr val="tx1"/>
                </a:solidFill>
                <a:latin typeface="+mn-lt"/>
                <a:ea typeface="+mn-ea"/>
                <a:cs typeface="+mn-cs"/>
              </a:defRPr>
            </a:lvl4pPr>
            <a:lvl5pPr marL="813600" indent="-147600" algn="l" defTabSz="914400" rtl="0" eaLnBrk="1" latinLnBrk="0" hangingPunct="1">
              <a:lnSpc>
                <a:spcPct val="100000"/>
              </a:lnSpc>
              <a:spcBef>
                <a:spcPts val="0"/>
              </a:spcBef>
              <a:spcAft>
                <a:spcPts val="300"/>
              </a:spcAft>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A209B55C-92C2-4189-B127-F49F6561D14D}" type="datetime'''''''A''dvan''c''ed nuc''''l''''e''''a''r'''''''''''''">
              <a:rPr lang="en-US" altLang="en-US" sz="1400" smtClean="0">
                <a:cs typeface="+mn-cs"/>
              </a:rPr>
              <a:pPr>
                <a:spcBef>
                  <a:spcPct val="0"/>
                </a:spcBef>
                <a:spcAft>
                  <a:spcPct val="0"/>
                </a:spcAft>
              </a:pPr>
              <a:t>Advanced nuclear</a:t>
            </a:fld>
            <a:r>
              <a:rPr lang="en-US" altLang="en-US" sz="1400" baseline="30000">
                <a:cs typeface="+mn-cs"/>
              </a:rPr>
              <a:t>1 </a:t>
            </a:r>
            <a:endParaRPr lang="en-US" sz="1400" baseline="30000">
              <a:cs typeface="+mn-cs"/>
            </a:endParaRPr>
          </a:p>
        </p:txBody>
      </p:sp>
      <p:sp useBgFill="1">
        <p:nvSpPr>
          <p:cNvPr id="244" name="Text Placeholder 4">
            <a:extLst>
              <a:ext uri="{FF2B5EF4-FFF2-40B4-BE49-F238E27FC236}">
                <a16:creationId xmlns:a16="http://schemas.microsoft.com/office/drawing/2014/main" id="{BF8541C9-A765-1725-2ABF-FF4CD732B86B}"/>
              </a:ext>
            </a:extLst>
          </p:cNvPr>
          <p:cNvSpPr>
            <a:spLocks noGrp="1"/>
          </p:cNvSpPr>
          <p:nvPr>
            <p:custDataLst>
              <p:tags r:id="rId21"/>
            </p:custDataLst>
          </p:nvPr>
        </p:nvSpPr>
        <p:spPr bwMode="gray">
          <a:xfrm>
            <a:off x="9835075" y="2709863"/>
            <a:ext cx="346075" cy="212725"/>
          </a:xfrm>
          <a:prstGeom prst="rect">
            <a:avLst/>
          </a:prstGeom>
          <a:ln>
            <a:noFill/>
          </a:ln>
          <a:effectLst/>
        </p:spPr>
        <p:txBody>
          <a:bodyPr vert="horz" wrap="none" lIns="25400" tIns="0" rIns="25400" bIns="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30400" algn="l" defTabSz="914400" rtl="0" eaLnBrk="1" latinLnBrk="0" hangingPunct="1">
              <a:lnSpc>
                <a:spcPct val="100000"/>
              </a:lnSpc>
              <a:spcBef>
                <a:spcPts val="0"/>
              </a:spcBef>
              <a:spcAft>
                <a:spcPts val="300"/>
              </a:spcAft>
              <a:buSzPct val="110000"/>
              <a:buFont typeface="Wingdings" panose="05000000000000000000" pitchFamily="2" charset="2"/>
              <a:buChar char=""/>
              <a:defRPr lang="en-US" sz="1600" kern="1200" dirty="0">
                <a:solidFill>
                  <a:schemeClr val="tx1"/>
                </a:solidFill>
                <a:latin typeface="+mn-lt"/>
                <a:ea typeface="+mn-ea"/>
                <a:cs typeface="+mn-cs"/>
              </a:defRPr>
            </a:lvl2pPr>
            <a:lvl3pPr marL="439200" indent="-208800" algn="l" defTabSz="914400" rtl="0" eaLnBrk="1" latinLnBrk="0" hangingPunct="1">
              <a:lnSpc>
                <a:spcPct val="100000"/>
              </a:lnSpc>
              <a:spcBef>
                <a:spcPts val="0"/>
              </a:spcBef>
              <a:spcAft>
                <a:spcPts val="300"/>
              </a:spcAft>
              <a:buSzPct val="110000"/>
              <a:buFont typeface="Arial" panose="020B0604020202020204" pitchFamily="34" charset="0"/>
              <a:buChar char="‒"/>
              <a:defRPr lang="en-US" sz="1600" kern="1200" dirty="0">
                <a:solidFill>
                  <a:schemeClr val="tx1"/>
                </a:solidFill>
                <a:latin typeface="+mn-lt"/>
                <a:ea typeface="+mn-ea"/>
                <a:cs typeface="+mn-cs"/>
              </a:defRPr>
            </a:lvl3pPr>
            <a:lvl4pPr marL="604800" indent="-154800" algn="l" defTabSz="914400" rtl="0" eaLnBrk="1" latinLnBrk="0" hangingPunct="1">
              <a:lnSpc>
                <a:spcPct val="100000"/>
              </a:lnSpc>
              <a:spcBef>
                <a:spcPts val="0"/>
              </a:spcBef>
              <a:spcAft>
                <a:spcPts val="300"/>
              </a:spcAft>
              <a:buFont typeface="Arial" panose="020B0604020202020204" pitchFamily="34" charset="0"/>
              <a:buChar char="•"/>
              <a:defRPr lang="en-US" sz="1600" kern="1200" dirty="0">
                <a:solidFill>
                  <a:schemeClr val="tx1"/>
                </a:solidFill>
                <a:latin typeface="+mn-lt"/>
                <a:ea typeface="+mn-ea"/>
                <a:cs typeface="+mn-cs"/>
              </a:defRPr>
            </a:lvl4pPr>
            <a:lvl5pPr marL="813600" indent="-147600" algn="l" defTabSz="914400" rtl="0" eaLnBrk="1" latinLnBrk="0" hangingPunct="1">
              <a:lnSpc>
                <a:spcPct val="100000"/>
              </a:lnSpc>
              <a:spcBef>
                <a:spcPts val="0"/>
              </a:spcBef>
              <a:spcAft>
                <a:spcPts val="300"/>
              </a:spcAft>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F0B878D0-42CB-4258-825F-EBE059D3FF24}" type="datetime'''''''''''''''''''''''1''''''09'''''''''''''''''''''''''">
              <a:rPr lang="en-US" altLang="en-US" sz="1400" smtClean="0">
                <a:effectLst/>
                <a:cs typeface="+mn-cs"/>
              </a:rPr>
              <a:pPr>
                <a:spcBef>
                  <a:spcPct val="0"/>
                </a:spcBef>
                <a:spcAft>
                  <a:spcPct val="0"/>
                </a:spcAft>
              </a:pPr>
              <a:t>109</a:t>
            </a:fld>
            <a:endParaRPr lang="en-US" sz="1400">
              <a:cs typeface="+mn-cs"/>
            </a:endParaRPr>
          </a:p>
        </p:txBody>
      </p:sp>
      <p:sp>
        <p:nvSpPr>
          <p:cNvPr id="245" name="Text Placeholder 4">
            <a:extLst>
              <a:ext uri="{FF2B5EF4-FFF2-40B4-BE49-F238E27FC236}">
                <a16:creationId xmlns:a16="http://schemas.microsoft.com/office/drawing/2014/main" id="{5886BBFB-1CA0-87FB-DEF2-8598EFC71F96}"/>
              </a:ext>
            </a:extLst>
          </p:cNvPr>
          <p:cNvSpPr>
            <a:spLocks noGrp="1"/>
          </p:cNvSpPr>
          <p:nvPr>
            <p:custDataLst>
              <p:tags r:id="rId22"/>
            </p:custDataLst>
          </p:nvPr>
        </p:nvSpPr>
        <p:spPr bwMode="auto">
          <a:xfrm>
            <a:off x="547686" y="3679825"/>
            <a:ext cx="2062677" cy="63817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30400" algn="l" defTabSz="914400" rtl="0" eaLnBrk="1" latinLnBrk="0" hangingPunct="1">
              <a:lnSpc>
                <a:spcPct val="100000"/>
              </a:lnSpc>
              <a:spcBef>
                <a:spcPts val="0"/>
              </a:spcBef>
              <a:spcAft>
                <a:spcPts val="300"/>
              </a:spcAft>
              <a:buSzPct val="110000"/>
              <a:buFont typeface="Wingdings" panose="05000000000000000000" pitchFamily="2" charset="2"/>
              <a:buChar char=""/>
              <a:defRPr lang="en-US" sz="1600" kern="1200" dirty="0">
                <a:solidFill>
                  <a:schemeClr val="tx1"/>
                </a:solidFill>
                <a:latin typeface="+mn-lt"/>
                <a:ea typeface="+mn-ea"/>
                <a:cs typeface="+mn-cs"/>
              </a:defRPr>
            </a:lvl2pPr>
            <a:lvl3pPr marL="439200" indent="-208800" algn="l" defTabSz="914400" rtl="0" eaLnBrk="1" latinLnBrk="0" hangingPunct="1">
              <a:lnSpc>
                <a:spcPct val="100000"/>
              </a:lnSpc>
              <a:spcBef>
                <a:spcPts val="0"/>
              </a:spcBef>
              <a:spcAft>
                <a:spcPts val="300"/>
              </a:spcAft>
              <a:buSzPct val="110000"/>
              <a:buFont typeface="Arial" panose="020B0604020202020204" pitchFamily="34" charset="0"/>
              <a:buChar char="‒"/>
              <a:defRPr lang="en-US" sz="1600" kern="1200" dirty="0">
                <a:solidFill>
                  <a:schemeClr val="tx1"/>
                </a:solidFill>
                <a:latin typeface="+mn-lt"/>
                <a:ea typeface="+mn-ea"/>
                <a:cs typeface="+mn-cs"/>
              </a:defRPr>
            </a:lvl3pPr>
            <a:lvl4pPr marL="604800" indent="-154800" algn="l" defTabSz="914400" rtl="0" eaLnBrk="1" latinLnBrk="0" hangingPunct="1">
              <a:lnSpc>
                <a:spcPct val="100000"/>
              </a:lnSpc>
              <a:spcBef>
                <a:spcPts val="0"/>
              </a:spcBef>
              <a:spcAft>
                <a:spcPts val="300"/>
              </a:spcAft>
              <a:buFont typeface="Arial" panose="020B0604020202020204" pitchFamily="34" charset="0"/>
              <a:buChar char="•"/>
              <a:defRPr lang="en-US" sz="1600" kern="1200" dirty="0">
                <a:solidFill>
                  <a:schemeClr val="tx1"/>
                </a:solidFill>
                <a:latin typeface="+mn-lt"/>
                <a:ea typeface="+mn-ea"/>
                <a:cs typeface="+mn-cs"/>
              </a:defRPr>
            </a:lvl4pPr>
            <a:lvl5pPr marL="813600" indent="-147600" algn="l" defTabSz="914400" rtl="0" eaLnBrk="1" latinLnBrk="0" hangingPunct="1">
              <a:lnSpc>
                <a:spcPct val="100000"/>
              </a:lnSpc>
              <a:spcBef>
                <a:spcPts val="0"/>
              </a:spcBef>
              <a:spcAft>
                <a:spcPts val="300"/>
              </a:spcAft>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sz="1400">
                <a:cs typeface="+mn-cs"/>
              </a:rPr>
              <a:t>Natural gas with carbon</a:t>
            </a:r>
          </a:p>
          <a:p>
            <a:pPr>
              <a:spcBef>
                <a:spcPct val="0"/>
              </a:spcBef>
              <a:spcAft>
                <a:spcPct val="0"/>
              </a:spcAft>
            </a:pPr>
            <a:r>
              <a:rPr lang="en-US" altLang="en-US" sz="1400">
                <a:cs typeface="+mn-cs"/>
              </a:rPr>
              <a:t>capture and storage</a:t>
            </a:r>
            <a:r>
              <a:rPr lang="en-US" altLang="en-US" sz="1400" baseline="30000">
                <a:cs typeface="+mn-cs"/>
              </a:rPr>
              <a:t>3</a:t>
            </a:r>
            <a:endParaRPr lang="en-US" sz="1400">
              <a:cs typeface="+mn-cs"/>
            </a:endParaRPr>
          </a:p>
        </p:txBody>
      </p:sp>
      <p:sp useBgFill="1">
        <p:nvSpPr>
          <p:cNvPr id="246" name="Text Placeholder 4">
            <a:extLst>
              <a:ext uri="{FF2B5EF4-FFF2-40B4-BE49-F238E27FC236}">
                <a16:creationId xmlns:a16="http://schemas.microsoft.com/office/drawing/2014/main" id="{7D069743-F0BA-760F-9CE9-E4BCAEDFC8A1}"/>
              </a:ext>
            </a:extLst>
          </p:cNvPr>
          <p:cNvSpPr>
            <a:spLocks noGrp="1"/>
          </p:cNvSpPr>
          <p:nvPr>
            <p:custDataLst>
              <p:tags r:id="rId23"/>
            </p:custDataLst>
          </p:nvPr>
        </p:nvSpPr>
        <p:spPr bwMode="gray">
          <a:xfrm>
            <a:off x="8374575" y="3892550"/>
            <a:ext cx="247650" cy="212725"/>
          </a:xfrm>
          <a:prstGeom prst="rect">
            <a:avLst/>
          </a:prstGeom>
          <a:ln>
            <a:noFill/>
          </a:ln>
          <a:effectLst/>
        </p:spPr>
        <p:txBody>
          <a:bodyPr vert="horz" wrap="none" lIns="25400" tIns="0" rIns="25400" bIns="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30400" algn="l" defTabSz="914400" rtl="0" eaLnBrk="1" latinLnBrk="0" hangingPunct="1">
              <a:lnSpc>
                <a:spcPct val="100000"/>
              </a:lnSpc>
              <a:spcBef>
                <a:spcPts val="0"/>
              </a:spcBef>
              <a:spcAft>
                <a:spcPts val="300"/>
              </a:spcAft>
              <a:buSzPct val="110000"/>
              <a:buFont typeface="Wingdings" panose="05000000000000000000" pitchFamily="2" charset="2"/>
              <a:buChar char=""/>
              <a:defRPr lang="en-US" sz="1600" kern="1200" dirty="0">
                <a:solidFill>
                  <a:schemeClr val="tx1"/>
                </a:solidFill>
                <a:latin typeface="+mn-lt"/>
                <a:ea typeface="+mn-ea"/>
                <a:cs typeface="+mn-cs"/>
              </a:defRPr>
            </a:lvl2pPr>
            <a:lvl3pPr marL="439200" indent="-208800" algn="l" defTabSz="914400" rtl="0" eaLnBrk="1" latinLnBrk="0" hangingPunct="1">
              <a:lnSpc>
                <a:spcPct val="100000"/>
              </a:lnSpc>
              <a:spcBef>
                <a:spcPts val="0"/>
              </a:spcBef>
              <a:spcAft>
                <a:spcPts val="300"/>
              </a:spcAft>
              <a:buSzPct val="110000"/>
              <a:buFont typeface="Arial" panose="020B0604020202020204" pitchFamily="34" charset="0"/>
              <a:buChar char="‒"/>
              <a:defRPr lang="en-US" sz="1600" kern="1200" dirty="0">
                <a:solidFill>
                  <a:schemeClr val="tx1"/>
                </a:solidFill>
                <a:latin typeface="+mn-lt"/>
                <a:ea typeface="+mn-ea"/>
                <a:cs typeface="+mn-cs"/>
              </a:defRPr>
            </a:lvl3pPr>
            <a:lvl4pPr marL="604800" indent="-154800" algn="l" defTabSz="914400" rtl="0" eaLnBrk="1" latinLnBrk="0" hangingPunct="1">
              <a:lnSpc>
                <a:spcPct val="100000"/>
              </a:lnSpc>
              <a:spcBef>
                <a:spcPts val="0"/>
              </a:spcBef>
              <a:spcAft>
                <a:spcPts val="300"/>
              </a:spcAft>
              <a:buFont typeface="Arial" panose="020B0604020202020204" pitchFamily="34" charset="0"/>
              <a:buChar char="•"/>
              <a:defRPr lang="en-US" sz="1600" kern="1200" dirty="0">
                <a:solidFill>
                  <a:schemeClr val="tx1"/>
                </a:solidFill>
                <a:latin typeface="+mn-lt"/>
                <a:ea typeface="+mn-ea"/>
                <a:cs typeface="+mn-cs"/>
              </a:defRPr>
            </a:lvl4pPr>
            <a:lvl5pPr marL="813600" indent="-147600" algn="l" defTabSz="914400" rtl="0" eaLnBrk="1" latinLnBrk="0" hangingPunct="1">
              <a:lnSpc>
                <a:spcPct val="100000"/>
              </a:lnSpc>
              <a:spcBef>
                <a:spcPts val="0"/>
              </a:spcBef>
              <a:spcAft>
                <a:spcPts val="300"/>
              </a:spcAft>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5FAED2C4-B47B-4690-A3DC-F4AAE07693A5}" type="datetime'''''9''''''''''''''''9'''''''''''''''''''''''''''''''">
              <a:rPr lang="en-US" altLang="en-US" sz="1400" smtClean="0">
                <a:cs typeface="+mn-cs"/>
              </a:rPr>
              <a:pPr>
                <a:spcBef>
                  <a:spcPct val="0"/>
                </a:spcBef>
                <a:spcAft>
                  <a:spcPct val="0"/>
                </a:spcAft>
              </a:pPr>
              <a:t>99</a:t>
            </a:fld>
            <a:endParaRPr lang="en-US" sz="1400">
              <a:cs typeface="+mn-cs"/>
            </a:endParaRPr>
          </a:p>
        </p:txBody>
      </p:sp>
      <p:sp useBgFill="1">
        <p:nvSpPr>
          <p:cNvPr id="247" name="Text Placeholder 4">
            <a:extLst>
              <a:ext uri="{FF2B5EF4-FFF2-40B4-BE49-F238E27FC236}">
                <a16:creationId xmlns:a16="http://schemas.microsoft.com/office/drawing/2014/main" id="{9EAE7419-5A08-221E-8558-8A2357FF170A}"/>
              </a:ext>
            </a:extLst>
          </p:cNvPr>
          <p:cNvSpPr>
            <a:spLocks noGrp="1"/>
          </p:cNvSpPr>
          <p:nvPr>
            <p:custDataLst>
              <p:tags r:id="rId24"/>
            </p:custDataLst>
          </p:nvPr>
        </p:nvSpPr>
        <p:spPr bwMode="gray">
          <a:xfrm>
            <a:off x="11297163" y="3302000"/>
            <a:ext cx="333375" cy="212725"/>
          </a:xfrm>
          <a:prstGeom prst="rect">
            <a:avLst/>
          </a:prstGeom>
          <a:ln>
            <a:noFill/>
          </a:ln>
          <a:effectLst/>
        </p:spPr>
        <p:txBody>
          <a:bodyPr vert="horz" wrap="none" lIns="25400" tIns="0" rIns="25400" bIns="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30400" algn="l" defTabSz="914400" rtl="0" eaLnBrk="1" latinLnBrk="0" hangingPunct="1">
              <a:lnSpc>
                <a:spcPct val="100000"/>
              </a:lnSpc>
              <a:spcBef>
                <a:spcPts val="0"/>
              </a:spcBef>
              <a:spcAft>
                <a:spcPts val="300"/>
              </a:spcAft>
              <a:buSzPct val="110000"/>
              <a:buFont typeface="Wingdings" panose="05000000000000000000" pitchFamily="2" charset="2"/>
              <a:buChar char=""/>
              <a:defRPr lang="en-US" sz="1600" kern="1200" dirty="0">
                <a:solidFill>
                  <a:schemeClr val="tx1"/>
                </a:solidFill>
                <a:latin typeface="+mn-lt"/>
                <a:ea typeface="+mn-ea"/>
                <a:cs typeface="+mn-cs"/>
              </a:defRPr>
            </a:lvl2pPr>
            <a:lvl3pPr marL="439200" indent="-208800" algn="l" defTabSz="914400" rtl="0" eaLnBrk="1" latinLnBrk="0" hangingPunct="1">
              <a:lnSpc>
                <a:spcPct val="100000"/>
              </a:lnSpc>
              <a:spcBef>
                <a:spcPts val="0"/>
              </a:spcBef>
              <a:spcAft>
                <a:spcPts val="300"/>
              </a:spcAft>
              <a:buSzPct val="110000"/>
              <a:buFont typeface="Arial" panose="020B0604020202020204" pitchFamily="34" charset="0"/>
              <a:buChar char="‒"/>
              <a:defRPr lang="en-US" sz="1600" kern="1200" dirty="0">
                <a:solidFill>
                  <a:schemeClr val="tx1"/>
                </a:solidFill>
                <a:latin typeface="+mn-lt"/>
                <a:ea typeface="+mn-ea"/>
                <a:cs typeface="+mn-cs"/>
              </a:defRPr>
            </a:lvl3pPr>
            <a:lvl4pPr marL="604800" indent="-154800" algn="l" defTabSz="914400" rtl="0" eaLnBrk="1" latinLnBrk="0" hangingPunct="1">
              <a:lnSpc>
                <a:spcPct val="100000"/>
              </a:lnSpc>
              <a:spcBef>
                <a:spcPts val="0"/>
              </a:spcBef>
              <a:spcAft>
                <a:spcPts val="300"/>
              </a:spcAft>
              <a:buFont typeface="Arial" panose="020B0604020202020204" pitchFamily="34" charset="0"/>
              <a:buChar char="•"/>
              <a:defRPr lang="en-US" sz="1600" kern="1200" dirty="0">
                <a:solidFill>
                  <a:schemeClr val="tx1"/>
                </a:solidFill>
                <a:latin typeface="+mn-lt"/>
                <a:ea typeface="+mn-ea"/>
                <a:cs typeface="+mn-cs"/>
              </a:defRPr>
            </a:lvl4pPr>
            <a:lvl5pPr marL="813600" indent="-147600" algn="l" defTabSz="914400" rtl="0" eaLnBrk="1" latinLnBrk="0" hangingPunct="1">
              <a:lnSpc>
                <a:spcPct val="100000"/>
              </a:lnSpc>
              <a:spcBef>
                <a:spcPts val="0"/>
              </a:spcBef>
              <a:spcAft>
                <a:spcPts val="300"/>
              </a:spcAft>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F36B5353-C3BA-4EB7-AB69-55405CBC5E70}" type="datetime'''''''1''19'''''''''''''''''''''''''''''''''">
              <a:rPr lang="en-US" altLang="en-US" sz="1400" smtClean="0">
                <a:cs typeface="+mn-cs"/>
              </a:rPr>
              <a:pPr>
                <a:spcBef>
                  <a:spcPct val="0"/>
                </a:spcBef>
                <a:spcAft>
                  <a:spcPct val="0"/>
                </a:spcAft>
              </a:pPr>
              <a:t>119</a:t>
            </a:fld>
            <a:endParaRPr lang="en-US" sz="1400">
              <a:cs typeface="+mn-cs"/>
            </a:endParaRPr>
          </a:p>
        </p:txBody>
      </p:sp>
      <p:sp>
        <p:nvSpPr>
          <p:cNvPr id="248" name="TextBox 247">
            <a:extLst>
              <a:ext uri="{FF2B5EF4-FFF2-40B4-BE49-F238E27FC236}">
                <a16:creationId xmlns:a16="http://schemas.microsoft.com/office/drawing/2014/main" id="{64B39D23-CC84-FF3B-8E16-86C0B36F5B96}"/>
              </a:ext>
            </a:extLst>
          </p:cNvPr>
          <p:cNvSpPr txBox="1"/>
          <p:nvPr/>
        </p:nvSpPr>
        <p:spPr>
          <a:xfrm>
            <a:off x="3052640" y="2709863"/>
            <a:ext cx="548640" cy="215444"/>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228600" lvl="1" indent="-230400">
              <a:lnSpc>
                <a:spcPct val="100000"/>
              </a:lnSpc>
              <a:spcBef>
                <a:spcPts val="0"/>
              </a:spcBef>
              <a:spcAft>
                <a:spcPts val="300"/>
              </a:spcAft>
              <a:buSzPct val="110000"/>
              <a:buFont typeface="Wingdings" panose="05000000000000000000" pitchFamily="2" charset="2"/>
              <a:buChar char=""/>
              <a:defRPr lang="en-US" sz="1600" dirty="0"/>
            </a:lvl2pPr>
            <a:lvl3pPr marL="439200" lvl="2" indent="-208800">
              <a:lnSpc>
                <a:spcPct val="100000"/>
              </a:lnSpc>
              <a:spcBef>
                <a:spcPts val="0"/>
              </a:spcBef>
              <a:spcAft>
                <a:spcPts val="300"/>
              </a:spcAft>
              <a:buSzPct val="110000"/>
              <a:buFont typeface="Arial" panose="020B0604020202020204" pitchFamily="34" charset="0"/>
              <a:buChar char="‒"/>
              <a:defRPr lang="en-US" sz="1600" dirty="0"/>
            </a:lvl3pPr>
            <a:lvl4pPr marL="604800" lvl="3" indent="-154800">
              <a:lnSpc>
                <a:spcPct val="100000"/>
              </a:lnSpc>
              <a:spcBef>
                <a:spcPts val="0"/>
              </a:spcBef>
              <a:spcAft>
                <a:spcPts val="300"/>
              </a:spcAft>
              <a:buFont typeface="Arial" panose="020B0604020202020204" pitchFamily="34" charset="0"/>
              <a:buChar char="•"/>
              <a:defRPr lang="en-US" sz="1600" dirty="0"/>
            </a:lvl4pPr>
            <a:lvl5pPr marL="813600" lvl="4" indent="-147600">
              <a:lnSpc>
                <a:spcPct val="100000"/>
              </a:lnSpc>
              <a:spcBef>
                <a:spcPts val="0"/>
              </a:spcBef>
              <a:spcAft>
                <a:spcPts val="300"/>
              </a:spcAft>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en-US" sz="1400"/>
              <a:t>66</a:t>
            </a:r>
          </a:p>
        </p:txBody>
      </p:sp>
      <p:sp>
        <p:nvSpPr>
          <p:cNvPr id="249" name="TextBox 248">
            <a:extLst>
              <a:ext uri="{FF2B5EF4-FFF2-40B4-BE49-F238E27FC236}">
                <a16:creationId xmlns:a16="http://schemas.microsoft.com/office/drawing/2014/main" id="{C954CBE6-16AA-C856-436F-D754CD6F6097}"/>
              </a:ext>
            </a:extLst>
          </p:cNvPr>
          <p:cNvSpPr txBox="1"/>
          <p:nvPr/>
        </p:nvSpPr>
        <p:spPr>
          <a:xfrm>
            <a:off x="2640524" y="3884799"/>
            <a:ext cx="548640" cy="215444"/>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228600" lvl="1" indent="-230400">
              <a:lnSpc>
                <a:spcPct val="100000"/>
              </a:lnSpc>
              <a:spcBef>
                <a:spcPts val="0"/>
              </a:spcBef>
              <a:spcAft>
                <a:spcPts val="300"/>
              </a:spcAft>
              <a:buSzPct val="110000"/>
              <a:buFont typeface="Wingdings" panose="05000000000000000000" pitchFamily="2" charset="2"/>
              <a:buChar char=""/>
              <a:defRPr lang="en-US" sz="1600" dirty="0"/>
            </a:lvl2pPr>
            <a:lvl3pPr marL="439200" lvl="2" indent="-208800">
              <a:lnSpc>
                <a:spcPct val="100000"/>
              </a:lnSpc>
              <a:spcBef>
                <a:spcPts val="0"/>
              </a:spcBef>
              <a:spcAft>
                <a:spcPts val="300"/>
              </a:spcAft>
              <a:buSzPct val="110000"/>
              <a:buFont typeface="Arial" panose="020B0604020202020204" pitchFamily="34" charset="0"/>
              <a:buChar char="‒"/>
              <a:defRPr lang="en-US" sz="1600" dirty="0"/>
            </a:lvl3pPr>
            <a:lvl4pPr marL="604800" lvl="3" indent="-154800">
              <a:lnSpc>
                <a:spcPct val="100000"/>
              </a:lnSpc>
              <a:spcBef>
                <a:spcPts val="0"/>
              </a:spcBef>
              <a:spcAft>
                <a:spcPts val="300"/>
              </a:spcAft>
              <a:buFont typeface="Arial" panose="020B0604020202020204" pitchFamily="34" charset="0"/>
              <a:buChar char="•"/>
              <a:defRPr lang="en-US" sz="1600" dirty="0"/>
            </a:lvl4pPr>
            <a:lvl5pPr marL="813600" lvl="4" indent="-147600">
              <a:lnSpc>
                <a:spcPct val="100000"/>
              </a:lnSpc>
              <a:spcBef>
                <a:spcPts val="0"/>
              </a:spcBef>
              <a:spcAft>
                <a:spcPts val="300"/>
              </a:spcAft>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en-US" sz="1400"/>
              <a:t>63</a:t>
            </a:r>
          </a:p>
        </p:txBody>
      </p:sp>
      <p:sp>
        <p:nvSpPr>
          <p:cNvPr id="250" name="TextBox 249">
            <a:extLst>
              <a:ext uri="{FF2B5EF4-FFF2-40B4-BE49-F238E27FC236}">
                <a16:creationId xmlns:a16="http://schemas.microsoft.com/office/drawing/2014/main" id="{0C8BAB97-5F28-686E-DA43-09EF7EB55761}"/>
              </a:ext>
            </a:extLst>
          </p:cNvPr>
          <p:cNvSpPr txBox="1"/>
          <p:nvPr/>
        </p:nvSpPr>
        <p:spPr>
          <a:xfrm>
            <a:off x="547687" y="1586024"/>
            <a:ext cx="7753351" cy="246221"/>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228600" lvl="1" indent="-230400">
              <a:lnSpc>
                <a:spcPct val="100000"/>
              </a:lnSpc>
              <a:spcBef>
                <a:spcPts val="0"/>
              </a:spcBef>
              <a:spcAft>
                <a:spcPts val="300"/>
              </a:spcAft>
              <a:buSzPct val="110000"/>
              <a:buFont typeface="Wingdings" panose="05000000000000000000" pitchFamily="2" charset="2"/>
              <a:buChar char=""/>
              <a:defRPr lang="en-US" sz="1600" dirty="0"/>
            </a:lvl2pPr>
            <a:lvl3pPr marL="439200" lvl="2" indent="-208800">
              <a:lnSpc>
                <a:spcPct val="100000"/>
              </a:lnSpc>
              <a:spcBef>
                <a:spcPts val="0"/>
              </a:spcBef>
              <a:spcAft>
                <a:spcPts val="300"/>
              </a:spcAft>
              <a:buSzPct val="110000"/>
              <a:buFont typeface="Arial" panose="020B0604020202020204" pitchFamily="34" charset="0"/>
              <a:buChar char="‒"/>
              <a:defRPr lang="en-US" sz="1600" dirty="0"/>
            </a:lvl3pPr>
            <a:lvl4pPr marL="604800" lvl="3" indent="-154800">
              <a:lnSpc>
                <a:spcPct val="100000"/>
              </a:lnSpc>
              <a:spcBef>
                <a:spcPts val="0"/>
              </a:spcBef>
              <a:spcAft>
                <a:spcPts val="300"/>
              </a:spcAft>
              <a:buFont typeface="Arial" panose="020B0604020202020204" pitchFamily="34" charset="0"/>
              <a:buChar char="•"/>
              <a:defRPr lang="en-US" sz="1600" dirty="0"/>
            </a:lvl4pPr>
            <a:lvl5pPr marL="813600" lvl="4" indent="-147600">
              <a:lnSpc>
                <a:spcPct val="100000"/>
              </a:lnSpc>
              <a:spcBef>
                <a:spcPts val="0"/>
              </a:spcBef>
              <a:spcAft>
                <a:spcPts val="300"/>
              </a:spcAft>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b="1"/>
              <a:t>Estimated LCOE of clean firm energy resources, </a:t>
            </a:r>
            <a:r>
              <a:rPr lang="en-US"/>
              <a:t>$/MWh</a:t>
            </a:r>
          </a:p>
        </p:txBody>
      </p:sp>
      <p:sp>
        <p:nvSpPr>
          <p:cNvPr id="251" name="TextBox 250">
            <a:extLst>
              <a:ext uri="{FF2B5EF4-FFF2-40B4-BE49-F238E27FC236}">
                <a16:creationId xmlns:a16="http://schemas.microsoft.com/office/drawing/2014/main" id="{F4E4AFFA-4128-8C31-8BEB-CB9CD62186D4}"/>
              </a:ext>
            </a:extLst>
          </p:cNvPr>
          <p:cNvSpPr txBox="1"/>
          <p:nvPr/>
        </p:nvSpPr>
        <p:spPr>
          <a:xfrm>
            <a:off x="3501267" y="3318295"/>
            <a:ext cx="548640" cy="215444"/>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228600" lvl="1" indent="-230400">
              <a:lnSpc>
                <a:spcPct val="100000"/>
              </a:lnSpc>
              <a:spcBef>
                <a:spcPts val="0"/>
              </a:spcBef>
              <a:spcAft>
                <a:spcPts val="300"/>
              </a:spcAft>
              <a:buSzPct val="110000"/>
              <a:buFont typeface="Wingdings" panose="05000000000000000000" pitchFamily="2" charset="2"/>
              <a:buChar char=""/>
              <a:defRPr lang="en-US" sz="1600" dirty="0"/>
            </a:lvl2pPr>
            <a:lvl3pPr marL="439200" lvl="2" indent="-208800">
              <a:lnSpc>
                <a:spcPct val="100000"/>
              </a:lnSpc>
              <a:spcBef>
                <a:spcPts val="0"/>
              </a:spcBef>
              <a:spcAft>
                <a:spcPts val="300"/>
              </a:spcAft>
              <a:buSzPct val="110000"/>
              <a:buFont typeface="Arial" panose="020B0604020202020204" pitchFamily="34" charset="0"/>
              <a:buChar char="‒"/>
              <a:defRPr lang="en-US" sz="1600" dirty="0"/>
            </a:lvl3pPr>
            <a:lvl4pPr marL="604800" lvl="3" indent="-154800">
              <a:lnSpc>
                <a:spcPct val="100000"/>
              </a:lnSpc>
              <a:spcBef>
                <a:spcPts val="0"/>
              </a:spcBef>
              <a:spcAft>
                <a:spcPts val="300"/>
              </a:spcAft>
              <a:buFont typeface="Arial" panose="020B0604020202020204" pitchFamily="34" charset="0"/>
              <a:buChar char="•"/>
              <a:defRPr lang="en-US" sz="1600" dirty="0"/>
            </a:lvl4pPr>
            <a:lvl5pPr marL="813600" lvl="4" indent="-147600">
              <a:lnSpc>
                <a:spcPct val="100000"/>
              </a:lnSpc>
              <a:spcBef>
                <a:spcPts val="0"/>
              </a:spcBef>
              <a:spcAft>
                <a:spcPts val="300"/>
              </a:spcAft>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en-US" sz="1400"/>
              <a:t>69</a:t>
            </a:r>
          </a:p>
        </p:txBody>
      </p:sp>
      <p:sp>
        <p:nvSpPr>
          <p:cNvPr id="252" name="TextBox 251">
            <a:extLst>
              <a:ext uri="{FF2B5EF4-FFF2-40B4-BE49-F238E27FC236}">
                <a16:creationId xmlns:a16="http://schemas.microsoft.com/office/drawing/2014/main" id="{8E4F39B2-CB51-DD2C-3656-FBC322A75BF0}"/>
              </a:ext>
            </a:extLst>
          </p:cNvPr>
          <p:cNvSpPr txBox="1"/>
          <p:nvPr/>
        </p:nvSpPr>
        <p:spPr>
          <a:xfrm>
            <a:off x="554736" y="4701901"/>
            <a:ext cx="10686352" cy="553998"/>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228600" lvl="1" indent="-230400">
              <a:lnSpc>
                <a:spcPct val="100000"/>
              </a:lnSpc>
              <a:spcBef>
                <a:spcPts val="0"/>
              </a:spcBef>
              <a:spcAft>
                <a:spcPts val="300"/>
              </a:spcAft>
              <a:buSzPct val="110000"/>
              <a:buFont typeface="Wingdings" panose="05000000000000000000" pitchFamily="2" charset="2"/>
              <a:buChar char=""/>
              <a:defRPr lang="en-US" sz="1600" dirty="0"/>
            </a:lvl2pPr>
            <a:lvl3pPr marL="439200" lvl="2" indent="-208800">
              <a:lnSpc>
                <a:spcPct val="100000"/>
              </a:lnSpc>
              <a:spcBef>
                <a:spcPts val="0"/>
              </a:spcBef>
              <a:spcAft>
                <a:spcPts val="300"/>
              </a:spcAft>
              <a:buSzPct val="110000"/>
              <a:buFont typeface="Arial" panose="020B0604020202020204" pitchFamily="34" charset="0"/>
              <a:buChar char="‒"/>
              <a:defRPr lang="en-US" sz="1600" dirty="0"/>
            </a:lvl3pPr>
            <a:lvl4pPr marL="604800" lvl="3" indent="-154800">
              <a:lnSpc>
                <a:spcPct val="100000"/>
              </a:lnSpc>
              <a:spcBef>
                <a:spcPts val="0"/>
              </a:spcBef>
              <a:spcAft>
                <a:spcPts val="300"/>
              </a:spcAft>
              <a:buFont typeface="Arial" panose="020B0604020202020204" pitchFamily="34" charset="0"/>
              <a:buChar char="•"/>
              <a:defRPr lang="en-US" sz="1600" dirty="0"/>
            </a:lvl4pPr>
            <a:lvl5pPr marL="813600" lvl="4" indent="-147600">
              <a:lnSpc>
                <a:spcPct val="100000"/>
              </a:lnSpc>
              <a:spcBef>
                <a:spcPts val="0"/>
              </a:spcBef>
              <a:spcAft>
                <a:spcPts val="300"/>
              </a:spcAft>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900" kern="1200">
                <a:latin typeface="+mn-lt"/>
                <a:ea typeface="+mn-ea"/>
                <a:cs typeface="Arial" panose="020B0604020202020204" pitchFamily="34" charset="0"/>
              </a:rPr>
              <a:t>1. Advanced nuclear estimated LCOE from $3,600/kW (NOAK) and $9,000/kW (FOAK) overnight capital cost and includes 30% 48E ITC (without either 10% adder) 2. Renewables with storage for </a:t>
            </a:r>
            <a:r>
              <a:rPr lang="en-US" altLang="en-US" sz="900">
                <a:cs typeface="+mn-cs"/>
              </a:rPr>
              <a:t>24/7 load matching from </a:t>
            </a:r>
            <a:r>
              <a:rPr lang="en-US" sz="900" kern="1200">
                <a:latin typeface="+mn-lt"/>
                <a:ea typeface="+mn-ea"/>
                <a:cs typeface="Arial" panose="020B0604020202020204" pitchFamily="34" charset="0"/>
              </a:rPr>
              <a:t>LDES Council’s “A path towards full grid decarbonization with 24/7 clean Power Purchase Agreements” and the LCOE is calculated as (annualized cost of renewable generation + storage capacity) / clean energy delivered to the off-taker excluding additional costs or revenues that would impact final PPA price and includes the ITC under section 48 for the full investment cost of the facility 3. Natural gas with carbon capture and storage numbers from the McKinsey Power Model and include the 45Q tax credit</a:t>
            </a:r>
            <a:endParaRPr lang="en-US" sz="900"/>
          </a:p>
        </p:txBody>
      </p:sp>
      <p:cxnSp>
        <p:nvCxnSpPr>
          <p:cNvPr id="253" name="LineContentSeparatorStrong 13">
            <a:extLst>
              <a:ext uri="{FF2B5EF4-FFF2-40B4-BE49-F238E27FC236}">
                <a16:creationId xmlns:a16="http://schemas.microsoft.com/office/drawing/2014/main" id="{CB66D748-78CD-3BA2-EB93-332224BF6A52}"/>
              </a:ext>
            </a:extLst>
          </p:cNvPr>
          <p:cNvCxnSpPr>
            <a:cxnSpLocks/>
          </p:cNvCxnSpPr>
          <p:nvPr>
            <p:custDataLst>
              <p:tags r:id="rId25"/>
            </p:custDataLst>
          </p:nvPr>
        </p:nvCxnSpPr>
        <p:spPr>
          <a:xfrm>
            <a:off x="547688" y="1861120"/>
            <a:ext cx="11082528" cy="0"/>
          </a:xfrm>
          <a:prstGeom prst="straightConnector1">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54" name="Rectangle 253">
            <a:extLst>
              <a:ext uri="{FF2B5EF4-FFF2-40B4-BE49-F238E27FC236}">
                <a16:creationId xmlns:a16="http://schemas.microsoft.com/office/drawing/2014/main" id="{1B623A8C-9127-2F30-953E-3769AACCD64B}"/>
              </a:ext>
            </a:extLst>
          </p:cNvPr>
          <p:cNvSpPr/>
          <p:nvPr/>
        </p:nvSpPr>
        <p:spPr>
          <a:xfrm>
            <a:off x="3522839" y="2050181"/>
            <a:ext cx="1919623" cy="474179"/>
          </a:xfrm>
          <a:prstGeom prst="rect">
            <a:avLst/>
          </a:prstGeom>
          <a:noFill/>
          <a:ln w="190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400" i="1">
                <a:solidFill>
                  <a:sysClr val="windowText" lastClr="000000"/>
                </a:solidFill>
              </a:rPr>
              <a:t>NOAK with tax credits</a:t>
            </a:r>
          </a:p>
        </p:txBody>
      </p:sp>
      <p:sp>
        <p:nvSpPr>
          <p:cNvPr id="255" name="Rectangle 254">
            <a:extLst>
              <a:ext uri="{FF2B5EF4-FFF2-40B4-BE49-F238E27FC236}">
                <a16:creationId xmlns:a16="http://schemas.microsoft.com/office/drawing/2014/main" id="{E9F8A878-5C8D-B18E-4D31-A350A457C181}"/>
              </a:ext>
            </a:extLst>
          </p:cNvPr>
          <p:cNvSpPr/>
          <p:nvPr/>
        </p:nvSpPr>
        <p:spPr>
          <a:xfrm>
            <a:off x="7878610" y="2050181"/>
            <a:ext cx="1919623" cy="474179"/>
          </a:xfrm>
          <a:prstGeom prst="rect">
            <a:avLst/>
          </a:prstGeom>
          <a:noFill/>
          <a:ln w="190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400" i="1">
                <a:solidFill>
                  <a:sysClr val="windowText" lastClr="000000"/>
                </a:solidFill>
              </a:rPr>
              <a:t>FOAK with tax credits</a:t>
            </a:r>
          </a:p>
        </p:txBody>
      </p:sp>
    </p:spTree>
    <p:extLst>
      <p:ext uri="{BB962C8B-B14F-4D97-AF65-F5344CB8AC3E}">
        <p14:creationId xmlns:p14="http://schemas.microsoft.com/office/powerpoint/2010/main" val="138386921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71DE96E-CE74-75B4-BC9E-5130DEE61620}"/>
              </a:ext>
            </a:extLst>
          </p:cNvPr>
          <p:cNvSpPr>
            <a:spLocks noGrp="1"/>
          </p:cNvSpPr>
          <p:nvPr>
            <p:ph type="title"/>
          </p:nvPr>
        </p:nvSpPr>
        <p:spPr/>
        <p:txBody>
          <a:bodyPr/>
          <a:lstStyle/>
          <a:p>
            <a:r>
              <a:rPr lang="en-US"/>
              <a:t>Three key stages inform path to deploying advanced nuclear at scale</a:t>
            </a:r>
          </a:p>
        </p:txBody>
      </p:sp>
      <p:cxnSp>
        <p:nvCxnSpPr>
          <p:cNvPr id="4" name="Connector: Elbow 3">
            <a:extLst>
              <a:ext uri="{FF2B5EF4-FFF2-40B4-BE49-F238E27FC236}">
                <a16:creationId xmlns:a16="http://schemas.microsoft.com/office/drawing/2014/main" id="{862DD79C-7F64-084D-7D07-21D843718BF7}"/>
              </a:ext>
            </a:extLst>
          </p:cNvPr>
          <p:cNvCxnSpPr>
            <a:cxnSpLocks/>
            <a:endCxn id="6" idx="1"/>
          </p:cNvCxnSpPr>
          <p:nvPr/>
        </p:nvCxnSpPr>
        <p:spPr>
          <a:xfrm rot="16200000" flipH="1">
            <a:off x="529635" y="3060467"/>
            <a:ext cx="1040797" cy="990601"/>
          </a:xfrm>
          <a:prstGeom prst="bentConnector2">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sp>
        <p:nvSpPr>
          <p:cNvPr id="5" name="Arrow: Pentagon 4">
            <a:extLst>
              <a:ext uri="{FF2B5EF4-FFF2-40B4-BE49-F238E27FC236}">
                <a16:creationId xmlns:a16="http://schemas.microsoft.com/office/drawing/2014/main" id="{ADD23F0A-EAD6-5C2A-AE9A-D65E8546FC50}"/>
              </a:ext>
            </a:extLst>
          </p:cNvPr>
          <p:cNvSpPr/>
          <p:nvPr/>
        </p:nvSpPr>
        <p:spPr>
          <a:xfrm>
            <a:off x="554735" y="2593876"/>
            <a:ext cx="3843338" cy="457200"/>
          </a:xfrm>
          <a:prstGeom prst="homePlat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US" sz="1600" b="1" i="0" u="none" strike="noStrike" kern="1200" cap="none" spc="0" normalizeH="0" baseline="0" noProof="0">
                <a:ln>
                  <a:noFill/>
                </a:ln>
                <a:solidFill>
                  <a:srgbClr val="FFFFFF"/>
                </a:solidFill>
                <a:effectLst/>
                <a:uLnTx/>
                <a:uFillTx/>
                <a:latin typeface="Arial"/>
                <a:ea typeface="+mn-ea"/>
                <a:cs typeface="+mn-cs"/>
              </a:rPr>
              <a:t>1. Committed orderbook</a:t>
            </a:r>
          </a:p>
        </p:txBody>
      </p:sp>
      <p:sp>
        <p:nvSpPr>
          <p:cNvPr id="6" name="Arrow: Pentagon 5">
            <a:extLst>
              <a:ext uri="{FF2B5EF4-FFF2-40B4-BE49-F238E27FC236}">
                <a16:creationId xmlns:a16="http://schemas.microsoft.com/office/drawing/2014/main" id="{B1BACFCB-91D0-5DDD-173C-90FE0356E85C}"/>
              </a:ext>
            </a:extLst>
          </p:cNvPr>
          <p:cNvSpPr/>
          <p:nvPr/>
        </p:nvSpPr>
        <p:spPr>
          <a:xfrm>
            <a:off x="1545334" y="3847567"/>
            <a:ext cx="5355980" cy="457200"/>
          </a:xfrm>
          <a:prstGeom prst="homePlat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US" sz="1600" b="1" i="0" u="none" strike="noStrike" kern="1200" cap="none" spc="0" normalizeH="0" baseline="0" noProof="0">
                <a:ln>
                  <a:noFill/>
                </a:ln>
                <a:solidFill>
                  <a:srgbClr val="FFFFFF"/>
                </a:solidFill>
                <a:effectLst/>
                <a:uLnTx/>
                <a:uFillTx/>
                <a:latin typeface="Arial"/>
                <a:ea typeface="+mn-ea"/>
                <a:cs typeface="+mn-cs"/>
              </a:rPr>
              <a:t>2. Project delivery</a:t>
            </a:r>
          </a:p>
        </p:txBody>
      </p:sp>
      <p:sp>
        <p:nvSpPr>
          <p:cNvPr id="7" name="Arrow: Pentagon 6">
            <a:extLst>
              <a:ext uri="{FF2B5EF4-FFF2-40B4-BE49-F238E27FC236}">
                <a16:creationId xmlns:a16="http://schemas.microsoft.com/office/drawing/2014/main" id="{81B73B9B-0E7A-C2C6-A1A8-6074422CE0A6}"/>
              </a:ext>
            </a:extLst>
          </p:cNvPr>
          <p:cNvSpPr/>
          <p:nvPr/>
        </p:nvSpPr>
        <p:spPr>
          <a:xfrm>
            <a:off x="2535934" y="5101258"/>
            <a:ext cx="8674609" cy="457200"/>
          </a:xfrm>
          <a:prstGeom prst="homePlat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US" sz="1600" b="1" i="0" u="none" strike="noStrike" kern="1200" cap="none" spc="0" normalizeH="0" baseline="0" noProof="0">
                <a:ln>
                  <a:noFill/>
                </a:ln>
                <a:solidFill>
                  <a:srgbClr val="FFFFFF"/>
                </a:solidFill>
                <a:effectLst/>
                <a:uLnTx/>
                <a:uFillTx/>
                <a:latin typeface="Arial"/>
                <a:ea typeface="+mn-ea"/>
                <a:cs typeface="+mn-cs"/>
              </a:rPr>
              <a:t>3. Industrialization</a:t>
            </a:r>
          </a:p>
        </p:txBody>
      </p:sp>
      <p:cxnSp>
        <p:nvCxnSpPr>
          <p:cNvPr id="8" name="LineSeparatorDefault 10">
            <a:extLst>
              <a:ext uri="{FF2B5EF4-FFF2-40B4-BE49-F238E27FC236}">
                <a16:creationId xmlns:a16="http://schemas.microsoft.com/office/drawing/2014/main" id="{AB8CA532-5F8F-7FF1-B239-422DDD940B64}"/>
              </a:ext>
            </a:extLst>
          </p:cNvPr>
          <p:cNvCxnSpPr>
            <a:cxnSpLocks/>
          </p:cNvCxnSpPr>
          <p:nvPr>
            <p:custDataLst>
              <p:tags r:id="rId1"/>
            </p:custDataLst>
          </p:nvPr>
        </p:nvCxnSpPr>
        <p:spPr>
          <a:xfrm>
            <a:off x="554735" y="1465724"/>
            <a:ext cx="10975849" cy="0"/>
          </a:xfrm>
          <a:prstGeom prst="straightConnector1">
            <a:avLst/>
          </a:prstGeom>
          <a:ln w="190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pic>
        <p:nvPicPr>
          <p:cNvPr id="9" name="Chevron 16">
            <a:extLst>
              <a:ext uri="{FF2B5EF4-FFF2-40B4-BE49-F238E27FC236}">
                <a16:creationId xmlns:a16="http://schemas.microsoft.com/office/drawing/2014/main" id="{A2194714-175A-243E-9A8B-4A01EF61D4B6}"/>
              </a:ext>
            </a:extLst>
          </p:cNvPr>
          <p:cNvPicPr>
            <a:picLocks noChangeAspect="1"/>
          </p:cNvPicPr>
          <p:nvPr>
            <p:custDataLst>
              <p:tags r:id="rId2"/>
            </p:custDataLst>
          </p:nvPr>
        </p:nvPicPr>
        <p:blipFill>
          <a:blip r:embed="rId4">
            <a:extLst>
              <a:ext uri="{96DAC541-7B7A-43D3-8B79-37D633B846F1}">
                <asvg:svgBlip xmlns:asvg="http://schemas.microsoft.com/office/drawing/2016/SVG/main" r:embed="rId5"/>
              </a:ext>
            </a:extLst>
          </a:blip>
          <a:stretch>
            <a:fillRect/>
          </a:stretch>
        </p:blipFill>
        <p:spPr>
          <a:xfrm>
            <a:off x="11210544" y="1191404"/>
            <a:ext cx="548640" cy="548640"/>
          </a:xfrm>
          <a:prstGeom prst="rect">
            <a:avLst/>
          </a:prstGeom>
        </p:spPr>
      </p:pic>
      <p:sp>
        <p:nvSpPr>
          <p:cNvPr id="10" name="Oval 9">
            <a:extLst>
              <a:ext uri="{FF2B5EF4-FFF2-40B4-BE49-F238E27FC236}">
                <a16:creationId xmlns:a16="http://schemas.microsoft.com/office/drawing/2014/main" id="{4531E144-D635-DEB9-BF0F-79A138E1E3B4}"/>
              </a:ext>
            </a:extLst>
          </p:cNvPr>
          <p:cNvSpPr/>
          <p:nvPr/>
        </p:nvSpPr>
        <p:spPr>
          <a:xfrm>
            <a:off x="554733" y="1417210"/>
            <a:ext cx="91440" cy="91440"/>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Arial"/>
              <a:ea typeface="+mn-ea"/>
              <a:cs typeface="+mn-cs"/>
            </a:endParaRPr>
          </a:p>
        </p:txBody>
      </p:sp>
      <p:sp>
        <p:nvSpPr>
          <p:cNvPr id="11" name="TextBox 10">
            <a:extLst>
              <a:ext uri="{FF2B5EF4-FFF2-40B4-BE49-F238E27FC236}">
                <a16:creationId xmlns:a16="http://schemas.microsoft.com/office/drawing/2014/main" id="{3DE5DB9E-8BE4-3A3C-862B-BDA85185CAFC}"/>
              </a:ext>
            </a:extLst>
          </p:cNvPr>
          <p:cNvSpPr txBox="1"/>
          <p:nvPr/>
        </p:nvSpPr>
        <p:spPr>
          <a:xfrm>
            <a:off x="554735" y="1572897"/>
            <a:ext cx="688848" cy="246221"/>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228600" lvl="1" indent="-230400">
              <a:lnSpc>
                <a:spcPct val="100000"/>
              </a:lnSpc>
              <a:spcBef>
                <a:spcPts val="0"/>
              </a:spcBef>
              <a:spcAft>
                <a:spcPts val="300"/>
              </a:spcAft>
              <a:buSzPct val="110000"/>
              <a:buFont typeface="Wingdings" panose="05000000000000000000" pitchFamily="2" charset="2"/>
              <a:buChar char=""/>
              <a:defRPr lang="en-US" sz="1600" dirty="0"/>
            </a:lvl2pPr>
            <a:lvl3pPr marL="439200" lvl="2" indent="-208800">
              <a:lnSpc>
                <a:spcPct val="100000"/>
              </a:lnSpc>
              <a:spcBef>
                <a:spcPts val="0"/>
              </a:spcBef>
              <a:spcAft>
                <a:spcPts val="300"/>
              </a:spcAft>
              <a:buSzPct val="110000"/>
              <a:buFont typeface="Arial" panose="020B0604020202020204" pitchFamily="34" charset="0"/>
              <a:buChar char="‒"/>
              <a:defRPr lang="en-US" sz="1600" dirty="0"/>
            </a:lvl3pPr>
            <a:lvl4pPr marL="604800" lvl="3" indent="-154800">
              <a:lnSpc>
                <a:spcPct val="100000"/>
              </a:lnSpc>
              <a:spcBef>
                <a:spcPts val="0"/>
              </a:spcBef>
              <a:spcAft>
                <a:spcPts val="300"/>
              </a:spcAft>
              <a:buFont typeface="Arial" panose="020B0604020202020204" pitchFamily="34" charset="0"/>
              <a:buChar char="•"/>
              <a:defRPr lang="en-US" sz="1600" dirty="0"/>
            </a:lvl4pPr>
            <a:lvl5pPr marL="813600" lvl="4" indent="-147600">
              <a:lnSpc>
                <a:spcPct val="100000"/>
              </a:lnSpc>
              <a:spcBef>
                <a:spcPts val="0"/>
              </a:spcBef>
              <a:spcAft>
                <a:spcPts val="300"/>
              </a:spcAft>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600" b="1" i="1" u="none" strike="noStrike" kern="1200" cap="none" spc="0" normalizeH="0" baseline="0" noProof="0">
                <a:ln>
                  <a:noFill/>
                </a:ln>
                <a:solidFill>
                  <a:srgbClr val="000000"/>
                </a:solidFill>
                <a:effectLst/>
                <a:uLnTx/>
                <a:uFillTx/>
                <a:latin typeface="Arial"/>
                <a:ea typeface="+mn-ea"/>
                <a:cs typeface="Arial" panose="020B0604020202020204" pitchFamily="34" charset="0"/>
              </a:rPr>
              <a:t>Today</a:t>
            </a:r>
          </a:p>
        </p:txBody>
      </p:sp>
      <p:sp>
        <p:nvSpPr>
          <p:cNvPr id="12" name="Oval 11">
            <a:extLst>
              <a:ext uri="{FF2B5EF4-FFF2-40B4-BE49-F238E27FC236}">
                <a16:creationId xmlns:a16="http://schemas.microsoft.com/office/drawing/2014/main" id="{87D0DE89-8EA3-6BEA-4F21-9BEF01FA35F4}"/>
              </a:ext>
            </a:extLst>
          </p:cNvPr>
          <p:cNvSpPr/>
          <p:nvPr/>
        </p:nvSpPr>
        <p:spPr>
          <a:xfrm>
            <a:off x="11157202" y="1417210"/>
            <a:ext cx="91440" cy="91440"/>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Arial"/>
              <a:ea typeface="+mn-ea"/>
              <a:cs typeface="+mn-cs"/>
            </a:endParaRPr>
          </a:p>
        </p:txBody>
      </p:sp>
      <p:sp>
        <p:nvSpPr>
          <p:cNvPr id="13" name="TextBox 12">
            <a:extLst>
              <a:ext uri="{FF2B5EF4-FFF2-40B4-BE49-F238E27FC236}">
                <a16:creationId xmlns:a16="http://schemas.microsoft.com/office/drawing/2014/main" id="{A96D624E-FDE9-F026-0FA5-41CFE4885EC7}"/>
              </a:ext>
            </a:extLst>
          </p:cNvPr>
          <p:cNvSpPr txBox="1"/>
          <p:nvPr/>
        </p:nvSpPr>
        <p:spPr>
          <a:xfrm>
            <a:off x="10839450" y="1572897"/>
            <a:ext cx="688848" cy="246221"/>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228600" lvl="1" indent="-230400">
              <a:lnSpc>
                <a:spcPct val="100000"/>
              </a:lnSpc>
              <a:spcBef>
                <a:spcPts val="0"/>
              </a:spcBef>
              <a:spcAft>
                <a:spcPts val="300"/>
              </a:spcAft>
              <a:buSzPct val="110000"/>
              <a:buFont typeface="Wingdings" panose="05000000000000000000" pitchFamily="2" charset="2"/>
              <a:buChar char=""/>
              <a:defRPr lang="en-US" sz="1600" dirty="0"/>
            </a:lvl2pPr>
            <a:lvl3pPr marL="439200" lvl="2" indent="-208800">
              <a:lnSpc>
                <a:spcPct val="100000"/>
              </a:lnSpc>
              <a:spcBef>
                <a:spcPts val="0"/>
              </a:spcBef>
              <a:spcAft>
                <a:spcPts val="300"/>
              </a:spcAft>
              <a:buSzPct val="110000"/>
              <a:buFont typeface="Arial" panose="020B0604020202020204" pitchFamily="34" charset="0"/>
              <a:buChar char="‒"/>
              <a:defRPr lang="en-US" sz="1600" dirty="0"/>
            </a:lvl3pPr>
            <a:lvl4pPr marL="604800" lvl="3" indent="-154800">
              <a:lnSpc>
                <a:spcPct val="100000"/>
              </a:lnSpc>
              <a:spcBef>
                <a:spcPts val="0"/>
              </a:spcBef>
              <a:spcAft>
                <a:spcPts val="300"/>
              </a:spcAft>
              <a:buFont typeface="Arial" panose="020B0604020202020204" pitchFamily="34" charset="0"/>
              <a:buChar char="•"/>
              <a:defRPr lang="en-US" sz="1600" dirty="0"/>
            </a:lvl4pPr>
            <a:lvl5pPr marL="813600" lvl="4" indent="-147600">
              <a:lnSpc>
                <a:spcPct val="100000"/>
              </a:lnSpc>
              <a:spcBef>
                <a:spcPts val="0"/>
              </a:spcBef>
              <a:spcAft>
                <a:spcPts val="300"/>
              </a:spcAft>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600" b="1" i="1" u="none" strike="noStrike" kern="1200" cap="none" spc="0" normalizeH="0" baseline="0" noProof="0">
                <a:ln>
                  <a:noFill/>
                </a:ln>
                <a:solidFill>
                  <a:srgbClr val="000000"/>
                </a:solidFill>
                <a:effectLst/>
                <a:uLnTx/>
                <a:uFillTx/>
                <a:latin typeface="Arial"/>
                <a:ea typeface="+mn-ea"/>
                <a:cs typeface="Arial" panose="020B0604020202020204" pitchFamily="34" charset="0"/>
              </a:rPr>
              <a:t>2050</a:t>
            </a:r>
          </a:p>
        </p:txBody>
      </p:sp>
      <p:sp>
        <p:nvSpPr>
          <p:cNvPr id="14" name="Arrow: Pentagon 13">
            <a:extLst>
              <a:ext uri="{FF2B5EF4-FFF2-40B4-BE49-F238E27FC236}">
                <a16:creationId xmlns:a16="http://schemas.microsoft.com/office/drawing/2014/main" id="{5AA6A199-96BC-B439-5318-004A07F74798}"/>
              </a:ext>
            </a:extLst>
          </p:cNvPr>
          <p:cNvSpPr/>
          <p:nvPr/>
        </p:nvSpPr>
        <p:spPr>
          <a:xfrm>
            <a:off x="554735" y="1924311"/>
            <a:ext cx="3843338" cy="457200"/>
          </a:xfrm>
          <a:prstGeom prst="homePlate">
            <a:avLst/>
          </a:prstGeom>
          <a:solidFill>
            <a:schemeClr val="bg1"/>
          </a:solidFill>
          <a:ln w="12700" cap="sq">
            <a:solidFill>
              <a:schemeClr val="accent6"/>
            </a:solidFill>
            <a:prstDash val="lg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US" sz="1600" b="1" i="0" u="none" strike="noStrike" kern="1200" cap="none" spc="0" normalizeH="0" baseline="0" noProof="0">
                <a:ln>
                  <a:noFill/>
                </a:ln>
                <a:solidFill>
                  <a:srgbClr val="4D4D4D"/>
                </a:solidFill>
                <a:effectLst/>
                <a:uLnTx/>
                <a:uFillTx/>
                <a:latin typeface="Arial"/>
                <a:ea typeface="+mn-ea"/>
                <a:cs typeface="+mn-cs"/>
              </a:rPr>
              <a:t>T</a:t>
            </a:r>
            <a:r>
              <a:rPr kumimoji="0" lang="en-US" sz="1600" b="1" i="0" u="none" strike="noStrike" kern="1200" cap="none" spc="0" normalizeH="0" baseline="0" noProof="0" err="1">
                <a:ln>
                  <a:noFill/>
                </a:ln>
                <a:solidFill>
                  <a:srgbClr val="4D4D4D"/>
                </a:solidFill>
                <a:effectLst/>
                <a:uLnTx/>
                <a:uFillTx/>
                <a:latin typeface="Arial"/>
                <a:ea typeface="+mn-ea"/>
                <a:cs typeface="+mn-cs"/>
              </a:rPr>
              <a:t>ech</a:t>
            </a:r>
            <a:r>
              <a:rPr kumimoji="0" lang="en-US" sz="1600" b="1" i="0" u="none" strike="noStrike" kern="1200" cap="none" spc="0" normalizeH="0" baseline="0" noProof="0">
                <a:ln>
                  <a:noFill/>
                </a:ln>
                <a:solidFill>
                  <a:srgbClr val="4D4D4D"/>
                </a:solidFill>
                <a:effectLst/>
                <a:uLnTx/>
                <a:uFillTx/>
                <a:latin typeface="Arial"/>
                <a:ea typeface="+mn-ea"/>
                <a:cs typeface="+mn-cs"/>
              </a:rPr>
              <a:t>. demonstrations</a:t>
            </a:r>
          </a:p>
        </p:txBody>
      </p:sp>
      <p:sp>
        <p:nvSpPr>
          <p:cNvPr id="15" name="Oval 14">
            <a:extLst>
              <a:ext uri="{FF2B5EF4-FFF2-40B4-BE49-F238E27FC236}">
                <a16:creationId xmlns:a16="http://schemas.microsoft.com/office/drawing/2014/main" id="{5DC9CB87-1DEE-86FB-EBAA-BB56737DDC83}"/>
              </a:ext>
            </a:extLst>
          </p:cNvPr>
          <p:cNvSpPr/>
          <p:nvPr/>
        </p:nvSpPr>
        <p:spPr>
          <a:xfrm>
            <a:off x="6050280" y="1417211"/>
            <a:ext cx="91440" cy="91440"/>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Arial"/>
              <a:ea typeface="+mn-ea"/>
              <a:cs typeface="+mn-cs"/>
            </a:endParaRPr>
          </a:p>
        </p:txBody>
      </p:sp>
      <p:sp>
        <p:nvSpPr>
          <p:cNvPr id="16" name="TextBox 15">
            <a:extLst>
              <a:ext uri="{FF2B5EF4-FFF2-40B4-BE49-F238E27FC236}">
                <a16:creationId xmlns:a16="http://schemas.microsoft.com/office/drawing/2014/main" id="{4BA540BA-BEAF-0ACC-3F09-E0C27F59A10D}"/>
              </a:ext>
            </a:extLst>
          </p:cNvPr>
          <p:cNvSpPr txBox="1"/>
          <p:nvPr/>
        </p:nvSpPr>
        <p:spPr>
          <a:xfrm>
            <a:off x="5749288" y="1572897"/>
            <a:ext cx="688848" cy="246221"/>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228600" lvl="1" indent="-230400">
              <a:lnSpc>
                <a:spcPct val="100000"/>
              </a:lnSpc>
              <a:spcBef>
                <a:spcPts val="0"/>
              </a:spcBef>
              <a:spcAft>
                <a:spcPts val="300"/>
              </a:spcAft>
              <a:buSzPct val="110000"/>
              <a:buFont typeface="Wingdings" panose="05000000000000000000" pitchFamily="2" charset="2"/>
              <a:buChar char=""/>
              <a:defRPr lang="en-US" sz="1600" dirty="0"/>
            </a:lvl2pPr>
            <a:lvl3pPr marL="439200" lvl="2" indent="-208800">
              <a:lnSpc>
                <a:spcPct val="100000"/>
              </a:lnSpc>
              <a:spcBef>
                <a:spcPts val="0"/>
              </a:spcBef>
              <a:spcAft>
                <a:spcPts val="300"/>
              </a:spcAft>
              <a:buSzPct val="110000"/>
              <a:buFont typeface="Arial" panose="020B0604020202020204" pitchFamily="34" charset="0"/>
              <a:buChar char="‒"/>
              <a:defRPr lang="en-US" sz="1600" dirty="0"/>
            </a:lvl3pPr>
            <a:lvl4pPr marL="604800" lvl="3" indent="-154800">
              <a:lnSpc>
                <a:spcPct val="100000"/>
              </a:lnSpc>
              <a:spcBef>
                <a:spcPts val="0"/>
              </a:spcBef>
              <a:spcAft>
                <a:spcPts val="300"/>
              </a:spcAft>
              <a:buFont typeface="Arial" panose="020B0604020202020204" pitchFamily="34" charset="0"/>
              <a:buChar char="•"/>
              <a:defRPr lang="en-US" sz="1600" dirty="0"/>
            </a:lvl4pPr>
            <a:lvl5pPr marL="813600" lvl="4" indent="-147600">
              <a:lnSpc>
                <a:spcPct val="100000"/>
              </a:lnSpc>
              <a:spcBef>
                <a:spcPts val="0"/>
              </a:spcBef>
              <a:spcAft>
                <a:spcPts val="300"/>
              </a:spcAft>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600" b="1" i="1" u="none" strike="noStrike" kern="1200" cap="none" spc="0" normalizeH="0" baseline="0" noProof="0">
                <a:ln>
                  <a:noFill/>
                </a:ln>
                <a:solidFill>
                  <a:srgbClr val="000000"/>
                </a:solidFill>
                <a:effectLst/>
                <a:uLnTx/>
                <a:uFillTx/>
                <a:latin typeface="Arial"/>
                <a:ea typeface="+mn-ea"/>
                <a:cs typeface="Arial" panose="020B0604020202020204" pitchFamily="34" charset="0"/>
              </a:rPr>
              <a:t>2035</a:t>
            </a:r>
          </a:p>
        </p:txBody>
      </p:sp>
      <p:sp>
        <p:nvSpPr>
          <p:cNvPr id="17" name="TextBox 16">
            <a:extLst>
              <a:ext uri="{FF2B5EF4-FFF2-40B4-BE49-F238E27FC236}">
                <a16:creationId xmlns:a16="http://schemas.microsoft.com/office/drawing/2014/main" id="{596C295A-E18A-A042-9803-00C0AD2F05D7}"/>
              </a:ext>
            </a:extLst>
          </p:cNvPr>
          <p:cNvSpPr txBox="1"/>
          <p:nvPr/>
        </p:nvSpPr>
        <p:spPr>
          <a:xfrm>
            <a:off x="554733" y="3035370"/>
            <a:ext cx="6295200" cy="457200"/>
          </a:xfrm>
          <a:prstGeom prst="rect">
            <a:avLst/>
          </a:prstGeom>
          <a:noFill/>
          <a:ln w="6350">
            <a:noFill/>
            <a:miter lim="800000"/>
          </a:ln>
        </p:spPr>
        <p:txBody>
          <a:bodyPr wrap="square"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1" u="none" strike="noStrike" kern="1200" cap="none" spc="0" normalizeH="0" baseline="0" noProof="0">
                <a:ln>
                  <a:noFill/>
                </a:ln>
                <a:solidFill>
                  <a:sysClr val="windowText" lastClr="000000"/>
                </a:solidFill>
                <a:effectLst/>
                <a:uLnTx/>
                <a:uFillTx/>
                <a:latin typeface="Arial"/>
                <a:ea typeface="+mn-ea"/>
                <a:cs typeface="+mn-cs"/>
              </a:rPr>
              <a:t>Need committed orderbook of 5-10 (likely) Gen III+ SMRs by 2025</a:t>
            </a:r>
            <a:endParaRPr kumimoji="0" lang="en-US" sz="1600" b="0" i="1" u="none" strike="noStrike" kern="1200" cap="none" spc="0" normalizeH="0" baseline="0" noProof="0">
              <a:ln>
                <a:noFill/>
              </a:ln>
              <a:solidFill>
                <a:srgbClr val="000000"/>
              </a:solidFill>
              <a:effectLst/>
              <a:uLnTx/>
              <a:uFillTx/>
              <a:latin typeface="Arial"/>
              <a:ea typeface="+mn-ea"/>
              <a:cs typeface="+mn-cs"/>
            </a:endParaRPr>
          </a:p>
        </p:txBody>
      </p:sp>
      <p:sp>
        <p:nvSpPr>
          <p:cNvPr id="18" name="TextBox 17">
            <a:extLst>
              <a:ext uri="{FF2B5EF4-FFF2-40B4-BE49-F238E27FC236}">
                <a16:creationId xmlns:a16="http://schemas.microsoft.com/office/drawing/2014/main" id="{C52DE3E7-A32A-6EBD-5857-5D98EFADB11A}"/>
              </a:ext>
            </a:extLst>
          </p:cNvPr>
          <p:cNvSpPr txBox="1"/>
          <p:nvPr/>
        </p:nvSpPr>
        <p:spPr>
          <a:xfrm>
            <a:off x="1545334" y="4307038"/>
            <a:ext cx="6295200" cy="457200"/>
          </a:xfrm>
          <a:prstGeom prst="rect">
            <a:avLst/>
          </a:prstGeom>
          <a:noFill/>
          <a:ln w="6350">
            <a:noFill/>
            <a:miter lim="800000"/>
          </a:ln>
        </p:spPr>
        <p:txBody>
          <a:bodyPr wrap="square"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1" u="none" strike="noStrike" kern="1200" cap="none" spc="0" normalizeH="0" baseline="0" noProof="0">
                <a:ln>
                  <a:noFill/>
                </a:ln>
                <a:solidFill>
                  <a:sysClr val="windowText" lastClr="000000"/>
                </a:solidFill>
                <a:effectLst/>
                <a:uLnTx/>
                <a:uFillTx/>
                <a:latin typeface="Arial"/>
                <a:ea typeface="+mn-ea"/>
                <a:cs typeface="+mn-cs"/>
              </a:rPr>
              <a:t>Need to deliver reasonably (±20%) on-time and on-budget</a:t>
            </a:r>
            <a:endParaRPr kumimoji="0" lang="en-US" sz="1600" b="0" i="1" u="none" strike="noStrike" kern="1200" cap="none" spc="0" normalizeH="0" baseline="0" noProof="0">
              <a:ln>
                <a:noFill/>
              </a:ln>
              <a:solidFill>
                <a:srgbClr val="000000"/>
              </a:solidFill>
              <a:effectLst/>
              <a:uLnTx/>
              <a:uFillTx/>
              <a:latin typeface="Arial"/>
              <a:ea typeface="+mn-ea"/>
              <a:cs typeface="+mn-cs"/>
            </a:endParaRPr>
          </a:p>
        </p:txBody>
      </p:sp>
      <p:sp>
        <p:nvSpPr>
          <p:cNvPr id="19" name="TextBox 18">
            <a:extLst>
              <a:ext uri="{FF2B5EF4-FFF2-40B4-BE49-F238E27FC236}">
                <a16:creationId xmlns:a16="http://schemas.microsoft.com/office/drawing/2014/main" id="{00379B70-32C0-78CC-7759-04ACB5353F22}"/>
              </a:ext>
            </a:extLst>
          </p:cNvPr>
          <p:cNvSpPr txBox="1"/>
          <p:nvPr/>
        </p:nvSpPr>
        <p:spPr>
          <a:xfrm>
            <a:off x="2535934" y="5558458"/>
            <a:ext cx="6295200" cy="457200"/>
          </a:xfrm>
          <a:prstGeom prst="rect">
            <a:avLst/>
          </a:prstGeom>
          <a:noFill/>
          <a:ln w="6350">
            <a:noFill/>
            <a:miter lim="800000"/>
          </a:ln>
        </p:spPr>
        <p:txBody>
          <a:bodyPr wrap="square"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1" u="none" strike="noStrike" kern="1200" cap="none" spc="0" normalizeH="0" baseline="0" noProof="0">
                <a:ln>
                  <a:noFill/>
                </a:ln>
                <a:solidFill>
                  <a:sysClr val="windowText" lastClr="000000"/>
                </a:solidFill>
                <a:effectLst/>
                <a:uLnTx/>
                <a:uFillTx/>
                <a:latin typeface="Arial"/>
                <a:ea typeface="+mn-ea"/>
                <a:cs typeface="+mn-cs"/>
              </a:rPr>
              <a:t>Need to scale workforce, supply chain, and licensing capacity</a:t>
            </a:r>
            <a:endParaRPr kumimoji="0" lang="en-US" sz="1600" b="0" i="1" u="none" strike="noStrike" kern="1200" cap="none" spc="0" normalizeH="0" baseline="0" noProof="0">
              <a:ln>
                <a:noFill/>
              </a:ln>
              <a:solidFill>
                <a:srgbClr val="000000"/>
              </a:solidFill>
              <a:effectLst/>
              <a:uLnTx/>
              <a:uFillTx/>
              <a:latin typeface="Arial"/>
              <a:ea typeface="+mn-ea"/>
              <a:cs typeface="+mn-cs"/>
            </a:endParaRPr>
          </a:p>
        </p:txBody>
      </p:sp>
      <p:cxnSp>
        <p:nvCxnSpPr>
          <p:cNvPr id="20" name="Connector: Elbow 19">
            <a:extLst>
              <a:ext uri="{FF2B5EF4-FFF2-40B4-BE49-F238E27FC236}">
                <a16:creationId xmlns:a16="http://schemas.microsoft.com/office/drawing/2014/main" id="{666A0D79-6365-DE64-985C-4DA056EBDD47}"/>
              </a:ext>
            </a:extLst>
          </p:cNvPr>
          <p:cNvCxnSpPr>
            <a:cxnSpLocks/>
          </p:cNvCxnSpPr>
          <p:nvPr/>
        </p:nvCxnSpPr>
        <p:spPr>
          <a:xfrm rot="16200000" flipH="1">
            <a:off x="1520381" y="4329865"/>
            <a:ext cx="1040797" cy="990601"/>
          </a:xfrm>
          <a:prstGeom prst="bentConnector2">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9041605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71DE96E-CE74-75B4-BC9E-5130DEE61620}"/>
              </a:ext>
            </a:extLst>
          </p:cNvPr>
          <p:cNvSpPr>
            <a:spLocks noGrp="1"/>
          </p:cNvSpPr>
          <p:nvPr>
            <p:ph type="title"/>
          </p:nvPr>
        </p:nvSpPr>
        <p:spPr/>
        <p:txBody>
          <a:bodyPr/>
          <a:lstStyle/>
          <a:p>
            <a:r>
              <a:rPr lang="en-US" sz="2400"/>
              <a:t>Waiting until mid-2030s to deploy at scale could lead to missing decarbonization targets or overbuilding supply chain</a:t>
            </a:r>
            <a:endParaRPr lang="en-US"/>
          </a:p>
        </p:txBody>
      </p:sp>
      <p:sp>
        <p:nvSpPr>
          <p:cNvPr id="4" name="4. Footnote">
            <a:extLst>
              <a:ext uri="{FF2B5EF4-FFF2-40B4-BE49-F238E27FC236}">
                <a16:creationId xmlns:a16="http://schemas.microsoft.com/office/drawing/2014/main" id="{ADAED22A-7421-F691-941A-AF100E24612F}"/>
              </a:ext>
            </a:extLst>
          </p:cNvPr>
          <p:cNvSpPr txBox="1"/>
          <p:nvPr>
            <p:custDataLst>
              <p:tags r:id="rId1"/>
            </p:custDataLst>
          </p:nvPr>
        </p:nvSpPr>
        <p:spPr>
          <a:xfrm>
            <a:off x="554734" y="6121521"/>
            <a:ext cx="9076945" cy="123111"/>
          </a:xfrm>
          <a:prstGeom prst="rect">
            <a:avLst/>
          </a:prstGeom>
          <a:noFill/>
        </p:spPr>
        <p:txBody>
          <a:bodyPr wrap="square" lIns="0" tIns="0" rIns="0" bIns="0" rtlCol="0" anchor="b">
            <a:spAutoFit/>
          </a:bodyPr>
          <a:lstStyle/>
          <a:p>
            <a:pPr marL="203200" marR="0" lvl="0" indent="-212725"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1. Construction and manufacturing | Assumptions: 2-year licensing timeline concurrent with early site prep; Manufacturing (1 yr) followed by construction (3 </a:t>
            </a:r>
            <a:r>
              <a:rPr kumimoji="0" lang="en-US" sz="800" b="0" i="0" u="none" strike="noStrike" kern="1200" cap="none" spc="0" normalizeH="0" baseline="0" noProof="0" err="1">
                <a:ln>
                  <a:noFill/>
                </a:ln>
                <a:solidFill>
                  <a:srgbClr val="000000"/>
                </a:solidFill>
                <a:effectLst/>
                <a:uLnTx/>
                <a:uFillTx/>
                <a:latin typeface="Arial"/>
                <a:ea typeface="+mn-ea"/>
                <a:cs typeface="Arial" panose="020B0604020202020204" pitchFamily="34" charset="0"/>
              </a:rPr>
              <a:t>yrs</a:t>
            </a:r>
            <a:r>
              <a:rPr kumimoji="0" lang="en-US" sz="8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 occurs post-licensing and site prep</a:t>
            </a:r>
          </a:p>
        </p:txBody>
      </p:sp>
      <p:graphicFrame>
        <p:nvGraphicFramePr>
          <p:cNvPr id="5" name="Chart 4">
            <a:extLst>
              <a:ext uri="{FF2B5EF4-FFF2-40B4-BE49-F238E27FC236}">
                <a16:creationId xmlns:a16="http://schemas.microsoft.com/office/drawing/2014/main" id="{99A78200-FECC-DCFF-271A-2910908D7CE4}"/>
              </a:ext>
            </a:extLst>
          </p:cNvPr>
          <p:cNvGraphicFramePr/>
          <p:nvPr>
            <p:custDataLst>
              <p:tags r:id="rId2"/>
            </p:custDataLst>
            <p:extLst>
              <p:ext uri="{D42A27DB-BD31-4B8C-83A1-F6EECF244321}">
                <p14:modId xmlns:p14="http://schemas.microsoft.com/office/powerpoint/2010/main" val="851742177"/>
              </p:ext>
            </p:extLst>
          </p:nvPr>
        </p:nvGraphicFramePr>
        <p:xfrm>
          <a:off x="471488" y="2561313"/>
          <a:ext cx="5230812" cy="3106737"/>
        </p:xfrm>
        <a:graphic>
          <a:graphicData uri="http://schemas.openxmlformats.org/drawingml/2006/chart">
            <c:chart xmlns:c="http://schemas.openxmlformats.org/drawingml/2006/chart" xmlns:r="http://schemas.openxmlformats.org/officeDocument/2006/relationships" r:id="rId47"/>
          </a:graphicData>
        </a:graphic>
      </p:graphicFrame>
      <p:sp>
        <p:nvSpPr>
          <p:cNvPr id="6" name="Text Placeholder 4">
            <a:extLst>
              <a:ext uri="{FF2B5EF4-FFF2-40B4-BE49-F238E27FC236}">
                <a16:creationId xmlns:a16="http://schemas.microsoft.com/office/drawing/2014/main" id="{CFB711F4-A5F1-9568-0695-171FC20562A0}"/>
              </a:ext>
            </a:extLst>
          </p:cNvPr>
          <p:cNvSpPr>
            <a:spLocks noGrp="1"/>
          </p:cNvSpPr>
          <p:nvPr>
            <p:custDataLst>
              <p:tags r:id="rId3"/>
            </p:custDataLst>
          </p:nvPr>
        </p:nvSpPr>
        <p:spPr bwMode="gray">
          <a:xfrm>
            <a:off x="239713" y="4744125"/>
            <a:ext cx="19685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30400" algn="l" defTabSz="914400" rtl="0" eaLnBrk="1" latinLnBrk="0" hangingPunct="1">
              <a:lnSpc>
                <a:spcPct val="100000"/>
              </a:lnSpc>
              <a:spcBef>
                <a:spcPts val="0"/>
              </a:spcBef>
              <a:spcAft>
                <a:spcPts val="300"/>
              </a:spcAft>
              <a:buSzPct val="110000"/>
              <a:buFont typeface="Wingdings" panose="05000000000000000000" pitchFamily="2" charset="2"/>
              <a:buChar char=""/>
              <a:defRPr lang="en-US" sz="1600" kern="1200" dirty="0">
                <a:solidFill>
                  <a:schemeClr val="tx1"/>
                </a:solidFill>
                <a:latin typeface="+mn-lt"/>
                <a:ea typeface="+mn-ea"/>
                <a:cs typeface="+mn-cs"/>
              </a:defRPr>
            </a:lvl2pPr>
            <a:lvl3pPr marL="439200" indent="-208800" algn="l" defTabSz="914400" rtl="0" eaLnBrk="1" latinLnBrk="0" hangingPunct="1">
              <a:lnSpc>
                <a:spcPct val="100000"/>
              </a:lnSpc>
              <a:spcBef>
                <a:spcPts val="0"/>
              </a:spcBef>
              <a:spcAft>
                <a:spcPts val="300"/>
              </a:spcAft>
              <a:buSzPct val="110000"/>
              <a:buFont typeface="Arial" panose="020B0604020202020204" pitchFamily="34" charset="0"/>
              <a:buChar char="‒"/>
              <a:defRPr lang="en-US" sz="1600" kern="1200" dirty="0">
                <a:solidFill>
                  <a:schemeClr val="tx1"/>
                </a:solidFill>
                <a:latin typeface="+mn-lt"/>
                <a:ea typeface="+mn-ea"/>
                <a:cs typeface="+mn-cs"/>
              </a:defRPr>
            </a:lvl3pPr>
            <a:lvl4pPr marL="604800" indent="-154800" algn="l" defTabSz="914400" rtl="0" eaLnBrk="1" latinLnBrk="0" hangingPunct="1">
              <a:lnSpc>
                <a:spcPct val="100000"/>
              </a:lnSpc>
              <a:spcBef>
                <a:spcPts val="0"/>
              </a:spcBef>
              <a:spcAft>
                <a:spcPts val="300"/>
              </a:spcAft>
              <a:buFont typeface="Arial" panose="020B0604020202020204" pitchFamily="34" charset="0"/>
              <a:buChar char="•"/>
              <a:defRPr lang="en-US" sz="1600" kern="1200" dirty="0">
                <a:solidFill>
                  <a:schemeClr val="tx1"/>
                </a:solidFill>
                <a:latin typeface="+mn-lt"/>
                <a:ea typeface="+mn-ea"/>
                <a:cs typeface="+mn-cs"/>
              </a:defRPr>
            </a:lvl4pPr>
            <a:lvl5pPr marL="813600" indent="-147600" algn="l" defTabSz="914400" rtl="0" eaLnBrk="1" latinLnBrk="0" hangingPunct="1">
              <a:lnSpc>
                <a:spcPct val="100000"/>
              </a:lnSpc>
              <a:spcBef>
                <a:spcPts val="0"/>
              </a:spcBef>
              <a:spcAft>
                <a:spcPts val="300"/>
              </a:spcAft>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r"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fld id="{9CCAF242-B560-4E1A-B559-1CDC03EA3258}" type="datetime'''''5''0'''''">
              <a:rPr kumimoji="0" lang="en-US" altLang="en-US" sz="14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t>50</a:t>
            </a:fld>
            <a:endParaRPr kumimoji="0" lang="en-US" sz="14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
        <p:nvSpPr>
          <p:cNvPr id="7" name="Text Placeholder 4">
            <a:extLst>
              <a:ext uri="{FF2B5EF4-FFF2-40B4-BE49-F238E27FC236}">
                <a16:creationId xmlns:a16="http://schemas.microsoft.com/office/drawing/2014/main" id="{45FBF190-0B96-01F7-1425-D3B37671F100}"/>
              </a:ext>
            </a:extLst>
          </p:cNvPr>
          <p:cNvSpPr>
            <a:spLocks noGrp="1"/>
          </p:cNvSpPr>
          <p:nvPr>
            <p:custDataLst>
              <p:tags r:id="rId4"/>
            </p:custDataLst>
          </p:nvPr>
        </p:nvSpPr>
        <p:spPr bwMode="gray">
          <a:xfrm>
            <a:off x="338138" y="5479138"/>
            <a:ext cx="9842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30400" algn="l" defTabSz="914400" rtl="0" eaLnBrk="1" latinLnBrk="0" hangingPunct="1">
              <a:lnSpc>
                <a:spcPct val="100000"/>
              </a:lnSpc>
              <a:spcBef>
                <a:spcPts val="0"/>
              </a:spcBef>
              <a:spcAft>
                <a:spcPts val="300"/>
              </a:spcAft>
              <a:buSzPct val="110000"/>
              <a:buFont typeface="Wingdings" panose="05000000000000000000" pitchFamily="2" charset="2"/>
              <a:buChar char=""/>
              <a:defRPr lang="en-US" sz="1600" kern="1200" dirty="0">
                <a:solidFill>
                  <a:schemeClr val="tx1"/>
                </a:solidFill>
                <a:latin typeface="+mn-lt"/>
                <a:ea typeface="+mn-ea"/>
                <a:cs typeface="+mn-cs"/>
              </a:defRPr>
            </a:lvl2pPr>
            <a:lvl3pPr marL="439200" indent="-208800" algn="l" defTabSz="914400" rtl="0" eaLnBrk="1" latinLnBrk="0" hangingPunct="1">
              <a:lnSpc>
                <a:spcPct val="100000"/>
              </a:lnSpc>
              <a:spcBef>
                <a:spcPts val="0"/>
              </a:spcBef>
              <a:spcAft>
                <a:spcPts val="300"/>
              </a:spcAft>
              <a:buSzPct val="110000"/>
              <a:buFont typeface="Arial" panose="020B0604020202020204" pitchFamily="34" charset="0"/>
              <a:buChar char="‒"/>
              <a:defRPr lang="en-US" sz="1600" kern="1200" dirty="0">
                <a:solidFill>
                  <a:schemeClr val="tx1"/>
                </a:solidFill>
                <a:latin typeface="+mn-lt"/>
                <a:ea typeface="+mn-ea"/>
                <a:cs typeface="+mn-cs"/>
              </a:defRPr>
            </a:lvl3pPr>
            <a:lvl4pPr marL="604800" indent="-154800" algn="l" defTabSz="914400" rtl="0" eaLnBrk="1" latinLnBrk="0" hangingPunct="1">
              <a:lnSpc>
                <a:spcPct val="100000"/>
              </a:lnSpc>
              <a:spcBef>
                <a:spcPts val="0"/>
              </a:spcBef>
              <a:spcAft>
                <a:spcPts val="300"/>
              </a:spcAft>
              <a:buFont typeface="Arial" panose="020B0604020202020204" pitchFamily="34" charset="0"/>
              <a:buChar char="•"/>
              <a:defRPr lang="en-US" sz="1600" kern="1200" dirty="0">
                <a:solidFill>
                  <a:schemeClr val="tx1"/>
                </a:solidFill>
                <a:latin typeface="+mn-lt"/>
                <a:ea typeface="+mn-ea"/>
                <a:cs typeface="+mn-cs"/>
              </a:defRPr>
            </a:lvl4pPr>
            <a:lvl5pPr marL="813600" indent="-147600" algn="l" defTabSz="914400" rtl="0" eaLnBrk="1" latinLnBrk="0" hangingPunct="1">
              <a:lnSpc>
                <a:spcPct val="100000"/>
              </a:lnSpc>
              <a:spcBef>
                <a:spcPts val="0"/>
              </a:spcBef>
              <a:spcAft>
                <a:spcPts val="300"/>
              </a:spcAft>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r"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fld id="{7F357C72-3898-40E7-BB9C-963D504B11A8}" type="datetime'''''''''''''''''''''''0'''''''''''''''''''">
              <a:rPr kumimoji="0" lang="en-US" altLang="en-US" sz="14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t>0</a:t>
            </a:fld>
            <a:endParaRPr kumimoji="0" lang="en-US" sz="14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
        <p:nvSpPr>
          <p:cNvPr id="8" name="Text Placeholder 4">
            <a:extLst>
              <a:ext uri="{FF2B5EF4-FFF2-40B4-BE49-F238E27FC236}">
                <a16:creationId xmlns:a16="http://schemas.microsoft.com/office/drawing/2014/main" id="{C678F925-7285-9C7C-A75F-46E8D8931589}"/>
              </a:ext>
            </a:extLst>
          </p:cNvPr>
          <p:cNvSpPr>
            <a:spLocks noGrp="1"/>
          </p:cNvSpPr>
          <p:nvPr>
            <p:custDataLst>
              <p:tags r:id="rId5"/>
            </p:custDataLst>
          </p:nvPr>
        </p:nvSpPr>
        <p:spPr bwMode="gray">
          <a:xfrm>
            <a:off x="141288" y="4009113"/>
            <a:ext cx="29527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30400" algn="l" defTabSz="914400" rtl="0" eaLnBrk="1" latinLnBrk="0" hangingPunct="1">
              <a:lnSpc>
                <a:spcPct val="100000"/>
              </a:lnSpc>
              <a:spcBef>
                <a:spcPts val="0"/>
              </a:spcBef>
              <a:spcAft>
                <a:spcPts val="300"/>
              </a:spcAft>
              <a:buSzPct val="110000"/>
              <a:buFont typeface="Wingdings" panose="05000000000000000000" pitchFamily="2" charset="2"/>
              <a:buChar char=""/>
              <a:defRPr lang="en-US" sz="1600" kern="1200" dirty="0">
                <a:solidFill>
                  <a:schemeClr val="tx1"/>
                </a:solidFill>
                <a:latin typeface="+mn-lt"/>
                <a:ea typeface="+mn-ea"/>
                <a:cs typeface="+mn-cs"/>
              </a:defRPr>
            </a:lvl2pPr>
            <a:lvl3pPr marL="439200" indent="-208800" algn="l" defTabSz="914400" rtl="0" eaLnBrk="1" latinLnBrk="0" hangingPunct="1">
              <a:lnSpc>
                <a:spcPct val="100000"/>
              </a:lnSpc>
              <a:spcBef>
                <a:spcPts val="0"/>
              </a:spcBef>
              <a:spcAft>
                <a:spcPts val="300"/>
              </a:spcAft>
              <a:buSzPct val="110000"/>
              <a:buFont typeface="Arial" panose="020B0604020202020204" pitchFamily="34" charset="0"/>
              <a:buChar char="‒"/>
              <a:defRPr lang="en-US" sz="1600" kern="1200" dirty="0">
                <a:solidFill>
                  <a:schemeClr val="tx1"/>
                </a:solidFill>
                <a:latin typeface="+mn-lt"/>
                <a:ea typeface="+mn-ea"/>
                <a:cs typeface="+mn-cs"/>
              </a:defRPr>
            </a:lvl3pPr>
            <a:lvl4pPr marL="604800" indent="-154800" algn="l" defTabSz="914400" rtl="0" eaLnBrk="1" latinLnBrk="0" hangingPunct="1">
              <a:lnSpc>
                <a:spcPct val="100000"/>
              </a:lnSpc>
              <a:spcBef>
                <a:spcPts val="0"/>
              </a:spcBef>
              <a:spcAft>
                <a:spcPts val="300"/>
              </a:spcAft>
              <a:buFont typeface="Arial" panose="020B0604020202020204" pitchFamily="34" charset="0"/>
              <a:buChar char="•"/>
              <a:defRPr lang="en-US" sz="1600" kern="1200" dirty="0">
                <a:solidFill>
                  <a:schemeClr val="tx1"/>
                </a:solidFill>
                <a:latin typeface="+mn-lt"/>
                <a:ea typeface="+mn-ea"/>
                <a:cs typeface="+mn-cs"/>
              </a:defRPr>
            </a:lvl4pPr>
            <a:lvl5pPr marL="813600" indent="-147600" algn="l" defTabSz="914400" rtl="0" eaLnBrk="1" latinLnBrk="0" hangingPunct="1">
              <a:lnSpc>
                <a:spcPct val="100000"/>
              </a:lnSpc>
              <a:spcBef>
                <a:spcPts val="0"/>
              </a:spcBef>
              <a:spcAft>
                <a:spcPts val="300"/>
              </a:spcAft>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r"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fld id="{881B00AF-2035-4EEE-A1BD-8B6575D43A8D}" type="datetime'''1''''''''''''''''''''''0''''0'''''''''''''''">
              <a:rPr kumimoji="0" lang="en-US" altLang="en-US" sz="14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t>100</a:t>
            </a:fld>
            <a:endParaRPr kumimoji="0" lang="en-US" sz="14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
        <p:nvSpPr>
          <p:cNvPr id="9" name="Text Placeholder 4">
            <a:extLst>
              <a:ext uri="{FF2B5EF4-FFF2-40B4-BE49-F238E27FC236}">
                <a16:creationId xmlns:a16="http://schemas.microsoft.com/office/drawing/2014/main" id="{0D64CC00-750D-B58B-DE0A-B924C73533B7}"/>
              </a:ext>
            </a:extLst>
          </p:cNvPr>
          <p:cNvSpPr>
            <a:spLocks noGrp="1"/>
          </p:cNvSpPr>
          <p:nvPr>
            <p:custDataLst>
              <p:tags r:id="rId6"/>
            </p:custDataLst>
          </p:nvPr>
        </p:nvSpPr>
        <p:spPr bwMode="gray">
          <a:xfrm>
            <a:off x="5737225" y="2537500"/>
            <a:ext cx="19685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30400" algn="l" defTabSz="914400" rtl="0" eaLnBrk="1" latinLnBrk="0" hangingPunct="1">
              <a:lnSpc>
                <a:spcPct val="100000"/>
              </a:lnSpc>
              <a:spcBef>
                <a:spcPts val="0"/>
              </a:spcBef>
              <a:spcAft>
                <a:spcPts val="300"/>
              </a:spcAft>
              <a:buSzPct val="110000"/>
              <a:buFont typeface="Wingdings" panose="05000000000000000000" pitchFamily="2" charset="2"/>
              <a:buChar char=""/>
              <a:defRPr lang="en-US" sz="1600" kern="1200" dirty="0">
                <a:solidFill>
                  <a:schemeClr val="tx1"/>
                </a:solidFill>
                <a:latin typeface="+mn-lt"/>
                <a:ea typeface="+mn-ea"/>
                <a:cs typeface="+mn-cs"/>
              </a:defRPr>
            </a:lvl2pPr>
            <a:lvl3pPr marL="439200" indent="-208800" algn="l" defTabSz="914400" rtl="0" eaLnBrk="1" latinLnBrk="0" hangingPunct="1">
              <a:lnSpc>
                <a:spcPct val="100000"/>
              </a:lnSpc>
              <a:spcBef>
                <a:spcPts val="0"/>
              </a:spcBef>
              <a:spcAft>
                <a:spcPts val="300"/>
              </a:spcAft>
              <a:buSzPct val="110000"/>
              <a:buFont typeface="Arial" panose="020B0604020202020204" pitchFamily="34" charset="0"/>
              <a:buChar char="‒"/>
              <a:defRPr lang="en-US" sz="1600" kern="1200" dirty="0">
                <a:solidFill>
                  <a:schemeClr val="tx1"/>
                </a:solidFill>
                <a:latin typeface="+mn-lt"/>
                <a:ea typeface="+mn-ea"/>
                <a:cs typeface="+mn-cs"/>
              </a:defRPr>
            </a:lvl3pPr>
            <a:lvl4pPr marL="604800" indent="-154800" algn="l" defTabSz="914400" rtl="0" eaLnBrk="1" latinLnBrk="0" hangingPunct="1">
              <a:lnSpc>
                <a:spcPct val="100000"/>
              </a:lnSpc>
              <a:spcBef>
                <a:spcPts val="0"/>
              </a:spcBef>
              <a:spcAft>
                <a:spcPts val="300"/>
              </a:spcAft>
              <a:buFont typeface="Arial" panose="020B0604020202020204" pitchFamily="34" charset="0"/>
              <a:buChar char="•"/>
              <a:defRPr lang="en-US" sz="1600" kern="1200" dirty="0">
                <a:solidFill>
                  <a:schemeClr val="tx1"/>
                </a:solidFill>
                <a:latin typeface="+mn-lt"/>
                <a:ea typeface="+mn-ea"/>
                <a:cs typeface="+mn-cs"/>
              </a:defRPr>
            </a:lvl4pPr>
            <a:lvl5pPr marL="813600" indent="-147600" algn="l" defTabSz="914400" rtl="0" eaLnBrk="1" latinLnBrk="0" hangingPunct="1">
              <a:lnSpc>
                <a:spcPct val="100000"/>
              </a:lnSpc>
              <a:spcBef>
                <a:spcPts val="0"/>
              </a:spcBef>
              <a:spcAft>
                <a:spcPts val="300"/>
              </a:spcAft>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fld id="{FF910475-C8F6-498F-BF29-DB1D29FC7455}" type="datetime'''''''''''''''''''''''''2''''''''''''''''''0'''''''''''''">
              <a:rPr kumimoji="0" lang="en-US" altLang="en-US" sz="14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t>20</a:t>
            </a:fld>
            <a:endParaRPr kumimoji="0" lang="en-US" sz="14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
        <p:nvSpPr>
          <p:cNvPr id="10" name="Text Placeholder 4">
            <a:extLst>
              <a:ext uri="{FF2B5EF4-FFF2-40B4-BE49-F238E27FC236}">
                <a16:creationId xmlns:a16="http://schemas.microsoft.com/office/drawing/2014/main" id="{B6058E8F-486A-4C83-A6A6-890F582EE83F}"/>
              </a:ext>
            </a:extLst>
          </p:cNvPr>
          <p:cNvSpPr>
            <a:spLocks noGrp="1"/>
          </p:cNvSpPr>
          <p:nvPr>
            <p:custDataLst>
              <p:tags r:id="rId7"/>
            </p:custDataLst>
          </p:nvPr>
        </p:nvSpPr>
        <p:spPr bwMode="gray">
          <a:xfrm>
            <a:off x="141288" y="3272513"/>
            <a:ext cx="29527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30400" algn="l" defTabSz="914400" rtl="0" eaLnBrk="1" latinLnBrk="0" hangingPunct="1">
              <a:lnSpc>
                <a:spcPct val="100000"/>
              </a:lnSpc>
              <a:spcBef>
                <a:spcPts val="0"/>
              </a:spcBef>
              <a:spcAft>
                <a:spcPts val="300"/>
              </a:spcAft>
              <a:buSzPct val="110000"/>
              <a:buFont typeface="Wingdings" panose="05000000000000000000" pitchFamily="2" charset="2"/>
              <a:buChar char=""/>
              <a:defRPr lang="en-US" sz="1600" kern="1200" dirty="0">
                <a:solidFill>
                  <a:schemeClr val="tx1"/>
                </a:solidFill>
                <a:latin typeface="+mn-lt"/>
                <a:ea typeface="+mn-ea"/>
                <a:cs typeface="+mn-cs"/>
              </a:defRPr>
            </a:lvl2pPr>
            <a:lvl3pPr marL="439200" indent="-208800" algn="l" defTabSz="914400" rtl="0" eaLnBrk="1" latinLnBrk="0" hangingPunct="1">
              <a:lnSpc>
                <a:spcPct val="100000"/>
              </a:lnSpc>
              <a:spcBef>
                <a:spcPts val="0"/>
              </a:spcBef>
              <a:spcAft>
                <a:spcPts val="300"/>
              </a:spcAft>
              <a:buSzPct val="110000"/>
              <a:buFont typeface="Arial" panose="020B0604020202020204" pitchFamily="34" charset="0"/>
              <a:buChar char="‒"/>
              <a:defRPr lang="en-US" sz="1600" kern="1200" dirty="0">
                <a:solidFill>
                  <a:schemeClr val="tx1"/>
                </a:solidFill>
                <a:latin typeface="+mn-lt"/>
                <a:ea typeface="+mn-ea"/>
                <a:cs typeface="+mn-cs"/>
              </a:defRPr>
            </a:lvl3pPr>
            <a:lvl4pPr marL="604800" indent="-154800" algn="l" defTabSz="914400" rtl="0" eaLnBrk="1" latinLnBrk="0" hangingPunct="1">
              <a:lnSpc>
                <a:spcPct val="100000"/>
              </a:lnSpc>
              <a:spcBef>
                <a:spcPts val="0"/>
              </a:spcBef>
              <a:spcAft>
                <a:spcPts val="300"/>
              </a:spcAft>
              <a:buFont typeface="Arial" panose="020B0604020202020204" pitchFamily="34" charset="0"/>
              <a:buChar char="•"/>
              <a:defRPr lang="en-US" sz="1600" kern="1200" dirty="0">
                <a:solidFill>
                  <a:schemeClr val="tx1"/>
                </a:solidFill>
                <a:latin typeface="+mn-lt"/>
                <a:ea typeface="+mn-ea"/>
                <a:cs typeface="+mn-cs"/>
              </a:defRPr>
            </a:lvl4pPr>
            <a:lvl5pPr marL="813600" indent="-147600" algn="l" defTabSz="914400" rtl="0" eaLnBrk="1" latinLnBrk="0" hangingPunct="1">
              <a:lnSpc>
                <a:spcPct val="100000"/>
              </a:lnSpc>
              <a:spcBef>
                <a:spcPts val="0"/>
              </a:spcBef>
              <a:spcAft>
                <a:spcPts val="300"/>
              </a:spcAft>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r"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fld id="{2F67569C-A9EC-4000-80C2-E8ED83FAD9BC}" type="datetime'''''''''1''5''''''''''''''''''''''''''0'''''''''''''">
              <a:rPr kumimoji="0" lang="en-US" altLang="en-US" sz="14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t>150</a:t>
            </a:fld>
            <a:endParaRPr kumimoji="0" lang="en-US" sz="14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
        <p:nvSpPr>
          <p:cNvPr id="11" name="Text Placeholder 4">
            <a:extLst>
              <a:ext uri="{FF2B5EF4-FFF2-40B4-BE49-F238E27FC236}">
                <a16:creationId xmlns:a16="http://schemas.microsoft.com/office/drawing/2014/main" id="{7AF773D8-09A0-C570-6560-D74E075E2AB5}"/>
              </a:ext>
            </a:extLst>
          </p:cNvPr>
          <p:cNvSpPr>
            <a:spLocks noGrp="1"/>
          </p:cNvSpPr>
          <p:nvPr>
            <p:custDataLst>
              <p:tags r:id="rId8"/>
            </p:custDataLst>
          </p:nvPr>
        </p:nvSpPr>
        <p:spPr bwMode="gray">
          <a:xfrm>
            <a:off x="141288" y="2537500"/>
            <a:ext cx="29527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30400" algn="l" defTabSz="914400" rtl="0" eaLnBrk="1" latinLnBrk="0" hangingPunct="1">
              <a:lnSpc>
                <a:spcPct val="100000"/>
              </a:lnSpc>
              <a:spcBef>
                <a:spcPts val="0"/>
              </a:spcBef>
              <a:spcAft>
                <a:spcPts val="300"/>
              </a:spcAft>
              <a:buSzPct val="110000"/>
              <a:buFont typeface="Wingdings" panose="05000000000000000000" pitchFamily="2" charset="2"/>
              <a:buChar char=""/>
              <a:defRPr lang="en-US" sz="1600" kern="1200" dirty="0">
                <a:solidFill>
                  <a:schemeClr val="tx1"/>
                </a:solidFill>
                <a:latin typeface="+mn-lt"/>
                <a:ea typeface="+mn-ea"/>
                <a:cs typeface="+mn-cs"/>
              </a:defRPr>
            </a:lvl2pPr>
            <a:lvl3pPr marL="439200" indent="-208800" algn="l" defTabSz="914400" rtl="0" eaLnBrk="1" latinLnBrk="0" hangingPunct="1">
              <a:lnSpc>
                <a:spcPct val="100000"/>
              </a:lnSpc>
              <a:spcBef>
                <a:spcPts val="0"/>
              </a:spcBef>
              <a:spcAft>
                <a:spcPts val="300"/>
              </a:spcAft>
              <a:buSzPct val="110000"/>
              <a:buFont typeface="Arial" panose="020B0604020202020204" pitchFamily="34" charset="0"/>
              <a:buChar char="‒"/>
              <a:defRPr lang="en-US" sz="1600" kern="1200" dirty="0">
                <a:solidFill>
                  <a:schemeClr val="tx1"/>
                </a:solidFill>
                <a:latin typeface="+mn-lt"/>
                <a:ea typeface="+mn-ea"/>
                <a:cs typeface="+mn-cs"/>
              </a:defRPr>
            </a:lvl3pPr>
            <a:lvl4pPr marL="604800" indent="-154800" algn="l" defTabSz="914400" rtl="0" eaLnBrk="1" latinLnBrk="0" hangingPunct="1">
              <a:lnSpc>
                <a:spcPct val="100000"/>
              </a:lnSpc>
              <a:spcBef>
                <a:spcPts val="0"/>
              </a:spcBef>
              <a:spcAft>
                <a:spcPts val="300"/>
              </a:spcAft>
              <a:buFont typeface="Arial" panose="020B0604020202020204" pitchFamily="34" charset="0"/>
              <a:buChar char="•"/>
              <a:defRPr lang="en-US" sz="1600" kern="1200" dirty="0">
                <a:solidFill>
                  <a:schemeClr val="tx1"/>
                </a:solidFill>
                <a:latin typeface="+mn-lt"/>
                <a:ea typeface="+mn-ea"/>
                <a:cs typeface="+mn-cs"/>
              </a:defRPr>
            </a:lvl4pPr>
            <a:lvl5pPr marL="813600" indent="-147600" algn="l" defTabSz="914400" rtl="0" eaLnBrk="1" latinLnBrk="0" hangingPunct="1">
              <a:lnSpc>
                <a:spcPct val="100000"/>
              </a:lnSpc>
              <a:spcBef>
                <a:spcPts val="0"/>
              </a:spcBef>
              <a:spcAft>
                <a:spcPts val="300"/>
              </a:spcAft>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r"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fld id="{2076B8EB-4F47-48C9-9CC3-90B68BF4AB88}" type="datetime'''''''''''''''2''''''''''0''''''''''''''0'''''">
              <a:rPr kumimoji="0" lang="en-US" altLang="en-US" sz="14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t>200</a:t>
            </a:fld>
            <a:endParaRPr kumimoji="0" lang="en-US" sz="14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
        <p:nvSpPr>
          <p:cNvPr id="12" name="Text Placeholder 4">
            <a:extLst>
              <a:ext uri="{FF2B5EF4-FFF2-40B4-BE49-F238E27FC236}">
                <a16:creationId xmlns:a16="http://schemas.microsoft.com/office/drawing/2014/main" id="{BF6A4081-A769-1B8A-2566-E87B78B7E5F3}"/>
              </a:ext>
            </a:extLst>
          </p:cNvPr>
          <p:cNvSpPr>
            <a:spLocks noGrp="1"/>
          </p:cNvSpPr>
          <p:nvPr>
            <p:custDataLst>
              <p:tags r:id="rId9"/>
            </p:custDataLst>
          </p:nvPr>
        </p:nvSpPr>
        <p:spPr bwMode="gray">
          <a:xfrm>
            <a:off x="5737225" y="5479138"/>
            <a:ext cx="9842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30400" algn="l" defTabSz="914400" rtl="0" eaLnBrk="1" latinLnBrk="0" hangingPunct="1">
              <a:lnSpc>
                <a:spcPct val="100000"/>
              </a:lnSpc>
              <a:spcBef>
                <a:spcPts val="0"/>
              </a:spcBef>
              <a:spcAft>
                <a:spcPts val="300"/>
              </a:spcAft>
              <a:buSzPct val="110000"/>
              <a:buFont typeface="Wingdings" panose="05000000000000000000" pitchFamily="2" charset="2"/>
              <a:buChar char=""/>
              <a:defRPr lang="en-US" sz="1600" kern="1200" dirty="0">
                <a:solidFill>
                  <a:schemeClr val="tx1"/>
                </a:solidFill>
                <a:latin typeface="+mn-lt"/>
                <a:ea typeface="+mn-ea"/>
                <a:cs typeface="+mn-cs"/>
              </a:defRPr>
            </a:lvl2pPr>
            <a:lvl3pPr marL="439200" indent="-208800" algn="l" defTabSz="914400" rtl="0" eaLnBrk="1" latinLnBrk="0" hangingPunct="1">
              <a:lnSpc>
                <a:spcPct val="100000"/>
              </a:lnSpc>
              <a:spcBef>
                <a:spcPts val="0"/>
              </a:spcBef>
              <a:spcAft>
                <a:spcPts val="300"/>
              </a:spcAft>
              <a:buSzPct val="110000"/>
              <a:buFont typeface="Arial" panose="020B0604020202020204" pitchFamily="34" charset="0"/>
              <a:buChar char="‒"/>
              <a:defRPr lang="en-US" sz="1600" kern="1200" dirty="0">
                <a:solidFill>
                  <a:schemeClr val="tx1"/>
                </a:solidFill>
                <a:latin typeface="+mn-lt"/>
                <a:ea typeface="+mn-ea"/>
                <a:cs typeface="+mn-cs"/>
              </a:defRPr>
            </a:lvl3pPr>
            <a:lvl4pPr marL="604800" indent="-154800" algn="l" defTabSz="914400" rtl="0" eaLnBrk="1" latinLnBrk="0" hangingPunct="1">
              <a:lnSpc>
                <a:spcPct val="100000"/>
              </a:lnSpc>
              <a:spcBef>
                <a:spcPts val="0"/>
              </a:spcBef>
              <a:spcAft>
                <a:spcPts val="300"/>
              </a:spcAft>
              <a:buFont typeface="Arial" panose="020B0604020202020204" pitchFamily="34" charset="0"/>
              <a:buChar char="•"/>
              <a:defRPr lang="en-US" sz="1600" kern="1200" dirty="0">
                <a:solidFill>
                  <a:schemeClr val="tx1"/>
                </a:solidFill>
                <a:latin typeface="+mn-lt"/>
                <a:ea typeface="+mn-ea"/>
                <a:cs typeface="+mn-cs"/>
              </a:defRPr>
            </a:lvl4pPr>
            <a:lvl5pPr marL="813600" indent="-147600" algn="l" defTabSz="914400" rtl="0" eaLnBrk="1" latinLnBrk="0" hangingPunct="1">
              <a:lnSpc>
                <a:spcPct val="100000"/>
              </a:lnSpc>
              <a:spcBef>
                <a:spcPts val="0"/>
              </a:spcBef>
              <a:spcAft>
                <a:spcPts val="300"/>
              </a:spcAft>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fld id="{1F4CD393-1509-4174-BAB9-F22D1A19B991}" type="datetime'''''''''''''''''''''''''''''''''''0'''''''''''''''''''''''''">
              <a:rPr kumimoji="0" lang="en-US" altLang="en-US" sz="14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t>0</a:t>
            </a:fld>
            <a:endParaRPr kumimoji="0" lang="en-US" sz="14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
        <p:nvSpPr>
          <p:cNvPr id="13" name="Text Placeholder 4">
            <a:extLst>
              <a:ext uri="{FF2B5EF4-FFF2-40B4-BE49-F238E27FC236}">
                <a16:creationId xmlns:a16="http://schemas.microsoft.com/office/drawing/2014/main" id="{372EA781-F444-DAFC-6EB7-2F9AA126913A}"/>
              </a:ext>
            </a:extLst>
          </p:cNvPr>
          <p:cNvSpPr>
            <a:spLocks noGrp="1"/>
          </p:cNvSpPr>
          <p:nvPr>
            <p:custDataLst>
              <p:tags r:id="rId10"/>
            </p:custDataLst>
          </p:nvPr>
        </p:nvSpPr>
        <p:spPr bwMode="gray">
          <a:xfrm>
            <a:off x="5737225" y="4744125"/>
            <a:ext cx="9842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30400" algn="l" defTabSz="914400" rtl="0" eaLnBrk="1" latinLnBrk="0" hangingPunct="1">
              <a:lnSpc>
                <a:spcPct val="100000"/>
              </a:lnSpc>
              <a:spcBef>
                <a:spcPts val="0"/>
              </a:spcBef>
              <a:spcAft>
                <a:spcPts val="300"/>
              </a:spcAft>
              <a:buSzPct val="110000"/>
              <a:buFont typeface="Wingdings" panose="05000000000000000000" pitchFamily="2" charset="2"/>
              <a:buChar char=""/>
              <a:defRPr lang="en-US" sz="1600" kern="1200" dirty="0">
                <a:solidFill>
                  <a:schemeClr val="tx1"/>
                </a:solidFill>
                <a:latin typeface="+mn-lt"/>
                <a:ea typeface="+mn-ea"/>
                <a:cs typeface="+mn-cs"/>
              </a:defRPr>
            </a:lvl2pPr>
            <a:lvl3pPr marL="439200" indent="-208800" algn="l" defTabSz="914400" rtl="0" eaLnBrk="1" latinLnBrk="0" hangingPunct="1">
              <a:lnSpc>
                <a:spcPct val="100000"/>
              </a:lnSpc>
              <a:spcBef>
                <a:spcPts val="0"/>
              </a:spcBef>
              <a:spcAft>
                <a:spcPts val="300"/>
              </a:spcAft>
              <a:buSzPct val="110000"/>
              <a:buFont typeface="Arial" panose="020B0604020202020204" pitchFamily="34" charset="0"/>
              <a:buChar char="‒"/>
              <a:defRPr lang="en-US" sz="1600" kern="1200" dirty="0">
                <a:solidFill>
                  <a:schemeClr val="tx1"/>
                </a:solidFill>
                <a:latin typeface="+mn-lt"/>
                <a:ea typeface="+mn-ea"/>
                <a:cs typeface="+mn-cs"/>
              </a:defRPr>
            </a:lvl3pPr>
            <a:lvl4pPr marL="604800" indent="-154800" algn="l" defTabSz="914400" rtl="0" eaLnBrk="1" latinLnBrk="0" hangingPunct="1">
              <a:lnSpc>
                <a:spcPct val="100000"/>
              </a:lnSpc>
              <a:spcBef>
                <a:spcPts val="0"/>
              </a:spcBef>
              <a:spcAft>
                <a:spcPts val="300"/>
              </a:spcAft>
              <a:buFont typeface="Arial" panose="020B0604020202020204" pitchFamily="34" charset="0"/>
              <a:buChar char="•"/>
              <a:defRPr lang="en-US" sz="1600" kern="1200" dirty="0">
                <a:solidFill>
                  <a:schemeClr val="tx1"/>
                </a:solidFill>
                <a:latin typeface="+mn-lt"/>
                <a:ea typeface="+mn-ea"/>
                <a:cs typeface="+mn-cs"/>
              </a:defRPr>
            </a:lvl4pPr>
            <a:lvl5pPr marL="813600" indent="-147600" algn="l" defTabSz="914400" rtl="0" eaLnBrk="1" latinLnBrk="0" hangingPunct="1">
              <a:lnSpc>
                <a:spcPct val="100000"/>
              </a:lnSpc>
              <a:spcBef>
                <a:spcPts val="0"/>
              </a:spcBef>
              <a:spcAft>
                <a:spcPts val="300"/>
              </a:spcAft>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fld id="{066B3C9D-DA10-4D1F-A12B-847B6E2ED3AC}" type="datetime'5'''''''''''''''''''''''''''''''''''''''''''''''''''">
              <a:rPr kumimoji="0" lang="en-US" altLang="en-US" sz="14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t>5</a:t>
            </a:fld>
            <a:endParaRPr kumimoji="0" lang="en-US" sz="14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
        <p:nvSpPr>
          <p:cNvPr id="14" name="Text Placeholder 4">
            <a:extLst>
              <a:ext uri="{FF2B5EF4-FFF2-40B4-BE49-F238E27FC236}">
                <a16:creationId xmlns:a16="http://schemas.microsoft.com/office/drawing/2014/main" id="{317FF880-1BA8-C680-B89A-B066BED1D3B2}"/>
              </a:ext>
            </a:extLst>
          </p:cNvPr>
          <p:cNvSpPr>
            <a:spLocks noGrp="1"/>
          </p:cNvSpPr>
          <p:nvPr>
            <p:custDataLst>
              <p:tags r:id="rId11"/>
            </p:custDataLst>
          </p:nvPr>
        </p:nvSpPr>
        <p:spPr bwMode="gray">
          <a:xfrm>
            <a:off x="5737225" y="4009113"/>
            <a:ext cx="19685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30400" algn="l" defTabSz="914400" rtl="0" eaLnBrk="1" latinLnBrk="0" hangingPunct="1">
              <a:lnSpc>
                <a:spcPct val="100000"/>
              </a:lnSpc>
              <a:spcBef>
                <a:spcPts val="0"/>
              </a:spcBef>
              <a:spcAft>
                <a:spcPts val="300"/>
              </a:spcAft>
              <a:buSzPct val="110000"/>
              <a:buFont typeface="Wingdings" panose="05000000000000000000" pitchFamily="2" charset="2"/>
              <a:buChar char=""/>
              <a:defRPr lang="en-US" sz="1600" kern="1200" dirty="0">
                <a:solidFill>
                  <a:schemeClr val="tx1"/>
                </a:solidFill>
                <a:latin typeface="+mn-lt"/>
                <a:ea typeface="+mn-ea"/>
                <a:cs typeface="+mn-cs"/>
              </a:defRPr>
            </a:lvl2pPr>
            <a:lvl3pPr marL="439200" indent="-208800" algn="l" defTabSz="914400" rtl="0" eaLnBrk="1" latinLnBrk="0" hangingPunct="1">
              <a:lnSpc>
                <a:spcPct val="100000"/>
              </a:lnSpc>
              <a:spcBef>
                <a:spcPts val="0"/>
              </a:spcBef>
              <a:spcAft>
                <a:spcPts val="300"/>
              </a:spcAft>
              <a:buSzPct val="110000"/>
              <a:buFont typeface="Arial" panose="020B0604020202020204" pitchFamily="34" charset="0"/>
              <a:buChar char="‒"/>
              <a:defRPr lang="en-US" sz="1600" kern="1200" dirty="0">
                <a:solidFill>
                  <a:schemeClr val="tx1"/>
                </a:solidFill>
                <a:latin typeface="+mn-lt"/>
                <a:ea typeface="+mn-ea"/>
                <a:cs typeface="+mn-cs"/>
              </a:defRPr>
            </a:lvl3pPr>
            <a:lvl4pPr marL="604800" indent="-154800" algn="l" defTabSz="914400" rtl="0" eaLnBrk="1" latinLnBrk="0" hangingPunct="1">
              <a:lnSpc>
                <a:spcPct val="100000"/>
              </a:lnSpc>
              <a:spcBef>
                <a:spcPts val="0"/>
              </a:spcBef>
              <a:spcAft>
                <a:spcPts val="300"/>
              </a:spcAft>
              <a:buFont typeface="Arial" panose="020B0604020202020204" pitchFamily="34" charset="0"/>
              <a:buChar char="•"/>
              <a:defRPr lang="en-US" sz="1600" kern="1200" dirty="0">
                <a:solidFill>
                  <a:schemeClr val="tx1"/>
                </a:solidFill>
                <a:latin typeface="+mn-lt"/>
                <a:ea typeface="+mn-ea"/>
                <a:cs typeface="+mn-cs"/>
              </a:defRPr>
            </a:lvl4pPr>
            <a:lvl5pPr marL="813600" indent="-147600" algn="l" defTabSz="914400" rtl="0" eaLnBrk="1" latinLnBrk="0" hangingPunct="1">
              <a:lnSpc>
                <a:spcPct val="100000"/>
              </a:lnSpc>
              <a:spcBef>
                <a:spcPts val="0"/>
              </a:spcBef>
              <a:spcAft>
                <a:spcPts val="300"/>
              </a:spcAft>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fld id="{36D907C7-A1E7-45C3-9B30-35076F371A70}" type="datetime'''''''''''''''1''''''''''''''0'''''''''''''''''''''''''''''">
              <a:rPr kumimoji="0" lang="en-US" altLang="en-US" sz="14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t>10</a:t>
            </a:fld>
            <a:endParaRPr kumimoji="0" lang="en-US" sz="14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
        <p:nvSpPr>
          <p:cNvPr id="15" name="Text Placeholder 4">
            <a:extLst>
              <a:ext uri="{FF2B5EF4-FFF2-40B4-BE49-F238E27FC236}">
                <a16:creationId xmlns:a16="http://schemas.microsoft.com/office/drawing/2014/main" id="{63931A43-63EC-CBFF-5F0D-8CCE7349ED85}"/>
              </a:ext>
            </a:extLst>
          </p:cNvPr>
          <p:cNvSpPr>
            <a:spLocks noGrp="1"/>
          </p:cNvSpPr>
          <p:nvPr>
            <p:custDataLst>
              <p:tags r:id="rId12"/>
            </p:custDataLst>
          </p:nvPr>
        </p:nvSpPr>
        <p:spPr bwMode="gray">
          <a:xfrm>
            <a:off x="5737225" y="3272513"/>
            <a:ext cx="19685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30400" algn="l" defTabSz="914400" rtl="0" eaLnBrk="1" latinLnBrk="0" hangingPunct="1">
              <a:lnSpc>
                <a:spcPct val="100000"/>
              </a:lnSpc>
              <a:spcBef>
                <a:spcPts val="0"/>
              </a:spcBef>
              <a:spcAft>
                <a:spcPts val="300"/>
              </a:spcAft>
              <a:buSzPct val="110000"/>
              <a:buFont typeface="Wingdings" panose="05000000000000000000" pitchFamily="2" charset="2"/>
              <a:buChar char=""/>
              <a:defRPr lang="en-US" sz="1600" kern="1200" dirty="0">
                <a:solidFill>
                  <a:schemeClr val="tx1"/>
                </a:solidFill>
                <a:latin typeface="+mn-lt"/>
                <a:ea typeface="+mn-ea"/>
                <a:cs typeface="+mn-cs"/>
              </a:defRPr>
            </a:lvl2pPr>
            <a:lvl3pPr marL="439200" indent="-208800" algn="l" defTabSz="914400" rtl="0" eaLnBrk="1" latinLnBrk="0" hangingPunct="1">
              <a:lnSpc>
                <a:spcPct val="100000"/>
              </a:lnSpc>
              <a:spcBef>
                <a:spcPts val="0"/>
              </a:spcBef>
              <a:spcAft>
                <a:spcPts val="300"/>
              </a:spcAft>
              <a:buSzPct val="110000"/>
              <a:buFont typeface="Arial" panose="020B0604020202020204" pitchFamily="34" charset="0"/>
              <a:buChar char="‒"/>
              <a:defRPr lang="en-US" sz="1600" kern="1200" dirty="0">
                <a:solidFill>
                  <a:schemeClr val="tx1"/>
                </a:solidFill>
                <a:latin typeface="+mn-lt"/>
                <a:ea typeface="+mn-ea"/>
                <a:cs typeface="+mn-cs"/>
              </a:defRPr>
            </a:lvl3pPr>
            <a:lvl4pPr marL="604800" indent="-154800" algn="l" defTabSz="914400" rtl="0" eaLnBrk="1" latinLnBrk="0" hangingPunct="1">
              <a:lnSpc>
                <a:spcPct val="100000"/>
              </a:lnSpc>
              <a:spcBef>
                <a:spcPts val="0"/>
              </a:spcBef>
              <a:spcAft>
                <a:spcPts val="300"/>
              </a:spcAft>
              <a:buFont typeface="Arial" panose="020B0604020202020204" pitchFamily="34" charset="0"/>
              <a:buChar char="•"/>
              <a:defRPr lang="en-US" sz="1600" kern="1200" dirty="0">
                <a:solidFill>
                  <a:schemeClr val="tx1"/>
                </a:solidFill>
                <a:latin typeface="+mn-lt"/>
                <a:ea typeface="+mn-ea"/>
                <a:cs typeface="+mn-cs"/>
              </a:defRPr>
            </a:lvl4pPr>
            <a:lvl5pPr marL="813600" indent="-147600" algn="l" defTabSz="914400" rtl="0" eaLnBrk="1" latinLnBrk="0" hangingPunct="1">
              <a:lnSpc>
                <a:spcPct val="100000"/>
              </a:lnSpc>
              <a:spcBef>
                <a:spcPts val="0"/>
              </a:spcBef>
              <a:spcAft>
                <a:spcPts val="300"/>
              </a:spcAft>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fld id="{2156299D-9F08-4F83-B190-216165C6CE2D}" type="datetime'''''''''''''''''1''''''''''''5'''''''''''''''''">
              <a:rPr kumimoji="0" lang="en-US" altLang="en-US" sz="14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t>15</a:t>
            </a:fld>
            <a:endParaRPr kumimoji="0" lang="en-US" sz="14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
        <p:nvSpPr>
          <p:cNvPr id="16" name="Text Placeholder 4">
            <a:extLst>
              <a:ext uri="{FF2B5EF4-FFF2-40B4-BE49-F238E27FC236}">
                <a16:creationId xmlns:a16="http://schemas.microsoft.com/office/drawing/2014/main" id="{2A0401B2-88FC-9CFF-0FEC-263ECCFD8254}"/>
              </a:ext>
            </a:extLst>
          </p:cNvPr>
          <p:cNvSpPr>
            <a:spLocks noGrp="1"/>
          </p:cNvSpPr>
          <p:nvPr>
            <p:custDataLst>
              <p:tags r:id="rId13"/>
            </p:custDataLst>
          </p:nvPr>
        </p:nvSpPr>
        <p:spPr bwMode="auto">
          <a:xfrm>
            <a:off x="141289" y="2181900"/>
            <a:ext cx="1243013"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b"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30400" algn="l" defTabSz="914400" rtl="0" eaLnBrk="1" latinLnBrk="0" hangingPunct="1">
              <a:lnSpc>
                <a:spcPct val="100000"/>
              </a:lnSpc>
              <a:spcBef>
                <a:spcPts val="0"/>
              </a:spcBef>
              <a:spcAft>
                <a:spcPts val="300"/>
              </a:spcAft>
              <a:buSzPct val="110000"/>
              <a:buFont typeface="Wingdings" panose="05000000000000000000" pitchFamily="2" charset="2"/>
              <a:buChar char=""/>
              <a:defRPr lang="en-US" sz="1600" kern="1200" dirty="0">
                <a:solidFill>
                  <a:schemeClr val="tx1"/>
                </a:solidFill>
                <a:latin typeface="+mn-lt"/>
                <a:ea typeface="+mn-ea"/>
                <a:cs typeface="+mn-cs"/>
              </a:defRPr>
            </a:lvl2pPr>
            <a:lvl3pPr marL="439200" indent="-208800" algn="l" defTabSz="914400" rtl="0" eaLnBrk="1" latinLnBrk="0" hangingPunct="1">
              <a:lnSpc>
                <a:spcPct val="100000"/>
              </a:lnSpc>
              <a:spcBef>
                <a:spcPts val="0"/>
              </a:spcBef>
              <a:spcAft>
                <a:spcPts val="300"/>
              </a:spcAft>
              <a:buSzPct val="110000"/>
              <a:buFont typeface="Arial" panose="020B0604020202020204" pitchFamily="34" charset="0"/>
              <a:buChar char="‒"/>
              <a:defRPr lang="en-US" sz="1600" kern="1200" dirty="0">
                <a:solidFill>
                  <a:schemeClr val="tx1"/>
                </a:solidFill>
                <a:latin typeface="+mn-lt"/>
                <a:ea typeface="+mn-ea"/>
                <a:cs typeface="+mn-cs"/>
              </a:defRPr>
            </a:lvl3pPr>
            <a:lvl4pPr marL="604800" indent="-154800" algn="l" defTabSz="914400" rtl="0" eaLnBrk="1" latinLnBrk="0" hangingPunct="1">
              <a:lnSpc>
                <a:spcPct val="100000"/>
              </a:lnSpc>
              <a:spcBef>
                <a:spcPts val="0"/>
              </a:spcBef>
              <a:spcAft>
                <a:spcPts val="300"/>
              </a:spcAft>
              <a:buFont typeface="Arial" panose="020B0604020202020204" pitchFamily="34" charset="0"/>
              <a:buChar char="•"/>
              <a:defRPr lang="en-US" sz="1600" kern="1200" dirty="0">
                <a:solidFill>
                  <a:schemeClr val="tx1"/>
                </a:solidFill>
                <a:latin typeface="+mn-lt"/>
                <a:ea typeface="+mn-ea"/>
                <a:cs typeface="+mn-cs"/>
              </a:defRPr>
            </a:lvl4pPr>
            <a:lvl5pPr marL="813600" indent="-147600" algn="l" defTabSz="914400" rtl="0" eaLnBrk="1" latinLnBrk="0" hangingPunct="1">
              <a:lnSpc>
                <a:spcPct val="100000"/>
              </a:lnSpc>
              <a:spcBef>
                <a:spcPts val="0"/>
              </a:spcBef>
              <a:spcAft>
                <a:spcPts val="300"/>
              </a:spcAft>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r>
              <a:rPr kumimoji="0" lang="en-US" altLang="en-US" sz="14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Cumulative GW</a:t>
            </a:r>
            <a:endParaRPr kumimoji="0" lang="en-US" sz="14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
        <p:nvSpPr>
          <p:cNvPr id="17" name="Text Placeholder 4">
            <a:extLst>
              <a:ext uri="{FF2B5EF4-FFF2-40B4-BE49-F238E27FC236}">
                <a16:creationId xmlns:a16="http://schemas.microsoft.com/office/drawing/2014/main" id="{7CF17589-59D7-6B95-9BD7-A6CA89C81036}"/>
              </a:ext>
            </a:extLst>
          </p:cNvPr>
          <p:cNvSpPr>
            <a:spLocks noGrp="1"/>
          </p:cNvSpPr>
          <p:nvPr>
            <p:custDataLst>
              <p:tags r:id="rId14"/>
            </p:custDataLst>
          </p:nvPr>
        </p:nvSpPr>
        <p:spPr bwMode="auto">
          <a:xfrm>
            <a:off x="5332413" y="2181900"/>
            <a:ext cx="601663"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b"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30400" algn="l" defTabSz="914400" rtl="0" eaLnBrk="1" latinLnBrk="0" hangingPunct="1">
              <a:lnSpc>
                <a:spcPct val="100000"/>
              </a:lnSpc>
              <a:spcBef>
                <a:spcPts val="0"/>
              </a:spcBef>
              <a:spcAft>
                <a:spcPts val="300"/>
              </a:spcAft>
              <a:buSzPct val="110000"/>
              <a:buFont typeface="Wingdings" panose="05000000000000000000" pitchFamily="2" charset="2"/>
              <a:buChar char=""/>
              <a:defRPr lang="en-US" sz="1600" kern="1200" dirty="0">
                <a:solidFill>
                  <a:schemeClr val="tx1"/>
                </a:solidFill>
                <a:latin typeface="+mn-lt"/>
                <a:ea typeface="+mn-ea"/>
                <a:cs typeface="+mn-cs"/>
              </a:defRPr>
            </a:lvl2pPr>
            <a:lvl3pPr marL="439200" indent="-208800" algn="l" defTabSz="914400" rtl="0" eaLnBrk="1" latinLnBrk="0" hangingPunct="1">
              <a:lnSpc>
                <a:spcPct val="100000"/>
              </a:lnSpc>
              <a:spcBef>
                <a:spcPts val="0"/>
              </a:spcBef>
              <a:spcAft>
                <a:spcPts val="300"/>
              </a:spcAft>
              <a:buSzPct val="110000"/>
              <a:buFont typeface="Arial" panose="020B0604020202020204" pitchFamily="34" charset="0"/>
              <a:buChar char="‒"/>
              <a:defRPr lang="en-US" sz="1600" kern="1200" dirty="0">
                <a:solidFill>
                  <a:schemeClr val="tx1"/>
                </a:solidFill>
                <a:latin typeface="+mn-lt"/>
                <a:ea typeface="+mn-ea"/>
                <a:cs typeface="+mn-cs"/>
              </a:defRPr>
            </a:lvl3pPr>
            <a:lvl4pPr marL="604800" indent="-154800" algn="l" defTabSz="914400" rtl="0" eaLnBrk="1" latinLnBrk="0" hangingPunct="1">
              <a:lnSpc>
                <a:spcPct val="100000"/>
              </a:lnSpc>
              <a:spcBef>
                <a:spcPts val="0"/>
              </a:spcBef>
              <a:spcAft>
                <a:spcPts val="300"/>
              </a:spcAft>
              <a:buFont typeface="Arial" panose="020B0604020202020204" pitchFamily="34" charset="0"/>
              <a:buChar char="•"/>
              <a:defRPr lang="en-US" sz="1600" kern="1200" dirty="0">
                <a:solidFill>
                  <a:schemeClr val="tx1"/>
                </a:solidFill>
                <a:latin typeface="+mn-lt"/>
                <a:ea typeface="+mn-ea"/>
                <a:cs typeface="+mn-cs"/>
              </a:defRPr>
            </a:lvl4pPr>
            <a:lvl5pPr marL="813600" indent="-147600" algn="l" defTabSz="914400" rtl="0" eaLnBrk="1" latinLnBrk="0" hangingPunct="1">
              <a:lnSpc>
                <a:spcPct val="100000"/>
              </a:lnSpc>
              <a:spcBef>
                <a:spcPts val="0"/>
              </a:spcBef>
              <a:spcAft>
                <a:spcPts val="300"/>
              </a:spcAft>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r"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r>
              <a:rPr kumimoji="0" lang="en-US" altLang="en-US" sz="14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GW / </a:t>
            </a:r>
            <a:r>
              <a:rPr kumimoji="0" lang="en-US" altLang="en-US" sz="1400" b="0" i="0" u="none" strike="noStrike" kern="1200" cap="none" spc="0" normalizeH="0" baseline="0" noProof="0" err="1">
                <a:ln>
                  <a:noFill/>
                </a:ln>
                <a:solidFill>
                  <a:srgbClr val="000000"/>
                </a:solidFill>
                <a:effectLst/>
                <a:uLnTx/>
                <a:uFillTx/>
                <a:latin typeface="Arial"/>
                <a:ea typeface="+mn-ea"/>
                <a:cs typeface="Arial" panose="020B0604020202020204" pitchFamily="34" charset="0"/>
              </a:rPr>
              <a:t>yr</a:t>
            </a:r>
            <a:endParaRPr kumimoji="0" lang="en-US" sz="14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
        <p:nvSpPr>
          <p:cNvPr id="18" name="Text Placeholder 4">
            <a:extLst>
              <a:ext uri="{FF2B5EF4-FFF2-40B4-BE49-F238E27FC236}">
                <a16:creationId xmlns:a16="http://schemas.microsoft.com/office/drawing/2014/main" id="{DCDC127E-5D5D-AF08-9218-D5CCA817BC4E}"/>
              </a:ext>
            </a:extLst>
          </p:cNvPr>
          <p:cNvSpPr>
            <a:spLocks noGrp="1"/>
          </p:cNvSpPr>
          <p:nvPr>
            <p:custDataLst>
              <p:tags r:id="rId15"/>
            </p:custDataLst>
          </p:nvPr>
        </p:nvSpPr>
        <p:spPr bwMode="auto">
          <a:xfrm>
            <a:off x="469900" y="5644238"/>
            <a:ext cx="40640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30400" algn="l" defTabSz="914400" rtl="0" eaLnBrk="1" latinLnBrk="0" hangingPunct="1">
              <a:lnSpc>
                <a:spcPct val="100000"/>
              </a:lnSpc>
              <a:spcBef>
                <a:spcPts val="0"/>
              </a:spcBef>
              <a:spcAft>
                <a:spcPts val="300"/>
              </a:spcAft>
              <a:buSzPct val="110000"/>
              <a:buFont typeface="Wingdings" panose="05000000000000000000" pitchFamily="2" charset="2"/>
              <a:buChar char=""/>
              <a:defRPr lang="en-US" sz="1600" kern="1200" dirty="0">
                <a:solidFill>
                  <a:schemeClr val="tx1"/>
                </a:solidFill>
                <a:latin typeface="+mn-lt"/>
                <a:ea typeface="+mn-ea"/>
                <a:cs typeface="+mn-cs"/>
              </a:defRPr>
            </a:lvl2pPr>
            <a:lvl3pPr marL="439200" indent="-208800" algn="l" defTabSz="914400" rtl="0" eaLnBrk="1" latinLnBrk="0" hangingPunct="1">
              <a:lnSpc>
                <a:spcPct val="100000"/>
              </a:lnSpc>
              <a:spcBef>
                <a:spcPts val="0"/>
              </a:spcBef>
              <a:spcAft>
                <a:spcPts val="300"/>
              </a:spcAft>
              <a:buSzPct val="110000"/>
              <a:buFont typeface="Arial" panose="020B0604020202020204" pitchFamily="34" charset="0"/>
              <a:buChar char="‒"/>
              <a:defRPr lang="en-US" sz="1600" kern="1200" dirty="0">
                <a:solidFill>
                  <a:schemeClr val="tx1"/>
                </a:solidFill>
                <a:latin typeface="+mn-lt"/>
                <a:ea typeface="+mn-ea"/>
                <a:cs typeface="+mn-cs"/>
              </a:defRPr>
            </a:lvl3pPr>
            <a:lvl4pPr marL="604800" indent="-154800" algn="l" defTabSz="914400" rtl="0" eaLnBrk="1" latinLnBrk="0" hangingPunct="1">
              <a:lnSpc>
                <a:spcPct val="100000"/>
              </a:lnSpc>
              <a:spcBef>
                <a:spcPts val="0"/>
              </a:spcBef>
              <a:spcAft>
                <a:spcPts val="300"/>
              </a:spcAft>
              <a:buFont typeface="Arial" panose="020B0604020202020204" pitchFamily="34" charset="0"/>
              <a:buChar char="•"/>
              <a:defRPr lang="en-US" sz="1600" kern="1200" dirty="0">
                <a:solidFill>
                  <a:schemeClr val="tx1"/>
                </a:solidFill>
                <a:latin typeface="+mn-lt"/>
                <a:ea typeface="+mn-ea"/>
                <a:cs typeface="+mn-cs"/>
              </a:defRPr>
            </a:lvl4pPr>
            <a:lvl5pPr marL="813600" indent="-147600" algn="l" defTabSz="914400" rtl="0" eaLnBrk="1" latinLnBrk="0" hangingPunct="1">
              <a:lnSpc>
                <a:spcPct val="100000"/>
              </a:lnSpc>
              <a:spcBef>
                <a:spcPts val="0"/>
              </a:spcBef>
              <a:spcAft>
                <a:spcPts val="300"/>
              </a:spcAft>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fld id="{9C86E88E-2AA6-439F-A1C8-C372E9A58663}" type="datetime'''''''2''''''0''''''''''''''''''3''''''''''''''''''0'''''">
              <a:rPr kumimoji="0" lang="en-US" altLang="en-US" sz="14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ctr"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t>2030</a:t>
            </a:fld>
            <a:endParaRPr kumimoji="0" lang="en-US" sz="14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
        <p:nvSpPr>
          <p:cNvPr id="19" name="Text Placeholder 4">
            <a:extLst>
              <a:ext uri="{FF2B5EF4-FFF2-40B4-BE49-F238E27FC236}">
                <a16:creationId xmlns:a16="http://schemas.microsoft.com/office/drawing/2014/main" id="{3E8401CF-573B-69EF-93D7-B5C123CA225E}"/>
              </a:ext>
            </a:extLst>
          </p:cNvPr>
          <p:cNvSpPr>
            <a:spLocks noGrp="1"/>
          </p:cNvSpPr>
          <p:nvPr>
            <p:custDataLst>
              <p:tags r:id="rId16"/>
            </p:custDataLst>
          </p:nvPr>
        </p:nvSpPr>
        <p:spPr bwMode="auto">
          <a:xfrm>
            <a:off x="1774825" y="5644238"/>
            <a:ext cx="20955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30400" algn="l" defTabSz="914400" rtl="0" eaLnBrk="1" latinLnBrk="0" hangingPunct="1">
              <a:lnSpc>
                <a:spcPct val="100000"/>
              </a:lnSpc>
              <a:spcBef>
                <a:spcPts val="0"/>
              </a:spcBef>
              <a:spcAft>
                <a:spcPts val="300"/>
              </a:spcAft>
              <a:buSzPct val="110000"/>
              <a:buFont typeface="Wingdings" panose="05000000000000000000" pitchFamily="2" charset="2"/>
              <a:buChar char=""/>
              <a:defRPr lang="en-US" sz="1600" kern="1200" dirty="0">
                <a:solidFill>
                  <a:schemeClr val="tx1"/>
                </a:solidFill>
                <a:latin typeface="+mn-lt"/>
                <a:ea typeface="+mn-ea"/>
                <a:cs typeface="+mn-cs"/>
              </a:defRPr>
            </a:lvl2pPr>
            <a:lvl3pPr marL="439200" indent="-208800" algn="l" defTabSz="914400" rtl="0" eaLnBrk="1" latinLnBrk="0" hangingPunct="1">
              <a:lnSpc>
                <a:spcPct val="100000"/>
              </a:lnSpc>
              <a:spcBef>
                <a:spcPts val="0"/>
              </a:spcBef>
              <a:spcAft>
                <a:spcPts val="300"/>
              </a:spcAft>
              <a:buSzPct val="110000"/>
              <a:buFont typeface="Arial" panose="020B0604020202020204" pitchFamily="34" charset="0"/>
              <a:buChar char="‒"/>
              <a:defRPr lang="en-US" sz="1600" kern="1200" dirty="0">
                <a:solidFill>
                  <a:schemeClr val="tx1"/>
                </a:solidFill>
                <a:latin typeface="+mn-lt"/>
                <a:ea typeface="+mn-ea"/>
                <a:cs typeface="+mn-cs"/>
              </a:defRPr>
            </a:lvl3pPr>
            <a:lvl4pPr marL="604800" indent="-154800" algn="l" defTabSz="914400" rtl="0" eaLnBrk="1" latinLnBrk="0" hangingPunct="1">
              <a:lnSpc>
                <a:spcPct val="100000"/>
              </a:lnSpc>
              <a:spcBef>
                <a:spcPts val="0"/>
              </a:spcBef>
              <a:spcAft>
                <a:spcPts val="300"/>
              </a:spcAft>
              <a:buFont typeface="Arial" panose="020B0604020202020204" pitchFamily="34" charset="0"/>
              <a:buChar char="•"/>
              <a:defRPr lang="en-US" sz="1600" kern="1200" dirty="0">
                <a:solidFill>
                  <a:schemeClr val="tx1"/>
                </a:solidFill>
                <a:latin typeface="+mn-lt"/>
                <a:ea typeface="+mn-ea"/>
                <a:cs typeface="+mn-cs"/>
              </a:defRPr>
            </a:lvl4pPr>
            <a:lvl5pPr marL="813600" indent="-147600" algn="l" defTabSz="914400" rtl="0" eaLnBrk="1" latinLnBrk="0" hangingPunct="1">
              <a:lnSpc>
                <a:spcPct val="100000"/>
              </a:lnSpc>
              <a:spcBef>
                <a:spcPts val="0"/>
              </a:spcBef>
              <a:spcAft>
                <a:spcPts val="300"/>
              </a:spcAft>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fld id="{3864B935-44A9-421F-9B6F-3B5AD7E262D7}" type="datetime'''''''''''3''''''''''''''''''''''''5'''''''">
              <a:rPr kumimoji="0" lang="en-US" altLang="en-US" sz="14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ctr"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t>35</a:t>
            </a:fld>
            <a:endParaRPr kumimoji="0" lang="en-US" sz="14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
        <p:nvSpPr>
          <p:cNvPr id="20" name="Text Placeholder 4">
            <a:extLst>
              <a:ext uri="{FF2B5EF4-FFF2-40B4-BE49-F238E27FC236}">
                <a16:creationId xmlns:a16="http://schemas.microsoft.com/office/drawing/2014/main" id="{14F19631-3E20-36BF-EDB9-B62F9AE39BF3}"/>
              </a:ext>
            </a:extLst>
          </p:cNvPr>
          <p:cNvSpPr>
            <a:spLocks noGrp="1"/>
          </p:cNvSpPr>
          <p:nvPr>
            <p:custDataLst>
              <p:tags r:id="rId17"/>
            </p:custDataLst>
          </p:nvPr>
        </p:nvSpPr>
        <p:spPr bwMode="auto">
          <a:xfrm>
            <a:off x="2981325" y="5644238"/>
            <a:ext cx="20955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30400" algn="l" defTabSz="914400" rtl="0" eaLnBrk="1" latinLnBrk="0" hangingPunct="1">
              <a:lnSpc>
                <a:spcPct val="100000"/>
              </a:lnSpc>
              <a:spcBef>
                <a:spcPts val="0"/>
              </a:spcBef>
              <a:spcAft>
                <a:spcPts val="300"/>
              </a:spcAft>
              <a:buSzPct val="110000"/>
              <a:buFont typeface="Wingdings" panose="05000000000000000000" pitchFamily="2" charset="2"/>
              <a:buChar char=""/>
              <a:defRPr lang="en-US" sz="1600" kern="1200" dirty="0">
                <a:solidFill>
                  <a:schemeClr val="tx1"/>
                </a:solidFill>
                <a:latin typeface="+mn-lt"/>
                <a:ea typeface="+mn-ea"/>
                <a:cs typeface="+mn-cs"/>
              </a:defRPr>
            </a:lvl2pPr>
            <a:lvl3pPr marL="439200" indent="-208800" algn="l" defTabSz="914400" rtl="0" eaLnBrk="1" latinLnBrk="0" hangingPunct="1">
              <a:lnSpc>
                <a:spcPct val="100000"/>
              </a:lnSpc>
              <a:spcBef>
                <a:spcPts val="0"/>
              </a:spcBef>
              <a:spcAft>
                <a:spcPts val="300"/>
              </a:spcAft>
              <a:buSzPct val="110000"/>
              <a:buFont typeface="Arial" panose="020B0604020202020204" pitchFamily="34" charset="0"/>
              <a:buChar char="‒"/>
              <a:defRPr lang="en-US" sz="1600" kern="1200" dirty="0">
                <a:solidFill>
                  <a:schemeClr val="tx1"/>
                </a:solidFill>
                <a:latin typeface="+mn-lt"/>
                <a:ea typeface="+mn-ea"/>
                <a:cs typeface="+mn-cs"/>
              </a:defRPr>
            </a:lvl3pPr>
            <a:lvl4pPr marL="604800" indent="-154800" algn="l" defTabSz="914400" rtl="0" eaLnBrk="1" latinLnBrk="0" hangingPunct="1">
              <a:lnSpc>
                <a:spcPct val="100000"/>
              </a:lnSpc>
              <a:spcBef>
                <a:spcPts val="0"/>
              </a:spcBef>
              <a:spcAft>
                <a:spcPts val="300"/>
              </a:spcAft>
              <a:buFont typeface="Arial" panose="020B0604020202020204" pitchFamily="34" charset="0"/>
              <a:buChar char="•"/>
              <a:defRPr lang="en-US" sz="1600" kern="1200" dirty="0">
                <a:solidFill>
                  <a:schemeClr val="tx1"/>
                </a:solidFill>
                <a:latin typeface="+mn-lt"/>
                <a:ea typeface="+mn-ea"/>
                <a:cs typeface="+mn-cs"/>
              </a:defRPr>
            </a:lvl4pPr>
            <a:lvl5pPr marL="813600" indent="-147600" algn="l" defTabSz="914400" rtl="0" eaLnBrk="1" latinLnBrk="0" hangingPunct="1">
              <a:lnSpc>
                <a:spcPct val="100000"/>
              </a:lnSpc>
              <a:spcBef>
                <a:spcPts val="0"/>
              </a:spcBef>
              <a:spcAft>
                <a:spcPts val="300"/>
              </a:spcAft>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fld id="{CA82B747-33FB-4DB7-BFD5-C689FE68E0D9}" type="datetime'''''''''''''''''''''''''''''''''''''''''40'''''''''''''''">
              <a:rPr kumimoji="0" lang="en-US" altLang="en-US" sz="14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ctr"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t>40</a:t>
            </a:fld>
            <a:endParaRPr kumimoji="0" lang="en-US" sz="14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
        <p:nvSpPr>
          <p:cNvPr id="21" name="Text Placeholder 4">
            <a:extLst>
              <a:ext uri="{FF2B5EF4-FFF2-40B4-BE49-F238E27FC236}">
                <a16:creationId xmlns:a16="http://schemas.microsoft.com/office/drawing/2014/main" id="{A42B82C0-E58B-132A-73C8-A586B9499E74}"/>
              </a:ext>
            </a:extLst>
          </p:cNvPr>
          <p:cNvSpPr>
            <a:spLocks noGrp="1"/>
          </p:cNvSpPr>
          <p:nvPr>
            <p:custDataLst>
              <p:tags r:id="rId18"/>
            </p:custDataLst>
          </p:nvPr>
        </p:nvSpPr>
        <p:spPr bwMode="auto">
          <a:xfrm>
            <a:off x="4186238" y="5644238"/>
            <a:ext cx="20955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30400" algn="l" defTabSz="914400" rtl="0" eaLnBrk="1" latinLnBrk="0" hangingPunct="1">
              <a:lnSpc>
                <a:spcPct val="100000"/>
              </a:lnSpc>
              <a:spcBef>
                <a:spcPts val="0"/>
              </a:spcBef>
              <a:spcAft>
                <a:spcPts val="300"/>
              </a:spcAft>
              <a:buSzPct val="110000"/>
              <a:buFont typeface="Wingdings" panose="05000000000000000000" pitchFamily="2" charset="2"/>
              <a:buChar char=""/>
              <a:defRPr lang="en-US" sz="1600" kern="1200" dirty="0">
                <a:solidFill>
                  <a:schemeClr val="tx1"/>
                </a:solidFill>
                <a:latin typeface="+mn-lt"/>
                <a:ea typeface="+mn-ea"/>
                <a:cs typeface="+mn-cs"/>
              </a:defRPr>
            </a:lvl2pPr>
            <a:lvl3pPr marL="439200" indent="-208800" algn="l" defTabSz="914400" rtl="0" eaLnBrk="1" latinLnBrk="0" hangingPunct="1">
              <a:lnSpc>
                <a:spcPct val="100000"/>
              </a:lnSpc>
              <a:spcBef>
                <a:spcPts val="0"/>
              </a:spcBef>
              <a:spcAft>
                <a:spcPts val="300"/>
              </a:spcAft>
              <a:buSzPct val="110000"/>
              <a:buFont typeface="Arial" panose="020B0604020202020204" pitchFamily="34" charset="0"/>
              <a:buChar char="‒"/>
              <a:defRPr lang="en-US" sz="1600" kern="1200" dirty="0">
                <a:solidFill>
                  <a:schemeClr val="tx1"/>
                </a:solidFill>
                <a:latin typeface="+mn-lt"/>
                <a:ea typeface="+mn-ea"/>
                <a:cs typeface="+mn-cs"/>
              </a:defRPr>
            </a:lvl3pPr>
            <a:lvl4pPr marL="604800" indent="-154800" algn="l" defTabSz="914400" rtl="0" eaLnBrk="1" latinLnBrk="0" hangingPunct="1">
              <a:lnSpc>
                <a:spcPct val="100000"/>
              </a:lnSpc>
              <a:spcBef>
                <a:spcPts val="0"/>
              </a:spcBef>
              <a:spcAft>
                <a:spcPts val="300"/>
              </a:spcAft>
              <a:buFont typeface="Arial" panose="020B0604020202020204" pitchFamily="34" charset="0"/>
              <a:buChar char="•"/>
              <a:defRPr lang="en-US" sz="1600" kern="1200" dirty="0">
                <a:solidFill>
                  <a:schemeClr val="tx1"/>
                </a:solidFill>
                <a:latin typeface="+mn-lt"/>
                <a:ea typeface="+mn-ea"/>
                <a:cs typeface="+mn-cs"/>
              </a:defRPr>
            </a:lvl4pPr>
            <a:lvl5pPr marL="813600" indent="-147600" algn="l" defTabSz="914400" rtl="0" eaLnBrk="1" latinLnBrk="0" hangingPunct="1">
              <a:lnSpc>
                <a:spcPct val="100000"/>
              </a:lnSpc>
              <a:spcBef>
                <a:spcPts val="0"/>
              </a:spcBef>
              <a:spcAft>
                <a:spcPts val="300"/>
              </a:spcAft>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fld id="{4305A6C3-AB23-4B2E-B7FF-F3C3714F6998}" type="datetime'''''''''4''''''''''''''''''5'''''''''''''''''''''''''''''''''">
              <a:rPr kumimoji="0" lang="en-US" altLang="en-US" sz="14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ctr"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t>45</a:t>
            </a:fld>
            <a:endParaRPr kumimoji="0" lang="en-US" sz="14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
        <p:nvSpPr>
          <p:cNvPr id="22" name="Text Placeholder 4">
            <a:extLst>
              <a:ext uri="{FF2B5EF4-FFF2-40B4-BE49-F238E27FC236}">
                <a16:creationId xmlns:a16="http://schemas.microsoft.com/office/drawing/2014/main" id="{3A7D59B3-A686-A9F0-4F30-151F1E04DAE8}"/>
              </a:ext>
            </a:extLst>
          </p:cNvPr>
          <p:cNvSpPr>
            <a:spLocks noGrp="1"/>
          </p:cNvSpPr>
          <p:nvPr>
            <p:custDataLst>
              <p:tags r:id="rId19"/>
            </p:custDataLst>
          </p:nvPr>
        </p:nvSpPr>
        <p:spPr bwMode="auto">
          <a:xfrm>
            <a:off x="5294313" y="5644238"/>
            <a:ext cx="40640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30400" algn="l" defTabSz="914400" rtl="0" eaLnBrk="1" latinLnBrk="0" hangingPunct="1">
              <a:lnSpc>
                <a:spcPct val="100000"/>
              </a:lnSpc>
              <a:spcBef>
                <a:spcPts val="0"/>
              </a:spcBef>
              <a:spcAft>
                <a:spcPts val="300"/>
              </a:spcAft>
              <a:buSzPct val="110000"/>
              <a:buFont typeface="Wingdings" panose="05000000000000000000" pitchFamily="2" charset="2"/>
              <a:buChar char=""/>
              <a:defRPr lang="en-US" sz="1600" kern="1200" dirty="0">
                <a:solidFill>
                  <a:schemeClr val="tx1"/>
                </a:solidFill>
                <a:latin typeface="+mn-lt"/>
                <a:ea typeface="+mn-ea"/>
                <a:cs typeface="+mn-cs"/>
              </a:defRPr>
            </a:lvl2pPr>
            <a:lvl3pPr marL="439200" indent="-208800" algn="l" defTabSz="914400" rtl="0" eaLnBrk="1" latinLnBrk="0" hangingPunct="1">
              <a:lnSpc>
                <a:spcPct val="100000"/>
              </a:lnSpc>
              <a:spcBef>
                <a:spcPts val="0"/>
              </a:spcBef>
              <a:spcAft>
                <a:spcPts val="300"/>
              </a:spcAft>
              <a:buSzPct val="110000"/>
              <a:buFont typeface="Arial" panose="020B0604020202020204" pitchFamily="34" charset="0"/>
              <a:buChar char="‒"/>
              <a:defRPr lang="en-US" sz="1600" kern="1200" dirty="0">
                <a:solidFill>
                  <a:schemeClr val="tx1"/>
                </a:solidFill>
                <a:latin typeface="+mn-lt"/>
                <a:ea typeface="+mn-ea"/>
                <a:cs typeface="+mn-cs"/>
              </a:defRPr>
            </a:lvl3pPr>
            <a:lvl4pPr marL="604800" indent="-154800" algn="l" defTabSz="914400" rtl="0" eaLnBrk="1" latinLnBrk="0" hangingPunct="1">
              <a:lnSpc>
                <a:spcPct val="100000"/>
              </a:lnSpc>
              <a:spcBef>
                <a:spcPts val="0"/>
              </a:spcBef>
              <a:spcAft>
                <a:spcPts val="300"/>
              </a:spcAft>
              <a:buFont typeface="Arial" panose="020B0604020202020204" pitchFamily="34" charset="0"/>
              <a:buChar char="•"/>
              <a:defRPr lang="en-US" sz="1600" kern="1200" dirty="0">
                <a:solidFill>
                  <a:schemeClr val="tx1"/>
                </a:solidFill>
                <a:latin typeface="+mn-lt"/>
                <a:ea typeface="+mn-ea"/>
                <a:cs typeface="+mn-cs"/>
              </a:defRPr>
            </a:lvl4pPr>
            <a:lvl5pPr marL="813600" indent="-147600" algn="l" defTabSz="914400" rtl="0" eaLnBrk="1" latinLnBrk="0" hangingPunct="1">
              <a:lnSpc>
                <a:spcPct val="100000"/>
              </a:lnSpc>
              <a:spcBef>
                <a:spcPts val="0"/>
              </a:spcBef>
              <a:spcAft>
                <a:spcPts val="300"/>
              </a:spcAft>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fld id="{B93DE2F2-E59A-4CBE-B042-B900E41155DC}" type="datetime'''''''''''''''''''''''''2''''''''0''''5''0'''''''">
              <a:rPr kumimoji="0" lang="en-US" altLang="en-US" sz="14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ctr"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t>2050</a:t>
            </a:fld>
            <a:endParaRPr kumimoji="0" lang="en-US" sz="14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cxnSp>
        <p:nvCxnSpPr>
          <p:cNvPr id="23" name="Straight Connector 22">
            <a:extLst>
              <a:ext uri="{FF2B5EF4-FFF2-40B4-BE49-F238E27FC236}">
                <a16:creationId xmlns:a16="http://schemas.microsoft.com/office/drawing/2014/main" id="{19E7A692-92CA-3F0A-133A-C65C7940175B}"/>
              </a:ext>
            </a:extLst>
          </p:cNvPr>
          <p:cNvCxnSpPr/>
          <p:nvPr>
            <p:custDataLst>
              <p:tags r:id="rId20"/>
            </p:custDataLst>
          </p:nvPr>
        </p:nvCxnSpPr>
        <p:spPr bwMode="gray">
          <a:xfrm>
            <a:off x="8710613" y="2012038"/>
            <a:ext cx="139700" cy="0"/>
          </a:xfrm>
          <a:prstGeom prst="line">
            <a:avLst/>
          </a:prstGeom>
          <a:ln w="25400" cap="rnd" cmpd="sng" algn="ctr">
            <a:solidFill>
              <a:schemeClr val="accent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4" name="Rectangle 23">
            <a:extLst>
              <a:ext uri="{FF2B5EF4-FFF2-40B4-BE49-F238E27FC236}">
                <a16:creationId xmlns:a16="http://schemas.microsoft.com/office/drawing/2014/main" id="{E9FB4F13-5676-42AE-5B66-1A33C1BBB31E}"/>
              </a:ext>
            </a:extLst>
          </p:cNvPr>
          <p:cNvSpPr/>
          <p:nvPr>
            <p:custDataLst>
              <p:tags r:id="rId21"/>
            </p:custDataLst>
          </p:nvPr>
        </p:nvSpPr>
        <p:spPr bwMode="auto">
          <a:xfrm>
            <a:off x="10477500" y="1929488"/>
            <a:ext cx="165100" cy="165100"/>
          </a:xfrm>
          <a:prstGeom prst="rect">
            <a:avLst/>
          </a:prstGeom>
          <a:solidFill>
            <a:schemeClr val="accent1"/>
          </a:solidFill>
          <a:ln w="9525" cap="sq" algn="ctr">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Arial"/>
              <a:ea typeface="+mn-ea"/>
              <a:cs typeface="+mn-cs"/>
            </a:endParaRPr>
          </a:p>
        </p:txBody>
      </p:sp>
      <p:sp>
        <p:nvSpPr>
          <p:cNvPr id="25" name="Text Placeholder 4">
            <a:extLst>
              <a:ext uri="{FF2B5EF4-FFF2-40B4-BE49-F238E27FC236}">
                <a16:creationId xmlns:a16="http://schemas.microsoft.com/office/drawing/2014/main" id="{43EC8D17-77AC-2C54-8285-40E3A34B721B}"/>
              </a:ext>
            </a:extLst>
          </p:cNvPr>
          <p:cNvSpPr>
            <a:spLocks noGrp="1"/>
          </p:cNvSpPr>
          <p:nvPr>
            <p:custDataLst>
              <p:tags r:id="rId22"/>
            </p:custDataLst>
          </p:nvPr>
        </p:nvSpPr>
        <p:spPr bwMode="auto">
          <a:xfrm>
            <a:off x="8913813" y="1927900"/>
            <a:ext cx="146208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30400" algn="l" defTabSz="914400" rtl="0" eaLnBrk="1" latinLnBrk="0" hangingPunct="1">
              <a:lnSpc>
                <a:spcPct val="100000"/>
              </a:lnSpc>
              <a:spcBef>
                <a:spcPts val="0"/>
              </a:spcBef>
              <a:spcAft>
                <a:spcPts val="300"/>
              </a:spcAft>
              <a:buSzPct val="110000"/>
              <a:buFont typeface="Wingdings" panose="05000000000000000000" pitchFamily="2" charset="2"/>
              <a:buChar char=""/>
              <a:defRPr lang="en-US" sz="1600" kern="1200" dirty="0">
                <a:solidFill>
                  <a:schemeClr val="tx1"/>
                </a:solidFill>
                <a:latin typeface="+mn-lt"/>
                <a:ea typeface="+mn-ea"/>
                <a:cs typeface="+mn-cs"/>
              </a:defRPr>
            </a:lvl2pPr>
            <a:lvl3pPr marL="439200" indent="-208800" algn="l" defTabSz="914400" rtl="0" eaLnBrk="1" latinLnBrk="0" hangingPunct="1">
              <a:lnSpc>
                <a:spcPct val="100000"/>
              </a:lnSpc>
              <a:spcBef>
                <a:spcPts val="0"/>
              </a:spcBef>
              <a:spcAft>
                <a:spcPts val="300"/>
              </a:spcAft>
              <a:buSzPct val="110000"/>
              <a:buFont typeface="Arial" panose="020B0604020202020204" pitchFamily="34" charset="0"/>
              <a:buChar char="‒"/>
              <a:defRPr lang="en-US" sz="1600" kern="1200" dirty="0">
                <a:solidFill>
                  <a:schemeClr val="tx1"/>
                </a:solidFill>
                <a:latin typeface="+mn-lt"/>
                <a:ea typeface="+mn-ea"/>
                <a:cs typeface="+mn-cs"/>
              </a:defRPr>
            </a:lvl3pPr>
            <a:lvl4pPr marL="604800" indent="-154800" algn="l" defTabSz="914400" rtl="0" eaLnBrk="1" latinLnBrk="0" hangingPunct="1">
              <a:lnSpc>
                <a:spcPct val="100000"/>
              </a:lnSpc>
              <a:spcBef>
                <a:spcPts val="0"/>
              </a:spcBef>
              <a:spcAft>
                <a:spcPts val="300"/>
              </a:spcAft>
              <a:buFont typeface="Arial" panose="020B0604020202020204" pitchFamily="34" charset="0"/>
              <a:buChar char="•"/>
              <a:defRPr lang="en-US" sz="1600" kern="1200" dirty="0">
                <a:solidFill>
                  <a:schemeClr val="tx1"/>
                </a:solidFill>
                <a:latin typeface="+mn-lt"/>
                <a:ea typeface="+mn-ea"/>
                <a:cs typeface="+mn-cs"/>
              </a:defRPr>
            </a:lvl4pPr>
            <a:lvl5pPr marL="813600" indent="-147600" algn="l" defTabSz="914400" rtl="0" eaLnBrk="1" latinLnBrk="0" hangingPunct="1">
              <a:lnSpc>
                <a:spcPct val="100000"/>
              </a:lnSpc>
              <a:spcBef>
                <a:spcPts val="0"/>
              </a:spcBef>
              <a:spcAft>
                <a:spcPts val="300"/>
              </a:spcAft>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fld id="{F4AB3310-B3B4-4E33-951E-4374A688FB30}" type="datetime'''''GW'''''''''''' deplo''''''''y''''''e''d by yea''''''r'''''">
              <a:rPr kumimoji="0" lang="en-US" altLang="en-US" sz="12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t>GW deployed by year</a:t>
            </a:fld>
            <a:endParaRPr kumimoji="0" lang="en-US" sz="12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
        <p:nvSpPr>
          <p:cNvPr id="26" name="Text Placeholder 4">
            <a:extLst>
              <a:ext uri="{FF2B5EF4-FFF2-40B4-BE49-F238E27FC236}">
                <a16:creationId xmlns:a16="http://schemas.microsoft.com/office/drawing/2014/main" id="{BCCC844A-CC3B-CDC8-BB69-A01F24BE0315}"/>
              </a:ext>
            </a:extLst>
          </p:cNvPr>
          <p:cNvSpPr>
            <a:spLocks noGrp="1"/>
          </p:cNvSpPr>
          <p:nvPr>
            <p:custDataLst>
              <p:tags r:id="rId23"/>
            </p:custDataLst>
          </p:nvPr>
        </p:nvSpPr>
        <p:spPr bwMode="auto">
          <a:xfrm>
            <a:off x="10693400" y="1927900"/>
            <a:ext cx="10652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30400" algn="l" defTabSz="914400" rtl="0" eaLnBrk="1" latinLnBrk="0" hangingPunct="1">
              <a:lnSpc>
                <a:spcPct val="100000"/>
              </a:lnSpc>
              <a:spcBef>
                <a:spcPts val="0"/>
              </a:spcBef>
              <a:spcAft>
                <a:spcPts val="300"/>
              </a:spcAft>
              <a:buSzPct val="110000"/>
              <a:buFont typeface="Wingdings" panose="05000000000000000000" pitchFamily="2" charset="2"/>
              <a:buChar char=""/>
              <a:defRPr lang="en-US" sz="1600" kern="1200" dirty="0">
                <a:solidFill>
                  <a:schemeClr val="tx1"/>
                </a:solidFill>
                <a:latin typeface="+mn-lt"/>
                <a:ea typeface="+mn-ea"/>
                <a:cs typeface="+mn-cs"/>
              </a:defRPr>
            </a:lvl2pPr>
            <a:lvl3pPr marL="439200" indent="-208800" algn="l" defTabSz="914400" rtl="0" eaLnBrk="1" latinLnBrk="0" hangingPunct="1">
              <a:lnSpc>
                <a:spcPct val="100000"/>
              </a:lnSpc>
              <a:spcBef>
                <a:spcPts val="0"/>
              </a:spcBef>
              <a:spcAft>
                <a:spcPts val="300"/>
              </a:spcAft>
              <a:buSzPct val="110000"/>
              <a:buFont typeface="Arial" panose="020B0604020202020204" pitchFamily="34" charset="0"/>
              <a:buChar char="‒"/>
              <a:defRPr lang="en-US" sz="1600" kern="1200" dirty="0">
                <a:solidFill>
                  <a:schemeClr val="tx1"/>
                </a:solidFill>
                <a:latin typeface="+mn-lt"/>
                <a:ea typeface="+mn-ea"/>
                <a:cs typeface="+mn-cs"/>
              </a:defRPr>
            </a:lvl3pPr>
            <a:lvl4pPr marL="604800" indent="-154800" algn="l" defTabSz="914400" rtl="0" eaLnBrk="1" latinLnBrk="0" hangingPunct="1">
              <a:lnSpc>
                <a:spcPct val="100000"/>
              </a:lnSpc>
              <a:spcBef>
                <a:spcPts val="0"/>
              </a:spcBef>
              <a:spcAft>
                <a:spcPts val="300"/>
              </a:spcAft>
              <a:buFont typeface="Arial" panose="020B0604020202020204" pitchFamily="34" charset="0"/>
              <a:buChar char="•"/>
              <a:defRPr lang="en-US" sz="1600" kern="1200" dirty="0">
                <a:solidFill>
                  <a:schemeClr val="tx1"/>
                </a:solidFill>
                <a:latin typeface="+mn-lt"/>
                <a:ea typeface="+mn-ea"/>
                <a:cs typeface="+mn-cs"/>
              </a:defRPr>
            </a:lvl4pPr>
            <a:lvl5pPr marL="813600" indent="-147600" algn="l" defTabSz="914400" rtl="0" eaLnBrk="1" latinLnBrk="0" hangingPunct="1">
              <a:lnSpc>
                <a:spcPct val="100000"/>
              </a:lnSpc>
              <a:spcBef>
                <a:spcPts val="0"/>
              </a:spcBef>
              <a:spcAft>
                <a:spcPts val="300"/>
              </a:spcAft>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fld id="{13A02769-A317-4DF2-8674-087BA24E2B9A}" type="datetime'C''''u''m''''u''l''''a''t''i''''v''''e'''' ''GW'''''''''''''''">
              <a:rPr kumimoji="0" lang="en-US" altLang="en-US" sz="12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t>Cumulative GW</a:t>
            </a:fld>
            <a:endParaRPr kumimoji="0" lang="en-US" sz="12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
        <p:nvSpPr>
          <p:cNvPr id="27" name="ACET">
            <a:extLst>
              <a:ext uri="{FF2B5EF4-FFF2-40B4-BE49-F238E27FC236}">
                <a16:creationId xmlns:a16="http://schemas.microsoft.com/office/drawing/2014/main" id="{96270C18-B80A-3C80-4C00-D2483465933F}"/>
              </a:ext>
            </a:extLst>
          </p:cNvPr>
          <p:cNvSpPr txBox="1"/>
          <p:nvPr>
            <p:custDataLst>
              <p:tags r:id="rId24"/>
            </p:custDataLst>
          </p:nvPr>
        </p:nvSpPr>
        <p:spPr>
          <a:xfrm>
            <a:off x="542298" y="1383685"/>
            <a:ext cx="5395124" cy="461665"/>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600"/>
              </a:spcAft>
              <a:buClrTx/>
              <a:buSzTx/>
              <a:buFont typeface="Segoe UI" panose="020B0502040204020203" pitchFamily="34" charset="0"/>
              <a:buChar char="​"/>
              <a:tabLst/>
              <a:defRPr/>
            </a:pPr>
            <a:r>
              <a:rPr kumimoji="0" lang="en-US" sz="1600" b="1" i="0" u="none" strike="noStrike" kern="1200" cap="none" spc="0" normalizeH="0" baseline="0" noProof="0">
                <a:ln>
                  <a:noFill/>
                </a:ln>
                <a:solidFill>
                  <a:srgbClr val="000000"/>
                </a:solidFill>
                <a:effectLst/>
                <a:uLnTx/>
                <a:uFillTx/>
                <a:latin typeface="Arial"/>
                <a:ea typeface="+mn-ea"/>
                <a:cs typeface="Arial" panose="020B0604020202020204" pitchFamily="34" charset="0"/>
              </a:rPr>
              <a:t>New nuclear deployment starting in 2030 </a:t>
            </a:r>
            <a:br>
              <a:rPr kumimoji="0" lang="en-US" sz="1600" b="1" i="0" u="none" strike="noStrike" kern="1200" cap="none" spc="0" normalizeH="0" baseline="0" noProof="0">
                <a:ln>
                  <a:noFill/>
                </a:ln>
                <a:solidFill>
                  <a:srgbClr val="000000"/>
                </a:solidFill>
                <a:effectLst/>
                <a:uLnTx/>
                <a:uFillTx/>
                <a:latin typeface="Arial"/>
                <a:ea typeface="+mn-ea"/>
                <a:cs typeface="Arial" panose="020B0604020202020204" pitchFamily="34" charset="0"/>
              </a:rPr>
            </a:br>
            <a:r>
              <a:rPr kumimoji="0" lang="en-US" sz="14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Annual deployment (GW / </a:t>
            </a:r>
            <a:r>
              <a:rPr kumimoji="0" lang="en-US" sz="1400" b="0" i="0" u="none" strike="noStrike" kern="1200" cap="none" spc="0" normalizeH="0" baseline="0" noProof="0" err="1">
                <a:ln>
                  <a:noFill/>
                </a:ln>
                <a:solidFill>
                  <a:srgbClr val="000000"/>
                </a:solidFill>
                <a:effectLst/>
                <a:uLnTx/>
                <a:uFillTx/>
                <a:latin typeface="Arial"/>
                <a:ea typeface="+mn-ea"/>
                <a:cs typeface="Arial" panose="020B0604020202020204" pitchFamily="34" charset="0"/>
              </a:rPr>
              <a:t>yr</a:t>
            </a:r>
            <a:r>
              <a:rPr kumimoji="0" lang="en-US" sz="14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 built and Cumulative GW online</a:t>
            </a:r>
          </a:p>
        </p:txBody>
      </p:sp>
      <p:sp>
        <p:nvSpPr>
          <p:cNvPr id="28" name="ACET">
            <a:extLst>
              <a:ext uri="{FF2B5EF4-FFF2-40B4-BE49-F238E27FC236}">
                <a16:creationId xmlns:a16="http://schemas.microsoft.com/office/drawing/2014/main" id="{3E1E94F6-783B-6113-8F94-B0B7BD5CCBE0}"/>
              </a:ext>
            </a:extLst>
          </p:cNvPr>
          <p:cNvSpPr txBox="1"/>
          <p:nvPr>
            <p:custDataLst>
              <p:tags r:id="rId25"/>
            </p:custDataLst>
          </p:nvPr>
        </p:nvSpPr>
        <p:spPr>
          <a:xfrm>
            <a:off x="6424114" y="1383685"/>
            <a:ext cx="5395124" cy="461665"/>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600"/>
              </a:spcAft>
              <a:buClrTx/>
              <a:buSzTx/>
              <a:buFont typeface="Segoe UI" panose="020B0502040204020203" pitchFamily="34" charset="0"/>
              <a:buChar char="​"/>
              <a:tabLst/>
              <a:defRPr/>
            </a:pPr>
            <a:r>
              <a:rPr kumimoji="0" lang="en-US" sz="1600" b="1" i="0" u="none" strike="noStrike" kern="1200" cap="none" spc="0" normalizeH="0" baseline="0" noProof="0">
                <a:ln>
                  <a:noFill/>
                </a:ln>
                <a:solidFill>
                  <a:srgbClr val="000000"/>
                </a:solidFill>
                <a:effectLst/>
                <a:uLnTx/>
                <a:uFillTx/>
                <a:latin typeface="Arial"/>
                <a:ea typeface="+mn-ea"/>
                <a:cs typeface="Arial" panose="020B0604020202020204" pitchFamily="34" charset="0"/>
              </a:rPr>
              <a:t>New nuclear deployment starting in 2035 </a:t>
            </a:r>
            <a:br>
              <a:rPr kumimoji="0" lang="en-US" sz="1600" b="1" i="0" u="none" strike="noStrike" kern="1200" cap="none" spc="0" normalizeH="0" baseline="0" noProof="0">
                <a:ln>
                  <a:noFill/>
                </a:ln>
                <a:solidFill>
                  <a:srgbClr val="000000"/>
                </a:solidFill>
                <a:effectLst/>
                <a:uLnTx/>
                <a:uFillTx/>
                <a:latin typeface="Arial"/>
                <a:ea typeface="+mn-ea"/>
                <a:cs typeface="Arial" panose="020B0604020202020204" pitchFamily="34" charset="0"/>
              </a:rPr>
            </a:br>
            <a:r>
              <a:rPr kumimoji="0" lang="en-US" sz="14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Annual deployment (GW / </a:t>
            </a:r>
            <a:r>
              <a:rPr kumimoji="0" lang="en-US" sz="1400" b="0" i="0" u="none" strike="noStrike" kern="1200" cap="none" spc="0" normalizeH="0" baseline="0" noProof="0" err="1">
                <a:ln>
                  <a:noFill/>
                </a:ln>
                <a:solidFill>
                  <a:srgbClr val="000000"/>
                </a:solidFill>
                <a:effectLst/>
                <a:uLnTx/>
                <a:uFillTx/>
                <a:latin typeface="Arial"/>
                <a:ea typeface="+mn-ea"/>
                <a:cs typeface="Arial" panose="020B0604020202020204" pitchFamily="34" charset="0"/>
              </a:rPr>
              <a:t>yr</a:t>
            </a:r>
            <a:r>
              <a:rPr kumimoji="0" lang="en-US" sz="14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 built and Cumulative GW online</a:t>
            </a:r>
          </a:p>
        </p:txBody>
      </p:sp>
      <p:grpSp>
        <p:nvGrpSpPr>
          <p:cNvPr id="29" name="ConnectorRectangle 534">
            <a:extLst>
              <a:ext uri="{FF2B5EF4-FFF2-40B4-BE49-F238E27FC236}">
                <a16:creationId xmlns:a16="http://schemas.microsoft.com/office/drawing/2014/main" id="{619E3CB1-B4DF-6539-37C2-AE6DC215425A}"/>
              </a:ext>
            </a:extLst>
          </p:cNvPr>
          <p:cNvGrpSpPr>
            <a:grpSpLocks/>
          </p:cNvGrpSpPr>
          <p:nvPr>
            <p:custDataLst>
              <p:tags r:id="rId26"/>
            </p:custDataLst>
          </p:nvPr>
        </p:nvGrpSpPr>
        <p:grpSpPr>
          <a:xfrm>
            <a:off x="2113991" y="2323022"/>
            <a:ext cx="1567423" cy="1327957"/>
            <a:chOff x="254000" y="-1"/>
            <a:chExt cx="1354168" cy="1004065"/>
          </a:xfrm>
        </p:grpSpPr>
        <p:sp>
          <p:nvSpPr>
            <p:cNvPr id="30" name="TextBox 29">
              <a:extLst>
                <a:ext uri="{FF2B5EF4-FFF2-40B4-BE49-F238E27FC236}">
                  <a16:creationId xmlns:a16="http://schemas.microsoft.com/office/drawing/2014/main" id="{BC3891B2-21F6-4714-DE7D-60ABD4EF3A2A}"/>
                </a:ext>
              </a:extLst>
            </p:cNvPr>
            <p:cNvSpPr txBox="1"/>
            <p:nvPr/>
          </p:nvSpPr>
          <p:spPr>
            <a:xfrm>
              <a:off x="254000" y="-1"/>
              <a:ext cx="1354168" cy="544471"/>
            </a:xfrm>
            <a:prstGeom prst="rect">
              <a:avLst/>
            </a:prstGeom>
            <a:solidFill>
              <a:schemeClr val="bg1"/>
            </a:solidFill>
            <a:ln w="9525">
              <a:solidFill>
                <a:schemeClr val="tx1"/>
              </a:solidFill>
            </a:ln>
          </p:spPr>
          <p:txBody>
            <a:bodyPr vert="horz" wrap="square" lIns="76200" tIns="76200" rIns="76200" bIns="76200" rtlCol="0">
              <a:no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228600" lvl="1" indent="-230400">
                <a:lnSpc>
                  <a:spcPct val="100000"/>
                </a:lnSpc>
                <a:spcBef>
                  <a:spcPts val="0"/>
                </a:spcBef>
                <a:spcAft>
                  <a:spcPts val="300"/>
                </a:spcAft>
                <a:buSzPct val="110000"/>
                <a:buFont typeface="Wingdings" panose="05000000000000000000" pitchFamily="2" charset="2"/>
                <a:buChar char=""/>
                <a:defRPr lang="en-US" sz="1600" dirty="0"/>
              </a:lvl2pPr>
              <a:lvl3pPr marL="439200" lvl="2" indent="-208800">
                <a:lnSpc>
                  <a:spcPct val="100000"/>
                </a:lnSpc>
                <a:spcBef>
                  <a:spcPts val="0"/>
                </a:spcBef>
                <a:spcAft>
                  <a:spcPts val="300"/>
                </a:spcAft>
                <a:buSzPct val="110000"/>
                <a:buFont typeface="Arial" panose="020B0604020202020204" pitchFamily="34" charset="0"/>
                <a:buChar char="‒"/>
                <a:defRPr lang="en-US" sz="1600" dirty="0"/>
              </a:lvl3pPr>
              <a:lvl4pPr marL="604800" lvl="3" indent="-154800">
                <a:lnSpc>
                  <a:spcPct val="100000"/>
                </a:lnSpc>
                <a:spcBef>
                  <a:spcPts val="0"/>
                </a:spcBef>
                <a:spcAft>
                  <a:spcPts val="300"/>
                </a:spcAft>
                <a:buFont typeface="Arial" panose="020B0604020202020204" pitchFamily="34" charset="0"/>
                <a:buChar char="•"/>
                <a:defRPr lang="en-US" sz="1600" dirty="0"/>
              </a:lvl4pPr>
              <a:lvl5pPr marL="813600" lvl="4" indent="-147600">
                <a:lnSpc>
                  <a:spcPct val="100000"/>
                </a:lnSpc>
                <a:spcBef>
                  <a:spcPts val="0"/>
                </a:spcBef>
                <a:spcAft>
                  <a:spcPts val="300"/>
                </a:spcAft>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1" indent="0" algn="l" defTabSz="914400" rtl="0" eaLnBrk="1" fontAlgn="auto" latinLnBrk="0" hangingPunct="1">
                <a:lnSpc>
                  <a:spcPct val="100000"/>
                </a:lnSpc>
                <a:spcBef>
                  <a:spcPts val="0"/>
                </a:spcBef>
                <a:spcAft>
                  <a:spcPts val="300"/>
                </a:spcAft>
                <a:buClrTx/>
                <a:buSzPct val="110000"/>
                <a:buFont typeface="Wingdings" panose="05000000000000000000" pitchFamily="2" charset="2"/>
                <a:buNone/>
                <a:tabLst/>
                <a:defRPr/>
              </a:pPr>
              <a:r>
                <a:rPr kumimoji="0" lang="en-US" sz="1200" b="0" i="0" u="none" strike="noStrike" kern="1200" cap="none" spc="0" normalizeH="0" baseline="0" noProof="0">
                  <a:ln>
                    <a:noFill/>
                  </a:ln>
                  <a:solidFill>
                    <a:srgbClr val="000000"/>
                  </a:solidFill>
                  <a:effectLst/>
                  <a:uLnTx/>
                  <a:uFillTx/>
                  <a:latin typeface="Arial"/>
                  <a:ea typeface="+mn-ea"/>
                  <a:cs typeface="+mn-cs"/>
                </a:rPr>
                <a:t>Steady-state achieved in 2040 at </a:t>
              </a:r>
              <a:r>
                <a:rPr kumimoji="0" lang="en-US" sz="1200" b="1" i="0" u="none" strike="noStrike" kern="1200" cap="none" spc="0" normalizeH="0" baseline="0" noProof="0">
                  <a:ln>
                    <a:noFill/>
                  </a:ln>
                  <a:solidFill>
                    <a:srgbClr val="000000"/>
                  </a:solidFill>
                  <a:effectLst/>
                  <a:uLnTx/>
                  <a:uFillTx/>
                  <a:latin typeface="Arial"/>
                  <a:ea typeface="+mn-ea"/>
                  <a:cs typeface="+mn-cs"/>
                </a:rPr>
                <a:t>13 GW / </a:t>
              </a:r>
              <a:r>
                <a:rPr kumimoji="0" lang="en-US" sz="1200" b="1" i="0" u="none" strike="noStrike" kern="1200" cap="none" spc="0" normalizeH="0" baseline="0" noProof="0" err="1">
                  <a:ln>
                    <a:noFill/>
                  </a:ln>
                  <a:solidFill>
                    <a:srgbClr val="000000"/>
                  </a:solidFill>
                  <a:effectLst/>
                  <a:uLnTx/>
                  <a:uFillTx/>
                  <a:latin typeface="Arial"/>
                  <a:ea typeface="+mn-ea"/>
                  <a:cs typeface="+mn-cs"/>
                </a:rPr>
                <a:t>yr</a:t>
              </a:r>
              <a:r>
                <a:rPr kumimoji="0" lang="en-US" sz="1200" b="1" i="0" u="none" strike="noStrike" kern="1200" cap="none" spc="0" normalizeH="0" baseline="0" noProof="0">
                  <a:ln>
                    <a:noFill/>
                  </a:ln>
                  <a:solidFill>
                    <a:srgbClr val="000000"/>
                  </a:solidFill>
                  <a:effectLst/>
                  <a:uLnTx/>
                  <a:uFillTx/>
                  <a:latin typeface="Arial"/>
                  <a:ea typeface="+mn-ea"/>
                  <a:cs typeface="+mn-cs"/>
                </a:rPr>
                <a:t> </a:t>
              </a:r>
              <a:r>
                <a:rPr kumimoji="0" lang="en-US" sz="1200" b="0" i="0" u="none" strike="noStrike" kern="1200" cap="none" spc="0" normalizeH="0" baseline="0" noProof="0">
                  <a:ln>
                    <a:noFill/>
                  </a:ln>
                  <a:solidFill>
                    <a:srgbClr val="000000"/>
                  </a:solidFill>
                  <a:effectLst/>
                  <a:uLnTx/>
                  <a:uFillTx/>
                  <a:latin typeface="Arial"/>
                  <a:ea typeface="+mn-ea"/>
                  <a:cs typeface="+mn-cs"/>
                </a:rPr>
                <a:t>deployed</a:t>
              </a:r>
            </a:p>
          </p:txBody>
        </p:sp>
        <p:cxnSp>
          <p:nvCxnSpPr>
            <p:cNvPr id="31" name="Straight Arrow Connector 30">
              <a:extLst>
                <a:ext uri="{FF2B5EF4-FFF2-40B4-BE49-F238E27FC236}">
                  <a16:creationId xmlns:a16="http://schemas.microsoft.com/office/drawing/2014/main" id="{920EE198-4462-2C3D-FB4E-489270A007F1}"/>
                </a:ext>
              </a:extLst>
            </p:cNvPr>
            <p:cNvCxnSpPr>
              <a:cxnSpLocks/>
              <a:stCxn id="30" idx="2"/>
            </p:cNvCxnSpPr>
            <p:nvPr/>
          </p:nvCxnSpPr>
          <p:spPr>
            <a:xfrm>
              <a:off x="931084" y="544470"/>
              <a:ext cx="0" cy="459594"/>
            </a:xfrm>
            <a:prstGeom prst="straightConnector1">
              <a:avLst/>
            </a:prstGeom>
            <a:ln w="6350" cap="flat" cmpd="sng">
              <a:solidFill>
                <a:schemeClr val="tx1"/>
              </a:solidFill>
              <a:miter lim="800000"/>
              <a:tailEnd type="oval" w="med" len="med"/>
            </a:ln>
          </p:spPr>
          <p:style>
            <a:lnRef idx="1">
              <a:schemeClr val="accent1"/>
            </a:lnRef>
            <a:fillRef idx="0">
              <a:schemeClr val="accent1"/>
            </a:fillRef>
            <a:effectRef idx="0">
              <a:schemeClr val="accent1"/>
            </a:effectRef>
            <a:fontRef idx="minor">
              <a:schemeClr val="tx1"/>
            </a:fontRef>
          </p:style>
        </p:cxnSp>
      </p:grpSp>
      <p:graphicFrame>
        <p:nvGraphicFramePr>
          <p:cNvPr id="32" name="Chart 31">
            <a:extLst>
              <a:ext uri="{FF2B5EF4-FFF2-40B4-BE49-F238E27FC236}">
                <a16:creationId xmlns:a16="http://schemas.microsoft.com/office/drawing/2014/main" id="{FC6475D6-40D0-C86B-932E-B5AFCE7FE470}"/>
              </a:ext>
            </a:extLst>
          </p:cNvPr>
          <p:cNvGraphicFramePr/>
          <p:nvPr>
            <p:custDataLst>
              <p:tags r:id="rId27"/>
            </p:custDataLst>
            <p:extLst>
              <p:ext uri="{D42A27DB-BD31-4B8C-83A1-F6EECF244321}">
                <p14:modId xmlns:p14="http://schemas.microsoft.com/office/powerpoint/2010/main" val="3090482490"/>
              </p:ext>
            </p:extLst>
          </p:nvPr>
        </p:nvGraphicFramePr>
        <p:xfrm>
          <a:off x="6472238" y="2561313"/>
          <a:ext cx="5100637" cy="3106737"/>
        </p:xfrm>
        <a:graphic>
          <a:graphicData uri="http://schemas.openxmlformats.org/drawingml/2006/chart">
            <c:chart xmlns:c="http://schemas.openxmlformats.org/drawingml/2006/chart" xmlns:r="http://schemas.openxmlformats.org/officeDocument/2006/relationships" r:id="rId48"/>
          </a:graphicData>
        </a:graphic>
      </p:graphicFrame>
      <p:sp>
        <p:nvSpPr>
          <p:cNvPr id="33" name="Text Placeholder 4">
            <a:extLst>
              <a:ext uri="{FF2B5EF4-FFF2-40B4-BE49-F238E27FC236}">
                <a16:creationId xmlns:a16="http://schemas.microsoft.com/office/drawing/2014/main" id="{483B48B5-F938-C640-F3BB-10B8F4F4EA1B}"/>
              </a:ext>
            </a:extLst>
          </p:cNvPr>
          <p:cNvSpPr>
            <a:spLocks noGrp="1"/>
          </p:cNvSpPr>
          <p:nvPr>
            <p:custDataLst>
              <p:tags r:id="rId28"/>
            </p:custDataLst>
          </p:nvPr>
        </p:nvSpPr>
        <p:spPr bwMode="gray">
          <a:xfrm>
            <a:off x="6142038" y="2537500"/>
            <a:ext cx="29527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30400" algn="l" defTabSz="914400" rtl="0" eaLnBrk="1" latinLnBrk="0" hangingPunct="1">
              <a:lnSpc>
                <a:spcPct val="100000"/>
              </a:lnSpc>
              <a:spcBef>
                <a:spcPts val="0"/>
              </a:spcBef>
              <a:spcAft>
                <a:spcPts val="300"/>
              </a:spcAft>
              <a:buSzPct val="110000"/>
              <a:buFont typeface="Wingdings" panose="05000000000000000000" pitchFamily="2" charset="2"/>
              <a:buChar char=""/>
              <a:defRPr lang="en-US" sz="1600" kern="1200" dirty="0">
                <a:solidFill>
                  <a:schemeClr val="tx1"/>
                </a:solidFill>
                <a:latin typeface="+mn-lt"/>
                <a:ea typeface="+mn-ea"/>
                <a:cs typeface="+mn-cs"/>
              </a:defRPr>
            </a:lvl2pPr>
            <a:lvl3pPr marL="439200" indent="-208800" algn="l" defTabSz="914400" rtl="0" eaLnBrk="1" latinLnBrk="0" hangingPunct="1">
              <a:lnSpc>
                <a:spcPct val="100000"/>
              </a:lnSpc>
              <a:spcBef>
                <a:spcPts val="0"/>
              </a:spcBef>
              <a:spcAft>
                <a:spcPts val="300"/>
              </a:spcAft>
              <a:buSzPct val="110000"/>
              <a:buFont typeface="Arial" panose="020B0604020202020204" pitchFamily="34" charset="0"/>
              <a:buChar char="‒"/>
              <a:defRPr lang="en-US" sz="1600" kern="1200" dirty="0">
                <a:solidFill>
                  <a:schemeClr val="tx1"/>
                </a:solidFill>
                <a:latin typeface="+mn-lt"/>
                <a:ea typeface="+mn-ea"/>
                <a:cs typeface="+mn-cs"/>
              </a:defRPr>
            </a:lvl3pPr>
            <a:lvl4pPr marL="604800" indent="-154800" algn="l" defTabSz="914400" rtl="0" eaLnBrk="1" latinLnBrk="0" hangingPunct="1">
              <a:lnSpc>
                <a:spcPct val="100000"/>
              </a:lnSpc>
              <a:spcBef>
                <a:spcPts val="0"/>
              </a:spcBef>
              <a:spcAft>
                <a:spcPts val="300"/>
              </a:spcAft>
              <a:buFont typeface="Arial" panose="020B0604020202020204" pitchFamily="34" charset="0"/>
              <a:buChar char="•"/>
              <a:defRPr lang="en-US" sz="1600" kern="1200" dirty="0">
                <a:solidFill>
                  <a:schemeClr val="tx1"/>
                </a:solidFill>
                <a:latin typeface="+mn-lt"/>
                <a:ea typeface="+mn-ea"/>
                <a:cs typeface="+mn-cs"/>
              </a:defRPr>
            </a:lvl4pPr>
            <a:lvl5pPr marL="813600" indent="-147600" algn="l" defTabSz="914400" rtl="0" eaLnBrk="1" latinLnBrk="0" hangingPunct="1">
              <a:lnSpc>
                <a:spcPct val="100000"/>
              </a:lnSpc>
              <a:spcBef>
                <a:spcPts val="0"/>
              </a:spcBef>
              <a:spcAft>
                <a:spcPts val="300"/>
              </a:spcAft>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r"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fld id="{04C7968D-AAF1-461D-9E53-E91AB9E8ABB8}" type="datetime'2''''0''''''0'''''''''''''''''''''''''''''''''''''''''''">
              <a:rPr kumimoji="0" lang="en-US" altLang="en-US" sz="14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t>200</a:t>
            </a:fld>
            <a:endParaRPr kumimoji="0" lang="en-US" sz="14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
        <p:nvSpPr>
          <p:cNvPr id="34" name="Text Placeholder 4">
            <a:extLst>
              <a:ext uri="{FF2B5EF4-FFF2-40B4-BE49-F238E27FC236}">
                <a16:creationId xmlns:a16="http://schemas.microsoft.com/office/drawing/2014/main" id="{4C9B3138-A707-6CCA-B5E4-56938A0036DC}"/>
              </a:ext>
            </a:extLst>
          </p:cNvPr>
          <p:cNvSpPr>
            <a:spLocks noGrp="1"/>
          </p:cNvSpPr>
          <p:nvPr>
            <p:custDataLst>
              <p:tags r:id="rId29"/>
            </p:custDataLst>
          </p:nvPr>
        </p:nvSpPr>
        <p:spPr bwMode="gray">
          <a:xfrm>
            <a:off x="6240463" y="4744125"/>
            <a:ext cx="19685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30400" algn="l" defTabSz="914400" rtl="0" eaLnBrk="1" latinLnBrk="0" hangingPunct="1">
              <a:lnSpc>
                <a:spcPct val="100000"/>
              </a:lnSpc>
              <a:spcBef>
                <a:spcPts val="0"/>
              </a:spcBef>
              <a:spcAft>
                <a:spcPts val="300"/>
              </a:spcAft>
              <a:buSzPct val="110000"/>
              <a:buFont typeface="Wingdings" panose="05000000000000000000" pitchFamily="2" charset="2"/>
              <a:buChar char=""/>
              <a:defRPr lang="en-US" sz="1600" kern="1200" dirty="0">
                <a:solidFill>
                  <a:schemeClr val="tx1"/>
                </a:solidFill>
                <a:latin typeface="+mn-lt"/>
                <a:ea typeface="+mn-ea"/>
                <a:cs typeface="+mn-cs"/>
              </a:defRPr>
            </a:lvl2pPr>
            <a:lvl3pPr marL="439200" indent="-208800" algn="l" defTabSz="914400" rtl="0" eaLnBrk="1" latinLnBrk="0" hangingPunct="1">
              <a:lnSpc>
                <a:spcPct val="100000"/>
              </a:lnSpc>
              <a:spcBef>
                <a:spcPts val="0"/>
              </a:spcBef>
              <a:spcAft>
                <a:spcPts val="300"/>
              </a:spcAft>
              <a:buSzPct val="110000"/>
              <a:buFont typeface="Arial" panose="020B0604020202020204" pitchFamily="34" charset="0"/>
              <a:buChar char="‒"/>
              <a:defRPr lang="en-US" sz="1600" kern="1200" dirty="0">
                <a:solidFill>
                  <a:schemeClr val="tx1"/>
                </a:solidFill>
                <a:latin typeface="+mn-lt"/>
                <a:ea typeface="+mn-ea"/>
                <a:cs typeface="+mn-cs"/>
              </a:defRPr>
            </a:lvl3pPr>
            <a:lvl4pPr marL="604800" indent="-154800" algn="l" defTabSz="914400" rtl="0" eaLnBrk="1" latinLnBrk="0" hangingPunct="1">
              <a:lnSpc>
                <a:spcPct val="100000"/>
              </a:lnSpc>
              <a:spcBef>
                <a:spcPts val="0"/>
              </a:spcBef>
              <a:spcAft>
                <a:spcPts val="300"/>
              </a:spcAft>
              <a:buFont typeface="Arial" panose="020B0604020202020204" pitchFamily="34" charset="0"/>
              <a:buChar char="•"/>
              <a:defRPr lang="en-US" sz="1600" kern="1200" dirty="0">
                <a:solidFill>
                  <a:schemeClr val="tx1"/>
                </a:solidFill>
                <a:latin typeface="+mn-lt"/>
                <a:ea typeface="+mn-ea"/>
                <a:cs typeface="+mn-cs"/>
              </a:defRPr>
            </a:lvl4pPr>
            <a:lvl5pPr marL="813600" indent="-147600" algn="l" defTabSz="914400" rtl="0" eaLnBrk="1" latinLnBrk="0" hangingPunct="1">
              <a:lnSpc>
                <a:spcPct val="100000"/>
              </a:lnSpc>
              <a:spcBef>
                <a:spcPts val="0"/>
              </a:spcBef>
              <a:spcAft>
                <a:spcPts val="300"/>
              </a:spcAft>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r"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fld id="{D3599C55-CEFB-4C34-9D6A-09B28E1B0A34}" type="datetime'''''''''''5''''''''''''''''''''0'''''''''''''''''">
              <a:rPr kumimoji="0" lang="en-US" altLang="en-US" sz="14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t>50</a:t>
            </a:fld>
            <a:endParaRPr kumimoji="0" lang="en-US" sz="14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
        <p:nvSpPr>
          <p:cNvPr id="35" name="Text Placeholder 4">
            <a:extLst>
              <a:ext uri="{FF2B5EF4-FFF2-40B4-BE49-F238E27FC236}">
                <a16:creationId xmlns:a16="http://schemas.microsoft.com/office/drawing/2014/main" id="{351CD8FA-CDC8-7A42-FDD5-7A4208A9A204}"/>
              </a:ext>
            </a:extLst>
          </p:cNvPr>
          <p:cNvSpPr>
            <a:spLocks noGrp="1"/>
          </p:cNvSpPr>
          <p:nvPr>
            <p:custDataLst>
              <p:tags r:id="rId30"/>
            </p:custDataLst>
          </p:nvPr>
        </p:nvSpPr>
        <p:spPr bwMode="gray">
          <a:xfrm>
            <a:off x="6338888" y="5479138"/>
            <a:ext cx="9842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30400" algn="l" defTabSz="914400" rtl="0" eaLnBrk="1" latinLnBrk="0" hangingPunct="1">
              <a:lnSpc>
                <a:spcPct val="100000"/>
              </a:lnSpc>
              <a:spcBef>
                <a:spcPts val="0"/>
              </a:spcBef>
              <a:spcAft>
                <a:spcPts val="300"/>
              </a:spcAft>
              <a:buSzPct val="110000"/>
              <a:buFont typeface="Wingdings" panose="05000000000000000000" pitchFamily="2" charset="2"/>
              <a:buChar char=""/>
              <a:defRPr lang="en-US" sz="1600" kern="1200" dirty="0">
                <a:solidFill>
                  <a:schemeClr val="tx1"/>
                </a:solidFill>
                <a:latin typeface="+mn-lt"/>
                <a:ea typeface="+mn-ea"/>
                <a:cs typeface="+mn-cs"/>
              </a:defRPr>
            </a:lvl2pPr>
            <a:lvl3pPr marL="439200" indent="-208800" algn="l" defTabSz="914400" rtl="0" eaLnBrk="1" latinLnBrk="0" hangingPunct="1">
              <a:lnSpc>
                <a:spcPct val="100000"/>
              </a:lnSpc>
              <a:spcBef>
                <a:spcPts val="0"/>
              </a:spcBef>
              <a:spcAft>
                <a:spcPts val="300"/>
              </a:spcAft>
              <a:buSzPct val="110000"/>
              <a:buFont typeface="Arial" panose="020B0604020202020204" pitchFamily="34" charset="0"/>
              <a:buChar char="‒"/>
              <a:defRPr lang="en-US" sz="1600" kern="1200" dirty="0">
                <a:solidFill>
                  <a:schemeClr val="tx1"/>
                </a:solidFill>
                <a:latin typeface="+mn-lt"/>
                <a:ea typeface="+mn-ea"/>
                <a:cs typeface="+mn-cs"/>
              </a:defRPr>
            </a:lvl3pPr>
            <a:lvl4pPr marL="604800" indent="-154800" algn="l" defTabSz="914400" rtl="0" eaLnBrk="1" latinLnBrk="0" hangingPunct="1">
              <a:lnSpc>
                <a:spcPct val="100000"/>
              </a:lnSpc>
              <a:spcBef>
                <a:spcPts val="0"/>
              </a:spcBef>
              <a:spcAft>
                <a:spcPts val="300"/>
              </a:spcAft>
              <a:buFont typeface="Arial" panose="020B0604020202020204" pitchFamily="34" charset="0"/>
              <a:buChar char="•"/>
              <a:defRPr lang="en-US" sz="1600" kern="1200" dirty="0">
                <a:solidFill>
                  <a:schemeClr val="tx1"/>
                </a:solidFill>
                <a:latin typeface="+mn-lt"/>
                <a:ea typeface="+mn-ea"/>
                <a:cs typeface="+mn-cs"/>
              </a:defRPr>
            </a:lvl4pPr>
            <a:lvl5pPr marL="813600" indent="-147600" algn="l" defTabSz="914400" rtl="0" eaLnBrk="1" latinLnBrk="0" hangingPunct="1">
              <a:lnSpc>
                <a:spcPct val="100000"/>
              </a:lnSpc>
              <a:spcBef>
                <a:spcPts val="0"/>
              </a:spcBef>
              <a:spcAft>
                <a:spcPts val="300"/>
              </a:spcAft>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r"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fld id="{89B06C4E-FC3B-4869-82FB-F2E2F010B319}" type="datetime'''''''''''''''''0'''''''''''''''''''''''''''''''''''''''''''''">
              <a:rPr kumimoji="0" lang="en-US" altLang="en-US" sz="14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t>0</a:t>
            </a:fld>
            <a:endParaRPr kumimoji="0" lang="en-US" sz="14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
        <p:nvSpPr>
          <p:cNvPr id="36" name="Text Placeholder 4">
            <a:extLst>
              <a:ext uri="{FF2B5EF4-FFF2-40B4-BE49-F238E27FC236}">
                <a16:creationId xmlns:a16="http://schemas.microsoft.com/office/drawing/2014/main" id="{3F1DA4DA-FC01-CA8D-0598-41DED349CC61}"/>
              </a:ext>
            </a:extLst>
          </p:cNvPr>
          <p:cNvSpPr>
            <a:spLocks noGrp="1"/>
          </p:cNvSpPr>
          <p:nvPr>
            <p:custDataLst>
              <p:tags r:id="rId31"/>
            </p:custDataLst>
          </p:nvPr>
        </p:nvSpPr>
        <p:spPr bwMode="gray">
          <a:xfrm>
            <a:off x="11607800" y="4744125"/>
            <a:ext cx="9842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30400" algn="l" defTabSz="914400" rtl="0" eaLnBrk="1" latinLnBrk="0" hangingPunct="1">
              <a:lnSpc>
                <a:spcPct val="100000"/>
              </a:lnSpc>
              <a:spcBef>
                <a:spcPts val="0"/>
              </a:spcBef>
              <a:spcAft>
                <a:spcPts val="300"/>
              </a:spcAft>
              <a:buSzPct val="110000"/>
              <a:buFont typeface="Wingdings" panose="05000000000000000000" pitchFamily="2" charset="2"/>
              <a:buChar char=""/>
              <a:defRPr lang="en-US" sz="1600" kern="1200" dirty="0">
                <a:solidFill>
                  <a:schemeClr val="tx1"/>
                </a:solidFill>
                <a:latin typeface="+mn-lt"/>
                <a:ea typeface="+mn-ea"/>
                <a:cs typeface="+mn-cs"/>
              </a:defRPr>
            </a:lvl2pPr>
            <a:lvl3pPr marL="439200" indent="-208800" algn="l" defTabSz="914400" rtl="0" eaLnBrk="1" latinLnBrk="0" hangingPunct="1">
              <a:lnSpc>
                <a:spcPct val="100000"/>
              </a:lnSpc>
              <a:spcBef>
                <a:spcPts val="0"/>
              </a:spcBef>
              <a:spcAft>
                <a:spcPts val="300"/>
              </a:spcAft>
              <a:buSzPct val="110000"/>
              <a:buFont typeface="Arial" panose="020B0604020202020204" pitchFamily="34" charset="0"/>
              <a:buChar char="‒"/>
              <a:defRPr lang="en-US" sz="1600" kern="1200" dirty="0">
                <a:solidFill>
                  <a:schemeClr val="tx1"/>
                </a:solidFill>
                <a:latin typeface="+mn-lt"/>
                <a:ea typeface="+mn-ea"/>
                <a:cs typeface="+mn-cs"/>
              </a:defRPr>
            </a:lvl3pPr>
            <a:lvl4pPr marL="604800" indent="-154800" algn="l" defTabSz="914400" rtl="0" eaLnBrk="1" latinLnBrk="0" hangingPunct="1">
              <a:lnSpc>
                <a:spcPct val="100000"/>
              </a:lnSpc>
              <a:spcBef>
                <a:spcPts val="0"/>
              </a:spcBef>
              <a:spcAft>
                <a:spcPts val="300"/>
              </a:spcAft>
              <a:buFont typeface="Arial" panose="020B0604020202020204" pitchFamily="34" charset="0"/>
              <a:buChar char="•"/>
              <a:defRPr lang="en-US" sz="1600" kern="1200" dirty="0">
                <a:solidFill>
                  <a:schemeClr val="tx1"/>
                </a:solidFill>
                <a:latin typeface="+mn-lt"/>
                <a:ea typeface="+mn-ea"/>
                <a:cs typeface="+mn-cs"/>
              </a:defRPr>
            </a:lvl4pPr>
            <a:lvl5pPr marL="813600" indent="-147600" algn="l" defTabSz="914400" rtl="0" eaLnBrk="1" latinLnBrk="0" hangingPunct="1">
              <a:lnSpc>
                <a:spcPct val="100000"/>
              </a:lnSpc>
              <a:spcBef>
                <a:spcPts val="0"/>
              </a:spcBef>
              <a:spcAft>
                <a:spcPts val="300"/>
              </a:spcAft>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fld id="{F1A6BD3E-C883-404A-8D87-0E560D638E68}" type="datetime'''''''''''''''''''''''''''''''''''''''''''''''5'''''''''''''">
              <a:rPr kumimoji="0" lang="en-US" altLang="en-US" sz="14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t>5</a:t>
            </a:fld>
            <a:endParaRPr kumimoji="0" lang="en-US" sz="14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
        <p:nvSpPr>
          <p:cNvPr id="37" name="Text Placeholder 4">
            <a:extLst>
              <a:ext uri="{FF2B5EF4-FFF2-40B4-BE49-F238E27FC236}">
                <a16:creationId xmlns:a16="http://schemas.microsoft.com/office/drawing/2014/main" id="{DB42950E-AB92-8B71-EC1E-3820997245CC}"/>
              </a:ext>
            </a:extLst>
          </p:cNvPr>
          <p:cNvSpPr>
            <a:spLocks noGrp="1"/>
          </p:cNvSpPr>
          <p:nvPr>
            <p:custDataLst>
              <p:tags r:id="rId32"/>
            </p:custDataLst>
          </p:nvPr>
        </p:nvSpPr>
        <p:spPr bwMode="gray">
          <a:xfrm>
            <a:off x="6142038" y="4009113"/>
            <a:ext cx="29527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30400" algn="l" defTabSz="914400" rtl="0" eaLnBrk="1" latinLnBrk="0" hangingPunct="1">
              <a:lnSpc>
                <a:spcPct val="100000"/>
              </a:lnSpc>
              <a:spcBef>
                <a:spcPts val="0"/>
              </a:spcBef>
              <a:spcAft>
                <a:spcPts val="300"/>
              </a:spcAft>
              <a:buSzPct val="110000"/>
              <a:buFont typeface="Wingdings" panose="05000000000000000000" pitchFamily="2" charset="2"/>
              <a:buChar char=""/>
              <a:defRPr lang="en-US" sz="1600" kern="1200" dirty="0">
                <a:solidFill>
                  <a:schemeClr val="tx1"/>
                </a:solidFill>
                <a:latin typeface="+mn-lt"/>
                <a:ea typeface="+mn-ea"/>
                <a:cs typeface="+mn-cs"/>
              </a:defRPr>
            </a:lvl2pPr>
            <a:lvl3pPr marL="439200" indent="-208800" algn="l" defTabSz="914400" rtl="0" eaLnBrk="1" latinLnBrk="0" hangingPunct="1">
              <a:lnSpc>
                <a:spcPct val="100000"/>
              </a:lnSpc>
              <a:spcBef>
                <a:spcPts val="0"/>
              </a:spcBef>
              <a:spcAft>
                <a:spcPts val="300"/>
              </a:spcAft>
              <a:buSzPct val="110000"/>
              <a:buFont typeface="Arial" panose="020B0604020202020204" pitchFamily="34" charset="0"/>
              <a:buChar char="‒"/>
              <a:defRPr lang="en-US" sz="1600" kern="1200" dirty="0">
                <a:solidFill>
                  <a:schemeClr val="tx1"/>
                </a:solidFill>
                <a:latin typeface="+mn-lt"/>
                <a:ea typeface="+mn-ea"/>
                <a:cs typeface="+mn-cs"/>
              </a:defRPr>
            </a:lvl3pPr>
            <a:lvl4pPr marL="604800" indent="-154800" algn="l" defTabSz="914400" rtl="0" eaLnBrk="1" latinLnBrk="0" hangingPunct="1">
              <a:lnSpc>
                <a:spcPct val="100000"/>
              </a:lnSpc>
              <a:spcBef>
                <a:spcPts val="0"/>
              </a:spcBef>
              <a:spcAft>
                <a:spcPts val="300"/>
              </a:spcAft>
              <a:buFont typeface="Arial" panose="020B0604020202020204" pitchFamily="34" charset="0"/>
              <a:buChar char="•"/>
              <a:defRPr lang="en-US" sz="1600" kern="1200" dirty="0">
                <a:solidFill>
                  <a:schemeClr val="tx1"/>
                </a:solidFill>
                <a:latin typeface="+mn-lt"/>
                <a:ea typeface="+mn-ea"/>
                <a:cs typeface="+mn-cs"/>
              </a:defRPr>
            </a:lvl4pPr>
            <a:lvl5pPr marL="813600" indent="-147600" algn="l" defTabSz="914400" rtl="0" eaLnBrk="1" latinLnBrk="0" hangingPunct="1">
              <a:lnSpc>
                <a:spcPct val="100000"/>
              </a:lnSpc>
              <a:spcBef>
                <a:spcPts val="0"/>
              </a:spcBef>
              <a:spcAft>
                <a:spcPts val="300"/>
              </a:spcAft>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r"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fld id="{8F6ADD5E-74EC-4051-BBEE-2C64D3D2978C}" type="datetime'''''''''1''''''0''''''''''''''''''''0'''">
              <a:rPr kumimoji="0" lang="en-US" altLang="en-US" sz="14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t>100</a:t>
            </a:fld>
            <a:endParaRPr kumimoji="0" lang="en-US" sz="14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
        <p:nvSpPr>
          <p:cNvPr id="38" name="Text Placeholder 4">
            <a:extLst>
              <a:ext uri="{FF2B5EF4-FFF2-40B4-BE49-F238E27FC236}">
                <a16:creationId xmlns:a16="http://schemas.microsoft.com/office/drawing/2014/main" id="{3BB07313-2CDA-8DC5-1C88-5971A24669AE}"/>
              </a:ext>
            </a:extLst>
          </p:cNvPr>
          <p:cNvSpPr>
            <a:spLocks noGrp="1"/>
          </p:cNvSpPr>
          <p:nvPr>
            <p:custDataLst>
              <p:tags r:id="rId33"/>
            </p:custDataLst>
          </p:nvPr>
        </p:nvSpPr>
        <p:spPr bwMode="gray">
          <a:xfrm>
            <a:off x="6142038" y="3272513"/>
            <a:ext cx="29527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30400" algn="l" defTabSz="914400" rtl="0" eaLnBrk="1" latinLnBrk="0" hangingPunct="1">
              <a:lnSpc>
                <a:spcPct val="100000"/>
              </a:lnSpc>
              <a:spcBef>
                <a:spcPts val="0"/>
              </a:spcBef>
              <a:spcAft>
                <a:spcPts val="300"/>
              </a:spcAft>
              <a:buSzPct val="110000"/>
              <a:buFont typeface="Wingdings" panose="05000000000000000000" pitchFamily="2" charset="2"/>
              <a:buChar char=""/>
              <a:defRPr lang="en-US" sz="1600" kern="1200" dirty="0">
                <a:solidFill>
                  <a:schemeClr val="tx1"/>
                </a:solidFill>
                <a:latin typeface="+mn-lt"/>
                <a:ea typeface="+mn-ea"/>
                <a:cs typeface="+mn-cs"/>
              </a:defRPr>
            </a:lvl2pPr>
            <a:lvl3pPr marL="439200" indent="-208800" algn="l" defTabSz="914400" rtl="0" eaLnBrk="1" latinLnBrk="0" hangingPunct="1">
              <a:lnSpc>
                <a:spcPct val="100000"/>
              </a:lnSpc>
              <a:spcBef>
                <a:spcPts val="0"/>
              </a:spcBef>
              <a:spcAft>
                <a:spcPts val="300"/>
              </a:spcAft>
              <a:buSzPct val="110000"/>
              <a:buFont typeface="Arial" panose="020B0604020202020204" pitchFamily="34" charset="0"/>
              <a:buChar char="‒"/>
              <a:defRPr lang="en-US" sz="1600" kern="1200" dirty="0">
                <a:solidFill>
                  <a:schemeClr val="tx1"/>
                </a:solidFill>
                <a:latin typeface="+mn-lt"/>
                <a:ea typeface="+mn-ea"/>
                <a:cs typeface="+mn-cs"/>
              </a:defRPr>
            </a:lvl3pPr>
            <a:lvl4pPr marL="604800" indent="-154800" algn="l" defTabSz="914400" rtl="0" eaLnBrk="1" latinLnBrk="0" hangingPunct="1">
              <a:lnSpc>
                <a:spcPct val="100000"/>
              </a:lnSpc>
              <a:spcBef>
                <a:spcPts val="0"/>
              </a:spcBef>
              <a:spcAft>
                <a:spcPts val="300"/>
              </a:spcAft>
              <a:buFont typeface="Arial" panose="020B0604020202020204" pitchFamily="34" charset="0"/>
              <a:buChar char="•"/>
              <a:defRPr lang="en-US" sz="1600" kern="1200" dirty="0">
                <a:solidFill>
                  <a:schemeClr val="tx1"/>
                </a:solidFill>
                <a:latin typeface="+mn-lt"/>
                <a:ea typeface="+mn-ea"/>
                <a:cs typeface="+mn-cs"/>
              </a:defRPr>
            </a:lvl4pPr>
            <a:lvl5pPr marL="813600" indent="-147600" algn="l" defTabSz="914400" rtl="0" eaLnBrk="1" latinLnBrk="0" hangingPunct="1">
              <a:lnSpc>
                <a:spcPct val="100000"/>
              </a:lnSpc>
              <a:spcBef>
                <a:spcPts val="0"/>
              </a:spcBef>
              <a:spcAft>
                <a:spcPts val="300"/>
              </a:spcAft>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r"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fld id="{33882984-4198-4B15-93C9-8BE567C11C56}" type="datetime'''''''''''1''''''''''''''''''5''''''''''''''''''''0'''''">
              <a:rPr kumimoji="0" lang="en-US" altLang="en-US" sz="14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t>150</a:t>
            </a:fld>
            <a:endParaRPr kumimoji="0" lang="en-US" sz="14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
        <p:nvSpPr>
          <p:cNvPr id="39" name="Text Placeholder 4">
            <a:extLst>
              <a:ext uri="{FF2B5EF4-FFF2-40B4-BE49-F238E27FC236}">
                <a16:creationId xmlns:a16="http://schemas.microsoft.com/office/drawing/2014/main" id="{FAB74344-C7B4-CF40-AC84-E3A47A90127F}"/>
              </a:ext>
            </a:extLst>
          </p:cNvPr>
          <p:cNvSpPr>
            <a:spLocks noGrp="1"/>
          </p:cNvSpPr>
          <p:nvPr>
            <p:custDataLst>
              <p:tags r:id="rId34"/>
            </p:custDataLst>
          </p:nvPr>
        </p:nvSpPr>
        <p:spPr bwMode="gray">
          <a:xfrm>
            <a:off x="11607800" y="5479138"/>
            <a:ext cx="9842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30400" algn="l" defTabSz="914400" rtl="0" eaLnBrk="1" latinLnBrk="0" hangingPunct="1">
              <a:lnSpc>
                <a:spcPct val="100000"/>
              </a:lnSpc>
              <a:spcBef>
                <a:spcPts val="0"/>
              </a:spcBef>
              <a:spcAft>
                <a:spcPts val="300"/>
              </a:spcAft>
              <a:buSzPct val="110000"/>
              <a:buFont typeface="Wingdings" panose="05000000000000000000" pitchFamily="2" charset="2"/>
              <a:buChar char=""/>
              <a:defRPr lang="en-US" sz="1600" kern="1200" dirty="0">
                <a:solidFill>
                  <a:schemeClr val="tx1"/>
                </a:solidFill>
                <a:latin typeface="+mn-lt"/>
                <a:ea typeface="+mn-ea"/>
                <a:cs typeface="+mn-cs"/>
              </a:defRPr>
            </a:lvl2pPr>
            <a:lvl3pPr marL="439200" indent="-208800" algn="l" defTabSz="914400" rtl="0" eaLnBrk="1" latinLnBrk="0" hangingPunct="1">
              <a:lnSpc>
                <a:spcPct val="100000"/>
              </a:lnSpc>
              <a:spcBef>
                <a:spcPts val="0"/>
              </a:spcBef>
              <a:spcAft>
                <a:spcPts val="300"/>
              </a:spcAft>
              <a:buSzPct val="110000"/>
              <a:buFont typeface="Arial" panose="020B0604020202020204" pitchFamily="34" charset="0"/>
              <a:buChar char="‒"/>
              <a:defRPr lang="en-US" sz="1600" kern="1200" dirty="0">
                <a:solidFill>
                  <a:schemeClr val="tx1"/>
                </a:solidFill>
                <a:latin typeface="+mn-lt"/>
                <a:ea typeface="+mn-ea"/>
                <a:cs typeface="+mn-cs"/>
              </a:defRPr>
            </a:lvl3pPr>
            <a:lvl4pPr marL="604800" indent="-154800" algn="l" defTabSz="914400" rtl="0" eaLnBrk="1" latinLnBrk="0" hangingPunct="1">
              <a:lnSpc>
                <a:spcPct val="100000"/>
              </a:lnSpc>
              <a:spcBef>
                <a:spcPts val="0"/>
              </a:spcBef>
              <a:spcAft>
                <a:spcPts val="300"/>
              </a:spcAft>
              <a:buFont typeface="Arial" panose="020B0604020202020204" pitchFamily="34" charset="0"/>
              <a:buChar char="•"/>
              <a:defRPr lang="en-US" sz="1600" kern="1200" dirty="0">
                <a:solidFill>
                  <a:schemeClr val="tx1"/>
                </a:solidFill>
                <a:latin typeface="+mn-lt"/>
                <a:ea typeface="+mn-ea"/>
                <a:cs typeface="+mn-cs"/>
              </a:defRPr>
            </a:lvl4pPr>
            <a:lvl5pPr marL="813600" indent="-147600" algn="l" defTabSz="914400" rtl="0" eaLnBrk="1" latinLnBrk="0" hangingPunct="1">
              <a:lnSpc>
                <a:spcPct val="100000"/>
              </a:lnSpc>
              <a:spcBef>
                <a:spcPts val="0"/>
              </a:spcBef>
              <a:spcAft>
                <a:spcPts val="300"/>
              </a:spcAft>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fld id="{0E393B1F-1DA6-42E3-99F5-D8DBDCC6C6C5}" type="datetime'''''0'''''''''''''''''''''''''''''''''''''''''''''''''''">
              <a:rPr kumimoji="0" lang="en-US" altLang="en-US" sz="14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t>0</a:t>
            </a:fld>
            <a:endParaRPr kumimoji="0" lang="en-US" sz="14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
        <p:nvSpPr>
          <p:cNvPr id="40" name="Text Placeholder 4">
            <a:extLst>
              <a:ext uri="{FF2B5EF4-FFF2-40B4-BE49-F238E27FC236}">
                <a16:creationId xmlns:a16="http://schemas.microsoft.com/office/drawing/2014/main" id="{768E6DAB-2769-0B6C-9B42-7FBB2EC0B762}"/>
              </a:ext>
            </a:extLst>
          </p:cNvPr>
          <p:cNvSpPr>
            <a:spLocks noGrp="1"/>
          </p:cNvSpPr>
          <p:nvPr>
            <p:custDataLst>
              <p:tags r:id="rId35"/>
            </p:custDataLst>
          </p:nvPr>
        </p:nvSpPr>
        <p:spPr bwMode="gray">
          <a:xfrm>
            <a:off x="11607800" y="4009113"/>
            <a:ext cx="19685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30400" algn="l" defTabSz="914400" rtl="0" eaLnBrk="1" latinLnBrk="0" hangingPunct="1">
              <a:lnSpc>
                <a:spcPct val="100000"/>
              </a:lnSpc>
              <a:spcBef>
                <a:spcPts val="0"/>
              </a:spcBef>
              <a:spcAft>
                <a:spcPts val="300"/>
              </a:spcAft>
              <a:buSzPct val="110000"/>
              <a:buFont typeface="Wingdings" panose="05000000000000000000" pitchFamily="2" charset="2"/>
              <a:buChar char=""/>
              <a:defRPr lang="en-US" sz="1600" kern="1200" dirty="0">
                <a:solidFill>
                  <a:schemeClr val="tx1"/>
                </a:solidFill>
                <a:latin typeface="+mn-lt"/>
                <a:ea typeface="+mn-ea"/>
                <a:cs typeface="+mn-cs"/>
              </a:defRPr>
            </a:lvl2pPr>
            <a:lvl3pPr marL="439200" indent="-208800" algn="l" defTabSz="914400" rtl="0" eaLnBrk="1" latinLnBrk="0" hangingPunct="1">
              <a:lnSpc>
                <a:spcPct val="100000"/>
              </a:lnSpc>
              <a:spcBef>
                <a:spcPts val="0"/>
              </a:spcBef>
              <a:spcAft>
                <a:spcPts val="300"/>
              </a:spcAft>
              <a:buSzPct val="110000"/>
              <a:buFont typeface="Arial" panose="020B0604020202020204" pitchFamily="34" charset="0"/>
              <a:buChar char="‒"/>
              <a:defRPr lang="en-US" sz="1600" kern="1200" dirty="0">
                <a:solidFill>
                  <a:schemeClr val="tx1"/>
                </a:solidFill>
                <a:latin typeface="+mn-lt"/>
                <a:ea typeface="+mn-ea"/>
                <a:cs typeface="+mn-cs"/>
              </a:defRPr>
            </a:lvl3pPr>
            <a:lvl4pPr marL="604800" indent="-154800" algn="l" defTabSz="914400" rtl="0" eaLnBrk="1" latinLnBrk="0" hangingPunct="1">
              <a:lnSpc>
                <a:spcPct val="100000"/>
              </a:lnSpc>
              <a:spcBef>
                <a:spcPts val="0"/>
              </a:spcBef>
              <a:spcAft>
                <a:spcPts val="300"/>
              </a:spcAft>
              <a:buFont typeface="Arial" panose="020B0604020202020204" pitchFamily="34" charset="0"/>
              <a:buChar char="•"/>
              <a:defRPr lang="en-US" sz="1600" kern="1200" dirty="0">
                <a:solidFill>
                  <a:schemeClr val="tx1"/>
                </a:solidFill>
                <a:latin typeface="+mn-lt"/>
                <a:ea typeface="+mn-ea"/>
                <a:cs typeface="+mn-cs"/>
              </a:defRPr>
            </a:lvl4pPr>
            <a:lvl5pPr marL="813600" indent="-147600" algn="l" defTabSz="914400" rtl="0" eaLnBrk="1" latinLnBrk="0" hangingPunct="1">
              <a:lnSpc>
                <a:spcPct val="100000"/>
              </a:lnSpc>
              <a:spcBef>
                <a:spcPts val="0"/>
              </a:spcBef>
              <a:spcAft>
                <a:spcPts val="300"/>
              </a:spcAft>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fld id="{204AFDB9-C124-4D08-A776-3D8026456B59}" type="datetime'''''1''''''''''''0'''''''''''''''''">
              <a:rPr kumimoji="0" lang="en-US" altLang="en-US" sz="14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t>10</a:t>
            </a:fld>
            <a:endParaRPr kumimoji="0" lang="en-US" sz="14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
        <p:nvSpPr>
          <p:cNvPr id="41" name="Text Placeholder 4">
            <a:extLst>
              <a:ext uri="{FF2B5EF4-FFF2-40B4-BE49-F238E27FC236}">
                <a16:creationId xmlns:a16="http://schemas.microsoft.com/office/drawing/2014/main" id="{C865A6D8-E073-BEBA-1F2A-0E8130EFF7CD}"/>
              </a:ext>
            </a:extLst>
          </p:cNvPr>
          <p:cNvSpPr>
            <a:spLocks noGrp="1"/>
          </p:cNvSpPr>
          <p:nvPr>
            <p:custDataLst>
              <p:tags r:id="rId36"/>
            </p:custDataLst>
          </p:nvPr>
        </p:nvSpPr>
        <p:spPr bwMode="gray">
          <a:xfrm>
            <a:off x="11607800" y="3272513"/>
            <a:ext cx="19685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30400" algn="l" defTabSz="914400" rtl="0" eaLnBrk="1" latinLnBrk="0" hangingPunct="1">
              <a:lnSpc>
                <a:spcPct val="100000"/>
              </a:lnSpc>
              <a:spcBef>
                <a:spcPts val="0"/>
              </a:spcBef>
              <a:spcAft>
                <a:spcPts val="300"/>
              </a:spcAft>
              <a:buSzPct val="110000"/>
              <a:buFont typeface="Wingdings" panose="05000000000000000000" pitchFamily="2" charset="2"/>
              <a:buChar char=""/>
              <a:defRPr lang="en-US" sz="1600" kern="1200" dirty="0">
                <a:solidFill>
                  <a:schemeClr val="tx1"/>
                </a:solidFill>
                <a:latin typeface="+mn-lt"/>
                <a:ea typeface="+mn-ea"/>
                <a:cs typeface="+mn-cs"/>
              </a:defRPr>
            </a:lvl2pPr>
            <a:lvl3pPr marL="439200" indent="-208800" algn="l" defTabSz="914400" rtl="0" eaLnBrk="1" latinLnBrk="0" hangingPunct="1">
              <a:lnSpc>
                <a:spcPct val="100000"/>
              </a:lnSpc>
              <a:spcBef>
                <a:spcPts val="0"/>
              </a:spcBef>
              <a:spcAft>
                <a:spcPts val="300"/>
              </a:spcAft>
              <a:buSzPct val="110000"/>
              <a:buFont typeface="Arial" panose="020B0604020202020204" pitchFamily="34" charset="0"/>
              <a:buChar char="‒"/>
              <a:defRPr lang="en-US" sz="1600" kern="1200" dirty="0">
                <a:solidFill>
                  <a:schemeClr val="tx1"/>
                </a:solidFill>
                <a:latin typeface="+mn-lt"/>
                <a:ea typeface="+mn-ea"/>
                <a:cs typeface="+mn-cs"/>
              </a:defRPr>
            </a:lvl3pPr>
            <a:lvl4pPr marL="604800" indent="-154800" algn="l" defTabSz="914400" rtl="0" eaLnBrk="1" latinLnBrk="0" hangingPunct="1">
              <a:lnSpc>
                <a:spcPct val="100000"/>
              </a:lnSpc>
              <a:spcBef>
                <a:spcPts val="0"/>
              </a:spcBef>
              <a:spcAft>
                <a:spcPts val="300"/>
              </a:spcAft>
              <a:buFont typeface="Arial" panose="020B0604020202020204" pitchFamily="34" charset="0"/>
              <a:buChar char="•"/>
              <a:defRPr lang="en-US" sz="1600" kern="1200" dirty="0">
                <a:solidFill>
                  <a:schemeClr val="tx1"/>
                </a:solidFill>
                <a:latin typeface="+mn-lt"/>
                <a:ea typeface="+mn-ea"/>
                <a:cs typeface="+mn-cs"/>
              </a:defRPr>
            </a:lvl4pPr>
            <a:lvl5pPr marL="813600" indent="-147600" algn="l" defTabSz="914400" rtl="0" eaLnBrk="1" latinLnBrk="0" hangingPunct="1">
              <a:lnSpc>
                <a:spcPct val="100000"/>
              </a:lnSpc>
              <a:spcBef>
                <a:spcPts val="0"/>
              </a:spcBef>
              <a:spcAft>
                <a:spcPts val="300"/>
              </a:spcAft>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fld id="{EB7E3DBC-ED2A-4BFF-B5A1-66116965C9CD}" type="datetime'''''''''''''1''''''''''''''''''''''''''''''''''''''''5'''''">
              <a:rPr kumimoji="0" lang="en-US" altLang="en-US" sz="14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t>15</a:t>
            </a:fld>
            <a:endParaRPr kumimoji="0" lang="en-US" sz="14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
        <p:nvSpPr>
          <p:cNvPr id="42" name="Text Placeholder 4">
            <a:extLst>
              <a:ext uri="{FF2B5EF4-FFF2-40B4-BE49-F238E27FC236}">
                <a16:creationId xmlns:a16="http://schemas.microsoft.com/office/drawing/2014/main" id="{30A7375F-9F6A-5663-2559-64998895C640}"/>
              </a:ext>
            </a:extLst>
          </p:cNvPr>
          <p:cNvSpPr>
            <a:spLocks noGrp="1"/>
          </p:cNvSpPr>
          <p:nvPr>
            <p:custDataLst>
              <p:tags r:id="rId37"/>
            </p:custDataLst>
          </p:nvPr>
        </p:nvSpPr>
        <p:spPr bwMode="gray">
          <a:xfrm>
            <a:off x="11607800" y="2537500"/>
            <a:ext cx="19685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30400" algn="l" defTabSz="914400" rtl="0" eaLnBrk="1" latinLnBrk="0" hangingPunct="1">
              <a:lnSpc>
                <a:spcPct val="100000"/>
              </a:lnSpc>
              <a:spcBef>
                <a:spcPts val="0"/>
              </a:spcBef>
              <a:spcAft>
                <a:spcPts val="300"/>
              </a:spcAft>
              <a:buSzPct val="110000"/>
              <a:buFont typeface="Wingdings" panose="05000000000000000000" pitchFamily="2" charset="2"/>
              <a:buChar char=""/>
              <a:defRPr lang="en-US" sz="1600" kern="1200" dirty="0">
                <a:solidFill>
                  <a:schemeClr val="tx1"/>
                </a:solidFill>
                <a:latin typeface="+mn-lt"/>
                <a:ea typeface="+mn-ea"/>
                <a:cs typeface="+mn-cs"/>
              </a:defRPr>
            </a:lvl2pPr>
            <a:lvl3pPr marL="439200" indent="-208800" algn="l" defTabSz="914400" rtl="0" eaLnBrk="1" latinLnBrk="0" hangingPunct="1">
              <a:lnSpc>
                <a:spcPct val="100000"/>
              </a:lnSpc>
              <a:spcBef>
                <a:spcPts val="0"/>
              </a:spcBef>
              <a:spcAft>
                <a:spcPts val="300"/>
              </a:spcAft>
              <a:buSzPct val="110000"/>
              <a:buFont typeface="Arial" panose="020B0604020202020204" pitchFamily="34" charset="0"/>
              <a:buChar char="‒"/>
              <a:defRPr lang="en-US" sz="1600" kern="1200" dirty="0">
                <a:solidFill>
                  <a:schemeClr val="tx1"/>
                </a:solidFill>
                <a:latin typeface="+mn-lt"/>
                <a:ea typeface="+mn-ea"/>
                <a:cs typeface="+mn-cs"/>
              </a:defRPr>
            </a:lvl3pPr>
            <a:lvl4pPr marL="604800" indent="-154800" algn="l" defTabSz="914400" rtl="0" eaLnBrk="1" latinLnBrk="0" hangingPunct="1">
              <a:lnSpc>
                <a:spcPct val="100000"/>
              </a:lnSpc>
              <a:spcBef>
                <a:spcPts val="0"/>
              </a:spcBef>
              <a:spcAft>
                <a:spcPts val="300"/>
              </a:spcAft>
              <a:buFont typeface="Arial" panose="020B0604020202020204" pitchFamily="34" charset="0"/>
              <a:buChar char="•"/>
              <a:defRPr lang="en-US" sz="1600" kern="1200" dirty="0">
                <a:solidFill>
                  <a:schemeClr val="tx1"/>
                </a:solidFill>
                <a:latin typeface="+mn-lt"/>
                <a:ea typeface="+mn-ea"/>
                <a:cs typeface="+mn-cs"/>
              </a:defRPr>
            </a:lvl4pPr>
            <a:lvl5pPr marL="813600" indent="-147600" algn="l" defTabSz="914400" rtl="0" eaLnBrk="1" latinLnBrk="0" hangingPunct="1">
              <a:lnSpc>
                <a:spcPct val="100000"/>
              </a:lnSpc>
              <a:spcBef>
                <a:spcPts val="0"/>
              </a:spcBef>
              <a:spcAft>
                <a:spcPts val="300"/>
              </a:spcAft>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fld id="{255E8113-79D4-4AE2-A31A-C95E4DFC6A82}" type="datetime'2''''''''0'''''''''''''''''''''''''''''''">
              <a:rPr kumimoji="0" lang="en-US" altLang="en-US" sz="14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t>20</a:t>
            </a:fld>
            <a:endParaRPr kumimoji="0" lang="en-US" sz="14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
        <p:nvSpPr>
          <p:cNvPr id="43" name="Text Placeholder 4">
            <a:extLst>
              <a:ext uri="{FF2B5EF4-FFF2-40B4-BE49-F238E27FC236}">
                <a16:creationId xmlns:a16="http://schemas.microsoft.com/office/drawing/2014/main" id="{5D4ACBF6-F546-5310-7231-257630916A4E}"/>
              </a:ext>
            </a:extLst>
          </p:cNvPr>
          <p:cNvSpPr>
            <a:spLocks noGrp="1"/>
          </p:cNvSpPr>
          <p:nvPr>
            <p:custDataLst>
              <p:tags r:id="rId38"/>
            </p:custDataLst>
          </p:nvPr>
        </p:nvSpPr>
        <p:spPr bwMode="auto">
          <a:xfrm>
            <a:off x="6142038" y="2181900"/>
            <a:ext cx="1243013"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b"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30400" algn="l" defTabSz="914400" rtl="0" eaLnBrk="1" latinLnBrk="0" hangingPunct="1">
              <a:lnSpc>
                <a:spcPct val="100000"/>
              </a:lnSpc>
              <a:spcBef>
                <a:spcPts val="0"/>
              </a:spcBef>
              <a:spcAft>
                <a:spcPts val="300"/>
              </a:spcAft>
              <a:buSzPct val="110000"/>
              <a:buFont typeface="Wingdings" panose="05000000000000000000" pitchFamily="2" charset="2"/>
              <a:buChar char=""/>
              <a:defRPr lang="en-US" sz="1600" kern="1200" dirty="0">
                <a:solidFill>
                  <a:schemeClr val="tx1"/>
                </a:solidFill>
                <a:latin typeface="+mn-lt"/>
                <a:ea typeface="+mn-ea"/>
                <a:cs typeface="+mn-cs"/>
              </a:defRPr>
            </a:lvl2pPr>
            <a:lvl3pPr marL="439200" indent="-208800" algn="l" defTabSz="914400" rtl="0" eaLnBrk="1" latinLnBrk="0" hangingPunct="1">
              <a:lnSpc>
                <a:spcPct val="100000"/>
              </a:lnSpc>
              <a:spcBef>
                <a:spcPts val="0"/>
              </a:spcBef>
              <a:spcAft>
                <a:spcPts val="300"/>
              </a:spcAft>
              <a:buSzPct val="110000"/>
              <a:buFont typeface="Arial" panose="020B0604020202020204" pitchFamily="34" charset="0"/>
              <a:buChar char="‒"/>
              <a:defRPr lang="en-US" sz="1600" kern="1200" dirty="0">
                <a:solidFill>
                  <a:schemeClr val="tx1"/>
                </a:solidFill>
                <a:latin typeface="+mn-lt"/>
                <a:ea typeface="+mn-ea"/>
                <a:cs typeface="+mn-cs"/>
              </a:defRPr>
            </a:lvl3pPr>
            <a:lvl4pPr marL="604800" indent="-154800" algn="l" defTabSz="914400" rtl="0" eaLnBrk="1" latinLnBrk="0" hangingPunct="1">
              <a:lnSpc>
                <a:spcPct val="100000"/>
              </a:lnSpc>
              <a:spcBef>
                <a:spcPts val="0"/>
              </a:spcBef>
              <a:spcAft>
                <a:spcPts val="300"/>
              </a:spcAft>
              <a:buFont typeface="Arial" panose="020B0604020202020204" pitchFamily="34" charset="0"/>
              <a:buChar char="•"/>
              <a:defRPr lang="en-US" sz="1600" kern="1200" dirty="0">
                <a:solidFill>
                  <a:schemeClr val="tx1"/>
                </a:solidFill>
                <a:latin typeface="+mn-lt"/>
                <a:ea typeface="+mn-ea"/>
                <a:cs typeface="+mn-cs"/>
              </a:defRPr>
            </a:lvl4pPr>
            <a:lvl5pPr marL="813600" indent="-147600" algn="l" defTabSz="914400" rtl="0" eaLnBrk="1" latinLnBrk="0" hangingPunct="1">
              <a:lnSpc>
                <a:spcPct val="100000"/>
              </a:lnSpc>
              <a:spcBef>
                <a:spcPts val="0"/>
              </a:spcBef>
              <a:spcAft>
                <a:spcPts val="300"/>
              </a:spcAft>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r>
              <a:rPr kumimoji="0" lang="en-US" altLang="en-US" sz="14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Cumulative GW</a:t>
            </a:r>
            <a:endParaRPr kumimoji="0" lang="en-US" sz="14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
        <p:nvSpPr>
          <p:cNvPr id="44" name="Text Placeholder 4">
            <a:extLst>
              <a:ext uri="{FF2B5EF4-FFF2-40B4-BE49-F238E27FC236}">
                <a16:creationId xmlns:a16="http://schemas.microsoft.com/office/drawing/2014/main" id="{9E89FFB8-1B0E-0FE9-99B1-FBCBBD5052DB}"/>
              </a:ext>
            </a:extLst>
          </p:cNvPr>
          <p:cNvSpPr>
            <a:spLocks noGrp="1"/>
          </p:cNvSpPr>
          <p:nvPr>
            <p:custDataLst>
              <p:tags r:id="rId39"/>
            </p:custDataLst>
          </p:nvPr>
        </p:nvSpPr>
        <p:spPr bwMode="auto">
          <a:xfrm>
            <a:off x="10093325" y="5644238"/>
            <a:ext cx="20955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30400" algn="l" defTabSz="914400" rtl="0" eaLnBrk="1" latinLnBrk="0" hangingPunct="1">
              <a:lnSpc>
                <a:spcPct val="100000"/>
              </a:lnSpc>
              <a:spcBef>
                <a:spcPts val="0"/>
              </a:spcBef>
              <a:spcAft>
                <a:spcPts val="300"/>
              </a:spcAft>
              <a:buSzPct val="110000"/>
              <a:buFont typeface="Wingdings" panose="05000000000000000000" pitchFamily="2" charset="2"/>
              <a:buChar char=""/>
              <a:defRPr lang="en-US" sz="1600" kern="1200" dirty="0">
                <a:solidFill>
                  <a:schemeClr val="tx1"/>
                </a:solidFill>
                <a:latin typeface="+mn-lt"/>
                <a:ea typeface="+mn-ea"/>
                <a:cs typeface="+mn-cs"/>
              </a:defRPr>
            </a:lvl2pPr>
            <a:lvl3pPr marL="439200" indent="-208800" algn="l" defTabSz="914400" rtl="0" eaLnBrk="1" latinLnBrk="0" hangingPunct="1">
              <a:lnSpc>
                <a:spcPct val="100000"/>
              </a:lnSpc>
              <a:spcBef>
                <a:spcPts val="0"/>
              </a:spcBef>
              <a:spcAft>
                <a:spcPts val="300"/>
              </a:spcAft>
              <a:buSzPct val="110000"/>
              <a:buFont typeface="Arial" panose="020B0604020202020204" pitchFamily="34" charset="0"/>
              <a:buChar char="‒"/>
              <a:defRPr lang="en-US" sz="1600" kern="1200" dirty="0">
                <a:solidFill>
                  <a:schemeClr val="tx1"/>
                </a:solidFill>
                <a:latin typeface="+mn-lt"/>
                <a:ea typeface="+mn-ea"/>
                <a:cs typeface="+mn-cs"/>
              </a:defRPr>
            </a:lvl3pPr>
            <a:lvl4pPr marL="604800" indent="-154800" algn="l" defTabSz="914400" rtl="0" eaLnBrk="1" latinLnBrk="0" hangingPunct="1">
              <a:lnSpc>
                <a:spcPct val="100000"/>
              </a:lnSpc>
              <a:spcBef>
                <a:spcPts val="0"/>
              </a:spcBef>
              <a:spcAft>
                <a:spcPts val="300"/>
              </a:spcAft>
              <a:buFont typeface="Arial" panose="020B0604020202020204" pitchFamily="34" charset="0"/>
              <a:buChar char="•"/>
              <a:defRPr lang="en-US" sz="1600" kern="1200" dirty="0">
                <a:solidFill>
                  <a:schemeClr val="tx1"/>
                </a:solidFill>
                <a:latin typeface="+mn-lt"/>
                <a:ea typeface="+mn-ea"/>
                <a:cs typeface="+mn-cs"/>
              </a:defRPr>
            </a:lvl4pPr>
            <a:lvl5pPr marL="813600" indent="-147600" algn="l" defTabSz="914400" rtl="0" eaLnBrk="1" latinLnBrk="0" hangingPunct="1">
              <a:lnSpc>
                <a:spcPct val="100000"/>
              </a:lnSpc>
              <a:spcBef>
                <a:spcPts val="0"/>
              </a:spcBef>
              <a:spcAft>
                <a:spcPts val="300"/>
              </a:spcAft>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fld id="{9832CF05-62AF-49C6-9B62-5C571DE13F99}" type="datetime'''4''''''''''''''''''''''''''''''''''''''''''5'''''''">
              <a:rPr kumimoji="0" lang="en-US" altLang="en-US" sz="14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ctr"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t>45</a:t>
            </a:fld>
            <a:endParaRPr kumimoji="0" lang="en-US" sz="14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
        <p:nvSpPr>
          <p:cNvPr id="45" name="Text Placeholder 4">
            <a:extLst>
              <a:ext uri="{FF2B5EF4-FFF2-40B4-BE49-F238E27FC236}">
                <a16:creationId xmlns:a16="http://schemas.microsoft.com/office/drawing/2014/main" id="{11824E9A-A605-CFD7-3E84-5110EBDAA16B}"/>
              </a:ext>
            </a:extLst>
          </p:cNvPr>
          <p:cNvSpPr>
            <a:spLocks noGrp="1"/>
          </p:cNvSpPr>
          <p:nvPr>
            <p:custDataLst>
              <p:tags r:id="rId40"/>
            </p:custDataLst>
          </p:nvPr>
        </p:nvSpPr>
        <p:spPr bwMode="auto">
          <a:xfrm>
            <a:off x="7742238" y="5644238"/>
            <a:ext cx="20955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30400" algn="l" defTabSz="914400" rtl="0" eaLnBrk="1" latinLnBrk="0" hangingPunct="1">
              <a:lnSpc>
                <a:spcPct val="100000"/>
              </a:lnSpc>
              <a:spcBef>
                <a:spcPts val="0"/>
              </a:spcBef>
              <a:spcAft>
                <a:spcPts val="300"/>
              </a:spcAft>
              <a:buSzPct val="110000"/>
              <a:buFont typeface="Wingdings" panose="05000000000000000000" pitchFamily="2" charset="2"/>
              <a:buChar char=""/>
              <a:defRPr lang="en-US" sz="1600" kern="1200" dirty="0">
                <a:solidFill>
                  <a:schemeClr val="tx1"/>
                </a:solidFill>
                <a:latin typeface="+mn-lt"/>
                <a:ea typeface="+mn-ea"/>
                <a:cs typeface="+mn-cs"/>
              </a:defRPr>
            </a:lvl2pPr>
            <a:lvl3pPr marL="439200" indent="-208800" algn="l" defTabSz="914400" rtl="0" eaLnBrk="1" latinLnBrk="0" hangingPunct="1">
              <a:lnSpc>
                <a:spcPct val="100000"/>
              </a:lnSpc>
              <a:spcBef>
                <a:spcPts val="0"/>
              </a:spcBef>
              <a:spcAft>
                <a:spcPts val="300"/>
              </a:spcAft>
              <a:buSzPct val="110000"/>
              <a:buFont typeface="Arial" panose="020B0604020202020204" pitchFamily="34" charset="0"/>
              <a:buChar char="‒"/>
              <a:defRPr lang="en-US" sz="1600" kern="1200" dirty="0">
                <a:solidFill>
                  <a:schemeClr val="tx1"/>
                </a:solidFill>
                <a:latin typeface="+mn-lt"/>
                <a:ea typeface="+mn-ea"/>
                <a:cs typeface="+mn-cs"/>
              </a:defRPr>
            </a:lvl3pPr>
            <a:lvl4pPr marL="604800" indent="-154800" algn="l" defTabSz="914400" rtl="0" eaLnBrk="1" latinLnBrk="0" hangingPunct="1">
              <a:lnSpc>
                <a:spcPct val="100000"/>
              </a:lnSpc>
              <a:spcBef>
                <a:spcPts val="0"/>
              </a:spcBef>
              <a:spcAft>
                <a:spcPts val="300"/>
              </a:spcAft>
              <a:buFont typeface="Arial" panose="020B0604020202020204" pitchFamily="34" charset="0"/>
              <a:buChar char="•"/>
              <a:defRPr lang="en-US" sz="1600" kern="1200" dirty="0">
                <a:solidFill>
                  <a:schemeClr val="tx1"/>
                </a:solidFill>
                <a:latin typeface="+mn-lt"/>
                <a:ea typeface="+mn-ea"/>
                <a:cs typeface="+mn-cs"/>
              </a:defRPr>
            </a:lvl4pPr>
            <a:lvl5pPr marL="813600" indent="-147600" algn="l" defTabSz="914400" rtl="0" eaLnBrk="1" latinLnBrk="0" hangingPunct="1">
              <a:lnSpc>
                <a:spcPct val="100000"/>
              </a:lnSpc>
              <a:spcBef>
                <a:spcPts val="0"/>
              </a:spcBef>
              <a:spcAft>
                <a:spcPts val="300"/>
              </a:spcAft>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fld id="{BA939701-E57A-4657-8120-F3D5226BF810}" type="datetime'''''''''''''3''''''''''''''''''''''''''5'''''''''''">
              <a:rPr kumimoji="0" lang="en-US" altLang="en-US" sz="14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ctr"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t>35</a:t>
            </a:fld>
            <a:endParaRPr kumimoji="0" lang="en-US" sz="14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
        <p:nvSpPr>
          <p:cNvPr id="46" name="Text Placeholder 4">
            <a:extLst>
              <a:ext uri="{FF2B5EF4-FFF2-40B4-BE49-F238E27FC236}">
                <a16:creationId xmlns:a16="http://schemas.microsoft.com/office/drawing/2014/main" id="{C5D93768-E0A4-0F0A-E9AA-352F95FEDE6C}"/>
              </a:ext>
            </a:extLst>
          </p:cNvPr>
          <p:cNvSpPr>
            <a:spLocks noGrp="1"/>
          </p:cNvSpPr>
          <p:nvPr>
            <p:custDataLst>
              <p:tags r:id="rId41"/>
            </p:custDataLst>
          </p:nvPr>
        </p:nvSpPr>
        <p:spPr bwMode="auto">
          <a:xfrm>
            <a:off x="11202988" y="2181900"/>
            <a:ext cx="601663"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b"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30400" algn="l" defTabSz="914400" rtl="0" eaLnBrk="1" latinLnBrk="0" hangingPunct="1">
              <a:lnSpc>
                <a:spcPct val="100000"/>
              </a:lnSpc>
              <a:spcBef>
                <a:spcPts val="0"/>
              </a:spcBef>
              <a:spcAft>
                <a:spcPts val="300"/>
              </a:spcAft>
              <a:buSzPct val="110000"/>
              <a:buFont typeface="Wingdings" panose="05000000000000000000" pitchFamily="2" charset="2"/>
              <a:buChar char=""/>
              <a:defRPr lang="en-US" sz="1600" kern="1200" dirty="0">
                <a:solidFill>
                  <a:schemeClr val="tx1"/>
                </a:solidFill>
                <a:latin typeface="+mn-lt"/>
                <a:ea typeface="+mn-ea"/>
                <a:cs typeface="+mn-cs"/>
              </a:defRPr>
            </a:lvl2pPr>
            <a:lvl3pPr marL="439200" indent="-208800" algn="l" defTabSz="914400" rtl="0" eaLnBrk="1" latinLnBrk="0" hangingPunct="1">
              <a:lnSpc>
                <a:spcPct val="100000"/>
              </a:lnSpc>
              <a:spcBef>
                <a:spcPts val="0"/>
              </a:spcBef>
              <a:spcAft>
                <a:spcPts val="300"/>
              </a:spcAft>
              <a:buSzPct val="110000"/>
              <a:buFont typeface="Arial" panose="020B0604020202020204" pitchFamily="34" charset="0"/>
              <a:buChar char="‒"/>
              <a:defRPr lang="en-US" sz="1600" kern="1200" dirty="0">
                <a:solidFill>
                  <a:schemeClr val="tx1"/>
                </a:solidFill>
                <a:latin typeface="+mn-lt"/>
                <a:ea typeface="+mn-ea"/>
                <a:cs typeface="+mn-cs"/>
              </a:defRPr>
            </a:lvl3pPr>
            <a:lvl4pPr marL="604800" indent="-154800" algn="l" defTabSz="914400" rtl="0" eaLnBrk="1" latinLnBrk="0" hangingPunct="1">
              <a:lnSpc>
                <a:spcPct val="100000"/>
              </a:lnSpc>
              <a:spcBef>
                <a:spcPts val="0"/>
              </a:spcBef>
              <a:spcAft>
                <a:spcPts val="300"/>
              </a:spcAft>
              <a:buFont typeface="Arial" panose="020B0604020202020204" pitchFamily="34" charset="0"/>
              <a:buChar char="•"/>
              <a:defRPr lang="en-US" sz="1600" kern="1200" dirty="0">
                <a:solidFill>
                  <a:schemeClr val="tx1"/>
                </a:solidFill>
                <a:latin typeface="+mn-lt"/>
                <a:ea typeface="+mn-ea"/>
                <a:cs typeface="+mn-cs"/>
              </a:defRPr>
            </a:lvl4pPr>
            <a:lvl5pPr marL="813600" indent="-147600" algn="l" defTabSz="914400" rtl="0" eaLnBrk="1" latinLnBrk="0" hangingPunct="1">
              <a:lnSpc>
                <a:spcPct val="100000"/>
              </a:lnSpc>
              <a:spcBef>
                <a:spcPts val="0"/>
              </a:spcBef>
              <a:spcAft>
                <a:spcPts val="300"/>
              </a:spcAft>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r"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r>
              <a:rPr kumimoji="0" lang="en-US" altLang="en-US" sz="14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GW / </a:t>
            </a:r>
            <a:r>
              <a:rPr kumimoji="0" lang="en-US" altLang="en-US" sz="1400" b="0" i="0" u="none" strike="noStrike" kern="1200" cap="none" spc="0" normalizeH="0" baseline="0" noProof="0" err="1">
                <a:ln>
                  <a:noFill/>
                </a:ln>
                <a:solidFill>
                  <a:srgbClr val="000000"/>
                </a:solidFill>
                <a:effectLst/>
                <a:uLnTx/>
                <a:uFillTx/>
                <a:latin typeface="Arial"/>
                <a:ea typeface="+mn-ea"/>
                <a:cs typeface="Arial" panose="020B0604020202020204" pitchFamily="34" charset="0"/>
              </a:rPr>
              <a:t>yr</a:t>
            </a:r>
            <a:endParaRPr kumimoji="0" lang="en-US" sz="14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
        <p:nvSpPr>
          <p:cNvPr id="47" name="Text Placeholder 4">
            <a:extLst>
              <a:ext uri="{FF2B5EF4-FFF2-40B4-BE49-F238E27FC236}">
                <a16:creationId xmlns:a16="http://schemas.microsoft.com/office/drawing/2014/main" id="{D28ACAE3-C074-9888-42B9-AED1B5A95EA7}"/>
              </a:ext>
            </a:extLst>
          </p:cNvPr>
          <p:cNvSpPr>
            <a:spLocks noGrp="1"/>
          </p:cNvSpPr>
          <p:nvPr>
            <p:custDataLst>
              <p:tags r:id="rId42"/>
            </p:custDataLst>
          </p:nvPr>
        </p:nvSpPr>
        <p:spPr bwMode="auto">
          <a:xfrm>
            <a:off x="6469063" y="5644238"/>
            <a:ext cx="40640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30400" algn="l" defTabSz="914400" rtl="0" eaLnBrk="1" latinLnBrk="0" hangingPunct="1">
              <a:lnSpc>
                <a:spcPct val="100000"/>
              </a:lnSpc>
              <a:spcBef>
                <a:spcPts val="0"/>
              </a:spcBef>
              <a:spcAft>
                <a:spcPts val="300"/>
              </a:spcAft>
              <a:buSzPct val="110000"/>
              <a:buFont typeface="Wingdings" panose="05000000000000000000" pitchFamily="2" charset="2"/>
              <a:buChar char=""/>
              <a:defRPr lang="en-US" sz="1600" kern="1200" dirty="0">
                <a:solidFill>
                  <a:schemeClr val="tx1"/>
                </a:solidFill>
                <a:latin typeface="+mn-lt"/>
                <a:ea typeface="+mn-ea"/>
                <a:cs typeface="+mn-cs"/>
              </a:defRPr>
            </a:lvl2pPr>
            <a:lvl3pPr marL="439200" indent="-208800" algn="l" defTabSz="914400" rtl="0" eaLnBrk="1" latinLnBrk="0" hangingPunct="1">
              <a:lnSpc>
                <a:spcPct val="100000"/>
              </a:lnSpc>
              <a:spcBef>
                <a:spcPts val="0"/>
              </a:spcBef>
              <a:spcAft>
                <a:spcPts val="300"/>
              </a:spcAft>
              <a:buSzPct val="110000"/>
              <a:buFont typeface="Arial" panose="020B0604020202020204" pitchFamily="34" charset="0"/>
              <a:buChar char="‒"/>
              <a:defRPr lang="en-US" sz="1600" kern="1200" dirty="0">
                <a:solidFill>
                  <a:schemeClr val="tx1"/>
                </a:solidFill>
                <a:latin typeface="+mn-lt"/>
                <a:ea typeface="+mn-ea"/>
                <a:cs typeface="+mn-cs"/>
              </a:defRPr>
            </a:lvl3pPr>
            <a:lvl4pPr marL="604800" indent="-154800" algn="l" defTabSz="914400" rtl="0" eaLnBrk="1" latinLnBrk="0" hangingPunct="1">
              <a:lnSpc>
                <a:spcPct val="100000"/>
              </a:lnSpc>
              <a:spcBef>
                <a:spcPts val="0"/>
              </a:spcBef>
              <a:spcAft>
                <a:spcPts val="300"/>
              </a:spcAft>
              <a:buFont typeface="Arial" panose="020B0604020202020204" pitchFamily="34" charset="0"/>
              <a:buChar char="•"/>
              <a:defRPr lang="en-US" sz="1600" kern="1200" dirty="0">
                <a:solidFill>
                  <a:schemeClr val="tx1"/>
                </a:solidFill>
                <a:latin typeface="+mn-lt"/>
                <a:ea typeface="+mn-ea"/>
                <a:cs typeface="+mn-cs"/>
              </a:defRPr>
            </a:lvl4pPr>
            <a:lvl5pPr marL="813600" indent="-147600" algn="l" defTabSz="914400" rtl="0" eaLnBrk="1" latinLnBrk="0" hangingPunct="1">
              <a:lnSpc>
                <a:spcPct val="100000"/>
              </a:lnSpc>
              <a:spcBef>
                <a:spcPts val="0"/>
              </a:spcBef>
              <a:spcAft>
                <a:spcPts val="300"/>
              </a:spcAft>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fld id="{37D24D0C-B996-43CB-850D-D54C46E3557E}" type="datetime'2''''''''''''''''''0''''''''''''3''''''''''0'''">
              <a:rPr kumimoji="0" lang="en-US" altLang="en-US" sz="14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ctr"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t>2030</a:t>
            </a:fld>
            <a:endParaRPr kumimoji="0" lang="en-US" sz="14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
        <p:nvSpPr>
          <p:cNvPr id="48" name="Text Placeholder 4">
            <a:extLst>
              <a:ext uri="{FF2B5EF4-FFF2-40B4-BE49-F238E27FC236}">
                <a16:creationId xmlns:a16="http://schemas.microsoft.com/office/drawing/2014/main" id="{02A3DFB2-BA52-9156-FC6C-EDBA1FC8CBAD}"/>
              </a:ext>
            </a:extLst>
          </p:cNvPr>
          <p:cNvSpPr>
            <a:spLocks noGrp="1"/>
          </p:cNvSpPr>
          <p:nvPr>
            <p:custDataLst>
              <p:tags r:id="rId43"/>
            </p:custDataLst>
          </p:nvPr>
        </p:nvSpPr>
        <p:spPr bwMode="auto">
          <a:xfrm>
            <a:off x="8916988" y="5644238"/>
            <a:ext cx="20955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30400" algn="l" defTabSz="914400" rtl="0" eaLnBrk="1" latinLnBrk="0" hangingPunct="1">
              <a:lnSpc>
                <a:spcPct val="100000"/>
              </a:lnSpc>
              <a:spcBef>
                <a:spcPts val="0"/>
              </a:spcBef>
              <a:spcAft>
                <a:spcPts val="300"/>
              </a:spcAft>
              <a:buSzPct val="110000"/>
              <a:buFont typeface="Wingdings" panose="05000000000000000000" pitchFamily="2" charset="2"/>
              <a:buChar char=""/>
              <a:defRPr lang="en-US" sz="1600" kern="1200" dirty="0">
                <a:solidFill>
                  <a:schemeClr val="tx1"/>
                </a:solidFill>
                <a:latin typeface="+mn-lt"/>
                <a:ea typeface="+mn-ea"/>
                <a:cs typeface="+mn-cs"/>
              </a:defRPr>
            </a:lvl2pPr>
            <a:lvl3pPr marL="439200" indent="-208800" algn="l" defTabSz="914400" rtl="0" eaLnBrk="1" latinLnBrk="0" hangingPunct="1">
              <a:lnSpc>
                <a:spcPct val="100000"/>
              </a:lnSpc>
              <a:spcBef>
                <a:spcPts val="0"/>
              </a:spcBef>
              <a:spcAft>
                <a:spcPts val="300"/>
              </a:spcAft>
              <a:buSzPct val="110000"/>
              <a:buFont typeface="Arial" panose="020B0604020202020204" pitchFamily="34" charset="0"/>
              <a:buChar char="‒"/>
              <a:defRPr lang="en-US" sz="1600" kern="1200" dirty="0">
                <a:solidFill>
                  <a:schemeClr val="tx1"/>
                </a:solidFill>
                <a:latin typeface="+mn-lt"/>
                <a:ea typeface="+mn-ea"/>
                <a:cs typeface="+mn-cs"/>
              </a:defRPr>
            </a:lvl3pPr>
            <a:lvl4pPr marL="604800" indent="-154800" algn="l" defTabSz="914400" rtl="0" eaLnBrk="1" latinLnBrk="0" hangingPunct="1">
              <a:lnSpc>
                <a:spcPct val="100000"/>
              </a:lnSpc>
              <a:spcBef>
                <a:spcPts val="0"/>
              </a:spcBef>
              <a:spcAft>
                <a:spcPts val="300"/>
              </a:spcAft>
              <a:buFont typeface="Arial" panose="020B0604020202020204" pitchFamily="34" charset="0"/>
              <a:buChar char="•"/>
              <a:defRPr lang="en-US" sz="1600" kern="1200" dirty="0">
                <a:solidFill>
                  <a:schemeClr val="tx1"/>
                </a:solidFill>
                <a:latin typeface="+mn-lt"/>
                <a:ea typeface="+mn-ea"/>
                <a:cs typeface="+mn-cs"/>
              </a:defRPr>
            </a:lvl4pPr>
            <a:lvl5pPr marL="813600" indent="-147600" algn="l" defTabSz="914400" rtl="0" eaLnBrk="1" latinLnBrk="0" hangingPunct="1">
              <a:lnSpc>
                <a:spcPct val="100000"/>
              </a:lnSpc>
              <a:spcBef>
                <a:spcPts val="0"/>
              </a:spcBef>
              <a:spcAft>
                <a:spcPts val="300"/>
              </a:spcAft>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fld id="{E941931A-ED83-4756-9A6A-F6E496B56AE7}" type="datetime'''''''''''''''4''''''0'''''''''''''''''''''''''''''''">
              <a:rPr kumimoji="0" lang="en-US" altLang="en-US" sz="14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ctr"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t>40</a:t>
            </a:fld>
            <a:endParaRPr kumimoji="0" lang="en-US" sz="14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
        <p:nvSpPr>
          <p:cNvPr id="49" name="Text Placeholder 4">
            <a:extLst>
              <a:ext uri="{FF2B5EF4-FFF2-40B4-BE49-F238E27FC236}">
                <a16:creationId xmlns:a16="http://schemas.microsoft.com/office/drawing/2014/main" id="{A92516AE-BDD4-41AA-5824-C55690837A15}"/>
              </a:ext>
            </a:extLst>
          </p:cNvPr>
          <p:cNvSpPr>
            <a:spLocks noGrp="1"/>
          </p:cNvSpPr>
          <p:nvPr>
            <p:custDataLst>
              <p:tags r:id="rId44"/>
            </p:custDataLst>
          </p:nvPr>
        </p:nvSpPr>
        <p:spPr bwMode="auto">
          <a:xfrm>
            <a:off x="11169650" y="5644238"/>
            <a:ext cx="40640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30400" algn="l" defTabSz="914400" rtl="0" eaLnBrk="1" latinLnBrk="0" hangingPunct="1">
              <a:lnSpc>
                <a:spcPct val="100000"/>
              </a:lnSpc>
              <a:spcBef>
                <a:spcPts val="0"/>
              </a:spcBef>
              <a:spcAft>
                <a:spcPts val="300"/>
              </a:spcAft>
              <a:buSzPct val="110000"/>
              <a:buFont typeface="Wingdings" panose="05000000000000000000" pitchFamily="2" charset="2"/>
              <a:buChar char=""/>
              <a:defRPr lang="en-US" sz="1600" kern="1200" dirty="0">
                <a:solidFill>
                  <a:schemeClr val="tx1"/>
                </a:solidFill>
                <a:latin typeface="+mn-lt"/>
                <a:ea typeface="+mn-ea"/>
                <a:cs typeface="+mn-cs"/>
              </a:defRPr>
            </a:lvl2pPr>
            <a:lvl3pPr marL="439200" indent="-208800" algn="l" defTabSz="914400" rtl="0" eaLnBrk="1" latinLnBrk="0" hangingPunct="1">
              <a:lnSpc>
                <a:spcPct val="100000"/>
              </a:lnSpc>
              <a:spcBef>
                <a:spcPts val="0"/>
              </a:spcBef>
              <a:spcAft>
                <a:spcPts val="300"/>
              </a:spcAft>
              <a:buSzPct val="110000"/>
              <a:buFont typeface="Arial" panose="020B0604020202020204" pitchFamily="34" charset="0"/>
              <a:buChar char="‒"/>
              <a:defRPr lang="en-US" sz="1600" kern="1200" dirty="0">
                <a:solidFill>
                  <a:schemeClr val="tx1"/>
                </a:solidFill>
                <a:latin typeface="+mn-lt"/>
                <a:ea typeface="+mn-ea"/>
                <a:cs typeface="+mn-cs"/>
              </a:defRPr>
            </a:lvl3pPr>
            <a:lvl4pPr marL="604800" indent="-154800" algn="l" defTabSz="914400" rtl="0" eaLnBrk="1" latinLnBrk="0" hangingPunct="1">
              <a:lnSpc>
                <a:spcPct val="100000"/>
              </a:lnSpc>
              <a:spcBef>
                <a:spcPts val="0"/>
              </a:spcBef>
              <a:spcAft>
                <a:spcPts val="300"/>
              </a:spcAft>
              <a:buFont typeface="Arial" panose="020B0604020202020204" pitchFamily="34" charset="0"/>
              <a:buChar char="•"/>
              <a:defRPr lang="en-US" sz="1600" kern="1200" dirty="0">
                <a:solidFill>
                  <a:schemeClr val="tx1"/>
                </a:solidFill>
                <a:latin typeface="+mn-lt"/>
                <a:ea typeface="+mn-ea"/>
                <a:cs typeface="+mn-cs"/>
              </a:defRPr>
            </a:lvl4pPr>
            <a:lvl5pPr marL="813600" indent="-147600" algn="l" defTabSz="914400" rtl="0" eaLnBrk="1" latinLnBrk="0" hangingPunct="1">
              <a:lnSpc>
                <a:spcPct val="100000"/>
              </a:lnSpc>
              <a:spcBef>
                <a:spcPts val="0"/>
              </a:spcBef>
              <a:spcAft>
                <a:spcPts val="300"/>
              </a:spcAft>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fld id="{7BD53F33-F49A-4A3B-9BAF-F641EF624FA5}" type="datetime'''''''''''''''''2''''''''''''''''0''''''''5''''''''''0'''''''">
              <a:rPr kumimoji="0" lang="en-US" altLang="en-US" sz="14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ctr"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t>2050</a:t>
            </a:fld>
            <a:endParaRPr kumimoji="0" lang="en-US" sz="14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grpSp>
        <p:nvGrpSpPr>
          <p:cNvPr id="50" name="ConnectorRectangle 534">
            <a:extLst>
              <a:ext uri="{FF2B5EF4-FFF2-40B4-BE49-F238E27FC236}">
                <a16:creationId xmlns:a16="http://schemas.microsoft.com/office/drawing/2014/main" id="{6F4628B1-6BBA-71EC-66BF-757284C4160A}"/>
              </a:ext>
            </a:extLst>
          </p:cNvPr>
          <p:cNvGrpSpPr>
            <a:grpSpLocks/>
          </p:cNvGrpSpPr>
          <p:nvPr>
            <p:custDataLst>
              <p:tags r:id="rId45"/>
            </p:custDataLst>
          </p:nvPr>
        </p:nvGrpSpPr>
        <p:grpSpPr>
          <a:xfrm>
            <a:off x="7722616" y="2268658"/>
            <a:ext cx="2693807" cy="1030731"/>
            <a:chOff x="253340" y="-38338"/>
            <a:chExt cx="2325779" cy="779192"/>
          </a:xfrm>
          <a:solidFill>
            <a:schemeClr val="bg1"/>
          </a:solidFill>
        </p:grpSpPr>
        <p:sp>
          <p:nvSpPr>
            <p:cNvPr id="51" name="TextBox 50">
              <a:extLst>
                <a:ext uri="{FF2B5EF4-FFF2-40B4-BE49-F238E27FC236}">
                  <a16:creationId xmlns:a16="http://schemas.microsoft.com/office/drawing/2014/main" id="{D0DF1026-652F-A5C1-884B-B99F948F4FE9}"/>
                </a:ext>
              </a:extLst>
            </p:cNvPr>
            <p:cNvSpPr txBox="1"/>
            <p:nvPr/>
          </p:nvSpPr>
          <p:spPr>
            <a:xfrm>
              <a:off x="253340" y="-38338"/>
              <a:ext cx="1354168" cy="779192"/>
            </a:xfrm>
            <a:prstGeom prst="rect">
              <a:avLst/>
            </a:prstGeom>
            <a:noFill/>
            <a:ln w="9525">
              <a:solidFill>
                <a:schemeClr val="tx1"/>
              </a:solidFill>
            </a:ln>
          </p:spPr>
          <p:txBody>
            <a:bodyPr vert="horz" wrap="square" lIns="76200" tIns="76200" rIns="76200" bIns="76200" rtlCol="0">
              <a:no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228600" lvl="1" indent="-230400">
                <a:lnSpc>
                  <a:spcPct val="100000"/>
                </a:lnSpc>
                <a:spcBef>
                  <a:spcPts val="0"/>
                </a:spcBef>
                <a:spcAft>
                  <a:spcPts val="300"/>
                </a:spcAft>
                <a:buSzPct val="110000"/>
                <a:buFont typeface="Wingdings" panose="05000000000000000000" pitchFamily="2" charset="2"/>
                <a:buChar char=""/>
                <a:defRPr lang="en-US" sz="1600" dirty="0"/>
              </a:lvl2pPr>
              <a:lvl3pPr marL="439200" lvl="2" indent="-208800">
                <a:lnSpc>
                  <a:spcPct val="100000"/>
                </a:lnSpc>
                <a:spcBef>
                  <a:spcPts val="0"/>
                </a:spcBef>
                <a:spcAft>
                  <a:spcPts val="300"/>
                </a:spcAft>
                <a:buSzPct val="110000"/>
                <a:buFont typeface="Arial" panose="020B0604020202020204" pitchFamily="34" charset="0"/>
                <a:buChar char="‒"/>
                <a:defRPr lang="en-US" sz="1600" dirty="0"/>
              </a:lvl3pPr>
              <a:lvl4pPr marL="604800" lvl="3" indent="-154800">
                <a:lnSpc>
                  <a:spcPct val="100000"/>
                </a:lnSpc>
                <a:spcBef>
                  <a:spcPts val="0"/>
                </a:spcBef>
                <a:spcAft>
                  <a:spcPts val="300"/>
                </a:spcAft>
                <a:buFont typeface="Arial" panose="020B0604020202020204" pitchFamily="34" charset="0"/>
                <a:buChar char="•"/>
                <a:defRPr lang="en-US" sz="1600" dirty="0"/>
              </a:lvl4pPr>
              <a:lvl5pPr marL="813600" lvl="4" indent="-147600">
                <a:lnSpc>
                  <a:spcPct val="100000"/>
                </a:lnSpc>
                <a:spcBef>
                  <a:spcPts val="0"/>
                </a:spcBef>
                <a:spcAft>
                  <a:spcPts val="300"/>
                </a:spcAft>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1" indent="0" algn="l" defTabSz="914400" rtl="0" eaLnBrk="1" fontAlgn="auto" latinLnBrk="0" hangingPunct="1">
                <a:lnSpc>
                  <a:spcPct val="100000"/>
                </a:lnSpc>
                <a:spcBef>
                  <a:spcPts val="0"/>
                </a:spcBef>
                <a:spcAft>
                  <a:spcPts val="300"/>
                </a:spcAft>
                <a:buClrTx/>
                <a:buSzPct val="110000"/>
                <a:buFont typeface="Wingdings" panose="05000000000000000000" pitchFamily="2" charset="2"/>
                <a:buNone/>
                <a:tabLst/>
                <a:defRPr/>
              </a:pPr>
              <a:r>
                <a:rPr kumimoji="0" lang="en-US" sz="1200" b="0" i="0" u="none" strike="noStrike" kern="1200" cap="none" spc="0" normalizeH="0" baseline="0" noProof="0">
                  <a:ln>
                    <a:noFill/>
                  </a:ln>
                  <a:solidFill>
                    <a:srgbClr val="000000"/>
                  </a:solidFill>
                  <a:effectLst/>
                  <a:uLnTx/>
                  <a:uFillTx/>
                  <a:latin typeface="Arial"/>
                  <a:ea typeface="+mn-ea"/>
                  <a:cs typeface="+mn-cs"/>
                </a:rPr>
                <a:t>Steady-state achieved in 2046 at </a:t>
              </a:r>
              <a:r>
                <a:rPr kumimoji="0" lang="en-US" sz="1200" b="1" i="0" u="none" strike="noStrike" kern="1200" cap="none" spc="0" normalizeH="0" baseline="0" noProof="0">
                  <a:ln>
                    <a:noFill/>
                  </a:ln>
                  <a:solidFill>
                    <a:srgbClr val="000000"/>
                  </a:solidFill>
                  <a:effectLst/>
                  <a:uLnTx/>
                  <a:uFillTx/>
                  <a:latin typeface="Arial"/>
                  <a:ea typeface="+mn-ea"/>
                  <a:cs typeface="+mn-cs"/>
                </a:rPr>
                <a:t>20 GW / </a:t>
              </a:r>
              <a:r>
                <a:rPr kumimoji="0" lang="en-US" sz="1200" b="1" i="0" u="none" strike="noStrike" kern="1200" cap="none" spc="0" normalizeH="0" baseline="0" noProof="0" err="1">
                  <a:ln>
                    <a:noFill/>
                  </a:ln>
                  <a:solidFill>
                    <a:srgbClr val="000000"/>
                  </a:solidFill>
                  <a:effectLst/>
                  <a:uLnTx/>
                  <a:uFillTx/>
                  <a:latin typeface="Arial"/>
                  <a:ea typeface="+mn-ea"/>
                  <a:cs typeface="+mn-cs"/>
                </a:rPr>
                <a:t>yr</a:t>
              </a:r>
              <a:r>
                <a:rPr kumimoji="0" lang="en-US" sz="1200" b="1" i="0" u="none" strike="noStrike" kern="1200" cap="none" spc="0" normalizeH="0" baseline="0" noProof="0">
                  <a:ln>
                    <a:noFill/>
                  </a:ln>
                  <a:solidFill>
                    <a:srgbClr val="000000"/>
                  </a:solidFill>
                  <a:effectLst/>
                  <a:uLnTx/>
                  <a:uFillTx/>
                  <a:latin typeface="Arial"/>
                  <a:ea typeface="+mn-ea"/>
                  <a:cs typeface="+mn-cs"/>
                </a:rPr>
                <a:t> </a:t>
              </a:r>
              <a:r>
                <a:rPr kumimoji="0" lang="en-US" sz="1200" b="0" i="0" u="none" strike="noStrike" kern="1200" cap="none" spc="0" normalizeH="0" baseline="0" noProof="0">
                  <a:ln>
                    <a:noFill/>
                  </a:ln>
                  <a:solidFill>
                    <a:srgbClr val="000000"/>
                  </a:solidFill>
                  <a:effectLst/>
                  <a:uLnTx/>
                  <a:uFillTx/>
                  <a:latin typeface="Arial"/>
                  <a:ea typeface="+mn-ea"/>
                  <a:cs typeface="+mn-cs"/>
                </a:rPr>
                <a:t>deployed</a:t>
              </a:r>
            </a:p>
            <a:p>
              <a:pPr marL="0" marR="0" lvl="1" indent="0" algn="l" defTabSz="914400" rtl="0" eaLnBrk="1" fontAlgn="auto" latinLnBrk="0" hangingPunct="1">
                <a:lnSpc>
                  <a:spcPct val="100000"/>
                </a:lnSpc>
                <a:spcBef>
                  <a:spcPts val="0"/>
                </a:spcBef>
                <a:spcAft>
                  <a:spcPts val="300"/>
                </a:spcAft>
                <a:buClrTx/>
                <a:buSzPct val="110000"/>
                <a:buFont typeface="Wingdings" panose="05000000000000000000" pitchFamily="2" charset="2"/>
                <a:buNone/>
                <a:tabLst/>
                <a:defRPr/>
              </a:pPr>
              <a:r>
                <a:rPr kumimoji="0" lang="en-US" sz="1200" b="1" i="0" u="none" strike="noStrike" kern="1200" cap="none" spc="0" normalizeH="0" baseline="0" noProof="0">
                  <a:ln>
                    <a:noFill/>
                  </a:ln>
                  <a:solidFill>
                    <a:srgbClr val="C00000"/>
                  </a:solidFill>
                  <a:effectLst/>
                  <a:uLnTx/>
                  <a:uFillTx/>
                  <a:latin typeface="Arial"/>
                  <a:ea typeface="+mn-ea"/>
                  <a:cs typeface="+mn-cs"/>
                </a:rPr>
                <a:t>Overbuild – stranded assets</a:t>
              </a:r>
            </a:p>
          </p:txBody>
        </p:sp>
        <p:cxnSp>
          <p:nvCxnSpPr>
            <p:cNvPr id="52" name="Straight Arrow Connector 51">
              <a:extLst>
                <a:ext uri="{FF2B5EF4-FFF2-40B4-BE49-F238E27FC236}">
                  <a16:creationId xmlns:a16="http://schemas.microsoft.com/office/drawing/2014/main" id="{75B0F617-0AAE-02BE-3C2C-918C68AD90DB}"/>
                </a:ext>
              </a:extLst>
            </p:cNvPr>
            <p:cNvCxnSpPr>
              <a:cxnSpLocks/>
              <a:stCxn id="51" idx="3"/>
            </p:cNvCxnSpPr>
            <p:nvPr/>
          </p:nvCxnSpPr>
          <p:spPr>
            <a:xfrm flipV="1">
              <a:off x="1607508" y="260360"/>
              <a:ext cx="971611" cy="90898"/>
            </a:xfrm>
            <a:prstGeom prst="straightConnector1">
              <a:avLst/>
            </a:prstGeom>
            <a:grpFill/>
            <a:ln w="6350" cap="flat" cmpd="sng">
              <a:solidFill>
                <a:schemeClr val="tx1"/>
              </a:solidFill>
              <a:miter lim="800000"/>
              <a:tailEnd type="oval" w="med" len="med"/>
            </a:ln>
          </p:spPr>
          <p:style>
            <a:lnRef idx="1">
              <a:schemeClr val="accent1"/>
            </a:lnRef>
            <a:fillRef idx="0">
              <a:schemeClr val="accent1"/>
            </a:fillRef>
            <a:effectRef idx="0">
              <a:schemeClr val="accent1"/>
            </a:effectRef>
            <a:fontRef idx="minor">
              <a:schemeClr val="tx1"/>
            </a:fontRef>
          </p:style>
        </p:cxnSp>
      </p:grpSp>
      <p:cxnSp>
        <p:nvCxnSpPr>
          <p:cNvPr id="53" name="Straight Connector 52">
            <a:extLst>
              <a:ext uri="{FF2B5EF4-FFF2-40B4-BE49-F238E27FC236}">
                <a16:creationId xmlns:a16="http://schemas.microsoft.com/office/drawing/2014/main" id="{F5AE862B-4396-C27E-CAB3-C0F06E9F3CB7}"/>
              </a:ext>
            </a:extLst>
          </p:cNvPr>
          <p:cNvCxnSpPr>
            <a:cxnSpLocks/>
          </p:cNvCxnSpPr>
          <p:nvPr/>
        </p:nvCxnSpPr>
        <p:spPr>
          <a:xfrm>
            <a:off x="6096000" y="1581644"/>
            <a:ext cx="0" cy="4389619"/>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0546873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71DE96E-CE74-75B4-BC9E-5130DEE61620}"/>
              </a:ext>
            </a:extLst>
          </p:cNvPr>
          <p:cNvSpPr>
            <a:spLocks noGrp="1"/>
          </p:cNvSpPr>
          <p:nvPr>
            <p:ph type="title"/>
          </p:nvPr>
        </p:nvSpPr>
        <p:spPr/>
        <p:txBody>
          <a:bodyPr/>
          <a:lstStyle/>
          <a:p>
            <a:r>
              <a:rPr lang="en-US"/>
              <a:t>Vogtle root causes and systemic issues</a:t>
            </a:r>
          </a:p>
        </p:txBody>
      </p:sp>
      <p:cxnSp>
        <p:nvCxnSpPr>
          <p:cNvPr id="4" name="LineContentSeparatorDefault 17">
            <a:extLst>
              <a:ext uri="{FF2B5EF4-FFF2-40B4-BE49-F238E27FC236}">
                <a16:creationId xmlns:a16="http://schemas.microsoft.com/office/drawing/2014/main" id="{F6CF7EF4-E8D2-6959-DDB7-498094CC5F14}"/>
              </a:ext>
            </a:extLst>
          </p:cNvPr>
          <p:cNvCxnSpPr>
            <a:cxnSpLocks/>
          </p:cNvCxnSpPr>
          <p:nvPr>
            <p:custDataLst>
              <p:tags r:id="rId1"/>
            </p:custDataLst>
          </p:nvPr>
        </p:nvCxnSpPr>
        <p:spPr>
          <a:xfrm>
            <a:off x="4206794" y="2591236"/>
            <a:ext cx="0" cy="3749040"/>
          </a:xfrm>
          <a:prstGeom prst="straightConnector1">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5" name="LineContentSeparatorDefault 17">
            <a:extLst>
              <a:ext uri="{FF2B5EF4-FFF2-40B4-BE49-F238E27FC236}">
                <a16:creationId xmlns:a16="http://schemas.microsoft.com/office/drawing/2014/main" id="{76372294-BD38-7C90-72AC-C0502F40EB96}"/>
              </a:ext>
            </a:extLst>
          </p:cNvPr>
          <p:cNvCxnSpPr>
            <a:cxnSpLocks/>
          </p:cNvCxnSpPr>
          <p:nvPr>
            <p:custDataLst>
              <p:tags r:id="rId2"/>
            </p:custDataLst>
          </p:nvPr>
        </p:nvCxnSpPr>
        <p:spPr>
          <a:xfrm>
            <a:off x="7823635" y="2591236"/>
            <a:ext cx="0" cy="3749040"/>
          </a:xfrm>
          <a:prstGeom prst="straightConnector1">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sp>
        <p:nvSpPr>
          <p:cNvPr id="6" name="Rectangle 5">
            <a:extLst>
              <a:ext uri="{FF2B5EF4-FFF2-40B4-BE49-F238E27FC236}">
                <a16:creationId xmlns:a16="http://schemas.microsoft.com/office/drawing/2014/main" id="{86BA7F67-E4E9-530F-3B05-59EE05017761}"/>
              </a:ext>
            </a:extLst>
          </p:cNvPr>
          <p:cNvSpPr/>
          <p:nvPr/>
        </p:nvSpPr>
        <p:spPr>
          <a:xfrm>
            <a:off x="4418162" y="5644764"/>
            <a:ext cx="220337" cy="180814"/>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400" err="1">
              <a:solidFill>
                <a:schemeClr val="bg1"/>
              </a:solidFill>
            </a:endParaRPr>
          </a:p>
        </p:txBody>
      </p:sp>
      <p:sp>
        <p:nvSpPr>
          <p:cNvPr id="7" name="TextBox 6">
            <a:extLst>
              <a:ext uri="{FF2B5EF4-FFF2-40B4-BE49-F238E27FC236}">
                <a16:creationId xmlns:a16="http://schemas.microsoft.com/office/drawing/2014/main" id="{4F89C0BC-9E0E-26E2-59AF-30CFD7A5032A}"/>
              </a:ext>
            </a:extLst>
          </p:cNvPr>
          <p:cNvSpPr txBox="1"/>
          <p:nvPr/>
        </p:nvSpPr>
        <p:spPr>
          <a:xfrm>
            <a:off x="4721993" y="5644764"/>
            <a:ext cx="2641289" cy="215444"/>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i="1"/>
              <a:t>Within project leadership control</a:t>
            </a:r>
          </a:p>
        </p:txBody>
      </p:sp>
      <p:sp>
        <p:nvSpPr>
          <p:cNvPr id="8" name="Rectangle 7">
            <a:extLst>
              <a:ext uri="{FF2B5EF4-FFF2-40B4-BE49-F238E27FC236}">
                <a16:creationId xmlns:a16="http://schemas.microsoft.com/office/drawing/2014/main" id="{47DC1B0F-FCE6-4CD6-98F2-559B585F57BC}"/>
              </a:ext>
            </a:extLst>
          </p:cNvPr>
          <p:cNvSpPr/>
          <p:nvPr/>
        </p:nvSpPr>
        <p:spPr>
          <a:xfrm>
            <a:off x="4418162" y="6083271"/>
            <a:ext cx="220337" cy="180814"/>
          </a:xfrm>
          <a:prstGeom prst="rect">
            <a:avLst/>
          </a:prstGeom>
          <a:solidFill>
            <a:schemeClr val="bg1">
              <a:lumMod val="8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400" err="1">
              <a:solidFill>
                <a:schemeClr val="bg1"/>
              </a:solidFill>
            </a:endParaRPr>
          </a:p>
        </p:txBody>
      </p:sp>
      <p:sp>
        <p:nvSpPr>
          <p:cNvPr id="9" name="TextBox 8">
            <a:extLst>
              <a:ext uri="{FF2B5EF4-FFF2-40B4-BE49-F238E27FC236}">
                <a16:creationId xmlns:a16="http://schemas.microsoft.com/office/drawing/2014/main" id="{A7027978-B09F-C2B4-CD4B-3A2E4CC5C6BF}"/>
              </a:ext>
            </a:extLst>
          </p:cNvPr>
          <p:cNvSpPr txBox="1"/>
          <p:nvPr/>
        </p:nvSpPr>
        <p:spPr>
          <a:xfrm>
            <a:off x="4721993" y="6048641"/>
            <a:ext cx="2842620" cy="215444"/>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i="1"/>
              <a:t>Outside of project leadership control</a:t>
            </a:r>
          </a:p>
        </p:txBody>
      </p:sp>
      <p:sp>
        <p:nvSpPr>
          <p:cNvPr id="10" name="Freeform 24">
            <a:extLst>
              <a:ext uri="{FF2B5EF4-FFF2-40B4-BE49-F238E27FC236}">
                <a16:creationId xmlns:a16="http://schemas.microsoft.com/office/drawing/2014/main" id="{414BEC85-FCFA-E494-ABAF-F79256FC9E8E}"/>
              </a:ext>
            </a:extLst>
          </p:cNvPr>
          <p:cNvSpPr/>
          <p:nvPr>
            <p:custDataLst>
              <p:tags r:id="rId3"/>
            </p:custDataLst>
          </p:nvPr>
        </p:nvSpPr>
        <p:spPr bwMode="auto">
          <a:xfrm>
            <a:off x="554734" y="1396780"/>
            <a:ext cx="3778409" cy="714319"/>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49400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1"/>
              <a:gd name="connsiteX1" fmla="*/ 1749400 w 1828800"/>
              <a:gd name="connsiteY1" fmla="*/ 0 h 914401"/>
              <a:gd name="connsiteX2" fmla="*/ 1828800 w 1828800"/>
              <a:gd name="connsiteY2" fmla="*/ 457200 h 914401"/>
              <a:gd name="connsiteX3" fmla="*/ 1749400 w 1828800"/>
              <a:gd name="connsiteY3" fmla="*/ 914401 h 914401"/>
              <a:gd name="connsiteX4" fmla="*/ 0 w 1828800"/>
              <a:gd name="connsiteY4" fmla="*/ 914400 h 914401"/>
              <a:gd name="connsiteX5" fmla="*/ 0 w 1828800"/>
              <a:gd name="connsiteY5" fmla="*/ 457200 h 914401"/>
              <a:gd name="connsiteX0" fmla="*/ 0 w 1828800"/>
              <a:gd name="connsiteY0" fmla="*/ 0 h 914401"/>
              <a:gd name="connsiteX1" fmla="*/ 1749400 w 1828800"/>
              <a:gd name="connsiteY1" fmla="*/ 0 h 914401"/>
              <a:gd name="connsiteX2" fmla="*/ 1828800 w 1828800"/>
              <a:gd name="connsiteY2" fmla="*/ 457200 h 914401"/>
              <a:gd name="connsiteX3" fmla="*/ 1749400 w 1828800"/>
              <a:gd name="connsiteY3" fmla="*/ 914401 h 914401"/>
              <a:gd name="connsiteX4" fmla="*/ 0 w 1828800"/>
              <a:gd name="connsiteY4" fmla="*/ 914400 h 914401"/>
              <a:gd name="connsiteX5" fmla="*/ 0 w 1828800"/>
              <a:gd name="connsiteY5" fmla="*/ 457200 h 914401"/>
              <a:gd name="connsiteX0" fmla="*/ 0 w 1828800"/>
              <a:gd name="connsiteY0" fmla="*/ 0 h 914401"/>
              <a:gd name="connsiteX1" fmla="*/ 1720808 w 1828800"/>
              <a:gd name="connsiteY1" fmla="*/ 0 h 914401"/>
              <a:gd name="connsiteX2" fmla="*/ 1828800 w 1828800"/>
              <a:gd name="connsiteY2" fmla="*/ 457200 h 914401"/>
              <a:gd name="connsiteX3" fmla="*/ 1749400 w 1828800"/>
              <a:gd name="connsiteY3" fmla="*/ 914401 h 914401"/>
              <a:gd name="connsiteX4" fmla="*/ 0 w 1828800"/>
              <a:gd name="connsiteY4" fmla="*/ 914400 h 914401"/>
              <a:gd name="connsiteX5" fmla="*/ 0 w 1828800"/>
              <a:gd name="connsiteY5" fmla="*/ 457200 h 914401"/>
              <a:gd name="connsiteX0" fmla="*/ 0 w 1828800"/>
              <a:gd name="connsiteY0" fmla="*/ 0 h 914401"/>
              <a:gd name="connsiteX1" fmla="*/ 1720808 w 1828800"/>
              <a:gd name="connsiteY1" fmla="*/ 0 h 914401"/>
              <a:gd name="connsiteX2" fmla="*/ 1828800 w 1828800"/>
              <a:gd name="connsiteY2" fmla="*/ 457200 h 914401"/>
              <a:gd name="connsiteX3" fmla="*/ 1720808 w 1828800"/>
              <a:gd name="connsiteY3" fmla="*/ 914401 h 914401"/>
              <a:gd name="connsiteX4" fmla="*/ 0 w 1828800"/>
              <a:gd name="connsiteY4" fmla="*/ 914400 h 914401"/>
              <a:gd name="connsiteX5" fmla="*/ 0 w 1828800"/>
              <a:gd name="connsiteY5" fmla="*/ 457200 h 914401"/>
              <a:gd name="connsiteX0" fmla="*/ 0 w 1828800"/>
              <a:gd name="connsiteY0" fmla="*/ 0 h 914401"/>
              <a:gd name="connsiteX1" fmla="*/ 1720808 w 1828800"/>
              <a:gd name="connsiteY1" fmla="*/ 0 h 914401"/>
              <a:gd name="connsiteX2" fmla="*/ 1828800 w 1828800"/>
              <a:gd name="connsiteY2" fmla="*/ 457200 h 914401"/>
              <a:gd name="connsiteX3" fmla="*/ 1720808 w 1828800"/>
              <a:gd name="connsiteY3" fmla="*/ 914401 h 914401"/>
              <a:gd name="connsiteX4" fmla="*/ 0 w 1828800"/>
              <a:gd name="connsiteY4" fmla="*/ 914400 h 914401"/>
              <a:gd name="connsiteX5" fmla="*/ 116561 w 1828800"/>
              <a:gd name="connsiteY5" fmla="*/ 457201 h 914401"/>
              <a:gd name="connsiteX0" fmla="*/ 0 w 1828800"/>
              <a:gd name="connsiteY0" fmla="*/ 0 h 914401"/>
              <a:gd name="connsiteX1" fmla="*/ 1712239 w 1828800"/>
              <a:gd name="connsiteY1" fmla="*/ 0 h 914401"/>
              <a:gd name="connsiteX2" fmla="*/ 1828800 w 1828800"/>
              <a:gd name="connsiteY2" fmla="*/ 457200 h 914401"/>
              <a:gd name="connsiteX3" fmla="*/ 1720808 w 1828800"/>
              <a:gd name="connsiteY3" fmla="*/ 914401 h 914401"/>
              <a:gd name="connsiteX4" fmla="*/ 0 w 1828800"/>
              <a:gd name="connsiteY4" fmla="*/ 914400 h 914401"/>
              <a:gd name="connsiteX5" fmla="*/ 116561 w 1828800"/>
              <a:gd name="connsiteY5" fmla="*/ 457201 h 914401"/>
              <a:gd name="connsiteX0" fmla="*/ 0 w 1828800"/>
              <a:gd name="connsiteY0" fmla="*/ 0 h 914401"/>
              <a:gd name="connsiteX1" fmla="*/ 1712239 w 1828800"/>
              <a:gd name="connsiteY1" fmla="*/ 0 h 914401"/>
              <a:gd name="connsiteX2" fmla="*/ 1828800 w 1828800"/>
              <a:gd name="connsiteY2" fmla="*/ 457200 h 914401"/>
              <a:gd name="connsiteX3" fmla="*/ 1712239 w 1828800"/>
              <a:gd name="connsiteY3" fmla="*/ 914401 h 914401"/>
              <a:gd name="connsiteX4" fmla="*/ 0 w 1828800"/>
              <a:gd name="connsiteY4" fmla="*/ 914400 h 914401"/>
              <a:gd name="connsiteX5" fmla="*/ 116561 w 1828800"/>
              <a:gd name="connsiteY5" fmla="*/ 457201 h 914401"/>
              <a:gd name="connsiteX0" fmla="*/ 0 w 1828800"/>
              <a:gd name="connsiteY0" fmla="*/ 0 h 914401"/>
              <a:gd name="connsiteX1" fmla="*/ 1712239 w 1828800"/>
              <a:gd name="connsiteY1" fmla="*/ 0 h 914401"/>
              <a:gd name="connsiteX2" fmla="*/ 1828800 w 1828800"/>
              <a:gd name="connsiteY2" fmla="*/ 457200 h 914401"/>
              <a:gd name="connsiteX3" fmla="*/ 1712239 w 1828800"/>
              <a:gd name="connsiteY3" fmla="*/ 914401 h 914401"/>
              <a:gd name="connsiteX4" fmla="*/ 0 w 1828800"/>
              <a:gd name="connsiteY4" fmla="*/ 914400 h 914401"/>
              <a:gd name="connsiteX5" fmla="*/ 0 w 1828800"/>
              <a:gd name="connsiteY5" fmla="*/ 457201 h 914401"/>
              <a:gd name="connsiteX0" fmla="*/ 0 w 1828800"/>
              <a:gd name="connsiteY0" fmla="*/ 0 h 914401"/>
              <a:gd name="connsiteX1" fmla="*/ 1712239 w 1828800"/>
              <a:gd name="connsiteY1" fmla="*/ 0 h 914401"/>
              <a:gd name="connsiteX2" fmla="*/ 1828800 w 1828800"/>
              <a:gd name="connsiteY2" fmla="*/ 457200 h 914401"/>
              <a:gd name="connsiteX3" fmla="*/ 1712239 w 1828800"/>
              <a:gd name="connsiteY3" fmla="*/ 914401 h 914401"/>
              <a:gd name="connsiteX4" fmla="*/ 0 w 1828800"/>
              <a:gd name="connsiteY4" fmla="*/ 914400 h 914401"/>
              <a:gd name="connsiteX5" fmla="*/ 0 w 1828800"/>
              <a:gd name="connsiteY5" fmla="*/ 457201 h 914401"/>
              <a:gd name="connsiteX0" fmla="*/ 0 w 1828800"/>
              <a:gd name="connsiteY0" fmla="*/ 0 h 914401"/>
              <a:gd name="connsiteX1" fmla="*/ 1712239 w 1828800"/>
              <a:gd name="connsiteY1" fmla="*/ 0 h 914401"/>
              <a:gd name="connsiteX2" fmla="*/ 1828800 w 1828800"/>
              <a:gd name="connsiteY2" fmla="*/ 457200 h 914401"/>
              <a:gd name="connsiteX3" fmla="*/ 1712239 w 1828800"/>
              <a:gd name="connsiteY3" fmla="*/ 914401 h 914401"/>
              <a:gd name="connsiteX4" fmla="*/ 0 w 1828800"/>
              <a:gd name="connsiteY4" fmla="*/ 914400 h 914401"/>
              <a:gd name="connsiteX5" fmla="*/ 0 w 1828800"/>
              <a:gd name="connsiteY5" fmla="*/ 457201 h 914401"/>
              <a:gd name="connsiteX0" fmla="*/ 0 w 1828800"/>
              <a:gd name="connsiteY0" fmla="*/ 0 h 914401"/>
              <a:gd name="connsiteX1" fmla="*/ 1712239 w 1828800"/>
              <a:gd name="connsiteY1" fmla="*/ 0 h 914401"/>
              <a:gd name="connsiteX2" fmla="*/ 1828800 w 1828800"/>
              <a:gd name="connsiteY2" fmla="*/ 457200 h 914401"/>
              <a:gd name="connsiteX3" fmla="*/ 1712239 w 1828800"/>
              <a:gd name="connsiteY3" fmla="*/ 914401 h 914401"/>
              <a:gd name="connsiteX4" fmla="*/ 0 w 1828800"/>
              <a:gd name="connsiteY4" fmla="*/ 914400 h 914401"/>
              <a:gd name="connsiteX5" fmla="*/ 116780 w 1828800"/>
              <a:gd name="connsiteY5" fmla="*/ 457201 h 914401"/>
              <a:gd name="connsiteX0" fmla="*/ 0 w 1828800"/>
              <a:gd name="connsiteY0" fmla="*/ 0 h 914401"/>
              <a:gd name="connsiteX1" fmla="*/ 1712020 w 1828800"/>
              <a:gd name="connsiteY1" fmla="*/ 0 h 914401"/>
              <a:gd name="connsiteX2" fmla="*/ 1828800 w 1828800"/>
              <a:gd name="connsiteY2" fmla="*/ 457200 h 914401"/>
              <a:gd name="connsiteX3" fmla="*/ 1712239 w 1828800"/>
              <a:gd name="connsiteY3" fmla="*/ 914401 h 914401"/>
              <a:gd name="connsiteX4" fmla="*/ 0 w 1828800"/>
              <a:gd name="connsiteY4" fmla="*/ 914400 h 914401"/>
              <a:gd name="connsiteX5" fmla="*/ 116780 w 1828800"/>
              <a:gd name="connsiteY5" fmla="*/ 457201 h 914401"/>
              <a:gd name="connsiteX0" fmla="*/ 0 w 1828800"/>
              <a:gd name="connsiteY0" fmla="*/ 0 h 914401"/>
              <a:gd name="connsiteX1" fmla="*/ 1712020 w 1828800"/>
              <a:gd name="connsiteY1" fmla="*/ 0 h 914401"/>
              <a:gd name="connsiteX2" fmla="*/ 1828800 w 1828800"/>
              <a:gd name="connsiteY2" fmla="*/ 457200 h 914401"/>
              <a:gd name="connsiteX3" fmla="*/ 1712020 w 1828800"/>
              <a:gd name="connsiteY3" fmla="*/ 914401 h 914401"/>
              <a:gd name="connsiteX4" fmla="*/ 0 w 1828800"/>
              <a:gd name="connsiteY4" fmla="*/ 914400 h 914401"/>
              <a:gd name="connsiteX5" fmla="*/ 116780 w 1828800"/>
              <a:gd name="connsiteY5" fmla="*/ 457201 h 914401"/>
              <a:gd name="connsiteX0" fmla="*/ 0 w 1828800"/>
              <a:gd name="connsiteY0" fmla="*/ 0 h 914401"/>
              <a:gd name="connsiteX1" fmla="*/ 1712020 w 1828800"/>
              <a:gd name="connsiteY1" fmla="*/ 0 h 914401"/>
              <a:gd name="connsiteX2" fmla="*/ 1828800 w 1828800"/>
              <a:gd name="connsiteY2" fmla="*/ 457200 h 914401"/>
              <a:gd name="connsiteX3" fmla="*/ 1712020 w 1828800"/>
              <a:gd name="connsiteY3" fmla="*/ 914401 h 914401"/>
              <a:gd name="connsiteX4" fmla="*/ 0 w 1828800"/>
              <a:gd name="connsiteY4" fmla="*/ 914400 h 914401"/>
              <a:gd name="connsiteX5" fmla="*/ 0 w 1828800"/>
              <a:gd name="connsiteY5" fmla="*/ 457201 h 914401"/>
              <a:gd name="connsiteX0" fmla="*/ 0 w 1828800"/>
              <a:gd name="connsiteY0" fmla="*/ 0 h 914401"/>
              <a:gd name="connsiteX1" fmla="*/ 1712020 w 1828800"/>
              <a:gd name="connsiteY1" fmla="*/ 0 h 914401"/>
              <a:gd name="connsiteX2" fmla="*/ 1828800 w 1828800"/>
              <a:gd name="connsiteY2" fmla="*/ 457200 h 914401"/>
              <a:gd name="connsiteX3" fmla="*/ 1712020 w 1828800"/>
              <a:gd name="connsiteY3" fmla="*/ 914401 h 914401"/>
              <a:gd name="connsiteX4" fmla="*/ 0 w 1828800"/>
              <a:gd name="connsiteY4" fmla="*/ 914400 h 914401"/>
              <a:gd name="connsiteX5" fmla="*/ 0 w 1828800"/>
              <a:gd name="connsiteY5" fmla="*/ 457201 h 914401"/>
              <a:gd name="connsiteX0" fmla="*/ 0 w 1828800"/>
              <a:gd name="connsiteY0" fmla="*/ 0 h 914401"/>
              <a:gd name="connsiteX1" fmla="*/ 1712020 w 1828800"/>
              <a:gd name="connsiteY1" fmla="*/ 0 h 914401"/>
              <a:gd name="connsiteX2" fmla="*/ 1828800 w 1828800"/>
              <a:gd name="connsiteY2" fmla="*/ 457200 h 914401"/>
              <a:gd name="connsiteX3" fmla="*/ 1712020 w 1828800"/>
              <a:gd name="connsiteY3" fmla="*/ 914401 h 914401"/>
              <a:gd name="connsiteX4" fmla="*/ 0 w 1828800"/>
              <a:gd name="connsiteY4" fmla="*/ 914400 h 914401"/>
              <a:gd name="connsiteX5" fmla="*/ 0 w 1828800"/>
              <a:gd name="connsiteY5" fmla="*/ 457201 h 914401"/>
              <a:gd name="connsiteX0" fmla="*/ 0 w 1828800"/>
              <a:gd name="connsiteY0" fmla="*/ 0 h 914401"/>
              <a:gd name="connsiteX1" fmla="*/ 1712020 w 1828800"/>
              <a:gd name="connsiteY1" fmla="*/ 0 h 914401"/>
              <a:gd name="connsiteX2" fmla="*/ 1828800 w 1828800"/>
              <a:gd name="connsiteY2" fmla="*/ 457200 h 914401"/>
              <a:gd name="connsiteX3" fmla="*/ 1712020 w 1828800"/>
              <a:gd name="connsiteY3" fmla="*/ 914401 h 914401"/>
              <a:gd name="connsiteX4" fmla="*/ 0 w 1828800"/>
              <a:gd name="connsiteY4" fmla="*/ 914400 h 914401"/>
              <a:gd name="connsiteX5" fmla="*/ 116780 w 1828800"/>
              <a:gd name="connsiteY5" fmla="*/ 457201 h 914401"/>
              <a:gd name="connsiteX0" fmla="*/ 0 w 1828800"/>
              <a:gd name="connsiteY0" fmla="*/ 0 h 914401"/>
              <a:gd name="connsiteX1" fmla="*/ 1712020 w 1828800"/>
              <a:gd name="connsiteY1" fmla="*/ 0 h 914401"/>
              <a:gd name="connsiteX2" fmla="*/ 1828800 w 1828800"/>
              <a:gd name="connsiteY2" fmla="*/ 457200 h 914401"/>
              <a:gd name="connsiteX3" fmla="*/ 1712020 w 1828800"/>
              <a:gd name="connsiteY3" fmla="*/ 914401 h 914401"/>
              <a:gd name="connsiteX4" fmla="*/ 0 w 1828800"/>
              <a:gd name="connsiteY4" fmla="*/ 914400 h 914401"/>
              <a:gd name="connsiteX5" fmla="*/ 116780 w 1828800"/>
              <a:gd name="connsiteY5" fmla="*/ 457201 h 914401"/>
              <a:gd name="connsiteX0" fmla="*/ 0 w 1828800"/>
              <a:gd name="connsiteY0" fmla="*/ 0 h 914401"/>
              <a:gd name="connsiteX1" fmla="*/ 1712020 w 1828800"/>
              <a:gd name="connsiteY1" fmla="*/ 0 h 914401"/>
              <a:gd name="connsiteX2" fmla="*/ 1828800 w 1828800"/>
              <a:gd name="connsiteY2" fmla="*/ 457200 h 914401"/>
              <a:gd name="connsiteX3" fmla="*/ 1712020 w 1828800"/>
              <a:gd name="connsiteY3" fmla="*/ 914401 h 914401"/>
              <a:gd name="connsiteX4" fmla="*/ 0 w 1828800"/>
              <a:gd name="connsiteY4" fmla="*/ 914400 h 914401"/>
              <a:gd name="connsiteX5" fmla="*/ 116780 w 1828800"/>
              <a:gd name="connsiteY5" fmla="*/ 457201 h 914401"/>
              <a:gd name="connsiteX0" fmla="*/ 0 w 1828800"/>
              <a:gd name="connsiteY0" fmla="*/ 0 h 914401"/>
              <a:gd name="connsiteX1" fmla="*/ 1712020 w 1828800"/>
              <a:gd name="connsiteY1" fmla="*/ 0 h 914401"/>
              <a:gd name="connsiteX2" fmla="*/ 1828800 w 1828800"/>
              <a:gd name="connsiteY2" fmla="*/ 457200 h 914401"/>
              <a:gd name="connsiteX3" fmla="*/ 1712020 w 1828800"/>
              <a:gd name="connsiteY3" fmla="*/ 914401 h 914401"/>
              <a:gd name="connsiteX4" fmla="*/ 0 w 1828800"/>
              <a:gd name="connsiteY4" fmla="*/ 914400 h 914401"/>
              <a:gd name="connsiteX5" fmla="*/ 0 w 1828800"/>
              <a:gd name="connsiteY5" fmla="*/ 457201 h 914401"/>
              <a:gd name="connsiteX0" fmla="*/ 0 w 1828800"/>
              <a:gd name="connsiteY0" fmla="*/ 0 h 914401"/>
              <a:gd name="connsiteX1" fmla="*/ 1712020 w 1828800"/>
              <a:gd name="connsiteY1" fmla="*/ 0 h 914401"/>
              <a:gd name="connsiteX2" fmla="*/ 1828800 w 1828800"/>
              <a:gd name="connsiteY2" fmla="*/ 457200 h 914401"/>
              <a:gd name="connsiteX3" fmla="*/ 1712020 w 1828800"/>
              <a:gd name="connsiteY3" fmla="*/ 914401 h 914401"/>
              <a:gd name="connsiteX4" fmla="*/ 0 w 1828800"/>
              <a:gd name="connsiteY4" fmla="*/ 914400 h 914401"/>
              <a:gd name="connsiteX5" fmla="*/ 0 w 1828800"/>
              <a:gd name="connsiteY5" fmla="*/ 457201 h 914401"/>
              <a:gd name="connsiteX0" fmla="*/ 0 w 1828800"/>
              <a:gd name="connsiteY0" fmla="*/ 0 h 914401"/>
              <a:gd name="connsiteX1" fmla="*/ 1712020 w 1828800"/>
              <a:gd name="connsiteY1" fmla="*/ 0 h 914401"/>
              <a:gd name="connsiteX2" fmla="*/ 1828800 w 1828800"/>
              <a:gd name="connsiteY2" fmla="*/ 457200 h 914401"/>
              <a:gd name="connsiteX3" fmla="*/ 1712020 w 1828800"/>
              <a:gd name="connsiteY3" fmla="*/ 914401 h 914401"/>
              <a:gd name="connsiteX4" fmla="*/ 0 w 1828800"/>
              <a:gd name="connsiteY4" fmla="*/ 914400 h 914401"/>
              <a:gd name="connsiteX5" fmla="*/ 0 w 1828800"/>
              <a:gd name="connsiteY5" fmla="*/ 457201 h 914401"/>
              <a:gd name="connsiteX0" fmla="*/ 0 w 1828800"/>
              <a:gd name="connsiteY0" fmla="*/ 0 h 914401"/>
              <a:gd name="connsiteX1" fmla="*/ 1712020 w 1828800"/>
              <a:gd name="connsiteY1" fmla="*/ 0 h 914401"/>
              <a:gd name="connsiteX2" fmla="*/ 1828800 w 1828800"/>
              <a:gd name="connsiteY2" fmla="*/ 457200 h 914401"/>
              <a:gd name="connsiteX3" fmla="*/ 1712020 w 1828800"/>
              <a:gd name="connsiteY3" fmla="*/ 914401 h 914401"/>
              <a:gd name="connsiteX4" fmla="*/ 0 w 1828800"/>
              <a:gd name="connsiteY4" fmla="*/ 914400 h 914401"/>
              <a:gd name="connsiteX5" fmla="*/ 116780 w 1828800"/>
              <a:gd name="connsiteY5" fmla="*/ 457201 h 914401"/>
              <a:gd name="connsiteX0" fmla="*/ 0 w 1828800"/>
              <a:gd name="connsiteY0" fmla="*/ 0 h 914401"/>
              <a:gd name="connsiteX1" fmla="*/ 1712020 w 1828800"/>
              <a:gd name="connsiteY1" fmla="*/ 0 h 914401"/>
              <a:gd name="connsiteX2" fmla="*/ 1828800 w 1828800"/>
              <a:gd name="connsiteY2" fmla="*/ 457200 h 914401"/>
              <a:gd name="connsiteX3" fmla="*/ 1712020 w 1828800"/>
              <a:gd name="connsiteY3" fmla="*/ 914401 h 914401"/>
              <a:gd name="connsiteX4" fmla="*/ 0 w 1828800"/>
              <a:gd name="connsiteY4" fmla="*/ 914400 h 914401"/>
              <a:gd name="connsiteX5" fmla="*/ 116780 w 1828800"/>
              <a:gd name="connsiteY5" fmla="*/ 457201 h 914401"/>
              <a:gd name="connsiteX0" fmla="*/ 0 w 1828800"/>
              <a:gd name="connsiteY0" fmla="*/ 0 h 914401"/>
              <a:gd name="connsiteX1" fmla="*/ 1712020 w 1828800"/>
              <a:gd name="connsiteY1" fmla="*/ 0 h 914401"/>
              <a:gd name="connsiteX2" fmla="*/ 1828800 w 1828800"/>
              <a:gd name="connsiteY2" fmla="*/ 457200 h 914401"/>
              <a:gd name="connsiteX3" fmla="*/ 1712020 w 1828800"/>
              <a:gd name="connsiteY3" fmla="*/ 914401 h 914401"/>
              <a:gd name="connsiteX4" fmla="*/ 0 w 1828800"/>
              <a:gd name="connsiteY4" fmla="*/ 914400 h 914401"/>
              <a:gd name="connsiteX5" fmla="*/ 116780 w 1828800"/>
              <a:gd name="connsiteY5" fmla="*/ 457201 h 914401"/>
              <a:gd name="connsiteX0" fmla="*/ 0 w 1828800"/>
              <a:gd name="connsiteY0" fmla="*/ 0 h 914401"/>
              <a:gd name="connsiteX1" fmla="*/ 1712020 w 1828800"/>
              <a:gd name="connsiteY1" fmla="*/ 0 h 914401"/>
              <a:gd name="connsiteX2" fmla="*/ 1828800 w 1828800"/>
              <a:gd name="connsiteY2" fmla="*/ 457200 h 914401"/>
              <a:gd name="connsiteX3" fmla="*/ 1712020 w 1828800"/>
              <a:gd name="connsiteY3" fmla="*/ 914401 h 914401"/>
              <a:gd name="connsiteX4" fmla="*/ 0 w 1828800"/>
              <a:gd name="connsiteY4" fmla="*/ 914400 h 914401"/>
              <a:gd name="connsiteX5" fmla="*/ 0 w 1828800"/>
              <a:gd name="connsiteY5" fmla="*/ 457201 h 914401"/>
              <a:gd name="connsiteX0" fmla="*/ 0 w 1828800"/>
              <a:gd name="connsiteY0" fmla="*/ 0 h 914401"/>
              <a:gd name="connsiteX1" fmla="*/ 1712020 w 1828800"/>
              <a:gd name="connsiteY1" fmla="*/ 0 h 914401"/>
              <a:gd name="connsiteX2" fmla="*/ 1828800 w 1828800"/>
              <a:gd name="connsiteY2" fmla="*/ 457200 h 914401"/>
              <a:gd name="connsiteX3" fmla="*/ 1712020 w 1828800"/>
              <a:gd name="connsiteY3" fmla="*/ 914401 h 914401"/>
              <a:gd name="connsiteX4" fmla="*/ 0 w 1828800"/>
              <a:gd name="connsiteY4" fmla="*/ 914400 h 914401"/>
              <a:gd name="connsiteX5" fmla="*/ 0 w 1828800"/>
              <a:gd name="connsiteY5" fmla="*/ 457201 h 914401"/>
              <a:gd name="connsiteX0" fmla="*/ 0 w 1828800"/>
              <a:gd name="connsiteY0" fmla="*/ 0 h 914401"/>
              <a:gd name="connsiteX1" fmla="*/ 1712020 w 1828800"/>
              <a:gd name="connsiteY1" fmla="*/ 0 h 914401"/>
              <a:gd name="connsiteX2" fmla="*/ 1828800 w 1828800"/>
              <a:gd name="connsiteY2" fmla="*/ 457200 h 914401"/>
              <a:gd name="connsiteX3" fmla="*/ 1712020 w 1828800"/>
              <a:gd name="connsiteY3" fmla="*/ 914401 h 914401"/>
              <a:gd name="connsiteX4" fmla="*/ 0 w 1828800"/>
              <a:gd name="connsiteY4" fmla="*/ 914400 h 914401"/>
              <a:gd name="connsiteX5" fmla="*/ 0 w 1828800"/>
              <a:gd name="connsiteY5" fmla="*/ 457201 h 914401"/>
              <a:gd name="connsiteX0" fmla="*/ 0 w 1828800"/>
              <a:gd name="connsiteY0" fmla="*/ 0 h 914401"/>
              <a:gd name="connsiteX1" fmla="*/ 1712020 w 1828800"/>
              <a:gd name="connsiteY1" fmla="*/ 0 h 914401"/>
              <a:gd name="connsiteX2" fmla="*/ 1828800 w 1828800"/>
              <a:gd name="connsiteY2" fmla="*/ 457200 h 914401"/>
              <a:gd name="connsiteX3" fmla="*/ 1712020 w 1828800"/>
              <a:gd name="connsiteY3" fmla="*/ 914401 h 914401"/>
              <a:gd name="connsiteX4" fmla="*/ 0 w 1828800"/>
              <a:gd name="connsiteY4" fmla="*/ 914400 h 914401"/>
              <a:gd name="connsiteX5" fmla="*/ 0 w 1828800"/>
              <a:gd name="connsiteY5" fmla="*/ 457201 h 914401"/>
              <a:gd name="connsiteX0" fmla="*/ 0 w 1828800"/>
              <a:gd name="connsiteY0" fmla="*/ 0 h 914401"/>
              <a:gd name="connsiteX1" fmla="*/ 1750599 w 1828800"/>
              <a:gd name="connsiteY1" fmla="*/ 0 h 914401"/>
              <a:gd name="connsiteX2" fmla="*/ 1828800 w 1828800"/>
              <a:gd name="connsiteY2" fmla="*/ 457200 h 914401"/>
              <a:gd name="connsiteX3" fmla="*/ 1712020 w 1828800"/>
              <a:gd name="connsiteY3" fmla="*/ 914401 h 914401"/>
              <a:gd name="connsiteX4" fmla="*/ 0 w 1828800"/>
              <a:gd name="connsiteY4" fmla="*/ 914400 h 914401"/>
              <a:gd name="connsiteX5" fmla="*/ 0 w 1828800"/>
              <a:gd name="connsiteY5" fmla="*/ 457201 h 914401"/>
              <a:gd name="connsiteX0" fmla="*/ 0 w 1828800"/>
              <a:gd name="connsiteY0" fmla="*/ 0 h 914401"/>
              <a:gd name="connsiteX1" fmla="*/ 1750599 w 1828800"/>
              <a:gd name="connsiteY1" fmla="*/ 0 h 914401"/>
              <a:gd name="connsiteX2" fmla="*/ 1828800 w 1828800"/>
              <a:gd name="connsiteY2" fmla="*/ 457200 h 914401"/>
              <a:gd name="connsiteX3" fmla="*/ 1750599 w 1828800"/>
              <a:gd name="connsiteY3" fmla="*/ 914401 h 914401"/>
              <a:gd name="connsiteX4" fmla="*/ 0 w 1828800"/>
              <a:gd name="connsiteY4" fmla="*/ 914400 h 914401"/>
              <a:gd name="connsiteX5" fmla="*/ 0 w 1828800"/>
              <a:gd name="connsiteY5" fmla="*/ 457201 h 914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1">
                <a:moveTo>
                  <a:pt x="0" y="0"/>
                </a:moveTo>
                <a:lnTo>
                  <a:pt x="1750599" y="0"/>
                </a:lnTo>
                <a:lnTo>
                  <a:pt x="1828800" y="457200"/>
                </a:lnTo>
                <a:lnTo>
                  <a:pt x="1750599" y="914401"/>
                </a:lnTo>
                <a:lnTo>
                  <a:pt x="0" y="914400"/>
                </a:lnTo>
                <a:lnTo>
                  <a:pt x="0" y="457201"/>
                </a:lnTo>
                <a:close/>
              </a:path>
            </a:pathLst>
          </a:custGeom>
          <a:solidFill>
            <a:schemeClr val="accent1"/>
          </a:solidFill>
          <a:ln w="9525">
            <a:solidFill>
              <a:srgbClr val="FFFFFF"/>
            </a:solidFill>
            <a:round/>
            <a:headEnd/>
            <a:tailEnd/>
          </a:ln>
        </p:spPr>
        <p:txBody>
          <a:bodyPr wrap="none" rtlCol="0" anchor="ctr"/>
          <a:lstStyle/>
          <a:p>
            <a:pPr algn="ctr"/>
            <a:endParaRPr lang="en-US" sz="1600" b="1">
              <a:solidFill>
                <a:schemeClr val="bg1"/>
              </a:solidFill>
            </a:endParaRPr>
          </a:p>
        </p:txBody>
      </p:sp>
      <p:sp>
        <p:nvSpPr>
          <p:cNvPr id="11" name="Rectangle 4">
            <a:extLst>
              <a:ext uri="{FF2B5EF4-FFF2-40B4-BE49-F238E27FC236}">
                <a16:creationId xmlns:a16="http://schemas.microsoft.com/office/drawing/2014/main" id="{1FBB79E7-DE1C-EB07-C5F7-BEE50A3585D4}"/>
              </a:ext>
            </a:extLst>
          </p:cNvPr>
          <p:cNvSpPr txBox="1"/>
          <p:nvPr>
            <p:custDataLst>
              <p:tags r:id="rId4"/>
            </p:custDataLst>
          </p:nvPr>
        </p:nvSpPr>
        <p:spPr>
          <a:xfrm>
            <a:off x="616983" y="1657767"/>
            <a:ext cx="3554592" cy="192345"/>
          </a:xfrm>
          <a:prstGeom prst="rect">
            <a:avLst/>
          </a:prstGeom>
          <a:noFill/>
          <a:ln>
            <a:noFill/>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noAutofit/>
          </a:bodyPr>
          <a:lstStyle>
            <a:lvl1pPr marL="0" lvl="0" indent="0" defTabSz="895350" eaLnBrk="1" hangingPunct="1">
              <a:buClr>
                <a:schemeClr val="tx2"/>
              </a:buClr>
              <a:defRPr>
                <a:latin typeface="+mn-lt"/>
              </a:defRPr>
            </a:lvl1pPr>
            <a:lvl2pPr marL="193675" lvl="1" indent="-192088" defTabSz="895350" eaLnBrk="1" hangingPunct="1">
              <a:buClr>
                <a:schemeClr val="tx2"/>
              </a:buClr>
              <a:buSzPct val="125000"/>
              <a:buFont typeface="Arial" charset="0"/>
              <a:buChar char="▪"/>
              <a:defRPr>
                <a:latin typeface="+mn-lt"/>
              </a:defRPr>
            </a:lvl2pPr>
            <a:lvl3pPr marL="457200" lvl="2" indent="-261938" defTabSz="895350" eaLnBrk="1" hangingPunct="1">
              <a:buClr>
                <a:schemeClr val="tx2"/>
              </a:buClr>
              <a:buSzPct val="120000"/>
              <a:buFont typeface="Arial" charset="0"/>
              <a:buChar char="–"/>
              <a:defRPr>
                <a:latin typeface="+mn-lt"/>
              </a:defRPr>
            </a:lvl3pPr>
            <a:lvl4pPr marL="614363" lvl="3" indent="-155575" defTabSz="895350" eaLnBrk="1" hangingPunct="1">
              <a:buClr>
                <a:schemeClr val="tx2"/>
              </a:buClr>
              <a:buSzPct val="120000"/>
              <a:buFont typeface="Arial" charset="0"/>
              <a:buChar char="▫"/>
              <a:defRPr>
                <a:latin typeface="+mn-lt"/>
              </a:defRPr>
            </a:lvl4pPr>
            <a:lvl5pPr marL="746125" lvl="4" indent="-130175" defTabSz="895350" eaLnBrk="1" hangingPunct="1">
              <a:buClr>
                <a:schemeClr val="tx2"/>
              </a:buClr>
              <a:buSzPct val="89000"/>
              <a:buFont typeface="Arial" charset="0"/>
              <a:buChar char="-"/>
              <a:defRPr>
                <a:latin typeface="+mn-lt"/>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r>
              <a:rPr lang="en-US" sz="1600" b="1">
                <a:solidFill>
                  <a:schemeClr val="bg1"/>
                </a:solidFill>
              </a:rPr>
              <a:t>Root causes lead to…</a:t>
            </a:r>
          </a:p>
        </p:txBody>
      </p:sp>
      <p:sp>
        <p:nvSpPr>
          <p:cNvPr id="12" name="Freeform 22">
            <a:extLst>
              <a:ext uri="{FF2B5EF4-FFF2-40B4-BE49-F238E27FC236}">
                <a16:creationId xmlns:a16="http://schemas.microsoft.com/office/drawing/2014/main" id="{0E5CB803-920C-EAF9-001E-EE83084B4CEF}"/>
              </a:ext>
            </a:extLst>
          </p:cNvPr>
          <p:cNvSpPr/>
          <p:nvPr>
            <p:custDataLst>
              <p:tags r:id="rId5"/>
            </p:custDataLst>
          </p:nvPr>
        </p:nvSpPr>
        <p:spPr bwMode="auto">
          <a:xfrm>
            <a:off x="4206794" y="1396780"/>
            <a:ext cx="3778410" cy="714319"/>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49400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1"/>
              <a:gd name="connsiteX1" fmla="*/ 1749400 w 1828800"/>
              <a:gd name="connsiteY1" fmla="*/ 0 h 914401"/>
              <a:gd name="connsiteX2" fmla="*/ 1828800 w 1828800"/>
              <a:gd name="connsiteY2" fmla="*/ 457200 h 914401"/>
              <a:gd name="connsiteX3" fmla="*/ 1749400 w 1828800"/>
              <a:gd name="connsiteY3" fmla="*/ 914401 h 914401"/>
              <a:gd name="connsiteX4" fmla="*/ 0 w 1828800"/>
              <a:gd name="connsiteY4" fmla="*/ 914400 h 914401"/>
              <a:gd name="connsiteX5" fmla="*/ 0 w 1828800"/>
              <a:gd name="connsiteY5" fmla="*/ 457200 h 914401"/>
              <a:gd name="connsiteX0" fmla="*/ 0 w 1828800"/>
              <a:gd name="connsiteY0" fmla="*/ 0 h 914401"/>
              <a:gd name="connsiteX1" fmla="*/ 1749400 w 1828800"/>
              <a:gd name="connsiteY1" fmla="*/ 0 h 914401"/>
              <a:gd name="connsiteX2" fmla="*/ 1828800 w 1828800"/>
              <a:gd name="connsiteY2" fmla="*/ 457200 h 914401"/>
              <a:gd name="connsiteX3" fmla="*/ 1749400 w 1828800"/>
              <a:gd name="connsiteY3" fmla="*/ 914401 h 914401"/>
              <a:gd name="connsiteX4" fmla="*/ 0 w 1828800"/>
              <a:gd name="connsiteY4" fmla="*/ 914400 h 914401"/>
              <a:gd name="connsiteX5" fmla="*/ 79401 w 1828800"/>
              <a:gd name="connsiteY5" fmla="*/ 457200 h 914401"/>
              <a:gd name="connsiteX0" fmla="*/ 0 w 1828800"/>
              <a:gd name="connsiteY0" fmla="*/ 0 h 914401"/>
              <a:gd name="connsiteX1" fmla="*/ 1749399 w 1828800"/>
              <a:gd name="connsiteY1" fmla="*/ 0 h 914401"/>
              <a:gd name="connsiteX2" fmla="*/ 1828800 w 1828800"/>
              <a:gd name="connsiteY2" fmla="*/ 457200 h 914401"/>
              <a:gd name="connsiteX3" fmla="*/ 1749400 w 1828800"/>
              <a:gd name="connsiteY3" fmla="*/ 914401 h 914401"/>
              <a:gd name="connsiteX4" fmla="*/ 0 w 1828800"/>
              <a:gd name="connsiteY4" fmla="*/ 914400 h 914401"/>
              <a:gd name="connsiteX5" fmla="*/ 79401 w 1828800"/>
              <a:gd name="connsiteY5" fmla="*/ 457200 h 914401"/>
              <a:gd name="connsiteX0" fmla="*/ 0 w 1828800"/>
              <a:gd name="connsiteY0" fmla="*/ 0 h 914401"/>
              <a:gd name="connsiteX1" fmla="*/ 1749399 w 1828800"/>
              <a:gd name="connsiteY1" fmla="*/ 0 h 914401"/>
              <a:gd name="connsiteX2" fmla="*/ 1828800 w 1828800"/>
              <a:gd name="connsiteY2" fmla="*/ 457200 h 914401"/>
              <a:gd name="connsiteX3" fmla="*/ 1749399 w 1828800"/>
              <a:gd name="connsiteY3" fmla="*/ 914401 h 914401"/>
              <a:gd name="connsiteX4" fmla="*/ 0 w 1828800"/>
              <a:gd name="connsiteY4" fmla="*/ 914400 h 914401"/>
              <a:gd name="connsiteX5" fmla="*/ 79401 w 1828800"/>
              <a:gd name="connsiteY5" fmla="*/ 457200 h 914401"/>
              <a:gd name="connsiteX0" fmla="*/ 0 w 1828800"/>
              <a:gd name="connsiteY0" fmla="*/ 0 h 914401"/>
              <a:gd name="connsiteX1" fmla="*/ 1749399 w 1828800"/>
              <a:gd name="connsiteY1" fmla="*/ 0 h 914401"/>
              <a:gd name="connsiteX2" fmla="*/ 1828800 w 1828800"/>
              <a:gd name="connsiteY2" fmla="*/ 457200 h 914401"/>
              <a:gd name="connsiteX3" fmla="*/ 1749399 w 1828800"/>
              <a:gd name="connsiteY3" fmla="*/ 914401 h 914401"/>
              <a:gd name="connsiteX4" fmla="*/ 0 w 1828800"/>
              <a:gd name="connsiteY4" fmla="*/ 914400 h 914401"/>
              <a:gd name="connsiteX5" fmla="*/ 107992 w 1828800"/>
              <a:gd name="connsiteY5" fmla="*/ 457200 h 914401"/>
              <a:gd name="connsiteX0" fmla="*/ 0 w 1828800"/>
              <a:gd name="connsiteY0" fmla="*/ 0 h 914401"/>
              <a:gd name="connsiteX1" fmla="*/ 1720808 w 1828800"/>
              <a:gd name="connsiteY1" fmla="*/ 0 h 914401"/>
              <a:gd name="connsiteX2" fmla="*/ 1828800 w 1828800"/>
              <a:gd name="connsiteY2" fmla="*/ 457200 h 914401"/>
              <a:gd name="connsiteX3" fmla="*/ 1749399 w 1828800"/>
              <a:gd name="connsiteY3" fmla="*/ 914401 h 914401"/>
              <a:gd name="connsiteX4" fmla="*/ 0 w 1828800"/>
              <a:gd name="connsiteY4" fmla="*/ 914400 h 914401"/>
              <a:gd name="connsiteX5" fmla="*/ 107992 w 1828800"/>
              <a:gd name="connsiteY5" fmla="*/ 457200 h 914401"/>
              <a:gd name="connsiteX0" fmla="*/ 0 w 1828800"/>
              <a:gd name="connsiteY0" fmla="*/ 0 h 914401"/>
              <a:gd name="connsiteX1" fmla="*/ 1720808 w 1828800"/>
              <a:gd name="connsiteY1" fmla="*/ 0 h 914401"/>
              <a:gd name="connsiteX2" fmla="*/ 1828800 w 1828800"/>
              <a:gd name="connsiteY2" fmla="*/ 457200 h 914401"/>
              <a:gd name="connsiteX3" fmla="*/ 1720808 w 1828800"/>
              <a:gd name="connsiteY3" fmla="*/ 914401 h 914401"/>
              <a:gd name="connsiteX4" fmla="*/ 0 w 1828800"/>
              <a:gd name="connsiteY4" fmla="*/ 914400 h 914401"/>
              <a:gd name="connsiteX5" fmla="*/ 107992 w 1828800"/>
              <a:gd name="connsiteY5" fmla="*/ 457200 h 914401"/>
              <a:gd name="connsiteX0" fmla="*/ 0 w 1828800"/>
              <a:gd name="connsiteY0" fmla="*/ 0 h 914401"/>
              <a:gd name="connsiteX1" fmla="*/ 1720808 w 1828800"/>
              <a:gd name="connsiteY1" fmla="*/ 0 h 914401"/>
              <a:gd name="connsiteX2" fmla="*/ 1828800 w 1828800"/>
              <a:gd name="connsiteY2" fmla="*/ 457200 h 914401"/>
              <a:gd name="connsiteX3" fmla="*/ 1720808 w 1828800"/>
              <a:gd name="connsiteY3" fmla="*/ 914401 h 914401"/>
              <a:gd name="connsiteX4" fmla="*/ 0 w 1828800"/>
              <a:gd name="connsiteY4" fmla="*/ 914400 h 914401"/>
              <a:gd name="connsiteX5" fmla="*/ 0 w 1828800"/>
              <a:gd name="connsiteY5" fmla="*/ 457201 h 914401"/>
              <a:gd name="connsiteX0" fmla="*/ 0 w 1828800"/>
              <a:gd name="connsiteY0" fmla="*/ 0 h 914401"/>
              <a:gd name="connsiteX1" fmla="*/ 1712239 w 1828800"/>
              <a:gd name="connsiteY1" fmla="*/ 0 h 914401"/>
              <a:gd name="connsiteX2" fmla="*/ 1828800 w 1828800"/>
              <a:gd name="connsiteY2" fmla="*/ 457200 h 914401"/>
              <a:gd name="connsiteX3" fmla="*/ 1720808 w 1828800"/>
              <a:gd name="connsiteY3" fmla="*/ 914401 h 914401"/>
              <a:gd name="connsiteX4" fmla="*/ 0 w 1828800"/>
              <a:gd name="connsiteY4" fmla="*/ 914400 h 914401"/>
              <a:gd name="connsiteX5" fmla="*/ 0 w 1828800"/>
              <a:gd name="connsiteY5" fmla="*/ 457201 h 914401"/>
              <a:gd name="connsiteX0" fmla="*/ 0 w 1828800"/>
              <a:gd name="connsiteY0" fmla="*/ 0 h 914401"/>
              <a:gd name="connsiteX1" fmla="*/ 1712239 w 1828800"/>
              <a:gd name="connsiteY1" fmla="*/ 0 h 914401"/>
              <a:gd name="connsiteX2" fmla="*/ 1828800 w 1828800"/>
              <a:gd name="connsiteY2" fmla="*/ 457200 h 914401"/>
              <a:gd name="connsiteX3" fmla="*/ 1712239 w 1828800"/>
              <a:gd name="connsiteY3" fmla="*/ 914401 h 914401"/>
              <a:gd name="connsiteX4" fmla="*/ 0 w 1828800"/>
              <a:gd name="connsiteY4" fmla="*/ 914400 h 914401"/>
              <a:gd name="connsiteX5" fmla="*/ 0 w 1828800"/>
              <a:gd name="connsiteY5" fmla="*/ 457201 h 914401"/>
              <a:gd name="connsiteX0" fmla="*/ 0 w 1828800"/>
              <a:gd name="connsiteY0" fmla="*/ 0 h 914401"/>
              <a:gd name="connsiteX1" fmla="*/ 1712239 w 1828800"/>
              <a:gd name="connsiteY1" fmla="*/ 0 h 914401"/>
              <a:gd name="connsiteX2" fmla="*/ 1828800 w 1828800"/>
              <a:gd name="connsiteY2" fmla="*/ 457200 h 914401"/>
              <a:gd name="connsiteX3" fmla="*/ 1712239 w 1828800"/>
              <a:gd name="connsiteY3" fmla="*/ 914401 h 914401"/>
              <a:gd name="connsiteX4" fmla="*/ 0 w 1828800"/>
              <a:gd name="connsiteY4" fmla="*/ 914400 h 914401"/>
              <a:gd name="connsiteX5" fmla="*/ 116561 w 1828800"/>
              <a:gd name="connsiteY5" fmla="*/ 457201 h 914401"/>
              <a:gd name="connsiteX0" fmla="*/ 0 w 1828800"/>
              <a:gd name="connsiteY0" fmla="*/ 0 h 914401"/>
              <a:gd name="connsiteX1" fmla="*/ 1712239 w 1828800"/>
              <a:gd name="connsiteY1" fmla="*/ 0 h 914401"/>
              <a:gd name="connsiteX2" fmla="*/ 1828800 w 1828800"/>
              <a:gd name="connsiteY2" fmla="*/ 457200 h 914401"/>
              <a:gd name="connsiteX3" fmla="*/ 1712239 w 1828800"/>
              <a:gd name="connsiteY3" fmla="*/ 914401 h 914401"/>
              <a:gd name="connsiteX4" fmla="*/ 0 w 1828800"/>
              <a:gd name="connsiteY4" fmla="*/ 914400 h 914401"/>
              <a:gd name="connsiteX5" fmla="*/ 116561 w 1828800"/>
              <a:gd name="connsiteY5" fmla="*/ 457201 h 914401"/>
              <a:gd name="connsiteX0" fmla="*/ 0 w 1828800"/>
              <a:gd name="connsiteY0" fmla="*/ 0 h 914401"/>
              <a:gd name="connsiteX1" fmla="*/ 1712239 w 1828800"/>
              <a:gd name="connsiteY1" fmla="*/ 0 h 914401"/>
              <a:gd name="connsiteX2" fmla="*/ 1828800 w 1828800"/>
              <a:gd name="connsiteY2" fmla="*/ 457200 h 914401"/>
              <a:gd name="connsiteX3" fmla="*/ 1712239 w 1828800"/>
              <a:gd name="connsiteY3" fmla="*/ 914401 h 914401"/>
              <a:gd name="connsiteX4" fmla="*/ 0 w 1828800"/>
              <a:gd name="connsiteY4" fmla="*/ 914400 h 914401"/>
              <a:gd name="connsiteX5" fmla="*/ 116561 w 1828800"/>
              <a:gd name="connsiteY5" fmla="*/ 457201 h 914401"/>
              <a:gd name="connsiteX0" fmla="*/ 0 w 1828800"/>
              <a:gd name="connsiteY0" fmla="*/ 0 h 914401"/>
              <a:gd name="connsiteX1" fmla="*/ 1712239 w 1828800"/>
              <a:gd name="connsiteY1" fmla="*/ 0 h 914401"/>
              <a:gd name="connsiteX2" fmla="*/ 1828800 w 1828800"/>
              <a:gd name="connsiteY2" fmla="*/ 457200 h 914401"/>
              <a:gd name="connsiteX3" fmla="*/ 1712239 w 1828800"/>
              <a:gd name="connsiteY3" fmla="*/ 914401 h 914401"/>
              <a:gd name="connsiteX4" fmla="*/ 0 w 1828800"/>
              <a:gd name="connsiteY4" fmla="*/ 914400 h 914401"/>
              <a:gd name="connsiteX5" fmla="*/ 0 w 1828800"/>
              <a:gd name="connsiteY5" fmla="*/ 457201 h 914401"/>
              <a:gd name="connsiteX0" fmla="*/ 0 w 1828800"/>
              <a:gd name="connsiteY0" fmla="*/ 0 h 914401"/>
              <a:gd name="connsiteX1" fmla="*/ 1712020 w 1828800"/>
              <a:gd name="connsiteY1" fmla="*/ 0 h 914401"/>
              <a:gd name="connsiteX2" fmla="*/ 1828800 w 1828800"/>
              <a:gd name="connsiteY2" fmla="*/ 457200 h 914401"/>
              <a:gd name="connsiteX3" fmla="*/ 1712239 w 1828800"/>
              <a:gd name="connsiteY3" fmla="*/ 914401 h 914401"/>
              <a:gd name="connsiteX4" fmla="*/ 0 w 1828800"/>
              <a:gd name="connsiteY4" fmla="*/ 914400 h 914401"/>
              <a:gd name="connsiteX5" fmla="*/ 0 w 1828800"/>
              <a:gd name="connsiteY5" fmla="*/ 457201 h 914401"/>
              <a:gd name="connsiteX0" fmla="*/ 0 w 1828800"/>
              <a:gd name="connsiteY0" fmla="*/ 0 h 914401"/>
              <a:gd name="connsiteX1" fmla="*/ 1712020 w 1828800"/>
              <a:gd name="connsiteY1" fmla="*/ 0 h 914401"/>
              <a:gd name="connsiteX2" fmla="*/ 1828800 w 1828800"/>
              <a:gd name="connsiteY2" fmla="*/ 457200 h 914401"/>
              <a:gd name="connsiteX3" fmla="*/ 1712020 w 1828800"/>
              <a:gd name="connsiteY3" fmla="*/ 914401 h 914401"/>
              <a:gd name="connsiteX4" fmla="*/ 0 w 1828800"/>
              <a:gd name="connsiteY4" fmla="*/ 914400 h 914401"/>
              <a:gd name="connsiteX5" fmla="*/ 0 w 1828800"/>
              <a:gd name="connsiteY5" fmla="*/ 457201 h 914401"/>
              <a:gd name="connsiteX0" fmla="*/ 0 w 1828800"/>
              <a:gd name="connsiteY0" fmla="*/ 0 h 914401"/>
              <a:gd name="connsiteX1" fmla="*/ 1712020 w 1828800"/>
              <a:gd name="connsiteY1" fmla="*/ 0 h 914401"/>
              <a:gd name="connsiteX2" fmla="*/ 1828800 w 1828800"/>
              <a:gd name="connsiteY2" fmla="*/ 457200 h 914401"/>
              <a:gd name="connsiteX3" fmla="*/ 1712020 w 1828800"/>
              <a:gd name="connsiteY3" fmla="*/ 914401 h 914401"/>
              <a:gd name="connsiteX4" fmla="*/ 0 w 1828800"/>
              <a:gd name="connsiteY4" fmla="*/ 914400 h 914401"/>
              <a:gd name="connsiteX5" fmla="*/ 116779 w 1828800"/>
              <a:gd name="connsiteY5" fmla="*/ 457201 h 914401"/>
              <a:gd name="connsiteX0" fmla="*/ 0 w 1828800"/>
              <a:gd name="connsiteY0" fmla="*/ 0 h 914401"/>
              <a:gd name="connsiteX1" fmla="*/ 1712020 w 1828800"/>
              <a:gd name="connsiteY1" fmla="*/ 0 h 914401"/>
              <a:gd name="connsiteX2" fmla="*/ 1828800 w 1828800"/>
              <a:gd name="connsiteY2" fmla="*/ 457200 h 914401"/>
              <a:gd name="connsiteX3" fmla="*/ 1712020 w 1828800"/>
              <a:gd name="connsiteY3" fmla="*/ 914401 h 914401"/>
              <a:gd name="connsiteX4" fmla="*/ 0 w 1828800"/>
              <a:gd name="connsiteY4" fmla="*/ 914400 h 914401"/>
              <a:gd name="connsiteX5" fmla="*/ 116779 w 1828800"/>
              <a:gd name="connsiteY5" fmla="*/ 457201 h 914401"/>
              <a:gd name="connsiteX0" fmla="*/ 0 w 1828800"/>
              <a:gd name="connsiteY0" fmla="*/ 0 h 914401"/>
              <a:gd name="connsiteX1" fmla="*/ 1712020 w 1828800"/>
              <a:gd name="connsiteY1" fmla="*/ 0 h 914401"/>
              <a:gd name="connsiteX2" fmla="*/ 1828800 w 1828800"/>
              <a:gd name="connsiteY2" fmla="*/ 457200 h 914401"/>
              <a:gd name="connsiteX3" fmla="*/ 1712020 w 1828800"/>
              <a:gd name="connsiteY3" fmla="*/ 914401 h 914401"/>
              <a:gd name="connsiteX4" fmla="*/ 0 w 1828800"/>
              <a:gd name="connsiteY4" fmla="*/ 914400 h 914401"/>
              <a:gd name="connsiteX5" fmla="*/ 116779 w 1828800"/>
              <a:gd name="connsiteY5" fmla="*/ 457201 h 914401"/>
              <a:gd name="connsiteX0" fmla="*/ 0 w 1828800"/>
              <a:gd name="connsiteY0" fmla="*/ 0 h 914401"/>
              <a:gd name="connsiteX1" fmla="*/ 1712020 w 1828800"/>
              <a:gd name="connsiteY1" fmla="*/ 0 h 914401"/>
              <a:gd name="connsiteX2" fmla="*/ 1828800 w 1828800"/>
              <a:gd name="connsiteY2" fmla="*/ 457200 h 914401"/>
              <a:gd name="connsiteX3" fmla="*/ 1712020 w 1828800"/>
              <a:gd name="connsiteY3" fmla="*/ 914401 h 914401"/>
              <a:gd name="connsiteX4" fmla="*/ 0 w 1828800"/>
              <a:gd name="connsiteY4" fmla="*/ 914400 h 914401"/>
              <a:gd name="connsiteX5" fmla="*/ 0 w 1828800"/>
              <a:gd name="connsiteY5" fmla="*/ 457201 h 914401"/>
              <a:gd name="connsiteX0" fmla="*/ 0 w 1828800"/>
              <a:gd name="connsiteY0" fmla="*/ 0 h 914401"/>
              <a:gd name="connsiteX1" fmla="*/ 1712021 w 1828800"/>
              <a:gd name="connsiteY1" fmla="*/ 0 h 914401"/>
              <a:gd name="connsiteX2" fmla="*/ 1828800 w 1828800"/>
              <a:gd name="connsiteY2" fmla="*/ 457200 h 914401"/>
              <a:gd name="connsiteX3" fmla="*/ 1712020 w 1828800"/>
              <a:gd name="connsiteY3" fmla="*/ 914401 h 914401"/>
              <a:gd name="connsiteX4" fmla="*/ 0 w 1828800"/>
              <a:gd name="connsiteY4" fmla="*/ 914400 h 914401"/>
              <a:gd name="connsiteX5" fmla="*/ 0 w 1828800"/>
              <a:gd name="connsiteY5" fmla="*/ 457201 h 914401"/>
              <a:gd name="connsiteX0" fmla="*/ 0 w 1828800"/>
              <a:gd name="connsiteY0" fmla="*/ 0 h 914401"/>
              <a:gd name="connsiteX1" fmla="*/ 1712021 w 1828800"/>
              <a:gd name="connsiteY1" fmla="*/ 0 h 914401"/>
              <a:gd name="connsiteX2" fmla="*/ 1828800 w 1828800"/>
              <a:gd name="connsiteY2" fmla="*/ 457200 h 914401"/>
              <a:gd name="connsiteX3" fmla="*/ 1712021 w 1828800"/>
              <a:gd name="connsiteY3" fmla="*/ 914401 h 914401"/>
              <a:gd name="connsiteX4" fmla="*/ 0 w 1828800"/>
              <a:gd name="connsiteY4" fmla="*/ 914400 h 914401"/>
              <a:gd name="connsiteX5" fmla="*/ 0 w 1828800"/>
              <a:gd name="connsiteY5" fmla="*/ 457201 h 914401"/>
              <a:gd name="connsiteX0" fmla="*/ 0 w 1828800"/>
              <a:gd name="connsiteY0" fmla="*/ 0 h 914401"/>
              <a:gd name="connsiteX1" fmla="*/ 1712021 w 1828800"/>
              <a:gd name="connsiteY1" fmla="*/ 0 h 914401"/>
              <a:gd name="connsiteX2" fmla="*/ 1828800 w 1828800"/>
              <a:gd name="connsiteY2" fmla="*/ 457200 h 914401"/>
              <a:gd name="connsiteX3" fmla="*/ 1712021 w 1828800"/>
              <a:gd name="connsiteY3" fmla="*/ 914401 h 914401"/>
              <a:gd name="connsiteX4" fmla="*/ 0 w 1828800"/>
              <a:gd name="connsiteY4" fmla="*/ 914400 h 914401"/>
              <a:gd name="connsiteX5" fmla="*/ 116780 w 1828800"/>
              <a:gd name="connsiteY5" fmla="*/ 457201 h 914401"/>
              <a:gd name="connsiteX0" fmla="*/ 0 w 1828800"/>
              <a:gd name="connsiteY0" fmla="*/ 0 h 914401"/>
              <a:gd name="connsiteX1" fmla="*/ 1712021 w 1828800"/>
              <a:gd name="connsiteY1" fmla="*/ 0 h 914401"/>
              <a:gd name="connsiteX2" fmla="*/ 1828800 w 1828800"/>
              <a:gd name="connsiteY2" fmla="*/ 457200 h 914401"/>
              <a:gd name="connsiteX3" fmla="*/ 1712021 w 1828800"/>
              <a:gd name="connsiteY3" fmla="*/ 914401 h 914401"/>
              <a:gd name="connsiteX4" fmla="*/ 0 w 1828800"/>
              <a:gd name="connsiteY4" fmla="*/ 914400 h 914401"/>
              <a:gd name="connsiteX5" fmla="*/ 116780 w 1828800"/>
              <a:gd name="connsiteY5" fmla="*/ 457201 h 914401"/>
              <a:gd name="connsiteX0" fmla="*/ 0 w 1828800"/>
              <a:gd name="connsiteY0" fmla="*/ 0 h 914401"/>
              <a:gd name="connsiteX1" fmla="*/ 1712021 w 1828800"/>
              <a:gd name="connsiteY1" fmla="*/ 0 h 914401"/>
              <a:gd name="connsiteX2" fmla="*/ 1828800 w 1828800"/>
              <a:gd name="connsiteY2" fmla="*/ 457200 h 914401"/>
              <a:gd name="connsiteX3" fmla="*/ 1712021 w 1828800"/>
              <a:gd name="connsiteY3" fmla="*/ 914401 h 914401"/>
              <a:gd name="connsiteX4" fmla="*/ 0 w 1828800"/>
              <a:gd name="connsiteY4" fmla="*/ 914400 h 914401"/>
              <a:gd name="connsiteX5" fmla="*/ 116780 w 1828800"/>
              <a:gd name="connsiteY5" fmla="*/ 457201 h 914401"/>
              <a:gd name="connsiteX0" fmla="*/ 0 w 1828800"/>
              <a:gd name="connsiteY0" fmla="*/ 0 h 914401"/>
              <a:gd name="connsiteX1" fmla="*/ 1712021 w 1828800"/>
              <a:gd name="connsiteY1" fmla="*/ 0 h 914401"/>
              <a:gd name="connsiteX2" fmla="*/ 1828800 w 1828800"/>
              <a:gd name="connsiteY2" fmla="*/ 457200 h 914401"/>
              <a:gd name="connsiteX3" fmla="*/ 1712021 w 1828800"/>
              <a:gd name="connsiteY3" fmla="*/ 914401 h 914401"/>
              <a:gd name="connsiteX4" fmla="*/ 0 w 1828800"/>
              <a:gd name="connsiteY4" fmla="*/ 914400 h 914401"/>
              <a:gd name="connsiteX5" fmla="*/ 0 w 1828800"/>
              <a:gd name="connsiteY5" fmla="*/ 457201 h 914401"/>
              <a:gd name="connsiteX0" fmla="*/ 0 w 1828800"/>
              <a:gd name="connsiteY0" fmla="*/ 0 h 914401"/>
              <a:gd name="connsiteX1" fmla="*/ 1712021 w 1828800"/>
              <a:gd name="connsiteY1" fmla="*/ 0 h 914401"/>
              <a:gd name="connsiteX2" fmla="*/ 1828800 w 1828800"/>
              <a:gd name="connsiteY2" fmla="*/ 457200 h 914401"/>
              <a:gd name="connsiteX3" fmla="*/ 1712021 w 1828800"/>
              <a:gd name="connsiteY3" fmla="*/ 914401 h 914401"/>
              <a:gd name="connsiteX4" fmla="*/ 0 w 1828800"/>
              <a:gd name="connsiteY4" fmla="*/ 914400 h 914401"/>
              <a:gd name="connsiteX5" fmla="*/ 0 w 1828800"/>
              <a:gd name="connsiteY5" fmla="*/ 457201 h 914401"/>
              <a:gd name="connsiteX0" fmla="*/ 0 w 1828800"/>
              <a:gd name="connsiteY0" fmla="*/ 0 h 914401"/>
              <a:gd name="connsiteX1" fmla="*/ 1712021 w 1828800"/>
              <a:gd name="connsiteY1" fmla="*/ 0 h 914401"/>
              <a:gd name="connsiteX2" fmla="*/ 1828800 w 1828800"/>
              <a:gd name="connsiteY2" fmla="*/ 457200 h 914401"/>
              <a:gd name="connsiteX3" fmla="*/ 1712021 w 1828800"/>
              <a:gd name="connsiteY3" fmla="*/ 914401 h 914401"/>
              <a:gd name="connsiteX4" fmla="*/ 0 w 1828800"/>
              <a:gd name="connsiteY4" fmla="*/ 914400 h 914401"/>
              <a:gd name="connsiteX5" fmla="*/ 0 w 1828800"/>
              <a:gd name="connsiteY5" fmla="*/ 457201 h 914401"/>
              <a:gd name="connsiteX0" fmla="*/ 0 w 1828800"/>
              <a:gd name="connsiteY0" fmla="*/ 0 h 914401"/>
              <a:gd name="connsiteX1" fmla="*/ 1712021 w 1828800"/>
              <a:gd name="connsiteY1" fmla="*/ 0 h 914401"/>
              <a:gd name="connsiteX2" fmla="*/ 1828800 w 1828800"/>
              <a:gd name="connsiteY2" fmla="*/ 457200 h 914401"/>
              <a:gd name="connsiteX3" fmla="*/ 1712021 w 1828800"/>
              <a:gd name="connsiteY3" fmla="*/ 914401 h 914401"/>
              <a:gd name="connsiteX4" fmla="*/ 0 w 1828800"/>
              <a:gd name="connsiteY4" fmla="*/ 914400 h 914401"/>
              <a:gd name="connsiteX5" fmla="*/ 116780 w 1828800"/>
              <a:gd name="connsiteY5" fmla="*/ 457201 h 914401"/>
              <a:gd name="connsiteX0" fmla="*/ 0 w 1828800"/>
              <a:gd name="connsiteY0" fmla="*/ 0 h 914401"/>
              <a:gd name="connsiteX1" fmla="*/ 1712021 w 1828800"/>
              <a:gd name="connsiteY1" fmla="*/ 0 h 914401"/>
              <a:gd name="connsiteX2" fmla="*/ 1828800 w 1828800"/>
              <a:gd name="connsiteY2" fmla="*/ 457200 h 914401"/>
              <a:gd name="connsiteX3" fmla="*/ 1712021 w 1828800"/>
              <a:gd name="connsiteY3" fmla="*/ 914401 h 914401"/>
              <a:gd name="connsiteX4" fmla="*/ 0 w 1828800"/>
              <a:gd name="connsiteY4" fmla="*/ 914400 h 914401"/>
              <a:gd name="connsiteX5" fmla="*/ 116780 w 1828800"/>
              <a:gd name="connsiteY5" fmla="*/ 457201 h 914401"/>
              <a:gd name="connsiteX0" fmla="*/ 0 w 1828800"/>
              <a:gd name="connsiteY0" fmla="*/ 0 h 914401"/>
              <a:gd name="connsiteX1" fmla="*/ 1712021 w 1828800"/>
              <a:gd name="connsiteY1" fmla="*/ 0 h 914401"/>
              <a:gd name="connsiteX2" fmla="*/ 1828800 w 1828800"/>
              <a:gd name="connsiteY2" fmla="*/ 457200 h 914401"/>
              <a:gd name="connsiteX3" fmla="*/ 1712021 w 1828800"/>
              <a:gd name="connsiteY3" fmla="*/ 914401 h 914401"/>
              <a:gd name="connsiteX4" fmla="*/ 0 w 1828800"/>
              <a:gd name="connsiteY4" fmla="*/ 914400 h 914401"/>
              <a:gd name="connsiteX5" fmla="*/ 116780 w 1828800"/>
              <a:gd name="connsiteY5" fmla="*/ 457201 h 914401"/>
              <a:gd name="connsiteX0" fmla="*/ 0 w 1828800"/>
              <a:gd name="connsiteY0" fmla="*/ 0 h 914401"/>
              <a:gd name="connsiteX1" fmla="*/ 1712021 w 1828800"/>
              <a:gd name="connsiteY1" fmla="*/ 0 h 914401"/>
              <a:gd name="connsiteX2" fmla="*/ 1828800 w 1828800"/>
              <a:gd name="connsiteY2" fmla="*/ 457200 h 914401"/>
              <a:gd name="connsiteX3" fmla="*/ 1712021 w 1828800"/>
              <a:gd name="connsiteY3" fmla="*/ 914401 h 914401"/>
              <a:gd name="connsiteX4" fmla="*/ 0 w 1828800"/>
              <a:gd name="connsiteY4" fmla="*/ 914400 h 914401"/>
              <a:gd name="connsiteX5" fmla="*/ 78201 w 1828800"/>
              <a:gd name="connsiteY5" fmla="*/ 457201 h 914401"/>
              <a:gd name="connsiteX0" fmla="*/ 0 w 1828800"/>
              <a:gd name="connsiteY0" fmla="*/ 0 h 914401"/>
              <a:gd name="connsiteX1" fmla="*/ 1750598 w 1828800"/>
              <a:gd name="connsiteY1" fmla="*/ 0 h 914401"/>
              <a:gd name="connsiteX2" fmla="*/ 1828800 w 1828800"/>
              <a:gd name="connsiteY2" fmla="*/ 457200 h 914401"/>
              <a:gd name="connsiteX3" fmla="*/ 1712021 w 1828800"/>
              <a:gd name="connsiteY3" fmla="*/ 914401 h 914401"/>
              <a:gd name="connsiteX4" fmla="*/ 0 w 1828800"/>
              <a:gd name="connsiteY4" fmla="*/ 914400 h 914401"/>
              <a:gd name="connsiteX5" fmla="*/ 78201 w 1828800"/>
              <a:gd name="connsiteY5" fmla="*/ 457201 h 914401"/>
              <a:gd name="connsiteX0" fmla="*/ 0 w 1828800"/>
              <a:gd name="connsiteY0" fmla="*/ 0 h 914401"/>
              <a:gd name="connsiteX1" fmla="*/ 1750598 w 1828800"/>
              <a:gd name="connsiteY1" fmla="*/ 0 h 914401"/>
              <a:gd name="connsiteX2" fmla="*/ 1828800 w 1828800"/>
              <a:gd name="connsiteY2" fmla="*/ 457200 h 914401"/>
              <a:gd name="connsiteX3" fmla="*/ 1750598 w 1828800"/>
              <a:gd name="connsiteY3" fmla="*/ 914401 h 914401"/>
              <a:gd name="connsiteX4" fmla="*/ 0 w 1828800"/>
              <a:gd name="connsiteY4" fmla="*/ 914400 h 914401"/>
              <a:gd name="connsiteX5" fmla="*/ 78201 w 1828800"/>
              <a:gd name="connsiteY5" fmla="*/ 457201 h 914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1">
                <a:moveTo>
                  <a:pt x="0" y="0"/>
                </a:moveTo>
                <a:lnTo>
                  <a:pt x="1750598" y="0"/>
                </a:lnTo>
                <a:lnTo>
                  <a:pt x="1828800" y="457200"/>
                </a:lnTo>
                <a:lnTo>
                  <a:pt x="1750598" y="914401"/>
                </a:lnTo>
                <a:lnTo>
                  <a:pt x="0" y="914400"/>
                </a:lnTo>
                <a:lnTo>
                  <a:pt x="78201" y="457201"/>
                </a:lnTo>
                <a:close/>
              </a:path>
            </a:pathLst>
          </a:custGeom>
          <a:solidFill>
            <a:schemeClr val="accent1"/>
          </a:solidFill>
          <a:ln w="9525">
            <a:solidFill>
              <a:srgbClr val="FFFFFF"/>
            </a:solidFill>
            <a:round/>
            <a:headEnd/>
            <a:tailEnd/>
          </a:ln>
        </p:spPr>
        <p:txBody>
          <a:bodyPr wrap="none" rtlCol="0" anchor="ctr"/>
          <a:lstStyle/>
          <a:p>
            <a:pPr algn="ctr"/>
            <a:endParaRPr lang="en-US" sz="1600" b="1">
              <a:solidFill>
                <a:schemeClr val="bg1"/>
              </a:solidFill>
            </a:endParaRPr>
          </a:p>
        </p:txBody>
      </p:sp>
      <p:sp>
        <p:nvSpPr>
          <p:cNvPr id="13" name="Rectangle 4">
            <a:extLst>
              <a:ext uri="{FF2B5EF4-FFF2-40B4-BE49-F238E27FC236}">
                <a16:creationId xmlns:a16="http://schemas.microsoft.com/office/drawing/2014/main" id="{72D282F1-F701-8B76-7D0D-AA449A4586A0}"/>
              </a:ext>
            </a:extLst>
          </p:cNvPr>
          <p:cNvSpPr txBox="1"/>
          <p:nvPr>
            <p:custDataLst>
              <p:tags r:id="rId6"/>
            </p:custDataLst>
          </p:nvPr>
        </p:nvSpPr>
        <p:spPr>
          <a:xfrm>
            <a:off x="4418162" y="1657767"/>
            <a:ext cx="3405473" cy="192345"/>
          </a:xfrm>
          <a:prstGeom prst="rect">
            <a:avLst/>
          </a:prstGeom>
          <a:noFill/>
          <a:ln>
            <a:noFill/>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noAutofit/>
          </a:bodyPr>
          <a:lstStyle>
            <a:lvl1pPr marL="0" lvl="0" indent="0" defTabSz="895350" eaLnBrk="1" hangingPunct="1">
              <a:buClr>
                <a:schemeClr val="tx2"/>
              </a:buClr>
              <a:defRPr>
                <a:latin typeface="+mn-lt"/>
              </a:defRPr>
            </a:lvl1pPr>
            <a:lvl2pPr marL="193675" lvl="1" indent="-192088" defTabSz="895350" eaLnBrk="1" hangingPunct="1">
              <a:buClr>
                <a:schemeClr val="tx2"/>
              </a:buClr>
              <a:buSzPct val="125000"/>
              <a:buFont typeface="Arial" charset="0"/>
              <a:buChar char="▪"/>
              <a:defRPr>
                <a:latin typeface="+mn-lt"/>
              </a:defRPr>
            </a:lvl2pPr>
            <a:lvl3pPr marL="457200" lvl="2" indent="-261938" defTabSz="895350" eaLnBrk="1" hangingPunct="1">
              <a:buClr>
                <a:schemeClr val="tx2"/>
              </a:buClr>
              <a:buSzPct val="120000"/>
              <a:buFont typeface="Arial" charset="0"/>
              <a:buChar char="–"/>
              <a:defRPr>
                <a:latin typeface="+mn-lt"/>
              </a:defRPr>
            </a:lvl3pPr>
            <a:lvl4pPr marL="614363" lvl="3" indent="-155575" defTabSz="895350" eaLnBrk="1" hangingPunct="1">
              <a:buClr>
                <a:schemeClr val="tx2"/>
              </a:buClr>
              <a:buSzPct val="120000"/>
              <a:buFont typeface="Arial" charset="0"/>
              <a:buChar char="▫"/>
              <a:defRPr>
                <a:latin typeface="+mn-lt"/>
              </a:defRPr>
            </a:lvl4pPr>
            <a:lvl5pPr marL="746125" lvl="4" indent="-130175" defTabSz="895350" eaLnBrk="1" hangingPunct="1">
              <a:buClr>
                <a:schemeClr val="tx2"/>
              </a:buClr>
              <a:buSzPct val="89000"/>
              <a:buFont typeface="Arial" charset="0"/>
              <a:buChar char="-"/>
              <a:defRPr>
                <a:latin typeface="+mn-lt"/>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r>
              <a:rPr lang="en-US" sz="1600" b="1">
                <a:solidFill>
                  <a:schemeClr val="bg1"/>
                </a:solidFill>
              </a:rPr>
              <a:t>…systemic issues which lead to…</a:t>
            </a:r>
          </a:p>
        </p:txBody>
      </p:sp>
      <p:sp>
        <p:nvSpPr>
          <p:cNvPr id="14" name="Freeform 22">
            <a:extLst>
              <a:ext uri="{FF2B5EF4-FFF2-40B4-BE49-F238E27FC236}">
                <a16:creationId xmlns:a16="http://schemas.microsoft.com/office/drawing/2014/main" id="{FAE8C2A7-C326-99EB-32B9-9D0833EB9471}"/>
              </a:ext>
            </a:extLst>
          </p:cNvPr>
          <p:cNvSpPr/>
          <p:nvPr>
            <p:custDataLst>
              <p:tags r:id="rId7"/>
            </p:custDataLst>
          </p:nvPr>
        </p:nvSpPr>
        <p:spPr bwMode="auto">
          <a:xfrm>
            <a:off x="7858854" y="1396780"/>
            <a:ext cx="3778410" cy="714319"/>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49400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1"/>
              <a:gd name="connsiteX1" fmla="*/ 1749400 w 1828800"/>
              <a:gd name="connsiteY1" fmla="*/ 0 h 914401"/>
              <a:gd name="connsiteX2" fmla="*/ 1828800 w 1828800"/>
              <a:gd name="connsiteY2" fmla="*/ 457200 h 914401"/>
              <a:gd name="connsiteX3" fmla="*/ 1749400 w 1828800"/>
              <a:gd name="connsiteY3" fmla="*/ 914401 h 914401"/>
              <a:gd name="connsiteX4" fmla="*/ 0 w 1828800"/>
              <a:gd name="connsiteY4" fmla="*/ 914400 h 914401"/>
              <a:gd name="connsiteX5" fmla="*/ 0 w 1828800"/>
              <a:gd name="connsiteY5" fmla="*/ 457200 h 914401"/>
              <a:gd name="connsiteX0" fmla="*/ 0 w 1828800"/>
              <a:gd name="connsiteY0" fmla="*/ 0 h 914401"/>
              <a:gd name="connsiteX1" fmla="*/ 1749400 w 1828800"/>
              <a:gd name="connsiteY1" fmla="*/ 0 h 914401"/>
              <a:gd name="connsiteX2" fmla="*/ 1828800 w 1828800"/>
              <a:gd name="connsiteY2" fmla="*/ 457200 h 914401"/>
              <a:gd name="connsiteX3" fmla="*/ 1749400 w 1828800"/>
              <a:gd name="connsiteY3" fmla="*/ 914401 h 914401"/>
              <a:gd name="connsiteX4" fmla="*/ 0 w 1828800"/>
              <a:gd name="connsiteY4" fmla="*/ 914400 h 914401"/>
              <a:gd name="connsiteX5" fmla="*/ 79401 w 1828800"/>
              <a:gd name="connsiteY5" fmla="*/ 457200 h 914401"/>
              <a:gd name="connsiteX0" fmla="*/ 0 w 1828800"/>
              <a:gd name="connsiteY0" fmla="*/ 0 h 914401"/>
              <a:gd name="connsiteX1" fmla="*/ 1749399 w 1828800"/>
              <a:gd name="connsiteY1" fmla="*/ 0 h 914401"/>
              <a:gd name="connsiteX2" fmla="*/ 1828800 w 1828800"/>
              <a:gd name="connsiteY2" fmla="*/ 457200 h 914401"/>
              <a:gd name="connsiteX3" fmla="*/ 1749400 w 1828800"/>
              <a:gd name="connsiteY3" fmla="*/ 914401 h 914401"/>
              <a:gd name="connsiteX4" fmla="*/ 0 w 1828800"/>
              <a:gd name="connsiteY4" fmla="*/ 914400 h 914401"/>
              <a:gd name="connsiteX5" fmla="*/ 79401 w 1828800"/>
              <a:gd name="connsiteY5" fmla="*/ 457200 h 914401"/>
              <a:gd name="connsiteX0" fmla="*/ 0 w 1828800"/>
              <a:gd name="connsiteY0" fmla="*/ 0 h 914401"/>
              <a:gd name="connsiteX1" fmla="*/ 1749399 w 1828800"/>
              <a:gd name="connsiteY1" fmla="*/ 0 h 914401"/>
              <a:gd name="connsiteX2" fmla="*/ 1828800 w 1828800"/>
              <a:gd name="connsiteY2" fmla="*/ 457200 h 914401"/>
              <a:gd name="connsiteX3" fmla="*/ 1749399 w 1828800"/>
              <a:gd name="connsiteY3" fmla="*/ 914401 h 914401"/>
              <a:gd name="connsiteX4" fmla="*/ 0 w 1828800"/>
              <a:gd name="connsiteY4" fmla="*/ 914400 h 914401"/>
              <a:gd name="connsiteX5" fmla="*/ 79401 w 1828800"/>
              <a:gd name="connsiteY5" fmla="*/ 457200 h 914401"/>
              <a:gd name="connsiteX0" fmla="*/ 0 w 1828800"/>
              <a:gd name="connsiteY0" fmla="*/ 0 h 914401"/>
              <a:gd name="connsiteX1" fmla="*/ 1749399 w 1828800"/>
              <a:gd name="connsiteY1" fmla="*/ 0 h 914401"/>
              <a:gd name="connsiteX2" fmla="*/ 1828800 w 1828800"/>
              <a:gd name="connsiteY2" fmla="*/ 457200 h 914401"/>
              <a:gd name="connsiteX3" fmla="*/ 1749399 w 1828800"/>
              <a:gd name="connsiteY3" fmla="*/ 914401 h 914401"/>
              <a:gd name="connsiteX4" fmla="*/ 0 w 1828800"/>
              <a:gd name="connsiteY4" fmla="*/ 914400 h 914401"/>
              <a:gd name="connsiteX5" fmla="*/ 107992 w 1828800"/>
              <a:gd name="connsiteY5" fmla="*/ 457200 h 914401"/>
              <a:gd name="connsiteX0" fmla="*/ 0 w 1828800"/>
              <a:gd name="connsiteY0" fmla="*/ 0 h 914401"/>
              <a:gd name="connsiteX1" fmla="*/ 1720808 w 1828800"/>
              <a:gd name="connsiteY1" fmla="*/ 0 h 914401"/>
              <a:gd name="connsiteX2" fmla="*/ 1828800 w 1828800"/>
              <a:gd name="connsiteY2" fmla="*/ 457200 h 914401"/>
              <a:gd name="connsiteX3" fmla="*/ 1749399 w 1828800"/>
              <a:gd name="connsiteY3" fmla="*/ 914401 h 914401"/>
              <a:gd name="connsiteX4" fmla="*/ 0 w 1828800"/>
              <a:gd name="connsiteY4" fmla="*/ 914400 h 914401"/>
              <a:gd name="connsiteX5" fmla="*/ 107992 w 1828800"/>
              <a:gd name="connsiteY5" fmla="*/ 457200 h 914401"/>
              <a:gd name="connsiteX0" fmla="*/ 0 w 1828800"/>
              <a:gd name="connsiteY0" fmla="*/ 0 h 914401"/>
              <a:gd name="connsiteX1" fmla="*/ 1720808 w 1828800"/>
              <a:gd name="connsiteY1" fmla="*/ 0 h 914401"/>
              <a:gd name="connsiteX2" fmla="*/ 1828800 w 1828800"/>
              <a:gd name="connsiteY2" fmla="*/ 457200 h 914401"/>
              <a:gd name="connsiteX3" fmla="*/ 1720808 w 1828800"/>
              <a:gd name="connsiteY3" fmla="*/ 914401 h 914401"/>
              <a:gd name="connsiteX4" fmla="*/ 0 w 1828800"/>
              <a:gd name="connsiteY4" fmla="*/ 914400 h 914401"/>
              <a:gd name="connsiteX5" fmla="*/ 107992 w 1828800"/>
              <a:gd name="connsiteY5" fmla="*/ 457200 h 914401"/>
              <a:gd name="connsiteX0" fmla="*/ 0 w 1828800"/>
              <a:gd name="connsiteY0" fmla="*/ 0 h 914401"/>
              <a:gd name="connsiteX1" fmla="*/ 1720808 w 1828800"/>
              <a:gd name="connsiteY1" fmla="*/ 0 h 914401"/>
              <a:gd name="connsiteX2" fmla="*/ 1828800 w 1828800"/>
              <a:gd name="connsiteY2" fmla="*/ 457200 h 914401"/>
              <a:gd name="connsiteX3" fmla="*/ 1720808 w 1828800"/>
              <a:gd name="connsiteY3" fmla="*/ 914401 h 914401"/>
              <a:gd name="connsiteX4" fmla="*/ 0 w 1828800"/>
              <a:gd name="connsiteY4" fmla="*/ 914400 h 914401"/>
              <a:gd name="connsiteX5" fmla="*/ 0 w 1828800"/>
              <a:gd name="connsiteY5" fmla="*/ 457201 h 914401"/>
              <a:gd name="connsiteX0" fmla="*/ 0 w 1828800"/>
              <a:gd name="connsiteY0" fmla="*/ 0 h 914401"/>
              <a:gd name="connsiteX1" fmla="*/ 1712239 w 1828800"/>
              <a:gd name="connsiteY1" fmla="*/ 0 h 914401"/>
              <a:gd name="connsiteX2" fmla="*/ 1828800 w 1828800"/>
              <a:gd name="connsiteY2" fmla="*/ 457200 h 914401"/>
              <a:gd name="connsiteX3" fmla="*/ 1720808 w 1828800"/>
              <a:gd name="connsiteY3" fmla="*/ 914401 h 914401"/>
              <a:gd name="connsiteX4" fmla="*/ 0 w 1828800"/>
              <a:gd name="connsiteY4" fmla="*/ 914400 h 914401"/>
              <a:gd name="connsiteX5" fmla="*/ 0 w 1828800"/>
              <a:gd name="connsiteY5" fmla="*/ 457201 h 914401"/>
              <a:gd name="connsiteX0" fmla="*/ 0 w 1828800"/>
              <a:gd name="connsiteY0" fmla="*/ 0 h 914401"/>
              <a:gd name="connsiteX1" fmla="*/ 1712239 w 1828800"/>
              <a:gd name="connsiteY1" fmla="*/ 0 h 914401"/>
              <a:gd name="connsiteX2" fmla="*/ 1828800 w 1828800"/>
              <a:gd name="connsiteY2" fmla="*/ 457200 h 914401"/>
              <a:gd name="connsiteX3" fmla="*/ 1712239 w 1828800"/>
              <a:gd name="connsiteY3" fmla="*/ 914401 h 914401"/>
              <a:gd name="connsiteX4" fmla="*/ 0 w 1828800"/>
              <a:gd name="connsiteY4" fmla="*/ 914400 h 914401"/>
              <a:gd name="connsiteX5" fmla="*/ 0 w 1828800"/>
              <a:gd name="connsiteY5" fmla="*/ 457201 h 914401"/>
              <a:gd name="connsiteX0" fmla="*/ 0 w 1828800"/>
              <a:gd name="connsiteY0" fmla="*/ 0 h 914401"/>
              <a:gd name="connsiteX1" fmla="*/ 1712239 w 1828800"/>
              <a:gd name="connsiteY1" fmla="*/ 0 h 914401"/>
              <a:gd name="connsiteX2" fmla="*/ 1828800 w 1828800"/>
              <a:gd name="connsiteY2" fmla="*/ 457200 h 914401"/>
              <a:gd name="connsiteX3" fmla="*/ 1712239 w 1828800"/>
              <a:gd name="connsiteY3" fmla="*/ 914401 h 914401"/>
              <a:gd name="connsiteX4" fmla="*/ 0 w 1828800"/>
              <a:gd name="connsiteY4" fmla="*/ 914400 h 914401"/>
              <a:gd name="connsiteX5" fmla="*/ 116561 w 1828800"/>
              <a:gd name="connsiteY5" fmla="*/ 457201 h 914401"/>
              <a:gd name="connsiteX0" fmla="*/ 0 w 1828800"/>
              <a:gd name="connsiteY0" fmla="*/ 0 h 914401"/>
              <a:gd name="connsiteX1" fmla="*/ 1712239 w 1828800"/>
              <a:gd name="connsiteY1" fmla="*/ 0 h 914401"/>
              <a:gd name="connsiteX2" fmla="*/ 1828800 w 1828800"/>
              <a:gd name="connsiteY2" fmla="*/ 457200 h 914401"/>
              <a:gd name="connsiteX3" fmla="*/ 1712239 w 1828800"/>
              <a:gd name="connsiteY3" fmla="*/ 914401 h 914401"/>
              <a:gd name="connsiteX4" fmla="*/ 0 w 1828800"/>
              <a:gd name="connsiteY4" fmla="*/ 914400 h 914401"/>
              <a:gd name="connsiteX5" fmla="*/ 116561 w 1828800"/>
              <a:gd name="connsiteY5" fmla="*/ 457201 h 914401"/>
              <a:gd name="connsiteX0" fmla="*/ 0 w 1828800"/>
              <a:gd name="connsiteY0" fmla="*/ 0 h 914401"/>
              <a:gd name="connsiteX1" fmla="*/ 1712239 w 1828800"/>
              <a:gd name="connsiteY1" fmla="*/ 0 h 914401"/>
              <a:gd name="connsiteX2" fmla="*/ 1828800 w 1828800"/>
              <a:gd name="connsiteY2" fmla="*/ 457200 h 914401"/>
              <a:gd name="connsiteX3" fmla="*/ 1712239 w 1828800"/>
              <a:gd name="connsiteY3" fmla="*/ 914401 h 914401"/>
              <a:gd name="connsiteX4" fmla="*/ 0 w 1828800"/>
              <a:gd name="connsiteY4" fmla="*/ 914400 h 914401"/>
              <a:gd name="connsiteX5" fmla="*/ 116561 w 1828800"/>
              <a:gd name="connsiteY5" fmla="*/ 457201 h 914401"/>
              <a:gd name="connsiteX0" fmla="*/ 0 w 1828800"/>
              <a:gd name="connsiteY0" fmla="*/ 0 h 914401"/>
              <a:gd name="connsiteX1" fmla="*/ 1712239 w 1828800"/>
              <a:gd name="connsiteY1" fmla="*/ 0 h 914401"/>
              <a:gd name="connsiteX2" fmla="*/ 1828800 w 1828800"/>
              <a:gd name="connsiteY2" fmla="*/ 457200 h 914401"/>
              <a:gd name="connsiteX3" fmla="*/ 1712239 w 1828800"/>
              <a:gd name="connsiteY3" fmla="*/ 914401 h 914401"/>
              <a:gd name="connsiteX4" fmla="*/ 0 w 1828800"/>
              <a:gd name="connsiteY4" fmla="*/ 914400 h 914401"/>
              <a:gd name="connsiteX5" fmla="*/ 0 w 1828800"/>
              <a:gd name="connsiteY5" fmla="*/ 457201 h 914401"/>
              <a:gd name="connsiteX0" fmla="*/ 0 w 1828800"/>
              <a:gd name="connsiteY0" fmla="*/ 0 h 914401"/>
              <a:gd name="connsiteX1" fmla="*/ 1712020 w 1828800"/>
              <a:gd name="connsiteY1" fmla="*/ 0 h 914401"/>
              <a:gd name="connsiteX2" fmla="*/ 1828800 w 1828800"/>
              <a:gd name="connsiteY2" fmla="*/ 457200 h 914401"/>
              <a:gd name="connsiteX3" fmla="*/ 1712239 w 1828800"/>
              <a:gd name="connsiteY3" fmla="*/ 914401 h 914401"/>
              <a:gd name="connsiteX4" fmla="*/ 0 w 1828800"/>
              <a:gd name="connsiteY4" fmla="*/ 914400 h 914401"/>
              <a:gd name="connsiteX5" fmla="*/ 0 w 1828800"/>
              <a:gd name="connsiteY5" fmla="*/ 457201 h 914401"/>
              <a:gd name="connsiteX0" fmla="*/ 0 w 1828800"/>
              <a:gd name="connsiteY0" fmla="*/ 0 h 914401"/>
              <a:gd name="connsiteX1" fmla="*/ 1712020 w 1828800"/>
              <a:gd name="connsiteY1" fmla="*/ 0 h 914401"/>
              <a:gd name="connsiteX2" fmla="*/ 1828800 w 1828800"/>
              <a:gd name="connsiteY2" fmla="*/ 457200 h 914401"/>
              <a:gd name="connsiteX3" fmla="*/ 1712020 w 1828800"/>
              <a:gd name="connsiteY3" fmla="*/ 914401 h 914401"/>
              <a:gd name="connsiteX4" fmla="*/ 0 w 1828800"/>
              <a:gd name="connsiteY4" fmla="*/ 914400 h 914401"/>
              <a:gd name="connsiteX5" fmla="*/ 0 w 1828800"/>
              <a:gd name="connsiteY5" fmla="*/ 457201 h 914401"/>
              <a:gd name="connsiteX0" fmla="*/ 0 w 1828800"/>
              <a:gd name="connsiteY0" fmla="*/ 0 h 914401"/>
              <a:gd name="connsiteX1" fmla="*/ 1712020 w 1828800"/>
              <a:gd name="connsiteY1" fmla="*/ 0 h 914401"/>
              <a:gd name="connsiteX2" fmla="*/ 1828800 w 1828800"/>
              <a:gd name="connsiteY2" fmla="*/ 457200 h 914401"/>
              <a:gd name="connsiteX3" fmla="*/ 1712020 w 1828800"/>
              <a:gd name="connsiteY3" fmla="*/ 914401 h 914401"/>
              <a:gd name="connsiteX4" fmla="*/ 0 w 1828800"/>
              <a:gd name="connsiteY4" fmla="*/ 914400 h 914401"/>
              <a:gd name="connsiteX5" fmla="*/ 116779 w 1828800"/>
              <a:gd name="connsiteY5" fmla="*/ 457201 h 914401"/>
              <a:gd name="connsiteX0" fmla="*/ 0 w 1828800"/>
              <a:gd name="connsiteY0" fmla="*/ 0 h 914401"/>
              <a:gd name="connsiteX1" fmla="*/ 1712020 w 1828800"/>
              <a:gd name="connsiteY1" fmla="*/ 0 h 914401"/>
              <a:gd name="connsiteX2" fmla="*/ 1828800 w 1828800"/>
              <a:gd name="connsiteY2" fmla="*/ 457200 h 914401"/>
              <a:gd name="connsiteX3" fmla="*/ 1712020 w 1828800"/>
              <a:gd name="connsiteY3" fmla="*/ 914401 h 914401"/>
              <a:gd name="connsiteX4" fmla="*/ 0 w 1828800"/>
              <a:gd name="connsiteY4" fmla="*/ 914400 h 914401"/>
              <a:gd name="connsiteX5" fmla="*/ 116779 w 1828800"/>
              <a:gd name="connsiteY5" fmla="*/ 457201 h 914401"/>
              <a:gd name="connsiteX0" fmla="*/ 0 w 1828800"/>
              <a:gd name="connsiteY0" fmla="*/ 0 h 914401"/>
              <a:gd name="connsiteX1" fmla="*/ 1712020 w 1828800"/>
              <a:gd name="connsiteY1" fmla="*/ 0 h 914401"/>
              <a:gd name="connsiteX2" fmla="*/ 1828800 w 1828800"/>
              <a:gd name="connsiteY2" fmla="*/ 457200 h 914401"/>
              <a:gd name="connsiteX3" fmla="*/ 1712020 w 1828800"/>
              <a:gd name="connsiteY3" fmla="*/ 914401 h 914401"/>
              <a:gd name="connsiteX4" fmla="*/ 0 w 1828800"/>
              <a:gd name="connsiteY4" fmla="*/ 914400 h 914401"/>
              <a:gd name="connsiteX5" fmla="*/ 116779 w 1828800"/>
              <a:gd name="connsiteY5" fmla="*/ 457201 h 914401"/>
              <a:gd name="connsiteX0" fmla="*/ 0 w 1828800"/>
              <a:gd name="connsiteY0" fmla="*/ 0 h 914401"/>
              <a:gd name="connsiteX1" fmla="*/ 1712020 w 1828800"/>
              <a:gd name="connsiteY1" fmla="*/ 0 h 914401"/>
              <a:gd name="connsiteX2" fmla="*/ 1828800 w 1828800"/>
              <a:gd name="connsiteY2" fmla="*/ 457200 h 914401"/>
              <a:gd name="connsiteX3" fmla="*/ 1712020 w 1828800"/>
              <a:gd name="connsiteY3" fmla="*/ 914401 h 914401"/>
              <a:gd name="connsiteX4" fmla="*/ 0 w 1828800"/>
              <a:gd name="connsiteY4" fmla="*/ 914400 h 914401"/>
              <a:gd name="connsiteX5" fmla="*/ 0 w 1828800"/>
              <a:gd name="connsiteY5" fmla="*/ 457201 h 914401"/>
              <a:gd name="connsiteX0" fmla="*/ 0 w 1828800"/>
              <a:gd name="connsiteY0" fmla="*/ 0 h 914401"/>
              <a:gd name="connsiteX1" fmla="*/ 1712021 w 1828800"/>
              <a:gd name="connsiteY1" fmla="*/ 0 h 914401"/>
              <a:gd name="connsiteX2" fmla="*/ 1828800 w 1828800"/>
              <a:gd name="connsiteY2" fmla="*/ 457200 h 914401"/>
              <a:gd name="connsiteX3" fmla="*/ 1712020 w 1828800"/>
              <a:gd name="connsiteY3" fmla="*/ 914401 h 914401"/>
              <a:gd name="connsiteX4" fmla="*/ 0 w 1828800"/>
              <a:gd name="connsiteY4" fmla="*/ 914400 h 914401"/>
              <a:gd name="connsiteX5" fmla="*/ 0 w 1828800"/>
              <a:gd name="connsiteY5" fmla="*/ 457201 h 914401"/>
              <a:gd name="connsiteX0" fmla="*/ 0 w 1828800"/>
              <a:gd name="connsiteY0" fmla="*/ 0 h 914401"/>
              <a:gd name="connsiteX1" fmla="*/ 1712021 w 1828800"/>
              <a:gd name="connsiteY1" fmla="*/ 0 h 914401"/>
              <a:gd name="connsiteX2" fmla="*/ 1828800 w 1828800"/>
              <a:gd name="connsiteY2" fmla="*/ 457200 h 914401"/>
              <a:gd name="connsiteX3" fmla="*/ 1712021 w 1828800"/>
              <a:gd name="connsiteY3" fmla="*/ 914401 h 914401"/>
              <a:gd name="connsiteX4" fmla="*/ 0 w 1828800"/>
              <a:gd name="connsiteY4" fmla="*/ 914400 h 914401"/>
              <a:gd name="connsiteX5" fmla="*/ 0 w 1828800"/>
              <a:gd name="connsiteY5" fmla="*/ 457201 h 914401"/>
              <a:gd name="connsiteX0" fmla="*/ 0 w 1828800"/>
              <a:gd name="connsiteY0" fmla="*/ 0 h 914401"/>
              <a:gd name="connsiteX1" fmla="*/ 1712021 w 1828800"/>
              <a:gd name="connsiteY1" fmla="*/ 0 h 914401"/>
              <a:gd name="connsiteX2" fmla="*/ 1828800 w 1828800"/>
              <a:gd name="connsiteY2" fmla="*/ 457200 h 914401"/>
              <a:gd name="connsiteX3" fmla="*/ 1712021 w 1828800"/>
              <a:gd name="connsiteY3" fmla="*/ 914401 h 914401"/>
              <a:gd name="connsiteX4" fmla="*/ 0 w 1828800"/>
              <a:gd name="connsiteY4" fmla="*/ 914400 h 914401"/>
              <a:gd name="connsiteX5" fmla="*/ 116780 w 1828800"/>
              <a:gd name="connsiteY5" fmla="*/ 457201 h 914401"/>
              <a:gd name="connsiteX0" fmla="*/ 0 w 1828800"/>
              <a:gd name="connsiteY0" fmla="*/ 0 h 914401"/>
              <a:gd name="connsiteX1" fmla="*/ 1712021 w 1828800"/>
              <a:gd name="connsiteY1" fmla="*/ 0 h 914401"/>
              <a:gd name="connsiteX2" fmla="*/ 1828800 w 1828800"/>
              <a:gd name="connsiteY2" fmla="*/ 457200 h 914401"/>
              <a:gd name="connsiteX3" fmla="*/ 1712021 w 1828800"/>
              <a:gd name="connsiteY3" fmla="*/ 914401 h 914401"/>
              <a:gd name="connsiteX4" fmla="*/ 0 w 1828800"/>
              <a:gd name="connsiteY4" fmla="*/ 914400 h 914401"/>
              <a:gd name="connsiteX5" fmla="*/ 116780 w 1828800"/>
              <a:gd name="connsiteY5" fmla="*/ 457201 h 914401"/>
              <a:gd name="connsiteX0" fmla="*/ 0 w 1828800"/>
              <a:gd name="connsiteY0" fmla="*/ 0 h 914401"/>
              <a:gd name="connsiteX1" fmla="*/ 1712021 w 1828800"/>
              <a:gd name="connsiteY1" fmla="*/ 0 h 914401"/>
              <a:gd name="connsiteX2" fmla="*/ 1828800 w 1828800"/>
              <a:gd name="connsiteY2" fmla="*/ 457200 h 914401"/>
              <a:gd name="connsiteX3" fmla="*/ 1712021 w 1828800"/>
              <a:gd name="connsiteY3" fmla="*/ 914401 h 914401"/>
              <a:gd name="connsiteX4" fmla="*/ 0 w 1828800"/>
              <a:gd name="connsiteY4" fmla="*/ 914400 h 914401"/>
              <a:gd name="connsiteX5" fmla="*/ 116780 w 1828800"/>
              <a:gd name="connsiteY5" fmla="*/ 457201 h 914401"/>
              <a:gd name="connsiteX0" fmla="*/ 0 w 1828800"/>
              <a:gd name="connsiteY0" fmla="*/ 0 h 914401"/>
              <a:gd name="connsiteX1" fmla="*/ 1712021 w 1828800"/>
              <a:gd name="connsiteY1" fmla="*/ 0 h 914401"/>
              <a:gd name="connsiteX2" fmla="*/ 1828800 w 1828800"/>
              <a:gd name="connsiteY2" fmla="*/ 457200 h 914401"/>
              <a:gd name="connsiteX3" fmla="*/ 1712021 w 1828800"/>
              <a:gd name="connsiteY3" fmla="*/ 914401 h 914401"/>
              <a:gd name="connsiteX4" fmla="*/ 0 w 1828800"/>
              <a:gd name="connsiteY4" fmla="*/ 914400 h 914401"/>
              <a:gd name="connsiteX5" fmla="*/ 0 w 1828800"/>
              <a:gd name="connsiteY5" fmla="*/ 457201 h 914401"/>
              <a:gd name="connsiteX0" fmla="*/ 0 w 1828800"/>
              <a:gd name="connsiteY0" fmla="*/ 0 h 914401"/>
              <a:gd name="connsiteX1" fmla="*/ 1712021 w 1828800"/>
              <a:gd name="connsiteY1" fmla="*/ 0 h 914401"/>
              <a:gd name="connsiteX2" fmla="*/ 1828800 w 1828800"/>
              <a:gd name="connsiteY2" fmla="*/ 457200 h 914401"/>
              <a:gd name="connsiteX3" fmla="*/ 1712021 w 1828800"/>
              <a:gd name="connsiteY3" fmla="*/ 914401 h 914401"/>
              <a:gd name="connsiteX4" fmla="*/ 0 w 1828800"/>
              <a:gd name="connsiteY4" fmla="*/ 914400 h 914401"/>
              <a:gd name="connsiteX5" fmla="*/ 0 w 1828800"/>
              <a:gd name="connsiteY5" fmla="*/ 457201 h 914401"/>
              <a:gd name="connsiteX0" fmla="*/ 0 w 1828800"/>
              <a:gd name="connsiteY0" fmla="*/ 0 h 914401"/>
              <a:gd name="connsiteX1" fmla="*/ 1712021 w 1828800"/>
              <a:gd name="connsiteY1" fmla="*/ 0 h 914401"/>
              <a:gd name="connsiteX2" fmla="*/ 1828800 w 1828800"/>
              <a:gd name="connsiteY2" fmla="*/ 457200 h 914401"/>
              <a:gd name="connsiteX3" fmla="*/ 1712021 w 1828800"/>
              <a:gd name="connsiteY3" fmla="*/ 914401 h 914401"/>
              <a:gd name="connsiteX4" fmla="*/ 0 w 1828800"/>
              <a:gd name="connsiteY4" fmla="*/ 914400 h 914401"/>
              <a:gd name="connsiteX5" fmla="*/ 0 w 1828800"/>
              <a:gd name="connsiteY5" fmla="*/ 457201 h 914401"/>
              <a:gd name="connsiteX0" fmla="*/ 0 w 1828800"/>
              <a:gd name="connsiteY0" fmla="*/ 0 h 914401"/>
              <a:gd name="connsiteX1" fmla="*/ 1712021 w 1828800"/>
              <a:gd name="connsiteY1" fmla="*/ 0 h 914401"/>
              <a:gd name="connsiteX2" fmla="*/ 1828800 w 1828800"/>
              <a:gd name="connsiteY2" fmla="*/ 457200 h 914401"/>
              <a:gd name="connsiteX3" fmla="*/ 1712021 w 1828800"/>
              <a:gd name="connsiteY3" fmla="*/ 914401 h 914401"/>
              <a:gd name="connsiteX4" fmla="*/ 0 w 1828800"/>
              <a:gd name="connsiteY4" fmla="*/ 914400 h 914401"/>
              <a:gd name="connsiteX5" fmla="*/ 116780 w 1828800"/>
              <a:gd name="connsiteY5" fmla="*/ 457201 h 914401"/>
              <a:gd name="connsiteX0" fmla="*/ 0 w 1828800"/>
              <a:gd name="connsiteY0" fmla="*/ 0 h 914401"/>
              <a:gd name="connsiteX1" fmla="*/ 1712021 w 1828800"/>
              <a:gd name="connsiteY1" fmla="*/ 0 h 914401"/>
              <a:gd name="connsiteX2" fmla="*/ 1828800 w 1828800"/>
              <a:gd name="connsiteY2" fmla="*/ 457200 h 914401"/>
              <a:gd name="connsiteX3" fmla="*/ 1712021 w 1828800"/>
              <a:gd name="connsiteY3" fmla="*/ 914401 h 914401"/>
              <a:gd name="connsiteX4" fmla="*/ 0 w 1828800"/>
              <a:gd name="connsiteY4" fmla="*/ 914400 h 914401"/>
              <a:gd name="connsiteX5" fmla="*/ 116780 w 1828800"/>
              <a:gd name="connsiteY5" fmla="*/ 457201 h 914401"/>
              <a:gd name="connsiteX0" fmla="*/ 0 w 1828800"/>
              <a:gd name="connsiteY0" fmla="*/ 0 h 914401"/>
              <a:gd name="connsiteX1" fmla="*/ 1712021 w 1828800"/>
              <a:gd name="connsiteY1" fmla="*/ 0 h 914401"/>
              <a:gd name="connsiteX2" fmla="*/ 1828800 w 1828800"/>
              <a:gd name="connsiteY2" fmla="*/ 457200 h 914401"/>
              <a:gd name="connsiteX3" fmla="*/ 1712021 w 1828800"/>
              <a:gd name="connsiteY3" fmla="*/ 914401 h 914401"/>
              <a:gd name="connsiteX4" fmla="*/ 0 w 1828800"/>
              <a:gd name="connsiteY4" fmla="*/ 914400 h 914401"/>
              <a:gd name="connsiteX5" fmla="*/ 116780 w 1828800"/>
              <a:gd name="connsiteY5" fmla="*/ 457201 h 914401"/>
              <a:gd name="connsiteX0" fmla="*/ 0 w 1828800"/>
              <a:gd name="connsiteY0" fmla="*/ 0 h 914401"/>
              <a:gd name="connsiteX1" fmla="*/ 1712021 w 1828800"/>
              <a:gd name="connsiteY1" fmla="*/ 0 h 914401"/>
              <a:gd name="connsiteX2" fmla="*/ 1828800 w 1828800"/>
              <a:gd name="connsiteY2" fmla="*/ 457200 h 914401"/>
              <a:gd name="connsiteX3" fmla="*/ 1712021 w 1828800"/>
              <a:gd name="connsiteY3" fmla="*/ 914401 h 914401"/>
              <a:gd name="connsiteX4" fmla="*/ 0 w 1828800"/>
              <a:gd name="connsiteY4" fmla="*/ 914400 h 914401"/>
              <a:gd name="connsiteX5" fmla="*/ 78201 w 1828800"/>
              <a:gd name="connsiteY5" fmla="*/ 457201 h 914401"/>
              <a:gd name="connsiteX0" fmla="*/ 0 w 1828800"/>
              <a:gd name="connsiteY0" fmla="*/ 0 h 914401"/>
              <a:gd name="connsiteX1" fmla="*/ 1750598 w 1828800"/>
              <a:gd name="connsiteY1" fmla="*/ 0 h 914401"/>
              <a:gd name="connsiteX2" fmla="*/ 1828800 w 1828800"/>
              <a:gd name="connsiteY2" fmla="*/ 457200 h 914401"/>
              <a:gd name="connsiteX3" fmla="*/ 1712021 w 1828800"/>
              <a:gd name="connsiteY3" fmla="*/ 914401 h 914401"/>
              <a:gd name="connsiteX4" fmla="*/ 0 w 1828800"/>
              <a:gd name="connsiteY4" fmla="*/ 914400 h 914401"/>
              <a:gd name="connsiteX5" fmla="*/ 78201 w 1828800"/>
              <a:gd name="connsiteY5" fmla="*/ 457201 h 914401"/>
              <a:gd name="connsiteX0" fmla="*/ 0 w 1828800"/>
              <a:gd name="connsiteY0" fmla="*/ 0 h 914401"/>
              <a:gd name="connsiteX1" fmla="*/ 1750598 w 1828800"/>
              <a:gd name="connsiteY1" fmla="*/ 0 h 914401"/>
              <a:gd name="connsiteX2" fmla="*/ 1828800 w 1828800"/>
              <a:gd name="connsiteY2" fmla="*/ 457200 h 914401"/>
              <a:gd name="connsiteX3" fmla="*/ 1750598 w 1828800"/>
              <a:gd name="connsiteY3" fmla="*/ 914401 h 914401"/>
              <a:gd name="connsiteX4" fmla="*/ 0 w 1828800"/>
              <a:gd name="connsiteY4" fmla="*/ 914400 h 914401"/>
              <a:gd name="connsiteX5" fmla="*/ 78201 w 1828800"/>
              <a:gd name="connsiteY5" fmla="*/ 457201 h 914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1">
                <a:moveTo>
                  <a:pt x="0" y="0"/>
                </a:moveTo>
                <a:lnTo>
                  <a:pt x="1750598" y="0"/>
                </a:lnTo>
                <a:lnTo>
                  <a:pt x="1828800" y="457200"/>
                </a:lnTo>
                <a:lnTo>
                  <a:pt x="1750598" y="914401"/>
                </a:lnTo>
                <a:lnTo>
                  <a:pt x="0" y="914400"/>
                </a:lnTo>
                <a:lnTo>
                  <a:pt x="78201" y="457201"/>
                </a:lnTo>
                <a:close/>
              </a:path>
            </a:pathLst>
          </a:custGeom>
          <a:solidFill>
            <a:schemeClr val="accent1"/>
          </a:solidFill>
          <a:ln w="9525">
            <a:solidFill>
              <a:srgbClr val="FFFFFF"/>
            </a:solidFill>
            <a:round/>
            <a:headEnd/>
            <a:tailEnd/>
          </a:ln>
        </p:spPr>
        <p:txBody>
          <a:bodyPr wrap="none" rtlCol="0" anchor="ctr"/>
          <a:lstStyle/>
          <a:p>
            <a:pPr algn="ctr"/>
            <a:endParaRPr lang="en-US" sz="1600" b="1">
              <a:solidFill>
                <a:schemeClr val="bg1"/>
              </a:solidFill>
            </a:endParaRPr>
          </a:p>
        </p:txBody>
      </p:sp>
      <p:sp>
        <p:nvSpPr>
          <p:cNvPr id="15" name="Rectangle 4">
            <a:extLst>
              <a:ext uri="{FF2B5EF4-FFF2-40B4-BE49-F238E27FC236}">
                <a16:creationId xmlns:a16="http://schemas.microsoft.com/office/drawing/2014/main" id="{99B06D2A-C3D9-D797-8E4B-C03EE948FC6F}"/>
              </a:ext>
            </a:extLst>
          </p:cNvPr>
          <p:cNvSpPr txBox="1"/>
          <p:nvPr>
            <p:custDataLst>
              <p:tags r:id="rId8"/>
            </p:custDataLst>
          </p:nvPr>
        </p:nvSpPr>
        <p:spPr>
          <a:xfrm>
            <a:off x="8070222" y="1657767"/>
            <a:ext cx="3405473" cy="192345"/>
          </a:xfrm>
          <a:prstGeom prst="rect">
            <a:avLst/>
          </a:prstGeom>
          <a:noFill/>
          <a:ln>
            <a:noFill/>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noAutofit/>
          </a:bodyPr>
          <a:lstStyle>
            <a:lvl1pPr marL="0" lvl="0" indent="0" defTabSz="895350" eaLnBrk="1" hangingPunct="1">
              <a:buClr>
                <a:schemeClr val="tx2"/>
              </a:buClr>
              <a:defRPr>
                <a:latin typeface="+mn-lt"/>
              </a:defRPr>
            </a:lvl1pPr>
            <a:lvl2pPr marL="193675" lvl="1" indent="-192088" defTabSz="895350" eaLnBrk="1" hangingPunct="1">
              <a:buClr>
                <a:schemeClr val="tx2"/>
              </a:buClr>
              <a:buSzPct val="125000"/>
              <a:buFont typeface="Arial" charset="0"/>
              <a:buChar char="▪"/>
              <a:defRPr>
                <a:latin typeface="+mn-lt"/>
              </a:defRPr>
            </a:lvl2pPr>
            <a:lvl3pPr marL="457200" lvl="2" indent="-261938" defTabSz="895350" eaLnBrk="1" hangingPunct="1">
              <a:buClr>
                <a:schemeClr val="tx2"/>
              </a:buClr>
              <a:buSzPct val="120000"/>
              <a:buFont typeface="Arial" charset="0"/>
              <a:buChar char="–"/>
              <a:defRPr>
                <a:latin typeface="+mn-lt"/>
              </a:defRPr>
            </a:lvl3pPr>
            <a:lvl4pPr marL="614363" lvl="3" indent="-155575" defTabSz="895350" eaLnBrk="1" hangingPunct="1">
              <a:buClr>
                <a:schemeClr val="tx2"/>
              </a:buClr>
              <a:buSzPct val="120000"/>
              <a:buFont typeface="Arial" charset="0"/>
              <a:buChar char="▫"/>
              <a:defRPr>
                <a:latin typeface="+mn-lt"/>
              </a:defRPr>
            </a:lvl4pPr>
            <a:lvl5pPr marL="746125" lvl="4" indent="-130175" defTabSz="895350" eaLnBrk="1" hangingPunct="1">
              <a:buClr>
                <a:schemeClr val="tx2"/>
              </a:buClr>
              <a:buSzPct val="89000"/>
              <a:buFont typeface="Arial" charset="0"/>
              <a:buChar char="-"/>
              <a:defRPr>
                <a:latin typeface="+mn-lt"/>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r>
              <a:rPr lang="en-US" sz="1600" b="1">
                <a:solidFill>
                  <a:schemeClr val="bg1"/>
                </a:solidFill>
              </a:rPr>
              <a:t>…lagging indicators of poor performance</a:t>
            </a:r>
          </a:p>
        </p:txBody>
      </p:sp>
      <p:sp>
        <p:nvSpPr>
          <p:cNvPr id="16" name="Rectangle 15">
            <a:extLst>
              <a:ext uri="{FF2B5EF4-FFF2-40B4-BE49-F238E27FC236}">
                <a16:creationId xmlns:a16="http://schemas.microsoft.com/office/drawing/2014/main" id="{12E85A4A-4C18-7322-FA6D-2EE97E165BB9}"/>
              </a:ext>
            </a:extLst>
          </p:cNvPr>
          <p:cNvSpPr/>
          <p:nvPr/>
        </p:nvSpPr>
        <p:spPr>
          <a:xfrm>
            <a:off x="572269" y="2614240"/>
            <a:ext cx="220337" cy="180814"/>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400" err="1">
              <a:solidFill>
                <a:schemeClr val="bg1"/>
              </a:solidFill>
            </a:endParaRPr>
          </a:p>
        </p:txBody>
      </p:sp>
      <p:sp>
        <p:nvSpPr>
          <p:cNvPr id="17" name="TextBox 16">
            <a:extLst>
              <a:ext uri="{FF2B5EF4-FFF2-40B4-BE49-F238E27FC236}">
                <a16:creationId xmlns:a16="http://schemas.microsoft.com/office/drawing/2014/main" id="{3695CDC3-821C-83BB-FE92-AF6B7BB339AC}"/>
              </a:ext>
            </a:extLst>
          </p:cNvPr>
          <p:cNvSpPr txBox="1"/>
          <p:nvPr/>
        </p:nvSpPr>
        <p:spPr>
          <a:xfrm>
            <a:off x="905348" y="2588922"/>
            <a:ext cx="3036734" cy="215444"/>
          </a:xfrm>
          <a:prstGeom prst="rect">
            <a:avLst/>
          </a:prstGeom>
          <a:noFill/>
          <a:extLst>
            <a:ext uri="{909E8E84-426E-40DD-AFC4-6F175D3DCCD1}">
              <a14:hiddenFill xmlns:a14="http://schemas.microsoft.com/office/drawing/2010/main">
                <a:solidFill>
                  <a:srgbClr val="FFFFFF"/>
                </a:solidFill>
              </a14:hiddenFill>
            </a:ext>
          </a:extLst>
        </p:spPr>
        <p:txBody>
          <a:bodyPr vert="horz"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SzPct val="100000"/>
            </a:pPr>
            <a:r>
              <a:rPr lang="en-US" sz="1400">
                <a:solidFill>
                  <a:srgbClr val="000000"/>
                </a:solidFill>
                <a:sym typeface=""/>
              </a:rPr>
              <a:t>Incomplete design</a:t>
            </a:r>
          </a:p>
        </p:txBody>
      </p:sp>
      <p:sp>
        <p:nvSpPr>
          <p:cNvPr id="18" name="Rectangle 17">
            <a:extLst>
              <a:ext uri="{FF2B5EF4-FFF2-40B4-BE49-F238E27FC236}">
                <a16:creationId xmlns:a16="http://schemas.microsoft.com/office/drawing/2014/main" id="{FC5FA118-D1C0-2F82-E5D8-E92C2D00B0E4}"/>
              </a:ext>
            </a:extLst>
          </p:cNvPr>
          <p:cNvSpPr/>
          <p:nvPr/>
        </p:nvSpPr>
        <p:spPr>
          <a:xfrm>
            <a:off x="572269" y="3062439"/>
            <a:ext cx="220337" cy="180814"/>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400" err="1">
              <a:solidFill>
                <a:schemeClr val="bg1"/>
              </a:solidFill>
            </a:endParaRPr>
          </a:p>
        </p:txBody>
      </p:sp>
      <p:sp>
        <p:nvSpPr>
          <p:cNvPr id="19" name="TextBox 18">
            <a:extLst>
              <a:ext uri="{FF2B5EF4-FFF2-40B4-BE49-F238E27FC236}">
                <a16:creationId xmlns:a16="http://schemas.microsoft.com/office/drawing/2014/main" id="{41CB6B41-4FA7-2485-BC8C-6F835C139A99}"/>
              </a:ext>
            </a:extLst>
          </p:cNvPr>
          <p:cNvSpPr txBox="1"/>
          <p:nvPr/>
        </p:nvSpPr>
        <p:spPr>
          <a:xfrm>
            <a:off x="905348" y="3011639"/>
            <a:ext cx="3036734" cy="646331"/>
          </a:xfrm>
          <a:prstGeom prst="rect">
            <a:avLst/>
          </a:prstGeom>
          <a:noFill/>
          <a:extLst>
            <a:ext uri="{909E8E84-426E-40DD-AFC4-6F175D3DCCD1}">
              <a14:hiddenFill xmlns:a14="http://schemas.microsoft.com/office/drawing/2010/main">
                <a:solidFill>
                  <a:srgbClr val="FFFFFF"/>
                </a:solidFill>
              </a14:hiddenFill>
            </a:ext>
          </a:extLst>
        </p:spPr>
        <p:txBody>
          <a:bodyPr vert="horz"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SzPct val="100000"/>
            </a:pPr>
            <a:r>
              <a:rPr lang="en-US" sz="1400">
                <a:solidFill>
                  <a:srgbClr val="000000"/>
                </a:solidFill>
                <a:sym typeface=""/>
              </a:rPr>
              <a:t>Inadequate level of detail in Integrated Project Schedule / inflexible timelines; poor project controls system</a:t>
            </a:r>
          </a:p>
        </p:txBody>
      </p:sp>
      <p:sp>
        <p:nvSpPr>
          <p:cNvPr id="20" name="Rectangle 19">
            <a:extLst>
              <a:ext uri="{FF2B5EF4-FFF2-40B4-BE49-F238E27FC236}">
                <a16:creationId xmlns:a16="http://schemas.microsoft.com/office/drawing/2014/main" id="{B115B147-C14B-885F-3789-D111E53F3FA8}"/>
              </a:ext>
            </a:extLst>
          </p:cNvPr>
          <p:cNvSpPr/>
          <p:nvPr/>
        </p:nvSpPr>
        <p:spPr>
          <a:xfrm>
            <a:off x="572269" y="3906435"/>
            <a:ext cx="220337" cy="180814"/>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400" err="1">
              <a:solidFill>
                <a:schemeClr val="bg1"/>
              </a:solidFill>
            </a:endParaRPr>
          </a:p>
        </p:txBody>
      </p:sp>
      <p:sp>
        <p:nvSpPr>
          <p:cNvPr id="21" name="TextBox 20">
            <a:extLst>
              <a:ext uri="{FF2B5EF4-FFF2-40B4-BE49-F238E27FC236}">
                <a16:creationId xmlns:a16="http://schemas.microsoft.com/office/drawing/2014/main" id="{3B6A8FD6-7FC3-6C5A-F837-833C0FA2AEBC}"/>
              </a:ext>
            </a:extLst>
          </p:cNvPr>
          <p:cNvSpPr txBox="1"/>
          <p:nvPr/>
        </p:nvSpPr>
        <p:spPr>
          <a:xfrm>
            <a:off x="905348" y="3865795"/>
            <a:ext cx="3036734" cy="646331"/>
          </a:xfrm>
          <a:prstGeom prst="rect">
            <a:avLst/>
          </a:prstGeom>
          <a:noFill/>
          <a:extLst>
            <a:ext uri="{909E8E84-426E-40DD-AFC4-6F175D3DCCD1}">
              <a14:hiddenFill xmlns:a14="http://schemas.microsoft.com/office/drawing/2010/main">
                <a:solidFill>
                  <a:srgbClr val="FFFFFF"/>
                </a:solidFill>
              </a14:hiddenFill>
            </a:ext>
          </a:extLst>
        </p:spPr>
        <p:txBody>
          <a:bodyPr vert="horz"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SzPct val="100000"/>
            </a:pPr>
            <a:r>
              <a:rPr lang="en-US" sz="1400">
                <a:solidFill>
                  <a:srgbClr val="000000"/>
                </a:solidFill>
                <a:sym typeface=""/>
              </a:rPr>
              <a:t>Inadequate quality assurance / control practices; improper documentation standards</a:t>
            </a:r>
          </a:p>
        </p:txBody>
      </p:sp>
      <p:sp>
        <p:nvSpPr>
          <p:cNvPr id="22" name="Rectangle 21">
            <a:extLst>
              <a:ext uri="{FF2B5EF4-FFF2-40B4-BE49-F238E27FC236}">
                <a16:creationId xmlns:a16="http://schemas.microsoft.com/office/drawing/2014/main" id="{35F9F2E0-249B-CE9D-68EB-AC99B9AC39D9}"/>
              </a:ext>
            </a:extLst>
          </p:cNvPr>
          <p:cNvSpPr/>
          <p:nvPr/>
        </p:nvSpPr>
        <p:spPr>
          <a:xfrm>
            <a:off x="572269" y="4767746"/>
            <a:ext cx="220337" cy="180814"/>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400" err="1">
              <a:solidFill>
                <a:schemeClr val="bg1"/>
              </a:solidFill>
            </a:endParaRPr>
          </a:p>
        </p:txBody>
      </p:sp>
      <p:sp>
        <p:nvSpPr>
          <p:cNvPr id="23" name="TextBox 22">
            <a:extLst>
              <a:ext uri="{FF2B5EF4-FFF2-40B4-BE49-F238E27FC236}">
                <a16:creationId xmlns:a16="http://schemas.microsoft.com/office/drawing/2014/main" id="{19749322-E41C-CA01-BB9A-538EC7C31A32}"/>
              </a:ext>
            </a:extLst>
          </p:cNvPr>
          <p:cNvSpPr txBox="1"/>
          <p:nvPr/>
        </p:nvSpPr>
        <p:spPr>
          <a:xfrm>
            <a:off x="905348" y="4750431"/>
            <a:ext cx="3036734" cy="215444"/>
          </a:xfrm>
          <a:prstGeom prst="rect">
            <a:avLst/>
          </a:prstGeom>
          <a:noFill/>
          <a:extLst>
            <a:ext uri="{909E8E84-426E-40DD-AFC4-6F175D3DCCD1}">
              <a14:hiddenFill xmlns:a14="http://schemas.microsoft.com/office/drawing/2010/main">
                <a:solidFill>
                  <a:srgbClr val="FFFFFF"/>
                </a:solidFill>
              </a14:hiddenFill>
            </a:ext>
          </a:extLst>
        </p:spPr>
        <p:txBody>
          <a:bodyPr vert="horz"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SzPct val="100000"/>
            </a:pPr>
            <a:r>
              <a:rPr lang="en-US" sz="1400">
                <a:solidFill>
                  <a:srgbClr val="000000"/>
                </a:solidFill>
                <a:sym typeface=""/>
              </a:rPr>
              <a:t>Poor risk assessment</a:t>
            </a:r>
          </a:p>
        </p:txBody>
      </p:sp>
      <p:sp>
        <p:nvSpPr>
          <p:cNvPr id="24" name="Rectangle 23">
            <a:extLst>
              <a:ext uri="{FF2B5EF4-FFF2-40B4-BE49-F238E27FC236}">
                <a16:creationId xmlns:a16="http://schemas.microsoft.com/office/drawing/2014/main" id="{23345875-0C6E-F19A-AFCB-37239CBA31BE}"/>
              </a:ext>
            </a:extLst>
          </p:cNvPr>
          <p:cNvSpPr/>
          <p:nvPr/>
        </p:nvSpPr>
        <p:spPr>
          <a:xfrm>
            <a:off x="572269" y="5644764"/>
            <a:ext cx="220337" cy="180814"/>
          </a:xfrm>
          <a:prstGeom prst="rect">
            <a:avLst/>
          </a:prstGeom>
          <a:gradFill>
            <a:gsLst>
              <a:gs pos="49000">
                <a:schemeClr val="accent2"/>
              </a:gs>
              <a:gs pos="50000">
                <a:schemeClr val="bg1">
                  <a:lumMod val="85000"/>
                </a:schemeClr>
              </a:gs>
            </a:gsLst>
            <a:lin ang="2700000" scaled="0"/>
          </a:gra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400" err="1">
              <a:solidFill>
                <a:schemeClr val="bg1"/>
              </a:solidFill>
            </a:endParaRPr>
          </a:p>
        </p:txBody>
      </p:sp>
      <p:sp>
        <p:nvSpPr>
          <p:cNvPr id="25" name="TextBox 24">
            <a:extLst>
              <a:ext uri="{FF2B5EF4-FFF2-40B4-BE49-F238E27FC236}">
                <a16:creationId xmlns:a16="http://schemas.microsoft.com/office/drawing/2014/main" id="{D3C81D36-3D33-42BB-3E14-626D1DDD5A00}"/>
              </a:ext>
            </a:extLst>
          </p:cNvPr>
          <p:cNvSpPr txBox="1"/>
          <p:nvPr/>
        </p:nvSpPr>
        <p:spPr>
          <a:xfrm>
            <a:off x="905348" y="5627449"/>
            <a:ext cx="3036734" cy="215444"/>
          </a:xfrm>
          <a:prstGeom prst="rect">
            <a:avLst/>
          </a:prstGeom>
          <a:noFill/>
          <a:extLst>
            <a:ext uri="{909E8E84-426E-40DD-AFC4-6F175D3DCCD1}">
              <a14:hiddenFill xmlns:a14="http://schemas.microsoft.com/office/drawing/2010/main">
                <a:solidFill>
                  <a:srgbClr val="FFFFFF"/>
                </a:solidFill>
              </a14:hiddenFill>
            </a:ext>
          </a:extLst>
        </p:spPr>
        <p:txBody>
          <a:bodyPr vert="horz"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SzPct val="100000"/>
            </a:pPr>
            <a:r>
              <a:rPr lang="en-US" sz="1400">
                <a:solidFill>
                  <a:srgbClr val="000000"/>
                </a:solidFill>
                <a:sym typeface=""/>
              </a:rPr>
              <a:t>Shortage of experienced labor</a:t>
            </a:r>
          </a:p>
        </p:txBody>
      </p:sp>
      <p:sp>
        <p:nvSpPr>
          <p:cNvPr id="26" name="Rectangle 25">
            <a:extLst>
              <a:ext uri="{FF2B5EF4-FFF2-40B4-BE49-F238E27FC236}">
                <a16:creationId xmlns:a16="http://schemas.microsoft.com/office/drawing/2014/main" id="{DBCC5F88-FBDC-49B0-C212-A0648F43621D}"/>
              </a:ext>
            </a:extLst>
          </p:cNvPr>
          <p:cNvSpPr/>
          <p:nvPr/>
        </p:nvSpPr>
        <p:spPr>
          <a:xfrm>
            <a:off x="572269" y="6083271"/>
            <a:ext cx="220337" cy="180814"/>
          </a:xfrm>
          <a:prstGeom prst="rect">
            <a:avLst/>
          </a:prstGeom>
          <a:solidFill>
            <a:schemeClr val="bg1">
              <a:lumMod val="8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400" err="1">
              <a:solidFill>
                <a:schemeClr val="bg1"/>
              </a:solidFill>
            </a:endParaRPr>
          </a:p>
        </p:txBody>
      </p:sp>
      <p:sp>
        <p:nvSpPr>
          <p:cNvPr id="27" name="TextBox 26">
            <a:extLst>
              <a:ext uri="{FF2B5EF4-FFF2-40B4-BE49-F238E27FC236}">
                <a16:creationId xmlns:a16="http://schemas.microsoft.com/office/drawing/2014/main" id="{9EBB9364-574B-64F4-5E03-480861D7F9D9}"/>
              </a:ext>
            </a:extLst>
          </p:cNvPr>
          <p:cNvSpPr txBox="1"/>
          <p:nvPr/>
        </p:nvSpPr>
        <p:spPr>
          <a:xfrm>
            <a:off x="905348" y="6065956"/>
            <a:ext cx="3036734" cy="215444"/>
          </a:xfrm>
          <a:prstGeom prst="rect">
            <a:avLst/>
          </a:prstGeom>
          <a:noFill/>
          <a:extLst>
            <a:ext uri="{909E8E84-426E-40DD-AFC4-6F175D3DCCD1}">
              <a14:hiddenFill xmlns:a14="http://schemas.microsoft.com/office/drawing/2010/main">
                <a:solidFill>
                  <a:srgbClr val="FFFFFF"/>
                </a:solidFill>
              </a14:hiddenFill>
            </a:ext>
          </a:extLst>
        </p:spPr>
        <p:txBody>
          <a:bodyPr vert="horz"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SzPct val="100000"/>
            </a:pPr>
            <a:r>
              <a:rPr lang="en-US" sz="1400">
                <a:solidFill>
                  <a:srgbClr val="000000"/>
                </a:solidFill>
                <a:sym typeface=""/>
              </a:rPr>
              <a:t>COVID-19 pandemic</a:t>
            </a:r>
          </a:p>
        </p:txBody>
      </p:sp>
      <p:sp>
        <p:nvSpPr>
          <p:cNvPr id="28" name="TextBox 27">
            <a:extLst>
              <a:ext uri="{FF2B5EF4-FFF2-40B4-BE49-F238E27FC236}">
                <a16:creationId xmlns:a16="http://schemas.microsoft.com/office/drawing/2014/main" id="{C323DE49-AC35-E857-DAE6-AD0726ED5212}"/>
              </a:ext>
            </a:extLst>
          </p:cNvPr>
          <p:cNvSpPr txBox="1">
            <a:spLocks/>
          </p:cNvSpPr>
          <p:nvPr/>
        </p:nvSpPr>
        <p:spPr>
          <a:xfrm>
            <a:off x="7988968" y="2591236"/>
            <a:ext cx="3561666" cy="333594"/>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a:t>Schedule slippage</a:t>
            </a:r>
          </a:p>
        </p:txBody>
      </p:sp>
      <p:sp>
        <p:nvSpPr>
          <p:cNvPr id="29" name="TextBox 28">
            <a:extLst>
              <a:ext uri="{FF2B5EF4-FFF2-40B4-BE49-F238E27FC236}">
                <a16:creationId xmlns:a16="http://schemas.microsoft.com/office/drawing/2014/main" id="{5ED46DE3-816F-B77A-0DE6-7CFB489CFCFB}"/>
              </a:ext>
            </a:extLst>
          </p:cNvPr>
          <p:cNvSpPr txBox="1"/>
          <p:nvPr/>
        </p:nvSpPr>
        <p:spPr>
          <a:xfrm>
            <a:off x="4737924" y="2588922"/>
            <a:ext cx="3002068" cy="215444"/>
          </a:xfrm>
          <a:prstGeom prst="rect">
            <a:avLst/>
          </a:prstGeom>
          <a:noFill/>
          <a:extLst>
            <a:ext uri="{909E8E84-426E-40DD-AFC4-6F175D3DCCD1}">
              <a14:hiddenFill xmlns:a14="http://schemas.microsoft.com/office/drawing/2010/main">
                <a:solidFill>
                  <a:srgbClr val="FFFFFF"/>
                </a:solidFill>
              </a14:hiddenFill>
            </a:ext>
          </a:extLst>
        </p:spPr>
        <p:txBody>
          <a:bodyPr vert="horz"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SzPct val="100000"/>
            </a:pPr>
            <a:r>
              <a:rPr lang="en-US" sz="1400">
                <a:solidFill>
                  <a:srgbClr val="000000"/>
                </a:solidFill>
                <a:sym typeface=""/>
              </a:rPr>
              <a:t>Extensive rework / remediation</a:t>
            </a:r>
          </a:p>
        </p:txBody>
      </p:sp>
      <p:sp>
        <p:nvSpPr>
          <p:cNvPr id="30" name="TextBox 29">
            <a:extLst>
              <a:ext uri="{FF2B5EF4-FFF2-40B4-BE49-F238E27FC236}">
                <a16:creationId xmlns:a16="http://schemas.microsoft.com/office/drawing/2014/main" id="{53B117D0-2C0C-7936-FA6F-E2BEDAF728C0}"/>
              </a:ext>
            </a:extLst>
          </p:cNvPr>
          <p:cNvSpPr txBox="1"/>
          <p:nvPr/>
        </p:nvSpPr>
        <p:spPr>
          <a:xfrm>
            <a:off x="4737924" y="3039280"/>
            <a:ext cx="3002068" cy="430887"/>
          </a:xfrm>
          <a:prstGeom prst="rect">
            <a:avLst/>
          </a:prstGeom>
          <a:noFill/>
          <a:extLst>
            <a:ext uri="{909E8E84-426E-40DD-AFC4-6F175D3DCCD1}">
              <a14:hiddenFill xmlns:a14="http://schemas.microsoft.com/office/drawing/2010/main">
                <a:solidFill>
                  <a:srgbClr val="FFFFFF"/>
                </a:solidFill>
              </a14:hiddenFill>
            </a:ext>
          </a:extLst>
        </p:spPr>
        <p:txBody>
          <a:bodyPr vert="horz"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SzPct val="100000"/>
            </a:pPr>
            <a:r>
              <a:rPr lang="en-US" sz="1400">
                <a:solidFill>
                  <a:srgbClr val="000000"/>
                </a:solidFill>
                <a:sym typeface=""/>
              </a:rPr>
              <a:t>Supply chain delivery issues (for modules)</a:t>
            </a:r>
          </a:p>
        </p:txBody>
      </p:sp>
      <p:sp>
        <p:nvSpPr>
          <p:cNvPr id="31" name="TrackerNumBlue 358">
            <a:extLst>
              <a:ext uri="{FF2B5EF4-FFF2-40B4-BE49-F238E27FC236}">
                <a16:creationId xmlns:a16="http://schemas.microsoft.com/office/drawing/2014/main" id="{49A46C39-EC7A-D2E9-4275-10AAF4DB8055}"/>
              </a:ext>
            </a:extLst>
          </p:cNvPr>
          <p:cNvSpPr/>
          <p:nvPr>
            <p:custDataLst>
              <p:tags r:id="rId9"/>
            </p:custDataLst>
          </p:nvPr>
        </p:nvSpPr>
        <p:spPr>
          <a:xfrm>
            <a:off x="4369355" y="3681135"/>
            <a:ext cx="279340" cy="279340"/>
          </a:xfrm>
          <a:prstGeom prst="ellipse">
            <a:avLst/>
          </a:prstGeom>
          <a:solidFill>
            <a:srgbClr val="0070C0">
              <a:alpha val="40000"/>
            </a:srgbClr>
          </a:solidFill>
          <a:ln w="6350" cap="sq"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a:solidFill>
                  <a:schemeClr val="tx1"/>
                </a:solidFill>
              </a:rPr>
              <a:t>3</a:t>
            </a:r>
          </a:p>
        </p:txBody>
      </p:sp>
      <p:sp>
        <p:nvSpPr>
          <p:cNvPr id="32" name="TextBox 31">
            <a:extLst>
              <a:ext uri="{FF2B5EF4-FFF2-40B4-BE49-F238E27FC236}">
                <a16:creationId xmlns:a16="http://schemas.microsoft.com/office/drawing/2014/main" id="{B2964573-59DB-A06A-4855-FD6865FACCBC}"/>
              </a:ext>
            </a:extLst>
          </p:cNvPr>
          <p:cNvSpPr txBox="1"/>
          <p:nvPr/>
        </p:nvSpPr>
        <p:spPr>
          <a:xfrm>
            <a:off x="4737924" y="3713083"/>
            <a:ext cx="3002068" cy="215444"/>
          </a:xfrm>
          <a:prstGeom prst="rect">
            <a:avLst/>
          </a:prstGeom>
          <a:noFill/>
          <a:extLst>
            <a:ext uri="{909E8E84-426E-40DD-AFC4-6F175D3DCCD1}">
              <a14:hiddenFill xmlns:a14="http://schemas.microsoft.com/office/drawing/2010/main">
                <a:solidFill>
                  <a:srgbClr val="FFFFFF"/>
                </a:solidFill>
              </a14:hiddenFill>
            </a:ext>
          </a:extLst>
        </p:spPr>
        <p:txBody>
          <a:bodyPr vert="horz"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SzPct val="100000"/>
            </a:pPr>
            <a:r>
              <a:rPr lang="en-US" sz="1400">
                <a:solidFill>
                  <a:srgbClr val="000000"/>
                </a:solidFill>
                <a:sym typeface=""/>
              </a:rPr>
              <a:t>Low individual productivity</a:t>
            </a:r>
          </a:p>
        </p:txBody>
      </p:sp>
      <p:sp>
        <p:nvSpPr>
          <p:cNvPr id="33" name="TrackerNumBlue 358">
            <a:extLst>
              <a:ext uri="{FF2B5EF4-FFF2-40B4-BE49-F238E27FC236}">
                <a16:creationId xmlns:a16="http://schemas.microsoft.com/office/drawing/2014/main" id="{5FC2246B-D3AC-D78F-1BF6-76CD76E4E482}"/>
              </a:ext>
            </a:extLst>
          </p:cNvPr>
          <p:cNvSpPr/>
          <p:nvPr>
            <p:custDataLst>
              <p:tags r:id="rId10"/>
            </p:custDataLst>
          </p:nvPr>
        </p:nvSpPr>
        <p:spPr>
          <a:xfrm>
            <a:off x="4369355" y="4171443"/>
            <a:ext cx="279340" cy="279340"/>
          </a:xfrm>
          <a:prstGeom prst="ellipse">
            <a:avLst/>
          </a:prstGeom>
          <a:solidFill>
            <a:srgbClr val="80DDDD">
              <a:alpha val="40000"/>
            </a:srgbClr>
          </a:solidFill>
          <a:ln w="6350" cap="sq"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a:solidFill>
                  <a:schemeClr val="tx1"/>
                </a:solidFill>
              </a:rPr>
              <a:t>4</a:t>
            </a:r>
          </a:p>
        </p:txBody>
      </p:sp>
      <p:sp>
        <p:nvSpPr>
          <p:cNvPr id="34" name="TextBox 33">
            <a:extLst>
              <a:ext uri="{FF2B5EF4-FFF2-40B4-BE49-F238E27FC236}">
                <a16:creationId xmlns:a16="http://schemas.microsoft.com/office/drawing/2014/main" id="{90AF2903-D5B6-6C87-E1D3-F16CDBD7900B}"/>
              </a:ext>
            </a:extLst>
          </p:cNvPr>
          <p:cNvSpPr txBox="1"/>
          <p:nvPr/>
        </p:nvSpPr>
        <p:spPr>
          <a:xfrm>
            <a:off x="4737924" y="4171443"/>
            <a:ext cx="3002068" cy="430887"/>
          </a:xfrm>
          <a:prstGeom prst="rect">
            <a:avLst/>
          </a:prstGeom>
          <a:noFill/>
          <a:extLst>
            <a:ext uri="{909E8E84-426E-40DD-AFC4-6F175D3DCCD1}">
              <a14:hiddenFill xmlns:a14="http://schemas.microsoft.com/office/drawing/2010/main">
                <a:solidFill>
                  <a:srgbClr val="FFFFFF"/>
                </a:solidFill>
              </a14:hiddenFill>
            </a:ext>
          </a:extLst>
        </p:spPr>
        <p:txBody>
          <a:bodyPr vert="horz"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SzPct val="100000"/>
            </a:pPr>
            <a:r>
              <a:rPr lang="en-US" sz="1400">
                <a:solidFill>
                  <a:srgbClr val="000000"/>
                </a:solidFill>
                <a:sym typeface=""/>
              </a:rPr>
              <a:t>High levels of attrition and absenteeism</a:t>
            </a:r>
          </a:p>
        </p:txBody>
      </p:sp>
      <p:cxnSp>
        <p:nvCxnSpPr>
          <p:cNvPr id="35" name="Straight Connector 34">
            <a:extLst>
              <a:ext uri="{FF2B5EF4-FFF2-40B4-BE49-F238E27FC236}">
                <a16:creationId xmlns:a16="http://schemas.microsoft.com/office/drawing/2014/main" id="{96844EDA-7B10-BC7B-66E1-724D170F73DF}"/>
              </a:ext>
            </a:extLst>
          </p:cNvPr>
          <p:cNvCxnSpPr>
            <a:cxnSpLocks/>
          </p:cNvCxnSpPr>
          <p:nvPr/>
        </p:nvCxnSpPr>
        <p:spPr>
          <a:xfrm>
            <a:off x="572269" y="2924829"/>
            <a:ext cx="3369813" cy="0"/>
          </a:xfrm>
          <a:prstGeom prst="line">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DA38B51A-9883-AA11-8862-E3201A8DF56F}"/>
              </a:ext>
            </a:extLst>
          </p:cNvPr>
          <p:cNvCxnSpPr>
            <a:cxnSpLocks/>
          </p:cNvCxnSpPr>
          <p:nvPr/>
        </p:nvCxnSpPr>
        <p:spPr>
          <a:xfrm>
            <a:off x="572269" y="3768314"/>
            <a:ext cx="3369813" cy="0"/>
          </a:xfrm>
          <a:prstGeom prst="line">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9AE0E70F-C836-5588-4744-48FE9A25A52A}"/>
              </a:ext>
            </a:extLst>
          </p:cNvPr>
          <p:cNvCxnSpPr>
            <a:cxnSpLocks/>
          </p:cNvCxnSpPr>
          <p:nvPr/>
        </p:nvCxnSpPr>
        <p:spPr>
          <a:xfrm>
            <a:off x="572269" y="4632379"/>
            <a:ext cx="3369813" cy="0"/>
          </a:xfrm>
          <a:prstGeom prst="line">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7B9DD1C5-2FCF-121A-9C82-C7AADB737514}"/>
              </a:ext>
            </a:extLst>
          </p:cNvPr>
          <p:cNvCxnSpPr>
            <a:cxnSpLocks/>
          </p:cNvCxnSpPr>
          <p:nvPr/>
        </p:nvCxnSpPr>
        <p:spPr>
          <a:xfrm>
            <a:off x="572269" y="5507846"/>
            <a:ext cx="3369813" cy="0"/>
          </a:xfrm>
          <a:prstGeom prst="line">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1D559C3F-6C4D-0205-C93E-C7B86E24755B}"/>
              </a:ext>
            </a:extLst>
          </p:cNvPr>
          <p:cNvCxnSpPr>
            <a:cxnSpLocks/>
          </p:cNvCxnSpPr>
          <p:nvPr/>
        </p:nvCxnSpPr>
        <p:spPr>
          <a:xfrm>
            <a:off x="572269" y="5929698"/>
            <a:ext cx="3369813" cy="0"/>
          </a:xfrm>
          <a:prstGeom prst="line">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A2901085-4858-074F-4240-414728A9C9EC}"/>
              </a:ext>
            </a:extLst>
          </p:cNvPr>
          <p:cNvCxnSpPr>
            <a:cxnSpLocks/>
          </p:cNvCxnSpPr>
          <p:nvPr/>
        </p:nvCxnSpPr>
        <p:spPr>
          <a:xfrm>
            <a:off x="4369355" y="2933796"/>
            <a:ext cx="3370637" cy="0"/>
          </a:xfrm>
          <a:prstGeom prst="line">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BA10F1C2-C926-7D37-EDAA-51C4FE99C286}"/>
              </a:ext>
            </a:extLst>
          </p:cNvPr>
          <p:cNvCxnSpPr>
            <a:cxnSpLocks/>
          </p:cNvCxnSpPr>
          <p:nvPr/>
        </p:nvCxnSpPr>
        <p:spPr>
          <a:xfrm>
            <a:off x="4369355" y="3575651"/>
            <a:ext cx="3370637" cy="0"/>
          </a:xfrm>
          <a:prstGeom prst="line">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DCF95A56-532E-C498-6D4C-8094D21B8562}"/>
              </a:ext>
            </a:extLst>
          </p:cNvPr>
          <p:cNvCxnSpPr>
            <a:cxnSpLocks/>
          </p:cNvCxnSpPr>
          <p:nvPr/>
        </p:nvCxnSpPr>
        <p:spPr>
          <a:xfrm>
            <a:off x="4369355" y="4065959"/>
            <a:ext cx="3370637" cy="0"/>
          </a:xfrm>
          <a:prstGeom prst="line">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43" name="TextBox 42">
            <a:extLst>
              <a:ext uri="{FF2B5EF4-FFF2-40B4-BE49-F238E27FC236}">
                <a16:creationId xmlns:a16="http://schemas.microsoft.com/office/drawing/2014/main" id="{F1440C9D-CC0B-A887-7078-BE3E5A289CCB}"/>
              </a:ext>
            </a:extLst>
          </p:cNvPr>
          <p:cNvSpPr txBox="1">
            <a:spLocks/>
          </p:cNvSpPr>
          <p:nvPr/>
        </p:nvSpPr>
        <p:spPr>
          <a:xfrm>
            <a:off x="554736" y="2161140"/>
            <a:ext cx="3561666" cy="265956"/>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b="1"/>
              <a:t>Root causes</a:t>
            </a:r>
          </a:p>
        </p:txBody>
      </p:sp>
      <p:sp>
        <p:nvSpPr>
          <p:cNvPr id="44" name="TextBox 43">
            <a:extLst>
              <a:ext uri="{FF2B5EF4-FFF2-40B4-BE49-F238E27FC236}">
                <a16:creationId xmlns:a16="http://schemas.microsoft.com/office/drawing/2014/main" id="{A655B81C-0133-C8D2-D3BC-14CC6060803E}"/>
              </a:ext>
            </a:extLst>
          </p:cNvPr>
          <p:cNvSpPr txBox="1">
            <a:spLocks/>
          </p:cNvSpPr>
          <p:nvPr/>
        </p:nvSpPr>
        <p:spPr>
          <a:xfrm>
            <a:off x="4418162" y="2161140"/>
            <a:ext cx="3561666" cy="265956"/>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b="1"/>
              <a:t>Systemic issues</a:t>
            </a:r>
          </a:p>
        </p:txBody>
      </p:sp>
      <p:sp>
        <p:nvSpPr>
          <p:cNvPr id="45" name="TextBox 44">
            <a:extLst>
              <a:ext uri="{FF2B5EF4-FFF2-40B4-BE49-F238E27FC236}">
                <a16:creationId xmlns:a16="http://schemas.microsoft.com/office/drawing/2014/main" id="{4B63180C-AAC3-6487-81F4-E7D94623BA73}"/>
              </a:ext>
            </a:extLst>
          </p:cNvPr>
          <p:cNvSpPr txBox="1">
            <a:spLocks/>
          </p:cNvSpPr>
          <p:nvPr/>
        </p:nvSpPr>
        <p:spPr>
          <a:xfrm>
            <a:off x="7988968" y="2161140"/>
            <a:ext cx="3561666" cy="265956"/>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b="1"/>
              <a:t>Lagging indicators</a:t>
            </a:r>
          </a:p>
        </p:txBody>
      </p:sp>
      <p:cxnSp>
        <p:nvCxnSpPr>
          <p:cNvPr id="46" name="Straight Connector 45">
            <a:extLst>
              <a:ext uri="{FF2B5EF4-FFF2-40B4-BE49-F238E27FC236}">
                <a16:creationId xmlns:a16="http://schemas.microsoft.com/office/drawing/2014/main" id="{63A8A5B1-D560-5CBF-9E5D-EF8040CE59DF}"/>
              </a:ext>
            </a:extLst>
          </p:cNvPr>
          <p:cNvCxnSpPr>
            <a:cxnSpLocks/>
          </p:cNvCxnSpPr>
          <p:nvPr/>
        </p:nvCxnSpPr>
        <p:spPr>
          <a:xfrm>
            <a:off x="572269" y="2478190"/>
            <a:ext cx="10978365" cy="0"/>
          </a:xfrm>
          <a:prstGeom prst="line">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01F40B5C-82D7-F3A6-B1C0-BF3564BCD168}"/>
              </a:ext>
            </a:extLst>
          </p:cNvPr>
          <p:cNvCxnSpPr>
            <a:cxnSpLocks/>
          </p:cNvCxnSpPr>
          <p:nvPr/>
        </p:nvCxnSpPr>
        <p:spPr>
          <a:xfrm>
            <a:off x="7979828" y="2933796"/>
            <a:ext cx="3369813" cy="0"/>
          </a:xfrm>
          <a:prstGeom prst="line">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48" name="Rectangle 47">
            <a:extLst>
              <a:ext uri="{FF2B5EF4-FFF2-40B4-BE49-F238E27FC236}">
                <a16:creationId xmlns:a16="http://schemas.microsoft.com/office/drawing/2014/main" id="{1CD83543-65E8-AD59-D79A-FAB315FE9290}"/>
              </a:ext>
            </a:extLst>
          </p:cNvPr>
          <p:cNvSpPr/>
          <p:nvPr/>
        </p:nvSpPr>
        <p:spPr>
          <a:xfrm>
            <a:off x="572269" y="5206255"/>
            <a:ext cx="220337" cy="180814"/>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400" err="1">
              <a:solidFill>
                <a:schemeClr val="bg1"/>
              </a:solidFill>
            </a:endParaRPr>
          </a:p>
        </p:txBody>
      </p:sp>
      <p:sp>
        <p:nvSpPr>
          <p:cNvPr id="49" name="TextBox 48">
            <a:extLst>
              <a:ext uri="{FF2B5EF4-FFF2-40B4-BE49-F238E27FC236}">
                <a16:creationId xmlns:a16="http://schemas.microsoft.com/office/drawing/2014/main" id="{698CBF9C-48B3-E76E-914F-421930807FA5}"/>
              </a:ext>
            </a:extLst>
          </p:cNvPr>
          <p:cNvSpPr txBox="1"/>
          <p:nvPr/>
        </p:nvSpPr>
        <p:spPr>
          <a:xfrm>
            <a:off x="905348" y="5188940"/>
            <a:ext cx="3036734" cy="215444"/>
          </a:xfrm>
          <a:prstGeom prst="rect">
            <a:avLst/>
          </a:prstGeom>
          <a:noFill/>
          <a:extLst>
            <a:ext uri="{909E8E84-426E-40DD-AFC4-6F175D3DCCD1}">
              <a14:hiddenFill xmlns:a14="http://schemas.microsoft.com/office/drawing/2010/main">
                <a:solidFill>
                  <a:srgbClr val="FFFFFF"/>
                </a:solidFill>
              </a14:hiddenFill>
            </a:ext>
          </a:extLst>
        </p:spPr>
        <p:txBody>
          <a:bodyPr vert="horz"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SzPct val="100000"/>
              <a:buNone/>
            </a:pPr>
            <a:r>
              <a:rPr lang="en-US" sz="1400">
                <a:solidFill>
                  <a:srgbClr val="000000"/>
                </a:solidFill>
                <a:sym typeface=""/>
              </a:rPr>
              <a:t>Limited design constructability</a:t>
            </a:r>
          </a:p>
        </p:txBody>
      </p:sp>
      <p:cxnSp>
        <p:nvCxnSpPr>
          <p:cNvPr id="50" name="Straight Connector 49">
            <a:extLst>
              <a:ext uri="{FF2B5EF4-FFF2-40B4-BE49-F238E27FC236}">
                <a16:creationId xmlns:a16="http://schemas.microsoft.com/office/drawing/2014/main" id="{2E57F4B0-4A6F-0068-E9B6-B1905ABD9F00}"/>
              </a:ext>
            </a:extLst>
          </p:cNvPr>
          <p:cNvCxnSpPr>
            <a:cxnSpLocks/>
          </p:cNvCxnSpPr>
          <p:nvPr/>
        </p:nvCxnSpPr>
        <p:spPr>
          <a:xfrm>
            <a:off x="572269" y="5084856"/>
            <a:ext cx="3369813" cy="0"/>
          </a:xfrm>
          <a:prstGeom prst="line">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51" name="TextBox 50">
            <a:extLst>
              <a:ext uri="{FF2B5EF4-FFF2-40B4-BE49-F238E27FC236}">
                <a16:creationId xmlns:a16="http://schemas.microsoft.com/office/drawing/2014/main" id="{8490DBA9-2B16-ABDE-7EB5-CB424870383D}"/>
              </a:ext>
            </a:extLst>
          </p:cNvPr>
          <p:cNvSpPr txBox="1">
            <a:spLocks/>
          </p:cNvSpPr>
          <p:nvPr/>
        </p:nvSpPr>
        <p:spPr>
          <a:xfrm>
            <a:off x="7988968" y="3036513"/>
            <a:ext cx="3561666" cy="333594"/>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a:t>High CPI (hours worked / hours earned ratio), low productivity</a:t>
            </a:r>
          </a:p>
        </p:txBody>
      </p:sp>
      <p:sp>
        <p:nvSpPr>
          <p:cNvPr id="52" name="TrackerNumBlue 358">
            <a:extLst>
              <a:ext uri="{FF2B5EF4-FFF2-40B4-BE49-F238E27FC236}">
                <a16:creationId xmlns:a16="http://schemas.microsoft.com/office/drawing/2014/main" id="{0B4845F9-B5E3-851B-679F-2B57AA1F3148}"/>
              </a:ext>
            </a:extLst>
          </p:cNvPr>
          <p:cNvSpPr/>
          <p:nvPr>
            <p:custDataLst>
              <p:tags r:id="rId11"/>
            </p:custDataLst>
          </p:nvPr>
        </p:nvSpPr>
        <p:spPr>
          <a:xfrm>
            <a:off x="4369355" y="3039280"/>
            <a:ext cx="279340" cy="279340"/>
          </a:xfrm>
          <a:prstGeom prst="ellipse">
            <a:avLst/>
          </a:prstGeom>
          <a:solidFill>
            <a:schemeClr val="accent1">
              <a:alpha val="40000"/>
            </a:schemeClr>
          </a:solidFill>
          <a:ln w="6350" cap="sq"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a:solidFill>
                  <a:schemeClr val="tx1"/>
                </a:solidFill>
              </a:rPr>
              <a:t>2</a:t>
            </a:r>
          </a:p>
        </p:txBody>
      </p:sp>
      <p:sp>
        <p:nvSpPr>
          <p:cNvPr id="53" name="TrackerNumBlue 358">
            <a:extLst>
              <a:ext uri="{FF2B5EF4-FFF2-40B4-BE49-F238E27FC236}">
                <a16:creationId xmlns:a16="http://schemas.microsoft.com/office/drawing/2014/main" id="{D0DE862E-4DEA-4145-5A6F-99DBE6EA919B}"/>
              </a:ext>
            </a:extLst>
          </p:cNvPr>
          <p:cNvSpPr/>
          <p:nvPr>
            <p:custDataLst>
              <p:tags r:id="rId12"/>
            </p:custDataLst>
          </p:nvPr>
        </p:nvSpPr>
        <p:spPr>
          <a:xfrm>
            <a:off x="4369355" y="2548972"/>
            <a:ext cx="279340" cy="279340"/>
          </a:xfrm>
          <a:prstGeom prst="ellipse">
            <a:avLst/>
          </a:prstGeom>
          <a:solidFill>
            <a:schemeClr val="accent2">
              <a:alpha val="40000"/>
            </a:schemeClr>
          </a:solidFill>
          <a:ln w="6350" cap="sq"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a:solidFill>
                  <a:schemeClr val="tx1"/>
                </a:solidFill>
              </a:rPr>
              <a:t>1</a:t>
            </a:r>
          </a:p>
        </p:txBody>
      </p:sp>
    </p:spTree>
    <p:extLst>
      <p:ext uri="{BB962C8B-B14F-4D97-AF65-F5344CB8AC3E}">
        <p14:creationId xmlns:p14="http://schemas.microsoft.com/office/powerpoint/2010/main" val="299606968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71DE96E-CE74-75B4-BC9E-5130DEE61620}"/>
              </a:ext>
            </a:extLst>
          </p:cNvPr>
          <p:cNvSpPr>
            <a:spLocks noGrp="1"/>
          </p:cNvSpPr>
          <p:nvPr>
            <p:ph type="title"/>
          </p:nvPr>
        </p:nvSpPr>
        <p:spPr/>
        <p:txBody>
          <a:bodyPr/>
          <a:lstStyle/>
          <a:p>
            <a:r>
              <a:rPr lang="en-US" sz="2400">
                <a:effectLst/>
                <a:latin typeface="Arial" panose="020B0604020202020204" pitchFamily="34" charset="0"/>
                <a:ea typeface="Times New Roman" panose="02020603050405020304" pitchFamily="18" charset="0"/>
                <a:cs typeface="Times New Roman" panose="02020603050405020304" pitchFamily="18" charset="0"/>
              </a:rPr>
              <a:t>Why will new projects be different than recent over-budget builds? </a:t>
            </a:r>
            <a:endParaRPr lang="en-US"/>
          </a:p>
        </p:txBody>
      </p:sp>
      <p:sp>
        <p:nvSpPr>
          <p:cNvPr id="4" name="Rectangle 3">
            <a:extLst>
              <a:ext uri="{FF2B5EF4-FFF2-40B4-BE49-F238E27FC236}">
                <a16:creationId xmlns:a16="http://schemas.microsoft.com/office/drawing/2014/main" id="{A6C4C719-16EC-42F7-57FE-53D693E1C00A}"/>
              </a:ext>
            </a:extLst>
          </p:cNvPr>
          <p:cNvSpPr/>
          <p:nvPr/>
        </p:nvSpPr>
        <p:spPr>
          <a:xfrm>
            <a:off x="285416" y="6336878"/>
            <a:ext cx="6069014" cy="460025"/>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Arial"/>
              <a:ea typeface="+mn-ea"/>
              <a:cs typeface="+mn-cs"/>
            </a:endParaRPr>
          </a:p>
        </p:txBody>
      </p:sp>
      <p:sp>
        <p:nvSpPr>
          <p:cNvPr id="6" name="TextBox 5">
            <a:extLst>
              <a:ext uri="{FF2B5EF4-FFF2-40B4-BE49-F238E27FC236}">
                <a16:creationId xmlns:a16="http://schemas.microsoft.com/office/drawing/2014/main" id="{561A1177-6E91-87FD-4C56-91BE588D399C}"/>
              </a:ext>
            </a:extLst>
          </p:cNvPr>
          <p:cNvSpPr txBox="1"/>
          <p:nvPr/>
        </p:nvSpPr>
        <p:spPr>
          <a:xfrm>
            <a:off x="554736" y="1058130"/>
            <a:ext cx="8531110" cy="246221"/>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228600" lvl="1" indent="-230400">
              <a:lnSpc>
                <a:spcPct val="100000"/>
              </a:lnSpc>
              <a:spcBef>
                <a:spcPts val="0"/>
              </a:spcBef>
              <a:spcAft>
                <a:spcPts val="300"/>
              </a:spcAft>
              <a:buSzPct val="110000"/>
              <a:buFont typeface="Wingdings" panose="05000000000000000000" pitchFamily="2" charset="2"/>
              <a:buChar char=""/>
              <a:defRPr lang="en-US" sz="1600" dirty="0"/>
            </a:lvl2pPr>
            <a:lvl3pPr marL="439200" lvl="2" indent="-208800">
              <a:lnSpc>
                <a:spcPct val="100000"/>
              </a:lnSpc>
              <a:spcBef>
                <a:spcPts val="0"/>
              </a:spcBef>
              <a:spcAft>
                <a:spcPts val="300"/>
              </a:spcAft>
              <a:buSzPct val="110000"/>
              <a:buFont typeface="Arial" panose="020B0604020202020204" pitchFamily="34" charset="0"/>
              <a:buChar char="‒"/>
              <a:defRPr lang="en-US" sz="1600" dirty="0"/>
            </a:lvl3pPr>
            <a:lvl4pPr marL="604800" lvl="3" indent="-154800">
              <a:lnSpc>
                <a:spcPct val="100000"/>
              </a:lnSpc>
              <a:spcBef>
                <a:spcPts val="0"/>
              </a:spcBef>
              <a:spcAft>
                <a:spcPts val="300"/>
              </a:spcAft>
              <a:buFont typeface="Arial" panose="020B0604020202020204" pitchFamily="34" charset="0"/>
              <a:buChar char="•"/>
              <a:defRPr lang="en-US" sz="1600" dirty="0"/>
            </a:lvl4pPr>
            <a:lvl5pPr marL="813600" lvl="4" indent="-147600">
              <a:lnSpc>
                <a:spcPct val="100000"/>
              </a:lnSpc>
              <a:spcBef>
                <a:spcPts val="0"/>
              </a:spcBef>
              <a:spcAft>
                <a:spcPts val="300"/>
              </a:spcAft>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600" b="1" i="0" u="none" strike="noStrike" kern="1200" cap="none" spc="0" normalizeH="0" baseline="0" noProof="0">
                <a:ln>
                  <a:noFill/>
                </a:ln>
                <a:solidFill>
                  <a:srgbClr val="000000"/>
                </a:solidFill>
                <a:effectLst/>
                <a:uLnTx/>
                <a:uFillTx/>
                <a:latin typeface="Arial"/>
                <a:ea typeface="+mn-ea"/>
                <a:cs typeface="Arial" panose="020B0604020202020204" pitchFamily="34" charset="0"/>
              </a:rPr>
              <a:t>Potential advanced nuclear FOAK to NOAK overnight capital costs, </a:t>
            </a:r>
            <a:r>
              <a:rPr kumimoji="0" lang="en-US" sz="16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kW</a:t>
            </a:r>
            <a:endParaRPr kumimoji="0" lang="en-US" sz="1600" b="1"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grpSp>
        <p:nvGrpSpPr>
          <p:cNvPr id="7" name="Group 6">
            <a:extLst>
              <a:ext uri="{FF2B5EF4-FFF2-40B4-BE49-F238E27FC236}">
                <a16:creationId xmlns:a16="http://schemas.microsoft.com/office/drawing/2014/main" id="{647DF32D-459D-E6C9-A8CE-595864CA8E7B}"/>
              </a:ext>
            </a:extLst>
          </p:cNvPr>
          <p:cNvGrpSpPr/>
          <p:nvPr/>
        </p:nvGrpSpPr>
        <p:grpSpPr>
          <a:xfrm>
            <a:off x="471488" y="4603752"/>
            <a:ext cx="9809161" cy="271419"/>
            <a:chOff x="428023" y="2059106"/>
            <a:chExt cx="9333377" cy="271419"/>
          </a:xfrm>
        </p:grpSpPr>
        <p:cxnSp>
          <p:nvCxnSpPr>
            <p:cNvPr id="8" name="Straight Connector 7">
              <a:extLst>
                <a:ext uri="{FF2B5EF4-FFF2-40B4-BE49-F238E27FC236}">
                  <a16:creationId xmlns:a16="http://schemas.microsoft.com/office/drawing/2014/main" id="{115E93DA-66D3-F529-A019-4300DDA128E3}"/>
                </a:ext>
              </a:extLst>
            </p:cNvPr>
            <p:cNvCxnSpPr>
              <a:cxnSpLocks/>
            </p:cNvCxnSpPr>
            <p:nvPr/>
          </p:nvCxnSpPr>
          <p:spPr>
            <a:xfrm>
              <a:off x="428023" y="2059106"/>
              <a:ext cx="9333377" cy="11240"/>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034A63B7-11D1-6C76-DCFE-1ECA1E6D7B9F}"/>
                </a:ext>
              </a:extLst>
            </p:cNvPr>
            <p:cNvSpPr txBox="1"/>
            <p:nvPr/>
          </p:nvSpPr>
          <p:spPr>
            <a:xfrm>
              <a:off x="3999983" y="2115081"/>
              <a:ext cx="1046066" cy="215444"/>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228600" lvl="1" indent="-230400">
                <a:lnSpc>
                  <a:spcPct val="100000"/>
                </a:lnSpc>
                <a:spcBef>
                  <a:spcPts val="0"/>
                </a:spcBef>
                <a:spcAft>
                  <a:spcPts val="300"/>
                </a:spcAft>
                <a:buSzPct val="110000"/>
                <a:buFont typeface="Wingdings" panose="05000000000000000000" pitchFamily="2" charset="2"/>
                <a:buChar char=""/>
                <a:defRPr lang="en-US" sz="1600" dirty="0"/>
              </a:lvl2pPr>
              <a:lvl3pPr marL="439200" lvl="2" indent="-208800">
                <a:lnSpc>
                  <a:spcPct val="100000"/>
                </a:lnSpc>
                <a:spcBef>
                  <a:spcPts val="0"/>
                </a:spcBef>
                <a:spcAft>
                  <a:spcPts val="300"/>
                </a:spcAft>
                <a:buSzPct val="110000"/>
                <a:buFont typeface="Arial" panose="020B0604020202020204" pitchFamily="34" charset="0"/>
                <a:buChar char="‒"/>
                <a:defRPr lang="en-US" sz="1600" dirty="0"/>
              </a:lvl3pPr>
              <a:lvl4pPr marL="604800" lvl="3" indent="-154800">
                <a:lnSpc>
                  <a:spcPct val="100000"/>
                </a:lnSpc>
                <a:spcBef>
                  <a:spcPts val="0"/>
                </a:spcBef>
                <a:spcAft>
                  <a:spcPts val="300"/>
                </a:spcAft>
                <a:buFont typeface="Arial" panose="020B0604020202020204" pitchFamily="34" charset="0"/>
                <a:buChar char="•"/>
                <a:defRPr lang="en-US" sz="1600" dirty="0"/>
              </a:lvl4pPr>
              <a:lvl5pPr marL="813600" lvl="4" indent="-147600">
                <a:lnSpc>
                  <a:spcPct val="100000"/>
                </a:lnSpc>
                <a:spcBef>
                  <a:spcPts val="0"/>
                </a:spcBef>
                <a:spcAft>
                  <a:spcPts val="300"/>
                </a:spcAft>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4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40-50%</a:t>
              </a:r>
            </a:p>
          </p:txBody>
        </p:sp>
        <p:sp>
          <p:nvSpPr>
            <p:cNvPr id="10" name="TextBox 9">
              <a:extLst>
                <a:ext uri="{FF2B5EF4-FFF2-40B4-BE49-F238E27FC236}">
                  <a16:creationId xmlns:a16="http://schemas.microsoft.com/office/drawing/2014/main" id="{0F6B5687-EB2E-BBF8-D4E3-C49FDB90D497}"/>
                </a:ext>
              </a:extLst>
            </p:cNvPr>
            <p:cNvSpPr txBox="1"/>
            <p:nvPr/>
          </p:nvSpPr>
          <p:spPr>
            <a:xfrm>
              <a:off x="6360353" y="2115081"/>
              <a:ext cx="962425" cy="215444"/>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228600" lvl="1" indent="-230400">
                <a:lnSpc>
                  <a:spcPct val="100000"/>
                </a:lnSpc>
                <a:spcBef>
                  <a:spcPts val="0"/>
                </a:spcBef>
                <a:spcAft>
                  <a:spcPts val="300"/>
                </a:spcAft>
                <a:buSzPct val="110000"/>
                <a:buFont typeface="Wingdings" panose="05000000000000000000" pitchFamily="2" charset="2"/>
                <a:buChar char=""/>
                <a:defRPr lang="en-US" sz="1600" dirty="0"/>
              </a:lvl2pPr>
              <a:lvl3pPr marL="439200" lvl="2" indent="-208800">
                <a:lnSpc>
                  <a:spcPct val="100000"/>
                </a:lnSpc>
                <a:spcBef>
                  <a:spcPts val="0"/>
                </a:spcBef>
                <a:spcAft>
                  <a:spcPts val="300"/>
                </a:spcAft>
                <a:buSzPct val="110000"/>
                <a:buFont typeface="Arial" panose="020B0604020202020204" pitchFamily="34" charset="0"/>
                <a:buChar char="‒"/>
                <a:defRPr lang="en-US" sz="1600" dirty="0"/>
              </a:lvl3pPr>
              <a:lvl4pPr marL="604800" lvl="3" indent="-154800">
                <a:lnSpc>
                  <a:spcPct val="100000"/>
                </a:lnSpc>
                <a:spcBef>
                  <a:spcPts val="0"/>
                </a:spcBef>
                <a:spcAft>
                  <a:spcPts val="300"/>
                </a:spcAft>
                <a:buFont typeface="Arial" panose="020B0604020202020204" pitchFamily="34" charset="0"/>
                <a:buChar char="•"/>
                <a:defRPr lang="en-US" sz="1600" dirty="0"/>
              </a:lvl4pPr>
              <a:lvl5pPr marL="813600" lvl="4" indent="-147600">
                <a:lnSpc>
                  <a:spcPct val="100000"/>
                </a:lnSpc>
                <a:spcBef>
                  <a:spcPts val="0"/>
                </a:spcBef>
                <a:spcAft>
                  <a:spcPts val="300"/>
                </a:spcAft>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4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20-30%</a:t>
              </a:r>
            </a:p>
          </p:txBody>
        </p:sp>
        <p:sp>
          <p:nvSpPr>
            <p:cNvPr id="11" name="TextBox 10">
              <a:extLst>
                <a:ext uri="{FF2B5EF4-FFF2-40B4-BE49-F238E27FC236}">
                  <a16:creationId xmlns:a16="http://schemas.microsoft.com/office/drawing/2014/main" id="{4E813058-1770-48E6-7A8F-22DB836EE817}"/>
                </a:ext>
              </a:extLst>
            </p:cNvPr>
            <p:cNvSpPr txBox="1"/>
            <p:nvPr/>
          </p:nvSpPr>
          <p:spPr>
            <a:xfrm>
              <a:off x="5187874" y="2115081"/>
              <a:ext cx="962425" cy="215444"/>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228600" lvl="1" indent="-230400">
                <a:lnSpc>
                  <a:spcPct val="100000"/>
                </a:lnSpc>
                <a:spcBef>
                  <a:spcPts val="0"/>
                </a:spcBef>
                <a:spcAft>
                  <a:spcPts val="300"/>
                </a:spcAft>
                <a:buSzPct val="110000"/>
                <a:buFont typeface="Wingdings" panose="05000000000000000000" pitchFamily="2" charset="2"/>
                <a:buChar char=""/>
                <a:defRPr lang="en-US" sz="1600" dirty="0"/>
              </a:lvl2pPr>
              <a:lvl3pPr marL="439200" lvl="2" indent="-208800">
                <a:lnSpc>
                  <a:spcPct val="100000"/>
                </a:lnSpc>
                <a:spcBef>
                  <a:spcPts val="0"/>
                </a:spcBef>
                <a:spcAft>
                  <a:spcPts val="300"/>
                </a:spcAft>
                <a:buSzPct val="110000"/>
                <a:buFont typeface="Arial" panose="020B0604020202020204" pitchFamily="34" charset="0"/>
                <a:buChar char="‒"/>
                <a:defRPr lang="en-US" sz="1600" dirty="0"/>
              </a:lvl3pPr>
              <a:lvl4pPr marL="604800" lvl="3" indent="-154800">
                <a:lnSpc>
                  <a:spcPct val="100000"/>
                </a:lnSpc>
                <a:spcBef>
                  <a:spcPts val="0"/>
                </a:spcBef>
                <a:spcAft>
                  <a:spcPts val="300"/>
                </a:spcAft>
                <a:buFont typeface="Arial" panose="020B0604020202020204" pitchFamily="34" charset="0"/>
                <a:buChar char="•"/>
                <a:defRPr lang="en-US" sz="1600" dirty="0"/>
              </a:lvl4pPr>
              <a:lvl5pPr marL="813600" lvl="4" indent="-147600">
                <a:lnSpc>
                  <a:spcPct val="100000"/>
                </a:lnSpc>
                <a:spcBef>
                  <a:spcPts val="0"/>
                </a:spcBef>
                <a:spcAft>
                  <a:spcPts val="300"/>
                </a:spcAft>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4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40-50%</a:t>
              </a:r>
            </a:p>
          </p:txBody>
        </p:sp>
        <p:sp>
          <p:nvSpPr>
            <p:cNvPr id="12" name="TextBox 11">
              <a:extLst>
                <a:ext uri="{FF2B5EF4-FFF2-40B4-BE49-F238E27FC236}">
                  <a16:creationId xmlns:a16="http://schemas.microsoft.com/office/drawing/2014/main" id="{D58DF3F5-0252-3BCF-CEB7-BFC6131CF77C}"/>
                </a:ext>
              </a:extLst>
            </p:cNvPr>
            <p:cNvSpPr txBox="1"/>
            <p:nvPr/>
          </p:nvSpPr>
          <p:spPr>
            <a:xfrm>
              <a:off x="7450336" y="2115081"/>
              <a:ext cx="972130" cy="215444"/>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228600" lvl="1" indent="-230400">
                <a:lnSpc>
                  <a:spcPct val="100000"/>
                </a:lnSpc>
                <a:spcBef>
                  <a:spcPts val="0"/>
                </a:spcBef>
                <a:spcAft>
                  <a:spcPts val="300"/>
                </a:spcAft>
                <a:buSzPct val="110000"/>
                <a:buFont typeface="Wingdings" panose="05000000000000000000" pitchFamily="2" charset="2"/>
                <a:buChar char=""/>
                <a:defRPr lang="en-US" sz="1600" dirty="0"/>
              </a:lvl2pPr>
              <a:lvl3pPr marL="439200" lvl="2" indent="-208800">
                <a:lnSpc>
                  <a:spcPct val="100000"/>
                </a:lnSpc>
                <a:spcBef>
                  <a:spcPts val="0"/>
                </a:spcBef>
                <a:spcAft>
                  <a:spcPts val="300"/>
                </a:spcAft>
                <a:buSzPct val="110000"/>
                <a:buFont typeface="Arial" panose="020B0604020202020204" pitchFamily="34" charset="0"/>
                <a:buChar char="‒"/>
                <a:defRPr lang="en-US" sz="1600" dirty="0"/>
              </a:lvl3pPr>
              <a:lvl4pPr marL="604800" lvl="3" indent="-154800">
                <a:lnSpc>
                  <a:spcPct val="100000"/>
                </a:lnSpc>
                <a:spcBef>
                  <a:spcPts val="0"/>
                </a:spcBef>
                <a:spcAft>
                  <a:spcPts val="300"/>
                </a:spcAft>
                <a:buFont typeface="Arial" panose="020B0604020202020204" pitchFamily="34" charset="0"/>
                <a:buChar char="•"/>
                <a:defRPr lang="en-US" sz="1600" dirty="0"/>
              </a:lvl4pPr>
              <a:lvl5pPr marL="813600" lvl="4" indent="-147600">
                <a:lnSpc>
                  <a:spcPct val="100000"/>
                </a:lnSpc>
                <a:spcBef>
                  <a:spcPts val="0"/>
                </a:spcBef>
                <a:spcAft>
                  <a:spcPts val="300"/>
                </a:spcAft>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4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10-20%</a:t>
              </a:r>
            </a:p>
          </p:txBody>
        </p:sp>
        <p:sp>
          <p:nvSpPr>
            <p:cNvPr id="13" name="TextBox 12">
              <a:extLst>
                <a:ext uri="{FF2B5EF4-FFF2-40B4-BE49-F238E27FC236}">
                  <a16:creationId xmlns:a16="http://schemas.microsoft.com/office/drawing/2014/main" id="{08AC3FEA-A66F-FDD6-E6BD-E3843D5D0B75}"/>
                </a:ext>
              </a:extLst>
            </p:cNvPr>
            <p:cNvSpPr txBox="1"/>
            <p:nvPr/>
          </p:nvSpPr>
          <p:spPr>
            <a:xfrm>
              <a:off x="8618934" y="2115081"/>
              <a:ext cx="962423" cy="215444"/>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228600" lvl="1" indent="-230400">
                <a:lnSpc>
                  <a:spcPct val="100000"/>
                </a:lnSpc>
                <a:spcBef>
                  <a:spcPts val="0"/>
                </a:spcBef>
                <a:spcAft>
                  <a:spcPts val="300"/>
                </a:spcAft>
                <a:buSzPct val="110000"/>
                <a:buFont typeface="Wingdings" panose="05000000000000000000" pitchFamily="2" charset="2"/>
                <a:buChar char=""/>
                <a:defRPr lang="en-US" sz="1600" dirty="0"/>
              </a:lvl2pPr>
              <a:lvl3pPr marL="439200" lvl="2" indent="-208800">
                <a:lnSpc>
                  <a:spcPct val="100000"/>
                </a:lnSpc>
                <a:spcBef>
                  <a:spcPts val="0"/>
                </a:spcBef>
                <a:spcAft>
                  <a:spcPts val="300"/>
                </a:spcAft>
                <a:buSzPct val="110000"/>
                <a:buFont typeface="Arial" panose="020B0604020202020204" pitchFamily="34" charset="0"/>
                <a:buChar char="‒"/>
                <a:defRPr lang="en-US" sz="1600" dirty="0"/>
              </a:lvl3pPr>
              <a:lvl4pPr marL="604800" lvl="3" indent="-154800">
                <a:lnSpc>
                  <a:spcPct val="100000"/>
                </a:lnSpc>
                <a:spcBef>
                  <a:spcPts val="0"/>
                </a:spcBef>
                <a:spcAft>
                  <a:spcPts val="300"/>
                </a:spcAft>
                <a:buFont typeface="Arial" panose="020B0604020202020204" pitchFamily="34" charset="0"/>
                <a:buChar char="•"/>
                <a:defRPr lang="en-US" sz="1600" dirty="0"/>
              </a:lvl4pPr>
              <a:lvl5pPr marL="813600" lvl="4" indent="-147600">
                <a:lnSpc>
                  <a:spcPct val="100000"/>
                </a:lnSpc>
                <a:spcBef>
                  <a:spcPts val="0"/>
                </a:spcBef>
                <a:spcAft>
                  <a:spcPts val="300"/>
                </a:spcAft>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4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30-40%</a:t>
              </a:r>
            </a:p>
          </p:txBody>
        </p:sp>
        <p:sp>
          <p:nvSpPr>
            <p:cNvPr id="14" name="TextBox 13">
              <a:extLst>
                <a:ext uri="{FF2B5EF4-FFF2-40B4-BE49-F238E27FC236}">
                  <a16:creationId xmlns:a16="http://schemas.microsoft.com/office/drawing/2014/main" id="{4B42F51F-15D1-251F-4F90-FE379EE577AA}"/>
                </a:ext>
              </a:extLst>
            </p:cNvPr>
            <p:cNvSpPr txBox="1"/>
            <p:nvPr/>
          </p:nvSpPr>
          <p:spPr>
            <a:xfrm>
              <a:off x="1575948" y="2115081"/>
              <a:ext cx="1046066" cy="215444"/>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228600" lvl="1" indent="-230400">
                <a:lnSpc>
                  <a:spcPct val="100000"/>
                </a:lnSpc>
                <a:spcBef>
                  <a:spcPts val="0"/>
                </a:spcBef>
                <a:spcAft>
                  <a:spcPts val="300"/>
                </a:spcAft>
                <a:buSzPct val="110000"/>
                <a:buFont typeface="Wingdings" panose="05000000000000000000" pitchFamily="2" charset="2"/>
                <a:buChar char=""/>
                <a:defRPr lang="en-US" sz="1600" dirty="0"/>
              </a:lvl2pPr>
              <a:lvl3pPr marL="439200" lvl="2" indent="-208800">
                <a:lnSpc>
                  <a:spcPct val="100000"/>
                </a:lnSpc>
                <a:spcBef>
                  <a:spcPts val="0"/>
                </a:spcBef>
                <a:spcAft>
                  <a:spcPts val="300"/>
                </a:spcAft>
                <a:buSzPct val="110000"/>
                <a:buFont typeface="Arial" panose="020B0604020202020204" pitchFamily="34" charset="0"/>
                <a:buChar char="‒"/>
                <a:defRPr lang="en-US" sz="1600" dirty="0"/>
              </a:lvl3pPr>
              <a:lvl4pPr marL="604800" lvl="3" indent="-154800">
                <a:lnSpc>
                  <a:spcPct val="100000"/>
                </a:lnSpc>
                <a:spcBef>
                  <a:spcPts val="0"/>
                </a:spcBef>
                <a:spcAft>
                  <a:spcPts val="300"/>
                </a:spcAft>
                <a:buFont typeface="Arial" panose="020B0604020202020204" pitchFamily="34" charset="0"/>
                <a:buChar char="•"/>
                <a:defRPr lang="en-US" sz="1600" dirty="0"/>
              </a:lvl4pPr>
              <a:lvl5pPr marL="813600" lvl="4" indent="-147600">
                <a:lnSpc>
                  <a:spcPct val="100000"/>
                </a:lnSpc>
                <a:spcBef>
                  <a:spcPts val="0"/>
                </a:spcBef>
                <a:spcAft>
                  <a:spcPts val="300"/>
                </a:spcAft>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4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30-40%</a:t>
              </a:r>
            </a:p>
          </p:txBody>
        </p:sp>
      </p:grpSp>
      <p:sp>
        <p:nvSpPr>
          <p:cNvPr id="15" name="TextBox 14">
            <a:extLst>
              <a:ext uri="{FF2B5EF4-FFF2-40B4-BE49-F238E27FC236}">
                <a16:creationId xmlns:a16="http://schemas.microsoft.com/office/drawing/2014/main" id="{F541818E-F9F6-F628-3969-66910313789D}"/>
              </a:ext>
            </a:extLst>
          </p:cNvPr>
          <p:cNvSpPr txBox="1"/>
          <p:nvPr/>
        </p:nvSpPr>
        <p:spPr>
          <a:xfrm>
            <a:off x="464344" y="4614992"/>
            <a:ext cx="1162629" cy="553998"/>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228600" lvl="1" indent="-230400">
              <a:lnSpc>
                <a:spcPct val="100000"/>
              </a:lnSpc>
              <a:spcBef>
                <a:spcPts val="0"/>
              </a:spcBef>
              <a:spcAft>
                <a:spcPts val="300"/>
              </a:spcAft>
              <a:buSzPct val="110000"/>
              <a:buFont typeface="Wingdings" panose="05000000000000000000" pitchFamily="2" charset="2"/>
              <a:buChar char=""/>
              <a:defRPr lang="en-US" sz="1600" dirty="0"/>
            </a:lvl2pPr>
            <a:lvl3pPr marL="439200" lvl="2" indent="-208800">
              <a:lnSpc>
                <a:spcPct val="100000"/>
              </a:lnSpc>
              <a:spcBef>
                <a:spcPts val="0"/>
              </a:spcBef>
              <a:spcAft>
                <a:spcPts val="300"/>
              </a:spcAft>
              <a:buSzPct val="110000"/>
              <a:buFont typeface="Arial" panose="020B0604020202020204" pitchFamily="34" charset="0"/>
              <a:buChar char="‒"/>
              <a:defRPr lang="en-US" sz="1600" dirty="0"/>
            </a:lvl3pPr>
            <a:lvl4pPr marL="604800" lvl="3" indent="-154800">
              <a:lnSpc>
                <a:spcPct val="100000"/>
              </a:lnSpc>
              <a:spcBef>
                <a:spcPts val="0"/>
              </a:spcBef>
              <a:spcAft>
                <a:spcPts val="300"/>
              </a:spcAft>
              <a:buFont typeface="Arial" panose="020B0604020202020204" pitchFamily="34" charset="0"/>
              <a:buChar char="•"/>
              <a:defRPr lang="en-US" sz="1600" dirty="0"/>
            </a:lvl4pPr>
            <a:lvl5pPr marL="813600" lvl="4" indent="-147600">
              <a:lnSpc>
                <a:spcPct val="100000"/>
              </a:lnSpc>
              <a:spcBef>
                <a:spcPts val="0"/>
              </a:spcBef>
              <a:spcAft>
                <a:spcPts val="300"/>
              </a:spcAft>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None/>
              <a:tabLst/>
              <a:defRPr/>
            </a:pPr>
            <a:r>
              <a:rPr kumimoji="0" lang="en-US" sz="1200" b="1" i="0" u="none" strike="noStrike" kern="1200" cap="none" spc="0" normalizeH="0" baseline="0" noProof="0">
                <a:ln>
                  <a:noFill/>
                </a:ln>
                <a:solidFill>
                  <a:srgbClr val="000000"/>
                </a:solidFill>
                <a:effectLst/>
                <a:uLnTx/>
                <a:uFillTx/>
                <a:latin typeface="Arial"/>
                <a:ea typeface="+mn-ea"/>
                <a:cs typeface="Arial" panose="020B0604020202020204" pitchFamily="34" charset="0"/>
              </a:rPr>
              <a:t>Cost reductions by individual cost category</a:t>
            </a:r>
          </a:p>
        </p:txBody>
      </p:sp>
      <p:sp>
        <p:nvSpPr>
          <p:cNvPr id="16" name="TextBox 15">
            <a:extLst>
              <a:ext uri="{FF2B5EF4-FFF2-40B4-BE49-F238E27FC236}">
                <a16:creationId xmlns:a16="http://schemas.microsoft.com/office/drawing/2014/main" id="{50AB46EB-C243-7BD2-6B81-E0CBE0E8DAC7}"/>
              </a:ext>
            </a:extLst>
          </p:cNvPr>
          <p:cNvSpPr txBox="1"/>
          <p:nvPr/>
        </p:nvSpPr>
        <p:spPr>
          <a:xfrm>
            <a:off x="10464006" y="4384243"/>
            <a:ext cx="1281113" cy="877163"/>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228600" lvl="1" indent="-230400">
              <a:lnSpc>
                <a:spcPct val="100000"/>
              </a:lnSpc>
              <a:spcBef>
                <a:spcPts val="0"/>
              </a:spcBef>
              <a:spcAft>
                <a:spcPts val="300"/>
              </a:spcAft>
              <a:buSzPct val="110000"/>
              <a:buFont typeface="Wingdings" panose="05000000000000000000" pitchFamily="2" charset="2"/>
              <a:buChar char=""/>
              <a:defRPr lang="en-US" sz="1600" dirty="0"/>
            </a:lvl2pPr>
            <a:lvl3pPr marL="439200" lvl="2" indent="-208800">
              <a:lnSpc>
                <a:spcPct val="100000"/>
              </a:lnSpc>
              <a:spcBef>
                <a:spcPts val="0"/>
              </a:spcBef>
              <a:spcAft>
                <a:spcPts val="300"/>
              </a:spcAft>
              <a:buSzPct val="110000"/>
              <a:buFont typeface="Arial" panose="020B0604020202020204" pitchFamily="34" charset="0"/>
              <a:buChar char="‒"/>
              <a:defRPr lang="en-US" sz="1600" dirty="0"/>
            </a:lvl3pPr>
            <a:lvl4pPr marL="604800" lvl="3" indent="-154800">
              <a:lnSpc>
                <a:spcPct val="100000"/>
              </a:lnSpc>
              <a:spcBef>
                <a:spcPts val="0"/>
              </a:spcBef>
              <a:spcAft>
                <a:spcPts val="300"/>
              </a:spcAft>
              <a:buFont typeface="Arial" panose="020B0604020202020204" pitchFamily="34" charset="0"/>
              <a:buChar char="•"/>
              <a:defRPr lang="en-US" sz="1600" dirty="0"/>
            </a:lvl4pPr>
            <a:lvl5pPr marL="813600" lvl="4" indent="-147600">
              <a:lnSpc>
                <a:spcPct val="100000"/>
              </a:lnSpc>
              <a:spcBef>
                <a:spcPts val="0"/>
              </a:spcBef>
              <a:spcAft>
                <a:spcPts val="300"/>
              </a:spcAft>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2400" b="1" i="0" u="none" strike="noStrike" kern="1200" cap="none" spc="0" normalizeH="0" baseline="0" noProof="0">
                <a:ln>
                  <a:noFill/>
                </a:ln>
                <a:solidFill>
                  <a:srgbClr val="00652E"/>
                </a:solidFill>
                <a:effectLst/>
                <a:uLnTx/>
                <a:uFillTx/>
                <a:latin typeface="Arial"/>
                <a:ea typeface="+mn-ea"/>
                <a:cs typeface="Arial" panose="020B0604020202020204" pitchFamily="34" charset="0"/>
              </a:rPr>
              <a:t>~40%</a:t>
            </a:r>
          </a:p>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4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Total cost reduction</a:t>
            </a:r>
          </a:p>
        </p:txBody>
      </p:sp>
      <p:sp>
        <p:nvSpPr>
          <p:cNvPr id="17" name="Rectangle: Rounded Corners 16">
            <a:extLst>
              <a:ext uri="{FF2B5EF4-FFF2-40B4-BE49-F238E27FC236}">
                <a16:creationId xmlns:a16="http://schemas.microsoft.com/office/drawing/2014/main" id="{2B3DBE40-815B-C50F-BC83-6EC426BCDBAB}"/>
              </a:ext>
            </a:extLst>
          </p:cNvPr>
          <p:cNvSpPr/>
          <p:nvPr/>
        </p:nvSpPr>
        <p:spPr>
          <a:xfrm>
            <a:off x="6616111" y="5804922"/>
            <a:ext cx="2301799" cy="365760"/>
          </a:xfrm>
          <a:prstGeom prst="round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100" b="0" i="0" u="none" strike="noStrike" kern="1200" cap="none" spc="0" normalizeH="0" baseline="0" noProof="0" err="1">
              <a:ln>
                <a:noFill/>
              </a:ln>
              <a:solidFill>
                <a:srgbClr val="FFFFFF"/>
              </a:solidFill>
              <a:effectLst/>
              <a:uLnTx/>
              <a:uFillTx/>
              <a:latin typeface="Arial"/>
              <a:ea typeface="+mn-ea"/>
              <a:cs typeface="+mn-cs"/>
            </a:endParaRPr>
          </a:p>
        </p:txBody>
      </p:sp>
      <p:grpSp>
        <p:nvGrpSpPr>
          <p:cNvPr id="18" name="CustomIcon">
            <a:extLst>
              <a:ext uri="{FF2B5EF4-FFF2-40B4-BE49-F238E27FC236}">
                <a16:creationId xmlns:a16="http://schemas.microsoft.com/office/drawing/2014/main" id="{BC3F3658-B7AE-AB14-41E9-01E38D41FAB8}"/>
              </a:ext>
            </a:extLst>
          </p:cNvPr>
          <p:cNvGrpSpPr>
            <a:grpSpLocks/>
          </p:cNvGrpSpPr>
          <p:nvPr>
            <p:custDataLst>
              <p:tags r:id="rId1"/>
            </p:custDataLst>
          </p:nvPr>
        </p:nvGrpSpPr>
        <p:grpSpPr>
          <a:xfrm>
            <a:off x="6656240" y="5850642"/>
            <a:ext cx="274320" cy="274320"/>
            <a:chOff x="-205105" y="-205105"/>
            <a:chExt cx="1019809" cy="1019809"/>
          </a:xfrm>
        </p:grpSpPr>
        <p:sp>
          <p:nvSpPr>
            <p:cNvPr id="19" name="Oval 18">
              <a:extLst>
                <a:ext uri="{FF2B5EF4-FFF2-40B4-BE49-F238E27FC236}">
                  <a16:creationId xmlns:a16="http://schemas.microsoft.com/office/drawing/2014/main" id="{2FCA2E40-90F8-72C7-8EC6-44AD9A0882AC}"/>
                </a:ext>
              </a:extLst>
            </p:cNvPr>
            <p:cNvSpPr>
              <a:spLocks noChangeAspect="1"/>
            </p:cNvSpPr>
            <p:nvPr/>
          </p:nvSpPr>
          <p:spPr>
            <a:xfrm>
              <a:off x="-205105" y="-205105"/>
              <a:ext cx="1019809" cy="1019809"/>
            </a:xfrm>
            <a:prstGeom prst="ellipse">
              <a:avLst/>
            </a:prstGeom>
            <a:solidFill>
              <a:schemeClr val="lt1"/>
            </a:solidFill>
            <a:ln w="9525" cap="sq">
              <a:pattFill prst="solidDmnd">
                <a:fgClr>
                  <a:srgbClr val="00652E"/>
                </a:fgClr>
                <a:bgClr>
                  <a:srgbClr val="00652E"/>
                </a:bgClr>
              </a:patt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100" b="0" i="0" u="none" strike="noStrike" kern="1200" cap="none" spc="0" normalizeH="0" baseline="0" noProof="0" err="1">
                <a:ln>
                  <a:noFill/>
                </a:ln>
                <a:solidFill>
                  <a:srgbClr val="FFFFFF"/>
                </a:solidFill>
                <a:effectLst/>
                <a:uLnTx/>
                <a:uFillTx/>
                <a:latin typeface="Arial"/>
                <a:ea typeface="+mn-ea"/>
                <a:cs typeface="+mn-cs"/>
              </a:endParaRPr>
            </a:p>
          </p:txBody>
        </p:sp>
        <p:pic>
          <p:nvPicPr>
            <p:cNvPr id="20" name="Graphic 19">
              <a:extLst>
                <a:ext uri="{FF2B5EF4-FFF2-40B4-BE49-F238E27FC236}">
                  <a16:creationId xmlns:a16="http://schemas.microsoft.com/office/drawing/2014/main" id="{ADBAF068-7A17-3180-20B4-A0BE916F6B54}"/>
                </a:ext>
              </a:extLst>
            </p:cNvPr>
            <p:cNvPicPr>
              <a:picLocks noChangeAspect="1"/>
            </p:cNvPicPr>
            <p:nvPr/>
          </p:nvPicPr>
          <p:blipFill>
            <a:blip r:embed="rId38" cstate="print">
              <a:extLst>
                <a:ext uri="{28A0092B-C50C-407E-A947-70E740481C1C}">
                  <a14:useLocalDpi xmlns:a14="http://schemas.microsoft.com/office/drawing/2010/main" val="0"/>
                </a:ext>
                <a:ext uri="{96DAC541-7B7A-43D3-8B79-37D633B846F1}">
                  <asvg:svgBlip xmlns:asvg="http://schemas.microsoft.com/office/drawing/2016/SVG/main" r:embed="rId39"/>
                </a:ext>
              </a:extLst>
            </a:blip>
            <a:stretch>
              <a:fillRect/>
            </a:stretch>
          </p:blipFill>
          <p:spPr>
            <a:xfrm>
              <a:off x="0" y="0"/>
              <a:ext cx="609600" cy="609600"/>
            </a:xfrm>
            <a:prstGeom prst="rect">
              <a:avLst/>
            </a:prstGeom>
          </p:spPr>
        </p:pic>
      </p:grpSp>
      <p:sp>
        <p:nvSpPr>
          <p:cNvPr id="21" name="TextBox 20">
            <a:extLst>
              <a:ext uri="{FF2B5EF4-FFF2-40B4-BE49-F238E27FC236}">
                <a16:creationId xmlns:a16="http://schemas.microsoft.com/office/drawing/2014/main" id="{EF251DD4-E495-A2F2-A77F-166C15C4B05F}"/>
              </a:ext>
            </a:extLst>
          </p:cNvPr>
          <p:cNvSpPr txBox="1"/>
          <p:nvPr/>
        </p:nvSpPr>
        <p:spPr>
          <a:xfrm>
            <a:off x="6951342" y="5903164"/>
            <a:ext cx="1426879" cy="169277"/>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228600" lvl="1" indent="-230400">
              <a:lnSpc>
                <a:spcPct val="100000"/>
              </a:lnSpc>
              <a:spcBef>
                <a:spcPts val="0"/>
              </a:spcBef>
              <a:spcAft>
                <a:spcPts val="300"/>
              </a:spcAft>
              <a:buSzPct val="110000"/>
              <a:buFont typeface="Wingdings" panose="05000000000000000000" pitchFamily="2" charset="2"/>
              <a:buChar char=""/>
              <a:defRPr lang="en-US" sz="1600" dirty="0"/>
            </a:lvl2pPr>
            <a:lvl3pPr marL="439200" lvl="2" indent="-208800">
              <a:lnSpc>
                <a:spcPct val="100000"/>
              </a:lnSpc>
              <a:spcBef>
                <a:spcPts val="0"/>
              </a:spcBef>
              <a:spcAft>
                <a:spcPts val="300"/>
              </a:spcAft>
              <a:buSzPct val="110000"/>
              <a:buFont typeface="Arial" panose="020B0604020202020204" pitchFamily="34" charset="0"/>
              <a:buChar char="‒"/>
              <a:defRPr lang="en-US" sz="1600" dirty="0"/>
            </a:lvl3pPr>
            <a:lvl4pPr marL="604800" lvl="3" indent="-154800">
              <a:lnSpc>
                <a:spcPct val="100000"/>
              </a:lnSpc>
              <a:spcBef>
                <a:spcPts val="0"/>
              </a:spcBef>
              <a:spcAft>
                <a:spcPts val="300"/>
              </a:spcAft>
              <a:buFont typeface="Arial" panose="020B0604020202020204" pitchFamily="34" charset="0"/>
              <a:buChar char="•"/>
              <a:defRPr lang="en-US" sz="1600" dirty="0"/>
            </a:lvl4pPr>
            <a:lvl5pPr marL="813600" lvl="4" indent="-147600">
              <a:lnSpc>
                <a:spcPct val="100000"/>
              </a:lnSpc>
              <a:spcBef>
                <a:spcPts val="0"/>
              </a:spcBef>
              <a:spcAft>
                <a:spcPts val="300"/>
              </a:spcAft>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100" b="1" i="0" u="none" strike="noStrike" kern="1200" cap="none" spc="0" normalizeH="0" baseline="0" noProof="0">
                <a:ln>
                  <a:noFill/>
                </a:ln>
                <a:solidFill>
                  <a:srgbClr val="FFFFFF"/>
                </a:solidFill>
                <a:effectLst/>
                <a:uLnTx/>
                <a:uFillTx/>
                <a:latin typeface="Arial"/>
                <a:ea typeface="+mn-ea"/>
                <a:cs typeface="Arial" panose="020B0604020202020204" pitchFamily="34" charset="0"/>
              </a:rPr>
              <a:t>Modularization</a:t>
            </a:r>
          </a:p>
        </p:txBody>
      </p:sp>
      <p:sp>
        <p:nvSpPr>
          <p:cNvPr id="22" name="Rectangle: Rounded Corners 21">
            <a:extLst>
              <a:ext uri="{FF2B5EF4-FFF2-40B4-BE49-F238E27FC236}">
                <a16:creationId xmlns:a16="http://schemas.microsoft.com/office/drawing/2014/main" id="{59342E66-85CB-F703-88BC-43A297C4F5E7}"/>
              </a:ext>
            </a:extLst>
          </p:cNvPr>
          <p:cNvSpPr/>
          <p:nvPr/>
        </p:nvSpPr>
        <p:spPr>
          <a:xfrm>
            <a:off x="6616111" y="5376063"/>
            <a:ext cx="2301800" cy="365760"/>
          </a:xfrm>
          <a:prstGeom prst="round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100" b="0" i="0" u="none" strike="noStrike" kern="1200" cap="none" spc="0" normalizeH="0" baseline="0" noProof="0" err="1">
              <a:ln>
                <a:noFill/>
              </a:ln>
              <a:solidFill>
                <a:srgbClr val="FFFFFF"/>
              </a:solidFill>
              <a:effectLst/>
              <a:uLnTx/>
              <a:uFillTx/>
              <a:latin typeface="Arial"/>
              <a:ea typeface="+mn-ea"/>
              <a:cs typeface="+mn-cs"/>
            </a:endParaRPr>
          </a:p>
        </p:txBody>
      </p:sp>
      <p:grpSp>
        <p:nvGrpSpPr>
          <p:cNvPr id="23" name="CustomIcon">
            <a:extLst>
              <a:ext uri="{FF2B5EF4-FFF2-40B4-BE49-F238E27FC236}">
                <a16:creationId xmlns:a16="http://schemas.microsoft.com/office/drawing/2014/main" id="{583F32AF-0112-7F00-C2BA-574BD2D8F9FD}"/>
              </a:ext>
            </a:extLst>
          </p:cNvPr>
          <p:cNvGrpSpPr>
            <a:grpSpLocks/>
          </p:cNvGrpSpPr>
          <p:nvPr>
            <p:custDataLst>
              <p:tags r:id="rId2"/>
            </p:custDataLst>
          </p:nvPr>
        </p:nvGrpSpPr>
        <p:grpSpPr>
          <a:xfrm>
            <a:off x="6656240" y="5421783"/>
            <a:ext cx="274320" cy="274320"/>
            <a:chOff x="-205105" y="-205105"/>
            <a:chExt cx="1019810" cy="1019810"/>
          </a:xfrm>
        </p:grpSpPr>
        <p:sp>
          <p:nvSpPr>
            <p:cNvPr id="24" name="Oval 23">
              <a:extLst>
                <a:ext uri="{FF2B5EF4-FFF2-40B4-BE49-F238E27FC236}">
                  <a16:creationId xmlns:a16="http://schemas.microsoft.com/office/drawing/2014/main" id="{D832F872-F669-67BE-7D36-C96D448225A0}"/>
                </a:ext>
              </a:extLst>
            </p:cNvPr>
            <p:cNvSpPr>
              <a:spLocks noChangeAspect="1"/>
            </p:cNvSpPr>
            <p:nvPr/>
          </p:nvSpPr>
          <p:spPr>
            <a:xfrm>
              <a:off x="-205105" y="-205105"/>
              <a:ext cx="1019810" cy="1019810"/>
            </a:xfrm>
            <a:prstGeom prst="ellipse">
              <a:avLst/>
            </a:prstGeom>
            <a:solidFill>
              <a:schemeClr val="lt1"/>
            </a:solidFill>
            <a:ln w="9525" cap="sq">
              <a:pattFill prst="solidDmnd">
                <a:fgClr>
                  <a:srgbClr val="00652E"/>
                </a:fgClr>
                <a:bgClr>
                  <a:srgbClr val="00652E"/>
                </a:bgClr>
              </a:patt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100" b="0" i="0" u="none" strike="noStrike" kern="1200" cap="none" spc="0" normalizeH="0" baseline="0" noProof="0" err="1">
                <a:ln>
                  <a:noFill/>
                </a:ln>
                <a:solidFill>
                  <a:srgbClr val="FFFFFF"/>
                </a:solidFill>
                <a:effectLst/>
                <a:uLnTx/>
                <a:uFillTx/>
                <a:latin typeface="Arial"/>
                <a:ea typeface="+mn-ea"/>
                <a:cs typeface="+mn-cs"/>
              </a:endParaRPr>
            </a:p>
          </p:txBody>
        </p:sp>
        <p:pic>
          <p:nvPicPr>
            <p:cNvPr id="25" name="Graphic 24">
              <a:extLst>
                <a:ext uri="{FF2B5EF4-FFF2-40B4-BE49-F238E27FC236}">
                  <a16:creationId xmlns:a16="http://schemas.microsoft.com/office/drawing/2014/main" id="{17D84AB8-022F-C9DF-F15A-0497A0606352}"/>
                </a:ext>
              </a:extLst>
            </p:cNvPr>
            <p:cNvPicPr>
              <a:picLocks noChangeAspect="1"/>
            </p:cNvPicPr>
            <p:nvPr/>
          </p:nvPicPr>
          <p:blipFill>
            <a:blip r:embed="rId40" cstate="print">
              <a:extLst>
                <a:ext uri="{28A0092B-C50C-407E-A947-70E740481C1C}">
                  <a14:useLocalDpi xmlns:a14="http://schemas.microsoft.com/office/drawing/2010/main" val="0"/>
                </a:ext>
                <a:ext uri="{96DAC541-7B7A-43D3-8B79-37D633B846F1}">
                  <asvg:svgBlip xmlns:asvg="http://schemas.microsoft.com/office/drawing/2016/SVG/main" r:embed="rId41"/>
                </a:ext>
              </a:extLst>
            </a:blip>
            <a:stretch>
              <a:fillRect/>
            </a:stretch>
          </p:blipFill>
          <p:spPr>
            <a:xfrm>
              <a:off x="0" y="0"/>
              <a:ext cx="609600" cy="609600"/>
            </a:xfrm>
            <a:prstGeom prst="rect">
              <a:avLst/>
            </a:prstGeom>
          </p:spPr>
        </p:pic>
      </p:grpSp>
      <p:sp>
        <p:nvSpPr>
          <p:cNvPr id="26" name="TextBox 25">
            <a:extLst>
              <a:ext uri="{FF2B5EF4-FFF2-40B4-BE49-F238E27FC236}">
                <a16:creationId xmlns:a16="http://schemas.microsoft.com/office/drawing/2014/main" id="{310FBB78-C103-30C9-96B9-9176834AFF30}"/>
              </a:ext>
            </a:extLst>
          </p:cNvPr>
          <p:cNvSpPr txBox="1"/>
          <p:nvPr/>
        </p:nvSpPr>
        <p:spPr>
          <a:xfrm>
            <a:off x="6951342" y="5474305"/>
            <a:ext cx="1856107" cy="169277"/>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228600" lvl="1" indent="-230400">
              <a:lnSpc>
                <a:spcPct val="100000"/>
              </a:lnSpc>
              <a:spcBef>
                <a:spcPts val="0"/>
              </a:spcBef>
              <a:spcAft>
                <a:spcPts val="300"/>
              </a:spcAft>
              <a:buSzPct val="110000"/>
              <a:buFont typeface="Wingdings" panose="05000000000000000000" pitchFamily="2" charset="2"/>
              <a:buChar char=""/>
              <a:defRPr lang="en-US" sz="1600" dirty="0"/>
            </a:lvl2pPr>
            <a:lvl3pPr marL="439200" lvl="2" indent="-208800">
              <a:lnSpc>
                <a:spcPct val="100000"/>
              </a:lnSpc>
              <a:spcBef>
                <a:spcPts val="0"/>
              </a:spcBef>
              <a:spcAft>
                <a:spcPts val="300"/>
              </a:spcAft>
              <a:buSzPct val="110000"/>
              <a:buFont typeface="Arial" panose="020B0604020202020204" pitchFamily="34" charset="0"/>
              <a:buChar char="‒"/>
              <a:defRPr lang="en-US" sz="1600" dirty="0"/>
            </a:lvl3pPr>
            <a:lvl4pPr marL="604800" lvl="3" indent="-154800">
              <a:lnSpc>
                <a:spcPct val="100000"/>
              </a:lnSpc>
              <a:spcBef>
                <a:spcPts val="0"/>
              </a:spcBef>
              <a:spcAft>
                <a:spcPts val="300"/>
              </a:spcAft>
              <a:buFont typeface="Arial" panose="020B0604020202020204" pitchFamily="34" charset="0"/>
              <a:buChar char="•"/>
              <a:defRPr lang="en-US" sz="1600" dirty="0"/>
            </a:lvl4pPr>
            <a:lvl5pPr marL="813600" lvl="4" indent="-147600">
              <a:lnSpc>
                <a:spcPct val="100000"/>
              </a:lnSpc>
              <a:spcBef>
                <a:spcPts val="0"/>
              </a:spcBef>
              <a:spcAft>
                <a:spcPts val="300"/>
              </a:spcAft>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100" b="1" i="0" u="none" strike="noStrike" kern="1200" cap="none" spc="0" normalizeH="0" baseline="0" noProof="0">
                <a:ln>
                  <a:noFill/>
                </a:ln>
                <a:solidFill>
                  <a:srgbClr val="FFFFFF"/>
                </a:solidFill>
                <a:effectLst/>
                <a:uLnTx/>
                <a:uFillTx/>
                <a:latin typeface="Arial"/>
                <a:ea typeface="+mn-ea"/>
                <a:cs typeface="Arial" panose="020B0604020202020204" pitchFamily="34" charset="0"/>
              </a:rPr>
              <a:t>Supply chain development</a:t>
            </a:r>
          </a:p>
        </p:txBody>
      </p:sp>
      <p:sp>
        <p:nvSpPr>
          <p:cNvPr id="27" name="Rectangle: Rounded Corners 26">
            <a:extLst>
              <a:ext uri="{FF2B5EF4-FFF2-40B4-BE49-F238E27FC236}">
                <a16:creationId xmlns:a16="http://schemas.microsoft.com/office/drawing/2014/main" id="{8E29B4F6-F5B6-7B0E-22B1-EF307260B9F3}"/>
              </a:ext>
            </a:extLst>
          </p:cNvPr>
          <p:cNvSpPr/>
          <p:nvPr/>
        </p:nvSpPr>
        <p:spPr>
          <a:xfrm>
            <a:off x="4174235" y="5815495"/>
            <a:ext cx="2301801" cy="365760"/>
          </a:xfrm>
          <a:prstGeom prst="round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100" b="0" i="0" u="none" strike="noStrike" kern="1200" cap="none" spc="0" normalizeH="0" baseline="0" noProof="0" err="1">
              <a:ln>
                <a:noFill/>
              </a:ln>
              <a:solidFill>
                <a:srgbClr val="FFFFFF"/>
              </a:solidFill>
              <a:effectLst/>
              <a:uLnTx/>
              <a:uFillTx/>
              <a:latin typeface="Arial"/>
              <a:ea typeface="+mn-ea"/>
              <a:cs typeface="+mn-cs"/>
            </a:endParaRPr>
          </a:p>
        </p:txBody>
      </p:sp>
      <p:sp>
        <p:nvSpPr>
          <p:cNvPr id="28" name="Oval 27">
            <a:extLst>
              <a:ext uri="{FF2B5EF4-FFF2-40B4-BE49-F238E27FC236}">
                <a16:creationId xmlns:a16="http://schemas.microsoft.com/office/drawing/2014/main" id="{A2436A01-7522-64B1-942D-3215BA25F7CF}"/>
              </a:ext>
            </a:extLst>
          </p:cNvPr>
          <p:cNvSpPr>
            <a:spLocks noChangeAspect="1"/>
          </p:cNvSpPr>
          <p:nvPr/>
        </p:nvSpPr>
        <p:spPr>
          <a:xfrm>
            <a:off x="4299419" y="5861215"/>
            <a:ext cx="274320" cy="274320"/>
          </a:xfrm>
          <a:prstGeom prst="ellipse">
            <a:avLst/>
          </a:prstGeom>
          <a:solidFill>
            <a:schemeClr val="lt1"/>
          </a:solidFill>
          <a:ln w="9525" cap="sq">
            <a:pattFill prst="solidDmnd">
              <a:fgClr>
                <a:srgbClr val="00652E"/>
              </a:fgClr>
              <a:bgClr>
                <a:srgbClr val="00652E"/>
              </a:bgClr>
            </a:patt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100" b="0" i="0" u="none" strike="noStrike" kern="1200" cap="none" spc="0" normalizeH="0" baseline="0" noProof="0" err="1">
              <a:ln>
                <a:noFill/>
              </a:ln>
              <a:solidFill>
                <a:srgbClr val="FFFFFF"/>
              </a:solidFill>
              <a:effectLst/>
              <a:uLnTx/>
              <a:uFillTx/>
              <a:latin typeface="Arial"/>
              <a:ea typeface="+mn-ea"/>
              <a:cs typeface="+mn-cs"/>
            </a:endParaRPr>
          </a:p>
        </p:txBody>
      </p:sp>
      <p:pic>
        <p:nvPicPr>
          <p:cNvPr id="29" name="Graphic 28">
            <a:extLst>
              <a:ext uri="{FF2B5EF4-FFF2-40B4-BE49-F238E27FC236}">
                <a16:creationId xmlns:a16="http://schemas.microsoft.com/office/drawing/2014/main" id="{CEC59C76-C168-EF9F-2AD7-1364701FC3B4}"/>
              </a:ext>
            </a:extLst>
          </p:cNvPr>
          <p:cNvPicPr>
            <a:picLocks noChangeAspect="1"/>
          </p:cNvPicPr>
          <p:nvPr/>
        </p:nvPicPr>
        <p:blipFill>
          <a:blip r:embed="rId42" cstate="print">
            <a:extLst>
              <a:ext uri="{28A0092B-C50C-407E-A947-70E740481C1C}">
                <a14:useLocalDpi xmlns:a14="http://schemas.microsoft.com/office/drawing/2010/main" val="0"/>
              </a:ext>
              <a:ext uri="{96DAC541-7B7A-43D3-8B79-37D633B846F1}">
                <asvg:svgBlip xmlns:asvg="http://schemas.microsoft.com/office/drawing/2016/SVG/main" r:embed="rId43"/>
              </a:ext>
            </a:extLst>
          </a:blip>
          <a:stretch>
            <a:fillRect/>
          </a:stretch>
        </p:blipFill>
        <p:spPr>
          <a:xfrm>
            <a:off x="4354590" y="5916386"/>
            <a:ext cx="163977" cy="163977"/>
          </a:xfrm>
          <a:prstGeom prst="rect">
            <a:avLst/>
          </a:prstGeom>
        </p:spPr>
      </p:pic>
      <p:sp>
        <p:nvSpPr>
          <p:cNvPr id="30" name="TextBox 29">
            <a:extLst>
              <a:ext uri="{FF2B5EF4-FFF2-40B4-BE49-F238E27FC236}">
                <a16:creationId xmlns:a16="http://schemas.microsoft.com/office/drawing/2014/main" id="{E07D3EF8-DF0B-79E5-64C0-2BBE5848CDBD}"/>
              </a:ext>
            </a:extLst>
          </p:cNvPr>
          <p:cNvSpPr txBox="1"/>
          <p:nvPr/>
        </p:nvSpPr>
        <p:spPr>
          <a:xfrm>
            <a:off x="4680419" y="5914288"/>
            <a:ext cx="1184647" cy="168175"/>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228600" lvl="1" indent="-230400">
              <a:lnSpc>
                <a:spcPct val="100000"/>
              </a:lnSpc>
              <a:spcBef>
                <a:spcPts val="0"/>
              </a:spcBef>
              <a:spcAft>
                <a:spcPts val="300"/>
              </a:spcAft>
              <a:buSzPct val="110000"/>
              <a:buFont typeface="Wingdings" panose="05000000000000000000" pitchFamily="2" charset="2"/>
              <a:buChar char=""/>
              <a:defRPr lang="en-US" sz="1600" dirty="0"/>
            </a:lvl2pPr>
            <a:lvl3pPr marL="439200" lvl="2" indent="-208800">
              <a:lnSpc>
                <a:spcPct val="100000"/>
              </a:lnSpc>
              <a:spcBef>
                <a:spcPts val="0"/>
              </a:spcBef>
              <a:spcAft>
                <a:spcPts val="300"/>
              </a:spcAft>
              <a:buSzPct val="110000"/>
              <a:buFont typeface="Arial" panose="020B0604020202020204" pitchFamily="34" charset="0"/>
              <a:buChar char="‒"/>
              <a:defRPr lang="en-US" sz="1600" dirty="0"/>
            </a:lvl3pPr>
            <a:lvl4pPr marL="604800" lvl="3" indent="-154800">
              <a:lnSpc>
                <a:spcPct val="100000"/>
              </a:lnSpc>
              <a:spcBef>
                <a:spcPts val="0"/>
              </a:spcBef>
              <a:spcAft>
                <a:spcPts val="300"/>
              </a:spcAft>
              <a:buFont typeface="Arial" panose="020B0604020202020204" pitchFamily="34" charset="0"/>
              <a:buChar char="•"/>
              <a:defRPr lang="en-US" sz="1600" dirty="0"/>
            </a:lvl4pPr>
            <a:lvl5pPr marL="813600" lvl="4" indent="-147600">
              <a:lnSpc>
                <a:spcPct val="100000"/>
              </a:lnSpc>
              <a:spcBef>
                <a:spcPts val="0"/>
              </a:spcBef>
              <a:spcAft>
                <a:spcPts val="300"/>
              </a:spcAft>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100" b="1" i="0" u="none" strike="noStrike" kern="1200" cap="none" spc="0" normalizeH="0" baseline="0" noProof="0">
                <a:ln>
                  <a:noFill/>
                </a:ln>
                <a:solidFill>
                  <a:srgbClr val="FFFFFF"/>
                </a:solidFill>
                <a:effectLst/>
                <a:uLnTx/>
                <a:uFillTx/>
                <a:latin typeface="Arial"/>
                <a:ea typeface="+mn-ea"/>
                <a:cs typeface="Arial" panose="020B0604020202020204" pitchFamily="34" charset="0"/>
              </a:rPr>
              <a:t>Standardization</a:t>
            </a:r>
          </a:p>
        </p:txBody>
      </p:sp>
      <p:sp>
        <p:nvSpPr>
          <p:cNvPr id="31" name="TextBox 30">
            <a:extLst>
              <a:ext uri="{FF2B5EF4-FFF2-40B4-BE49-F238E27FC236}">
                <a16:creationId xmlns:a16="http://schemas.microsoft.com/office/drawing/2014/main" id="{AF932EC3-D3BF-3E91-399D-534392D04576}"/>
              </a:ext>
            </a:extLst>
          </p:cNvPr>
          <p:cNvSpPr txBox="1"/>
          <p:nvPr/>
        </p:nvSpPr>
        <p:spPr>
          <a:xfrm>
            <a:off x="464344" y="5324554"/>
            <a:ext cx="1162629" cy="369332"/>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228600" lvl="1" indent="-230400">
              <a:lnSpc>
                <a:spcPct val="100000"/>
              </a:lnSpc>
              <a:spcBef>
                <a:spcPts val="0"/>
              </a:spcBef>
              <a:spcAft>
                <a:spcPts val="300"/>
              </a:spcAft>
              <a:buSzPct val="110000"/>
              <a:buFont typeface="Wingdings" panose="05000000000000000000" pitchFamily="2" charset="2"/>
              <a:buChar char=""/>
              <a:defRPr lang="en-US" sz="1600" dirty="0"/>
            </a:lvl2pPr>
            <a:lvl3pPr marL="439200" lvl="2" indent="-208800">
              <a:lnSpc>
                <a:spcPct val="100000"/>
              </a:lnSpc>
              <a:spcBef>
                <a:spcPts val="0"/>
              </a:spcBef>
              <a:spcAft>
                <a:spcPts val="300"/>
              </a:spcAft>
              <a:buSzPct val="110000"/>
              <a:buFont typeface="Arial" panose="020B0604020202020204" pitchFamily="34" charset="0"/>
              <a:buChar char="‒"/>
              <a:defRPr lang="en-US" sz="1600" dirty="0"/>
            </a:lvl3pPr>
            <a:lvl4pPr marL="604800" lvl="3" indent="-154800">
              <a:lnSpc>
                <a:spcPct val="100000"/>
              </a:lnSpc>
              <a:spcBef>
                <a:spcPts val="0"/>
              </a:spcBef>
              <a:spcAft>
                <a:spcPts val="300"/>
              </a:spcAft>
              <a:buFont typeface="Arial" panose="020B0604020202020204" pitchFamily="34" charset="0"/>
              <a:buChar char="•"/>
              <a:defRPr lang="en-US" sz="1600" dirty="0"/>
            </a:lvl4pPr>
            <a:lvl5pPr marL="813600" lvl="4" indent="-147600">
              <a:lnSpc>
                <a:spcPct val="100000"/>
              </a:lnSpc>
              <a:spcBef>
                <a:spcPts val="0"/>
              </a:spcBef>
              <a:spcAft>
                <a:spcPts val="300"/>
              </a:spcAft>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None/>
              <a:tabLst/>
              <a:defRPr/>
            </a:pPr>
            <a:r>
              <a:rPr kumimoji="0" lang="en-US" sz="1200" b="1" i="0" u="none" strike="noStrike" kern="1200" cap="none" spc="0" normalizeH="0" baseline="0" noProof="0">
                <a:ln>
                  <a:noFill/>
                </a:ln>
                <a:solidFill>
                  <a:srgbClr val="000000"/>
                </a:solidFill>
                <a:effectLst/>
                <a:uLnTx/>
                <a:uFillTx/>
                <a:latin typeface="Arial"/>
                <a:ea typeface="+mn-ea"/>
                <a:cs typeface="Arial" panose="020B0604020202020204" pitchFamily="34" charset="0"/>
              </a:rPr>
              <a:t>Key drivers of cost reduction</a:t>
            </a:r>
          </a:p>
        </p:txBody>
      </p:sp>
      <p:cxnSp>
        <p:nvCxnSpPr>
          <p:cNvPr id="32" name="Straight Connector 31">
            <a:extLst>
              <a:ext uri="{FF2B5EF4-FFF2-40B4-BE49-F238E27FC236}">
                <a16:creationId xmlns:a16="http://schemas.microsoft.com/office/drawing/2014/main" id="{EC3071D8-6A5C-CF5B-EE46-BD7215292CA7}"/>
              </a:ext>
            </a:extLst>
          </p:cNvPr>
          <p:cNvCxnSpPr>
            <a:cxnSpLocks/>
          </p:cNvCxnSpPr>
          <p:nvPr/>
        </p:nvCxnSpPr>
        <p:spPr>
          <a:xfrm>
            <a:off x="464344" y="5231049"/>
            <a:ext cx="9811512" cy="0"/>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33" name="Rectangle: Rounded Corners 32">
            <a:extLst>
              <a:ext uri="{FF2B5EF4-FFF2-40B4-BE49-F238E27FC236}">
                <a16:creationId xmlns:a16="http://schemas.microsoft.com/office/drawing/2014/main" id="{DCC5966F-FEE2-23F4-4FDF-CA09E8BD056E}"/>
              </a:ext>
            </a:extLst>
          </p:cNvPr>
          <p:cNvSpPr/>
          <p:nvPr/>
        </p:nvSpPr>
        <p:spPr>
          <a:xfrm>
            <a:off x="4174237" y="6256859"/>
            <a:ext cx="2301800" cy="365760"/>
          </a:xfrm>
          <a:prstGeom prst="round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100" b="0" i="0" u="none" strike="noStrike" kern="1200" cap="none" spc="0" normalizeH="0" baseline="0" noProof="0" err="1">
              <a:ln>
                <a:noFill/>
              </a:ln>
              <a:solidFill>
                <a:srgbClr val="FFFFFF"/>
              </a:solidFill>
              <a:effectLst/>
              <a:uLnTx/>
              <a:uFillTx/>
              <a:latin typeface="Arial"/>
              <a:ea typeface="+mn-ea"/>
              <a:cs typeface="+mn-cs"/>
            </a:endParaRPr>
          </a:p>
        </p:txBody>
      </p:sp>
      <p:grpSp>
        <p:nvGrpSpPr>
          <p:cNvPr id="34" name="CustomIcon">
            <a:extLst>
              <a:ext uri="{FF2B5EF4-FFF2-40B4-BE49-F238E27FC236}">
                <a16:creationId xmlns:a16="http://schemas.microsoft.com/office/drawing/2014/main" id="{157DCAE8-5994-1E51-DE27-7E03284815F6}"/>
              </a:ext>
            </a:extLst>
          </p:cNvPr>
          <p:cNvGrpSpPr>
            <a:grpSpLocks noChangeAspect="1"/>
          </p:cNvGrpSpPr>
          <p:nvPr>
            <p:custDataLst>
              <p:tags r:id="rId3"/>
            </p:custDataLst>
          </p:nvPr>
        </p:nvGrpSpPr>
        <p:grpSpPr>
          <a:xfrm>
            <a:off x="4299418" y="6302579"/>
            <a:ext cx="273578" cy="274320"/>
            <a:chOff x="-205105" y="-205105"/>
            <a:chExt cx="1019810" cy="1019810"/>
          </a:xfrm>
        </p:grpSpPr>
        <p:sp>
          <p:nvSpPr>
            <p:cNvPr id="35" name="Oval 34">
              <a:extLst>
                <a:ext uri="{FF2B5EF4-FFF2-40B4-BE49-F238E27FC236}">
                  <a16:creationId xmlns:a16="http://schemas.microsoft.com/office/drawing/2014/main" id="{75F7F4C3-8CF8-8246-8EF5-D05412AF35D5}"/>
                </a:ext>
              </a:extLst>
            </p:cNvPr>
            <p:cNvSpPr>
              <a:spLocks noChangeAspect="1"/>
            </p:cNvSpPr>
            <p:nvPr/>
          </p:nvSpPr>
          <p:spPr>
            <a:xfrm>
              <a:off x="-205105" y="-205105"/>
              <a:ext cx="1019810" cy="1019810"/>
            </a:xfrm>
            <a:prstGeom prst="ellipse">
              <a:avLst/>
            </a:prstGeom>
            <a:solidFill>
              <a:schemeClr val="lt1"/>
            </a:solidFill>
            <a:ln w="9525" cap="sq">
              <a:pattFill prst="solidDmnd">
                <a:fgClr>
                  <a:srgbClr val="00652E"/>
                </a:fgClr>
                <a:bgClr>
                  <a:srgbClr val="00652E"/>
                </a:bgClr>
              </a:patt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100" b="0" i="0" u="none" strike="noStrike" kern="1200" cap="none" spc="0" normalizeH="0" baseline="0" noProof="0" err="1">
                <a:ln>
                  <a:noFill/>
                </a:ln>
                <a:solidFill>
                  <a:srgbClr val="FFFFFF"/>
                </a:solidFill>
                <a:effectLst/>
                <a:uLnTx/>
                <a:uFillTx/>
                <a:latin typeface="Arial"/>
                <a:ea typeface="+mn-ea"/>
                <a:cs typeface="+mn-cs"/>
              </a:endParaRPr>
            </a:p>
          </p:txBody>
        </p:sp>
        <p:pic>
          <p:nvPicPr>
            <p:cNvPr id="36" name="Graphic 35">
              <a:extLst>
                <a:ext uri="{FF2B5EF4-FFF2-40B4-BE49-F238E27FC236}">
                  <a16:creationId xmlns:a16="http://schemas.microsoft.com/office/drawing/2014/main" id="{EB22B9F3-D02F-062A-949B-1D8AC1771D1A}"/>
                </a:ext>
              </a:extLst>
            </p:cNvPr>
            <p:cNvPicPr>
              <a:picLocks noChangeAspect="1"/>
            </p:cNvPicPr>
            <p:nvPr/>
          </p:nvPicPr>
          <p:blipFill>
            <a:blip r:embed="rId44" cstate="print">
              <a:extLst>
                <a:ext uri="{28A0092B-C50C-407E-A947-70E740481C1C}">
                  <a14:useLocalDpi xmlns:a14="http://schemas.microsoft.com/office/drawing/2010/main" val="0"/>
                </a:ext>
                <a:ext uri="{96DAC541-7B7A-43D3-8B79-37D633B846F1}">
                  <asvg:svgBlip xmlns:asvg="http://schemas.microsoft.com/office/drawing/2016/SVG/main" r:embed="rId45"/>
                </a:ext>
              </a:extLst>
            </a:blip>
            <a:stretch>
              <a:fillRect/>
            </a:stretch>
          </p:blipFill>
          <p:spPr>
            <a:xfrm>
              <a:off x="0" y="0"/>
              <a:ext cx="609600" cy="609600"/>
            </a:xfrm>
            <a:prstGeom prst="rect">
              <a:avLst/>
            </a:prstGeom>
          </p:spPr>
        </p:pic>
      </p:grpSp>
      <p:sp>
        <p:nvSpPr>
          <p:cNvPr id="37" name="TextBox 36">
            <a:extLst>
              <a:ext uri="{FF2B5EF4-FFF2-40B4-BE49-F238E27FC236}">
                <a16:creationId xmlns:a16="http://schemas.microsoft.com/office/drawing/2014/main" id="{44D2885A-686D-EB75-4A3C-BB1464E4D44A}"/>
              </a:ext>
            </a:extLst>
          </p:cNvPr>
          <p:cNvSpPr txBox="1"/>
          <p:nvPr/>
        </p:nvSpPr>
        <p:spPr>
          <a:xfrm>
            <a:off x="4680419" y="6355101"/>
            <a:ext cx="1380158" cy="169277"/>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228600" lvl="1" indent="-230400">
              <a:lnSpc>
                <a:spcPct val="100000"/>
              </a:lnSpc>
              <a:spcBef>
                <a:spcPts val="0"/>
              </a:spcBef>
              <a:spcAft>
                <a:spcPts val="300"/>
              </a:spcAft>
              <a:buSzPct val="110000"/>
              <a:buFont typeface="Wingdings" panose="05000000000000000000" pitchFamily="2" charset="2"/>
              <a:buChar char=""/>
              <a:defRPr lang="en-US" sz="1600" dirty="0"/>
            </a:lvl2pPr>
            <a:lvl3pPr marL="439200" lvl="2" indent="-208800">
              <a:lnSpc>
                <a:spcPct val="100000"/>
              </a:lnSpc>
              <a:spcBef>
                <a:spcPts val="0"/>
              </a:spcBef>
              <a:spcAft>
                <a:spcPts val="300"/>
              </a:spcAft>
              <a:buSzPct val="110000"/>
              <a:buFont typeface="Arial" panose="020B0604020202020204" pitchFamily="34" charset="0"/>
              <a:buChar char="‒"/>
              <a:defRPr lang="en-US" sz="1600" dirty="0"/>
            </a:lvl3pPr>
            <a:lvl4pPr marL="604800" lvl="3" indent="-154800">
              <a:lnSpc>
                <a:spcPct val="100000"/>
              </a:lnSpc>
              <a:spcBef>
                <a:spcPts val="0"/>
              </a:spcBef>
              <a:spcAft>
                <a:spcPts val="300"/>
              </a:spcAft>
              <a:buFont typeface="Arial" panose="020B0604020202020204" pitchFamily="34" charset="0"/>
              <a:buChar char="•"/>
              <a:defRPr lang="en-US" sz="1600" dirty="0"/>
            </a:lvl4pPr>
            <a:lvl5pPr marL="813600" lvl="4" indent="-147600">
              <a:lnSpc>
                <a:spcPct val="100000"/>
              </a:lnSpc>
              <a:spcBef>
                <a:spcPts val="0"/>
              </a:spcBef>
              <a:spcAft>
                <a:spcPts val="300"/>
              </a:spcAft>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100" b="1" i="0" u="none" strike="noStrike" kern="1200" cap="none" spc="0" normalizeH="0" baseline="0" noProof="0">
                <a:ln>
                  <a:noFill/>
                </a:ln>
                <a:solidFill>
                  <a:srgbClr val="FFFFFF"/>
                </a:solidFill>
                <a:effectLst/>
                <a:uLnTx/>
                <a:uFillTx/>
                <a:latin typeface="Arial"/>
                <a:ea typeface="+mn-ea"/>
                <a:cs typeface="Arial" panose="020B0604020202020204" pitchFamily="34" charset="0"/>
              </a:rPr>
              <a:t>Build time reduction</a:t>
            </a:r>
          </a:p>
        </p:txBody>
      </p:sp>
      <p:grpSp>
        <p:nvGrpSpPr>
          <p:cNvPr id="38" name="Group 37">
            <a:extLst>
              <a:ext uri="{FF2B5EF4-FFF2-40B4-BE49-F238E27FC236}">
                <a16:creationId xmlns:a16="http://schemas.microsoft.com/office/drawing/2014/main" id="{EEA13C87-A2E5-F869-3B5E-9CECC5492E51}"/>
              </a:ext>
            </a:extLst>
          </p:cNvPr>
          <p:cNvGrpSpPr/>
          <p:nvPr/>
        </p:nvGrpSpPr>
        <p:grpSpPr>
          <a:xfrm>
            <a:off x="4174237" y="5374131"/>
            <a:ext cx="2697300" cy="365760"/>
            <a:chOff x="2903457" y="5798857"/>
            <a:chExt cx="2697300" cy="365760"/>
          </a:xfrm>
        </p:grpSpPr>
        <p:sp>
          <p:nvSpPr>
            <p:cNvPr id="39" name="Rectangle: Rounded Corners 38">
              <a:extLst>
                <a:ext uri="{FF2B5EF4-FFF2-40B4-BE49-F238E27FC236}">
                  <a16:creationId xmlns:a16="http://schemas.microsoft.com/office/drawing/2014/main" id="{95FEBE0E-9EB9-1595-5A2F-F6D3E9D55207}"/>
                </a:ext>
              </a:extLst>
            </p:cNvPr>
            <p:cNvSpPr/>
            <p:nvPr/>
          </p:nvSpPr>
          <p:spPr>
            <a:xfrm>
              <a:off x="2903457" y="5798857"/>
              <a:ext cx="2301800" cy="365760"/>
            </a:xfrm>
            <a:prstGeom prst="round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Arial"/>
                <a:ea typeface="+mn-ea"/>
                <a:cs typeface="+mn-cs"/>
              </a:endParaRPr>
            </a:p>
          </p:txBody>
        </p:sp>
        <p:grpSp>
          <p:nvGrpSpPr>
            <p:cNvPr id="40" name="CustomIcon">
              <a:extLst>
                <a:ext uri="{FF2B5EF4-FFF2-40B4-BE49-F238E27FC236}">
                  <a16:creationId xmlns:a16="http://schemas.microsoft.com/office/drawing/2014/main" id="{76CAD482-0F96-2219-F06A-B133EEFAE07E}"/>
                </a:ext>
              </a:extLst>
            </p:cNvPr>
            <p:cNvGrpSpPr>
              <a:grpSpLocks noChangeAspect="1"/>
            </p:cNvGrpSpPr>
            <p:nvPr>
              <p:custDataLst>
                <p:tags r:id="rId36"/>
              </p:custDataLst>
            </p:nvPr>
          </p:nvGrpSpPr>
          <p:grpSpPr>
            <a:xfrm>
              <a:off x="3005554" y="5844577"/>
              <a:ext cx="299565" cy="274320"/>
              <a:chOff x="2263192" y="-205105"/>
              <a:chExt cx="1019810" cy="1019810"/>
            </a:xfrm>
          </p:grpSpPr>
          <p:sp>
            <p:nvSpPr>
              <p:cNvPr id="42" name="Oval 41">
                <a:extLst>
                  <a:ext uri="{FF2B5EF4-FFF2-40B4-BE49-F238E27FC236}">
                    <a16:creationId xmlns:a16="http://schemas.microsoft.com/office/drawing/2014/main" id="{1DB05C16-4691-C54C-FC36-7C27533A07EA}"/>
                  </a:ext>
                </a:extLst>
              </p:cNvPr>
              <p:cNvSpPr>
                <a:spLocks noChangeAspect="1"/>
              </p:cNvSpPr>
              <p:nvPr/>
            </p:nvSpPr>
            <p:spPr>
              <a:xfrm>
                <a:off x="2263192" y="-205105"/>
                <a:ext cx="1019810" cy="1019810"/>
              </a:xfrm>
              <a:prstGeom prst="ellipse">
                <a:avLst/>
              </a:prstGeom>
              <a:solidFill>
                <a:schemeClr val="lt1"/>
              </a:solidFill>
              <a:ln w="9525" cap="sq">
                <a:pattFill prst="solidDmnd">
                  <a:fgClr>
                    <a:srgbClr val="00652E"/>
                  </a:fgClr>
                  <a:bgClr>
                    <a:srgbClr val="00652E"/>
                  </a:bgClr>
                </a:patt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Arial"/>
                  <a:ea typeface="+mn-ea"/>
                  <a:cs typeface="+mn-cs"/>
                </a:endParaRPr>
              </a:p>
            </p:txBody>
          </p:sp>
          <p:pic>
            <p:nvPicPr>
              <p:cNvPr id="43" name="Graphic 42">
                <a:extLst>
                  <a:ext uri="{FF2B5EF4-FFF2-40B4-BE49-F238E27FC236}">
                    <a16:creationId xmlns:a16="http://schemas.microsoft.com/office/drawing/2014/main" id="{4BD8EA43-F9B3-FED8-0FCB-DC57A174378C}"/>
                  </a:ext>
                </a:extLst>
              </p:cNvPr>
              <p:cNvPicPr>
                <a:picLocks noChangeAspect="1"/>
              </p:cNvPicPr>
              <p:nvPr/>
            </p:nvPicPr>
            <p:blipFill>
              <a:blip r:embed="rId46" cstate="print">
                <a:extLst>
                  <a:ext uri="{28A0092B-C50C-407E-A947-70E740481C1C}">
                    <a14:useLocalDpi xmlns:a14="http://schemas.microsoft.com/office/drawing/2010/main" val="0"/>
                  </a:ext>
                  <a:ext uri="{96DAC541-7B7A-43D3-8B79-37D633B846F1}">
                    <asvg:svgBlip xmlns:asvg="http://schemas.microsoft.com/office/drawing/2016/SVG/main" r:embed="rId47"/>
                  </a:ext>
                </a:extLst>
              </a:blip>
              <a:stretch>
                <a:fillRect/>
              </a:stretch>
            </p:blipFill>
            <p:spPr>
              <a:xfrm>
                <a:off x="2468298" y="-2"/>
                <a:ext cx="609602" cy="609600"/>
              </a:xfrm>
              <a:prstGeom prst="rect">
                <a:avLst/>
              </a:prstGeom>
            </p:spPr>
          </p:pic>
        </p:grpSp>
        <p:sp>
          <p:nvSpPr>
            <p:cNvPr id="41" name="TextBox 40">
              <a:extLst>
                <a:ext uri="{FF2B5EF4-FFF2-40B4-BE49-F238E27FC236}">
                  <a16:creationId xmlns:a16="http://schemas.microsoft.com/office/drawing/2014/main" id="{F93ABC5A-01E8-4A0A-FBA2-76BB5DE69AFA}"/>
                </a:ext>
              </a:extLst>
            </p:cNvPr>
            <p:cNvSpPr txBox="1"/>
            <p:nvPr/>
          </p:nvSpPr>
          <p:spPr>
            <a:xfrm>
              <a:off x="3386554" y="5897099"/>
              <a:ext cx="2214203" cy="169277"/>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228600" lvl="1" indent="-230400">
                <a:lnSpc>
                  <a:spcPct val="100000"/>
                </a:lnSpc>
                <a:spcBef>
                  <a:spcPts val="0"/>
                </a:spcBef>
                <a:spcAft>
                  <a:spcPts val="300"/>
                </a:spcAft>
                <a:buSzPct val="110000"/>
                <a:buFont typeface="Wingdings" panose="05000000000000000000" pitchFamily="2" charset="2"/>
                <a:buChar char=""/>
                <a:defRPr lang="en-US" sz="1600" dirty="0"/>
              </a:lvl2pPr>
              <a:lvl3pPr marL="439200" lvl="2" indent="-208800">
                <a:lnSpc>
                  <a:spcPct val="100000"/>
                </a:lnSpc>
                <a:spcBef>
                  <a:spcPts val="0"/>
                </a:spcBef>
                <a:spcAft>
                  <a:spcPts val="300"/>
                </a:spcAft>
                <a:buSzPct val="110000"/>
                <a:buFont typeface="Arial" panose="020B0604020202020204" pitchFamily="34" charset="0"/>
                <a:buChar char="‒"/>
                <a:defRPr lang="en-US" sz="1600" dirty="0"/>
              </a:lvl3pPr>
              <a:lvl4pPr marL="604800" lvl="3" indent="-154800">
                <a:lnSpc>
                  <a:spcPct val="100000"/>
                </a:lnSpc>
                <a:spcBef>
                  <a:spcPts val="0"/>
                </a:spcBef>
                <a:spcAft>
                  <a:spcPts val="300"/>
                </a:spcAft>
                <a:buFont typeface="Arial" panose="020B0604020202020204" pitchFamily="34" charset="0"/>
                <a:buChar char="•"/>
                <a:defRPr lang="en-US" sz="1600" dirty="0"/>
              </a:lvl4pPr>
              <a:lvl5pPr marL="813600" lvl="4" indent="-147600">
                <a:lnSpc>
                  <a:spcPct val="100000"/>
                </a:lnSpc>
                <a:spcBef>
                  <a:spcPts val="0"/>
                </a:spcBef>
                <a:spcAft>
                  <a:spcPts val="300"/>
                </a:spcAft>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100" b="1" i="0" u="none" strike="noStrike" kern="1200" cap="none" spc="0" normalizeH="0" baseline="0" noProof="0">
                  <a:ln>
                    <a:noFill/>
                  </a:ln>
                  <a:solidFill>
                    <a:srgbClr val="FFFFFF"/>
                  </a:solidFill>
                  <a:effectLst/>
                  <a:uLnTx/>
                  <a:uFillTx/>
                  <a:latin typeface="Arial"/>
                  <a:ea typeface="+mn-ea"/>
                  <a:cs typeface="Arial" panose="020B0604020202020204" pitchFamily="34" charset="0"/>
                </a:rPr>
                <a:t>Learning by doing</a:t>
              </a:r>
            </a:p>
          </p:txBody>
        </p:sp>
      </p:grpSp>
      <p:grpSp>
        <p:nvGrpSpPr>
          <p:cNvPr id="44" name="Group 43">
            <a:extLst>
              <a:ext uri="{FF2B5EF4-FFF2-40B4-BE49-F238E27FC236}">
                <a16:creationId xmlns:a16="http://schemas.microsoft.com/office/drawing/2014/main" id="{4C0E4FD2-8441-31B6-88DF-0D410B80889A}"/>
              </a:ext>
            </a:extLst>
          </p:cNvPr>
          <p:cNvGrpSpPr/>
          <p:nvPr/>
        </p:nvGrpSpPr>
        <p:grpSpPr>
          <a:xfrm>
            <a:off x="9053513" y="5374131"/>
            <a:ext cx="1250467" cy="962746"/>
            <a:chOff x="7163016" y="5123235"/>
            <a:chExt cx="1843137" cy="533599"/>
          </a:xfrm>
        </p:grpSpPr>
        <p:sp>
          <p:nvSpPr>
            <p:cNvPr id="45" name="Rectangle: Rounded Corners 44">
              <a:extLst>
                <a:ext uri="{FF2B5EF4-FFF2-40B4-BE49-F238E27FC236}">
                  <a16:creationId xmlns:a16="http://schemas.microsoft.com/office/drawing/2014/main" id="{ECC64575-8DC7-8A96-8D38-655974B2AC73}"/>
                </a:ext>
              </a:extLst>
            </p:cNvPr>
            <p:cNvSpPr/>
            <p:nvPr/>
          </p:nvSpPr>
          <p:spPr>
            <a:xfrm>
              <a:off x="7163016" y="5123235"/>
              <a:ext cx="1803450" cy="533599"/>
            </a:xfrm>
            <a:prstGeom prst="round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100" b="0" i="0" u="none" strike="noStrike" kern="1200" cap="none" spc="0" normalizeH="0" baseline="0" noProof="0" err="1">
                <a:ln>
                  <a:noFill/>
                </a:ln>
                <a:solidFill>
                  <a:srgbClr val="FFFFFF"/>
                </a:solidFill>
                <a:effectLst/>
                <a:uLnTx/>
                <a:uFillTx/>
                <a:latin typeface="Arial"/>
                <a:ea typeface="+mn-ea"/>
                <a:cs typeface="+mn-cs"/>
              </a:endParaRPr>
            </a:p>
          </p:txBody>
        </p:sp>
        <p:pic>
          <p:nvPicPr>
            <p:cNvPr id="46" name="Graphic 45">
              <a:extLst>
                <a:ext uri="{FF2B5EF4-FFF2-40B4-BE49-F238E27FC236}">
                  <a16:creationId xmlns:a16="http://schemas.microsoft.com/office/drawing/2014/main" id="{B7851704-9588-C7C6-30FA-ECC3904CD6EC}"/>
                </a:ext>
              </a:extLst>
            </p:cNvPr>
            <p:cNvPicPr>
              <a:picLocks noChangeAspect="1"/>
            </p:cNvPicPr>
            <p:nvPr/>
          </p:nvPicPr>
          <p:blipFill>
            <a:blip r:embed="rId40" cstate="print">
              <a:extLst>
                <a:ext uri="{28A0092B-C50C-407E-A947-70E740481C1C}">
                  <a14:useLocalDpi xmlns:a14="http://schemas.microsoft.com/office/drawing/2010/main" val="0"/>
                </a:ext>
                <a:ext uri="{96DAC541-7B7A-43D3-8B79-37D633B846F1}">
                  <asvg:svgBlip xmlns:asvg="http://schemas.microsoft.com/office/drawing/2016/SVG/main" r:embed="rId41"/>
                </a:ext>
              </a:extLst>
            </a:blip>
            <a:stretch>
              <a:fillRect/>
            </a:stretch>
          </p:blipFill>
          <p:spPr>
            <a:xfrm>
              <a:off x="7203906" y="5242566"/>
              <a:ext cx="163977" cy="163977"/>
            </a:xfrm>
            <a:prstGeom prst="rect">
              <a:avLst/>
            </a:prstGeom>
          </p:spPr>
        </p:pic>
        <p:sp>
          <p:nvSpPr>
            <p:cNvPr id="47" name="TextBox 46">
              <a:extLst>
                <a:ext uri="{FF2B5EF4-FFF2-40B4-BE49-F238E27FC236}">
                  <a16:creationId xmlns:a16="http://schemas.microsoft.com/office/drawing/2014/main" id="{FD02C26C-46B1-2A06-9583-21A7EF836E56}"/>
                </a:ext>
              </a:extLst>
            </p:cNvPr>
            <p:cNvSpPr txBox="1"/>
            <p:nvPr/>
          </p:nvSpPr>
          <p:spPr>
            <a:xfrm>
              <a:off x="7269995" y="5221478"/>
              <a:ext cx="1736158" cy="338554"/>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228600" lvl="1" indent="-230400">
                <a:lnSpc>
                  <a:spcPct val="100000"/>
                </a:lnSpc>
                <a:spcBef>
                  <a:spcPts val="0"/>
                </a:spcBef>
                <a:spcAft>
                  <a:spcPts val="300"/>
                </a:spcAft>
                <a:buSzPct val="110000"/>
                <a:buFont typeface="Wingdings" panose="05000000000000000000" pitchFamily="2" charset="2"/>
                <a:buChar char=""/>
                <a:defRPr lang="en-US" sz="1600" dirty="0"/>
              </a:lvl2pPr>
              <a:lvl3pPr marL="439200" lvl="2" indent="-208800">
                <a:lnSpc>
                  <a:spcPct val="100000"/>
                </a:lnSpc>
                <a:spcBef>
                  <a:spcPts val="0"/>
                </a:spcBef>
                <a:spcAft>
                  <a:spcPts val="300"/>
                </a:spcAft>
                <a:buSzPct val="110000"/>
                <a:buFont typeface="Arial" panose="020B0604020202020204" pitchFamily="34" charset="0"/>
                <a:buChar char="‒"/>
                <a:defRPr lang="en-US" sz="1600" dirty="0"/>
              </a:lvl3pPr>
              <a:lvl4pPr marL="604800" lvl="3" indent="-154800">
                <a:lnSpc>
                  <a:spcPct val="100000"/>
                </a:lnSpc>
                <a:spcBef>
                  <a:spcPts val="0"/>
                </a:spcBef>
                <a:spcAft>
                  <a:spcPts val="300"/>
                </a:spcAft>
                <a:buFont typeface="Arial" panose="020B0604020202020204" pitchFamily="34" charset="0"/>
                <a:buChar char="•"/>
                <a:defRPr lang="en-US" sz="1600" dirty="0"/>
              </a:lvl4pPr>
              <a:lvl5pPr marL="813600" lvl="4" indent="-147600">
                <a:lnSpc>
                  <a:spcPct val="100000"/>
                </a:lnSpc>
                <a:spcBef>
                  <a:spcPts val="0"/>
                </a:spcBef>
                <a:spcAft>
                  <a:spcPts val="300"/>
                </a:spcAft>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100" b="1" i="0" u="none" strike="noStrike" kern="1200" cap="none" spc="0" normalizeH="0" baseline="0" noProof="0">
                  <a:ln>
                    <a:noFill/>
                  </a:ln>
                  <a:solidFill>
                    <a:srgbClr val="FFFFFF"/>
                  </a:solidFill>
                  <a:effectLst/>
                  <a:uLnTx/>
                  <a:uFillTx/>
                  <a:latin typeface="Arial"/>
                  <a:ea typeface="+mn-ea"/>
                  <a:cs typeface="Arial" panose="020B0604020202020204" pitchFamily="34" charset="0"/>
                </a:rPr>
                <a:t>Driven by reductions in other cost categories</a:t>
              </a:r>
            </a:p>
          </p:txBody>
        </p:sp>
      </p:grpSp>
      <p:cxnSp>
        <p:nvCxnSpPr>
          <p:cNvPr id="48" name="Straight Connector 47">
            <a:extLst>
              <a:ext uri="{FF2B5EF4-FFF2-40B4-BE49-F238E27FC236}">
                <a16:creationId xmlns:a16="http://schemas.microsoft.com/office/drawing/2014/main" id="{C95DA7D2-C4F5-465F-110F-D2F226BA6068}"/>
              </a:ext>
            </a:extLst>
          </p:cNvPr>
          <p:cNvCxnSpPr/>
          <p:nvPr>
            <p:custDataLst>
              <p:tags r:id="rId4"/>
            </p:custDataLst>
          </p:nvPr>
        </p:nvCxnSpPr>
        <p:spPr bwMode="gray">
          <a:xfrm>
            <a:off x="9972675" y="3054350"/>
            <a:ext cx="344488" cy="0"/>
          </a:xfrm>
          <a:prstGeom prst="line">
            <a:avLst/>
          </a:prstGeom>
          <a:ln w="9525" cap="flat" cmpd="sng" algn="ctr">
            <a:solidFill>
              <a:srgbClr val="D0D0D0"/>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9" name="Straight Connector 48">
            <a:extLst>
              <a:ext uri="{FF2B5EF4-FFF2-40B4-BE49-F238E27FC236}">
                <a16:creationId xmlns:a16="http://schemas.microsoft.com/office/drawing/2014/main" id="{DBC88716-4D23-4113-3B19-F86AB3E04902}"/>
              </a:ext>
            </a:extLst>
          </p:cNvPr>
          <p:cNvCxnSpPr/>
          <p:nvPr>
            <p:custDataLst>
              <p:tags r:id="rId5"/>
            </p:custDataLst>
          </p:nvPr>
        </p:nvCxnSpPr>
        <p:spPr bwMode="gray">
          <a:xfrm>
            <a:off x="3925888" y="2516188"/>
            <a:ext cx="344488" cy="0"/>
          </a:xfrm>
          <a:prstGeom prst="line">
            <a:avLst/>
          </a:prstGeom>
          <a:ln w="9525" cap="flat" cmpd="sng" algn="ctr">
            <a:solidFill>
              <a:srgbClr val="D0D0D0"/>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0" name="Straight Connector 49">
            <a:extLst>
              <a:ext uri="{FF2B5EF4-FFF2-40B4-BE49-F238E27FC236}">
                <a16:creationId xmlns:a16="http://schemas.microsoft.com/office/drawing/2014/main" id="{295928CB-4EB3-2EF9-5236-E86B70AB064B}"/>
              </a:ext>
            </a:extLst>
          </p:cNvPr>
          <p:cNvCxnSpPr/>
          <p:nvPr>
            <p:custDataLst>
              <p:tags r:id="rId6"/>
            </p:custDataLst>
          </p:nvPr>
        </p:nvCxnSpPr>
        <p:spPr bwMode="gray">
          <a:xfrm>
            <a:off x="2717800" y="2516188"/>
            <a:ext cx="344488" cy="0"/>
          </a:xfrm>
          <a:prstGeom prst="line">
            <a:avLst/>
          </a:prstGeom>
          <a:ln w="9525" cap="flat" cmpd="sng" algn="ctr">
            <a:solidFill>
              <a:srgbClr val="D0D0D0"/>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1" name="Straight Connector 50">
            <a:extLst>
              <a:ext uri="{FF2B5EF4-FFF2-40B4-BE49-F238E27FC236}">
                <a16:creationId xmlns:a16="http://schemas.microsoft.com/office/drawing/2014/main" id="{57703B42-06C6-5BB9-3C32-EF3FEBFBDC4A}"/>
              </a:ext>
            </a:extLst>
          </p:cNvPr>
          <p:cNvCxnSpPr/>
          <p:nvPr>
            <p:custDataLst>
              <p:tags r:id="rId7"/>
            </p:custDataLst>
          </p:nvPr>
        </p:nvCxnSpPr>
        <p:spPr bwMode="gray">
          <a:xfrm>
            <a:off x="1508125" y="1743075"/>
            <a:ext cx="344488" cy="0"/>
          </a:xfrm>
          <a:prstGeom prst="line">
            <a:avLst/>
          </a:prstGeom>
          <a:ln w="9525" cap="flat" cmpd="sng" algn="ctr">
            <a:solidFill>
              <a:srgbClr val="D0D0D0"/>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2" name="Straight Connector 51">
            <a:extLst>
              <a:ext uri="{FF2B5EF4-FFF2-40B4-BE49-F238E27FC236}">
                <a16:creationId xmlns:a16="http://schemas.microsoft.com/office/drawing/2014/main" id="{65504D6C-61F6-5CA3-5CDE-94C7E3952D28}"/>
              </a:ext>
            </a:extLst>
          </p:cNvPr>
          <p:cNvCxnSpPr/>
          <p:nvPr>
            <p:custDataLst>
              <p:tags r:id="rId8"/>
            </p:custDataLst>
          </p:nvPr>
        </p:nvCxnSpPr>
        <p:spPr bwMode="gray">
          <a:xfrm>
            <a:off x="5135563" y="2820988"/>
            <a:ext cx="344488" cy="0"/>
          </a:xfrm>
          <a:prstGeom prst="line">
            <a:avLst/>
          </a:prstGeom>
          <a:ln w="9525" cap="flat" cmpd="sng" algn="ctr">
            <a:solidFill>
              <a:srgbClr val="D0D0D0"/>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3" name="Straight Connector 52">
            <a:extLst>
              <a:ext uri="{FF2B5EF4-FFF2-40B4-BE49-F238E27FC236}">
                <a16:creationId xmlns:a16="http://schemas.microsoft.com/office/drawing/2014/main" id="{9A22E1EA-1B34-59F1-42B4-5C9A459DA722}"/>
              </a:ext>
            </a:extLst>
          </p:cNvPr>
          <p:cNvCxnSpPr/>
          <p:nvPr>
            <p:custDataLst>
              <p:tags r:id="rId9"/>
            </p:custDataLst>
          </p:nvPr>
        </p:nvCxnSpPr>
        <p:spPr bwMode="gray">
          <a:xfrm>
            <a:off x="6345238" y="2922588"/>
            <a:ext cx="344488" cy="0"/>
          </a:xfrm>
          <a:prstGeom prst="line">
            <a:avLst/>
          </a:prstGeom>
          <a:ln w="9525" cap="flat" cmpd="sng" algn="ctr">
            <a:solidFill>
              <a:srgbClr val="D0D0D0"/>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4" name="Straight Connector 53">
            <a:extLst>
              <a:ext uri="{FF2B5EF4-FFF2-40B4-BE49-F238E27FC236}">
                <a16:creationId xmlns:a16="http://schemas.microsoft.com/office/drawing/2014/main" id="{949ECA1C-8A09-8F3D-366A-4BA0CDF9CE4D}"/>
              </a:ext>
            </a:extLst>
          </p:cNvPr>
          <p:cNvCxnSpPr/>
          <p:nvPr>
            <p:custDataLst>
              <p:tags r:id="rId10"/>
            </p:custDataLst>
          </p:nvPr>
        </p:nvCxnSpPr>
        <p:spPr bwMode="gray">
          <a:xfrm>
            <a:off x="7554913" y="2963863"/>
            <a:ext cx="344488" cy="0"/>
          </a:xfrm>
          <a:prstGeom prst="line">
            <a:avLst/>
          </a:prstGeom>
          <a:ln w="9525" cap="flat" cmpd="sng" algn="ctr">
            <a:solidFill>
              <a:srgbClr val="D0D0D0"/>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5" name="Straight Connector 54">
            <a:extLst>
              <a:ext uri="{FF2B5EF4-FFF2-40B4-BE49-F238E27FC236}">
                <a16:creationId xmlns:a16="http://schemas.microsoft.com/office/drawing/2014/main" id="{266207E9-2599-D736-BD90-1DF18254AB9E}"/>
              </a:ext>
            </a:extLst>
          </p:cNvPr>
          <p:cNvCxnSpPr/>
          <p:nvPr>
            <p:custDataLst>
              <p:tags r:id="rId11"/>
            </p:custDataLst>
          </p:nvPr>
        </p:nvCxnSpPr>
        <p:spPr bwMode="gray">
          <a:xfrm>
            <a:off x="8763000" y="2973388"/>
            <a:ext cx="344488" cy="0"/>
          </a:xfrm>
          <a:prstGeom prst="line">
            <a:avLst/>
          </a:prstGeom>
          <a:ln w="9525" cap="flat" cmpd="sng" algn="ctr">
            <a:solidFill>
              <a:srgbClr val="D0D0D0"/>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6" name="Rectangle 55">
            <a:extLst>
              <a:ext uri="{FF2B5EF4-FFF2-40B4-BE49-F238E27FC236}">
                <a16:creationId xmlns:a16="http://schemas.microsoft.com/office/drawing/2014/main" id="{D8ACE2DA-6307-C292-1916-98C191B5EE02}"/>
              </a:ext>
            </a:extLst>
          </p:cNvPr>
          <p:cNvSpPr/>
          <p:nvPr>
            <p:custDataLst>
              <p:tags r:id="rId12"/>
            </p:custDataLst>
          </p:nvPr>
        </p:nvSpPr>
        <p:spPr bwMode="auto">
          <a:xfrm>
            <a:off x="7899400" y="2963863"/>
            <a:ext cx="863600" cy="9525"/>
          </a:xfrm>
          <a:prstGeom prst="rect">
            <a:avLst/>
          </a:prstGeom>
          <a:solidFill>
            <a:schemeClr val="accent1"/>
          </a:solidFill>
          <a:ln w="9525" cap="sq" algn="ctr">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Arial"/>
              <a:ea typeface="+mn-ea"/>
              <a:cs typeface="+mn-cs"/>
            </a:endParaRPr>
          </a:p>
        </p:txBody>
      </p:sp>
      <p:graphicFrame>
        <p:nvGraphicFramePr>
          <p:cNvPr id="57" name="Chart 56">
            <a:extLst>
              <a:ext uri="{FF2B5EF4-FFF2-40B4-BE49-F238E27FC236}">
                <a16:creationId xmlns:a16="http://schemas.microsoft.com/office/drawing/2014/main" id="{DDF64741-C604-EFDA-D87D-0C40CBBD9C8B}"/>
              </a:ext>
            </a:extLst>
          </p:cNvPr>
          <p:cNvGraphicFramePr/>
          <p:nvPr>
            <p:custDataLst>
              <p:tags r:id="rId13"/>
            </p:custDataLst>
            <p:extLst>
              <p:ext uri="{D42A27DB-BD31-4B8C-83A1-F6EECF244321}">
                <p14:modId xmlns:p14="http://schemas.microsoft.com/office/powerpoint/2010/main" val="1416086376"/>
              </p:ext>
            </p:extLst>
          </p:nvPr>
        </p:nvGraphicFramePr>
        <p:xfrm>
          <a:off x="388938" y="1660525"/>
          <a:ext cx="11049000" cy="2198688"/>
        </p:xfrm>
        <a:graphic>
          <a:graphicData uri="http://schemas.openxmlformats.org/drawingml/2006/chart">
            <c:chart xmlns:c="http://schemas.openxmlformats.org/drawingml/2006/chart" xmlns:r="http://schemas.openxmlformats.org/officeDocument/2006/relationships" r:id="rId48"/>
          </a:graphicData>
        </a:graphic>
      </p:graphicFrame>
      <p:sp>
        <p:nvSpPr>
          <p:cNvPr id="58" name="Text Placeholder 4">
            <a:extLst>
              <a:ext uri="{FF2B5EF4-FFF2-40B4-BE49-F238E27FC236}">
                <a16:creationId xmlns:a16="http://schemas.microsoft.com/office/drawing/2014/main" id="{02BA1C20-DC0F-5F88-1D48-DC87001EE16E}"/>
              </a:ext>
            </a:extLst>
          </p:cNvPr>
          <p:cNvSpPr>
            <a:spLocks noGrp="1"/>
          </p:cNvSpPr>
          <p:nvPr>
            <p:custDataLst>
              <p:tags r:id="rId14"/>
            </p:custDataLst>
          </p:nvPr>
        </p:nvSpPr>
        <p:spPr bwMode="auto">
          <a:xfrm>
            <a:off x="4259263" y="3827463"/>
            <a:ext cx="887413" cy="3651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30400" algn="l" defTabSz="914400" rtl="0" eaLnBrk="1" latinLnBrk="0" hangingPunct="1">
              <a:lnSpc>
                <a:spcPct val="100000"/>
              </a:lnSpc>
              <a:spcBef>
                <a:spcPts val="0"/>
              </a:spcBef>
              <a:spcAft>
                <a:spcPts val="300"/>
              </a:spcAft>
              <a:buSzPct val="110000"/>
              <a:buFont typeface="Wingdings" panose="05000000000000000000" pitchFamily="2" charset="2"/>
              <a:buChar char=""/>
              <a:defRPr lang="en-US" sz="1600" kern="1200" dirty="0">
                <a:solidFill>
                  <a:schemeClr val="tx1"/>
                </a:solidFill>
                <a:latin typeface="+mn-lt"/>
                <a:ea typeface="+mn-ea"/>
                <a:cs typeface="+mn-cs"/>
              </a:defRPr>
            </a:lvl2pPr>
            <a:lvl3pPr marL="439200" indent="-208800" algn="l" defTabSz="914400" rtl="0" eaLnBrk="1" latinLnBrk="0" hangingPunct="1">
              <a:lnSpc>
                <a:spcPct val="100000"/>
              </a:lnSpc>
              <a:spcBef>
                <a:spcPts val="0"/>
              </a:spcBef>
              <a:spcAft>
                <a:spcPts val="300"/>
              </a:spcAft>
              <a:buSzPct val="110000"/>
              <a:buFont typeface="Arial" panose="020B0604020202020204" pitchFamily="34" charset="0"/>
              <a:buChar char="‒"/>
              <a:defRPr lang="en-US" sz="1600" kern="1200" dirty="0">
                <a:solidFill>
                  <a:schemeClr val="tx1"/>
                </a:solidFill>
                <a:latin typeface="+mn-lt"/>
                <a:ea typeface="+mn-ea"/>
                <a:cs typeface="+mn-cs"/>
              </a:defRPr>
            </a:lvl3pPr>
            <a:lvl4pPr marL="604800" indent="-154800" algn="l" defTabSz="914400" rtl="0" eaLnBrk="1" latinLnBrk="0" hangingPunct="1">
              <a:lnSpc>
                <a:spcPct val="100000"/>
              </a:lnSpc>
              <a:spcBef>
                <a:spcPts val="0"/>
              </a:spcBef>
              <a:spcAft>
                <a:spcPts val="300"/>
              </a:spcAft>
              <a:buFont typeface="Arial" panose="020B0604020202020204" pitchFamily="34" charset="0"/>
              <a:buChar char="•"/>
              <a:defRPr lang="en-US" sz="1600" kern="1200" dirty="0">
                <a:solidFill>
                  <a:schemeClr val="tx1"/>
                </a:solidFill>
                <a:latin typeface="+mn-lt"/>
                <a:ea typeface="+mn-ea"/>
                <a:cs typeface="+mn-cs"/>
              </a:defRPr>
            </a:lvl4pPr>
            <a:lvl5pPr marL="813600" indent="-147600" algn="l" defTabSz="914400" rtl="0" eaLnBrk="1" latinLnBrk="0" hangingPunct="1">
              <a:lnSpc>
                <a:spcPct val="100000"/>
              </a:lnSpc>
              <a:spcBef>
                <a:spcPts val="0"/>
              </a:spcBef>
              <a:spcAft>
                <a:spcPts val="300"/>
              </a:spcAft>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fld id="{A421B0C8-910A-4242-97E4-E698C6BD47DE}" type="datetime'''Yar''''d''/''''co''oling/&#10;i''''''n''''sta''llati''''o''n'">
              <a:rPr kumimoji="0" lang="en-US" altLang="en-US" sz="12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ctr"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t>Yard/cooling/
installation</a:t>
            </a:fld>
            <a:endParaRPr kumimoji="0" lang="en-US" sz="12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
        <p:nvSpPr>
          <p:cNvPr id="59" name="Text Placeholder 4">
            <a:extLst>
              <a:ext uri="{FF2B5EF4-FFF2-40B4-BE49-F238E27FC236}">
                <a16:creationId xmlns:a16="http://schemas.microsoft.com/office/drawing/2014/main" id="{AB7EAB25-A259-6153-FBE8-81ABB9532A70}"/>
              </a:ext>
            </a:extLst>
          </p:cNvPr>
          <p:cNvSpPr>
            <a:spLocks noGrp="1"/>
          </p:cNvSpPr>
          <p:nvPr>
            <p:custDataLst>
              <p:tags r:id="rId15"/>
            </p:custDataLst>
          </p:nvPr>
        </p:nvSpPr>
        <p:spPr bwMode="auto">
          <a:xfrm>
            <a:off x="6635750" y="3827463"/>
            <a:ext cx="973138" cy="3651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numCol="1" spcCol="0" rtlCol="0" anchor="t"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30400" algn="l" defTabSz="914400" rtl="0" eaLnBrk="1" latinLnBrk="0" hangingPunct="1">
              <a:lnSpc>
                <a:spcPct val="100000"/>
              </a:lnSpc>
              <a:spcBef>
                <a:spcPts val="0"/>
              </a:spcBef>
              <a:spcAft>
                <a:spcPts val="300"/>
              </a:spcAft>
              <a:buSzPct val="110000"/>
              <a:buFont typeface="Wingdings" panose="05000000000000000000" pitchFamily="2" charset="2"/>
              <a:buChar char=""/>
              <a:defRPr lang="en-US" sz="1600" kern="1200" dirty="0">
                <a:solidFill>
                  <a:schemeClr val="tx1"/>
                </a:solidFill>
                <a:latin typeface="+mn-lt"/>
                <a:ea typeface="+mn-ea"/>
                <a:cs typeface="+mn-cs"/>
              </a:defRPr>
            </a:lvl2pPr>
            <a:lvl3pPr marL="439200" indent="-208800" algn="l" defTabSz="914400" rtl="0" eaLnBrk="1" latinLnBrk="0" hangingPunct="1">
              <a:lnSpc>
                <a:spcPct val="100000"/>
              </a:lnSpc>
              <a:spcBef>
                <a:spcPts val="0"/>
              </a:spcBef>
              <a:spcAft>
                <a:spcPts val="300"/>
              </a:spcAft>
              <a:buSzPct val="110000"/>
              <a:buFont typeface="Arial" panose="020B0604020202020204" pitchFamily="34" charset="0"/>
              <a:buChar char="‒"/>
              <a:defRPr lang="en-US" sz="1600" kern="1200" dirty="0">
                <a:solidFill>
                  <a:schemeClr val="tx1"/>
                </a:solidFill>
                <a:latin typeface="+mn-lt"/>
                <a:ea typeface="+mn-ea"/>
                <a:cs typeface="+mn-cs"/>
              </a:defRPr>
            </a:lvl3pPr>
            <a:lvl4pPr marL="604800" indent="-154800" algn="l" defTabSz="914400" rtl="0" eaLnBrk="1" latinLnBrk="0" hangingPunct="1">
              <a:lnSpc>
                <a:spcPct val="100000"/>
              </a:lnSpc>
              <a:spcBef>
                <a:spcPts val="0"/>
              </a:spcBef>
              <a:spcAft>
                <a:spcPts val="300"/>
              </a:spcAft>
              <a:buFont typeface="Arial" panose="020B0604020202020204" pitchFamily="34" charset="0"/>
              <a:buChar char="•"/>
              <a:defRPr lang="en-US" sz="1600" kern="1200" dirty="0">
                <a:solidFill>
                  <a:schemeClr val="tx1"/>
                </a:solidFill>
                <a:latin typeface="+mn-lt"/>
                <a:ea typeface="+mn-ea"/>
                <a:cs typeface="+mn-cs"/>
              </a:defRPr>
            </a:lvl4pPr>
            <a:lvl5pPr marL="813600" indent="-147600" algn="l" defTabSz="914400" rtl="0" eaLnBrk="1" latinLnBrk="0" hangingPunct="1">
              <a:lnSpc>
                <a:spcPct val="100000"/>
              </a:lnSpc>
              <a:spcBef>
                <a:spcPts val="0"/>
              </a:spcBef>
              <a:spcAft>
                <a:spcPts val="300"/>
              </a:spcAft>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fld id="{AF2C540C-1BE6-4FF3-89C7-6FC41BA72AAA}" type="datetime'''''Nuc''''l''ear is''la''nd e''''qu''i''''''pme''n''''''t'">
              <a:rPr kumimoji="0" lang="en-US" altLang="en-US" sz="12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ctr"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t>Nuclear island equipment</a:t>
            </a:fld>
            <a:endParaRPr kumimoji="0" lang="en-US" sz="12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
        <p:nvSpPr>
          <p:cNvPr id="60" name="Text Placeholder 4">
            <a:extLst>
              <a:ext uri="{FF2B5EF4-FFF2-40B4-BE49-F238E27FC236}">
                <a16:creationId xmlns:a16="http://schemas.microsoft.com/office/drawing/2014/main" id="{F541AF3E-0AEA-4694-5FA9-896F379BF583}"/>
              </a:ext>
            </a:extLst>
          </p:cNvPr>
          <p:cNvSpPr>
            <a:spLocks noGrp="1"/>
          </p:cNvSpPr>
          <p:nvPr>
            <p:custDataLst>
              <p:tags r:id="rId16"/>
            </p:custDataLst>
          </p:nvPr>
        </p:nvSpPr>
        <p:spPr bwMode="auto">
          <a:xfrm>
            <a:off x="598488" y="3827463"/>
            <a:ext cx="952500" cy="3651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numCol="1" spcCol="0" rtlCol="0" anchor="t"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30400" algn="l" defTabSz="914400" rtl="0" eaLnBrk="1" latinLnBrk="0" hangingPunct="1">
              <a:lnSpc>
                <a:spcPct val="100000"/>
              </a:lnSpc>
              <a:spcBef>
                <a:spcPts val="0"/>
              </a:spcBef>
              <a:spcAft>
                <a:spcPts val="300"/>
              </a:spcAft>
              <a:buSzPct val="110000"/>
              <a:buFont typeface="Wingdings" panose="05000000000000000000" pitchFamily="2" charset="2"/>
              <a:buChar char=""/>
              <a:defRPr lang="en-US" sz="1600" kern="1200" dirty="0">
                <a:solidFill>
                  <a:schemeClr val="tx1"/>
                </a:solidFill>
                <a:latin typeface="+mn-lt"/>
                <a:ea typeface="+mn-ea"/>
                <a:cs typeface="+mn-cs"/>
              </a:defRPr>
            </a:lvl2pPr>
            <a:lvl3pPr marL="439200" indent="-208800" algn="l" defTabSz="914400" rtl="0" eaLnBrk="1" latinLnBrk="0" hangingPunct="1">
              <a:lnSpc>
                <a:spcPct val="100000"/>
              </a:lnSpc>
              <a:spcBef>
                <a:spcPts val="0"/>
              </a:spcBef>
              <a:spcAft>
                <a:spcPts val="300"/>
              </a:spcAft>
              <a:buSzPct val="110000"/>
              <a:buFont typeface="Arial" panose="020B0604020202020204" pitchFamily="34" charset="0"/>
              <a:buChar char="‒"/>
              <a:defRPr lang="en-US" sz="1600" kern="1200" dirty="0">
                <a:solidFill>
                  <a:schemeClr val="tx1"/>
                </a:solidFill>
                <a:latin typeface="+mn-lt"/>
                <a:ea typeface="+mn-ea"/>
                <a:cs typeface="+mn-cs"/>
              </a:defRPr>
            </a:lvl3pPr>
            <a:lvl4pPr marL="604800" indent="-154800" algn="l" defTabSz="914400" rtl="0" eaLnBrk="1" latinLnBrk="0" hangingPunct="1">
              <a:lnSpc>
                <a:spcPct val="100000"/>
              </a:lnSpc>
              <a:spcBef>
                <a:spcPts val="0"/>
              </a:spcBef>
              <a:spcAft>
                <a:spcPts val="300"/>
              </a:spcAft>
              <a:buFont typeface="Arial" panose="020B0604020202020204" pitchFamily="34" charset="0"/>
              <a:buChar char="•"/>
              <a:defRPr lang="en-US" sz="1600" kern="1200" dirty="0">
                <a:solidFill>
                  <a:schemeClr val="tx1"/>
                </a:solidFill>
                <a:latin typeface="+mn-lt"/>
                <a:ea typeface="+mn-ea"/>
                <a:cs typeface="+mn-cs"/>
              </a:defRPr>
            </a:lvl4pPr>
            <a:lvl5pPr marL="813600" indent="-147600" algn="l" defTabSz="914400" rtl="0" eaLnBrk="1" latinLnBrk="0" hangingPunct="1">
              <a:lnSpc>
                <a:spcPct val="100000"/>
              </a:lnSpc>
              <a:spcBef>
                <a:spcPts val="0"/>
              </a:spcBef>
              <a:spcAft>
                <a:spcPts val="300"/>
              </a:spcAft>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fld id="{CCA39FCC-0AC6-4DE5-8D2B-36000F8C2E03}" type="datetime'R''e''cen''''t'' ''''''''FO''AK'''' p''''r''oje''''''c''ts'">
              <a:rPr kumimoji="0" lang="en-US" altLang="en-US" sz="12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ctr"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t>Recent FOAK projects</a:t>
            </a:fld>
            <a:endParaRPr kumimoji="0" lang="en-US" sz="12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
        <p:nvSpPr>
          <p:cNvPr id="61" name="Text Placeholder 4">
            <a:extLst>
              <a:ext uri="{FF2B5EF4-FFF2-40B4-BE49-F238E27FC236}">
                <a16:creationId xmlns:a16="http://schemas.microsoft.com/office/drawing/2014/main" id="{301A2653-AEC1-7764-C7F0-EB15F582D291}"/>
              </a:ext>
            </a:extLst>
          </p:cNvPr>
          <p:cNvSpPr>
            <a:spLocks noGrp="1"/>
          </p:cNvSpPr>
          <p:nvPr>
            <p:custDataLst>
              <p:tags r:id="rId17"/>
            </p:custDataLst>
          </p:nvPr>
        </p:nvSpPr>
        <p:spPr bwMode="gray">
          <a:xfrm>
            <a:off x="2028825" y="2038350"/>
            <a:ext cx="5127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30400" algn="l" defTabSz="914400" rtl="0" eaLnBrk="1" latinLnBrk="0" hangingPunct="1">
              <a:lnSpc>
                <a:spcPct val="100000"/>
              </a:lnSpc>
              <a:spcBef>
                <a:spcPts val="0"/>
              </a:spcBef>
              <a:spcAft>
                <a:spcPts val="300"/>
              </a:spcAft>
              <a:buSzPct val="110000"/>
              <a:buFont typeface="Wingdings" panose="05000000000000000000" pitchFamily="2" charset="2"/>
              <a:buChar char=""/>
              <a:defRPr lang="en-US" sz="1600" kern="1200" dirty="0">
                <a:solidFill>
                  <a:schemeClr val="tx1"/>
                </a:solidFill>
                <a:latin typeface="+mn-lt"/>
                <a:ea typeface="+mn-ea"/>
                <a:cs typeface="+mn-cs"/>
              </a:defRPr>
            </a:lvl2pPr>
            <a:lvl3pPr marL="439200" indent="-208800" algn="l" defTabSz="914400" rtl="0" eaLnBrk="1" latinLnBrk="0" hangingPunct="1">
              <a:lnSpc>
                <a:spcPct val="100000"/>
              </a:lnSpc>
              <a:spcBef>
                <a:spcPts val="0"/>
              </a:spcBef>
              <a:spcAft>
                <a:spcPts val="300"/>
              </a:spcAft>
              <a:buSzPct val="110000"/>
              <a:buFont typeface="Arial" panose="020B0604020202020204" pitchFamily="34" charset="0"/>
              <a:buChar char="‒"/>
              <a:defRPr lang="en-US" sz="1600" kern="1200" dirty="0">
                <a:solidFill>
                  <a:schemeClr val="tx1"/>
                </a:solidFill>
                <a:latin typeface="+mn-lt"/>
                <a:ea typeface="+mn-ea"/>
                <a:cs typeface="+mn-cs"/>
              </a:defRPr>
            </a:lvl3pPr>
            <a:lvl4pPr marL="604800" indent="-154800" algn="l" defTabSz="914400" rtl="0" eaLnBrk="1" latinLnBrk="0" hangingPunct="1">
              <a:lnSpc>
                <a:spcPct val="100000"/>
              </a:lnSpc>
              <a:spcBef>
                <a:spcPts val="0"/>
              </a:spcBef>
              <a:spcAft>
                <a:spcPts val="300"/>
              </a:spcAft>
              <a:buFont typeface="Arial" panose="020B0604020202020204" pitchFamily="34" charset="0"/>
              <a:buChar char="•"/>
              <a:defRPr lang="en-US" sz="1600" kern="1200" dirty="0">
                <a:solidFill>
                  <a:schemeClr val="tx1"/>
                </a:solidFill>
                <a:latin typeface="+mn-lt"/>
                <a:ea typeface="+mn-ea"/>
                <a:cs typeface="+mn-cs"/>
              </a:defRPr>
            </a:lvl4pPr>
            <a:lvl5pPr marL="813600" indent="-147600" algn="l" defTabSz="914400" rtl="0" eaLnBrk="1" latinLnBrk="0" hangingPunct="1">
              <a:lnSpc>
                <a:spcPct val="100000"/>
              </a:lnSpc>
              <a:spcBef>
                <a:spcPts val="0"/>
              </a:spcBef>
              <a:spcAft>
                <a:spcPts val="300"/>
              </a:spcAft>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r>
              <a:rPr kumimoji="0" lang="en-US" altLang="en-US" sz="1200" b="0" i="0" u="none" strike="noStrike" kern="1200" cap="none" spc="0" normalizeH="0" baseline="0" noProof="0">
                <a:ln>
                  <a:noFill/>
                </a:ln>
                <a:solidFill>
                  <a:srgbClr val="FFFFFF"/>
                </a:solidFill>
                <a:effectLst/>
                <a:uLnTx/>
                <a:uFillTx/>
                <a:latin typeface="Arial"/>
                <a:ea typeface="+mn-ea"/>
                <a:cs typeface="Arial" panose="020B0604020202020204" pitchFamily="34" charset="0"/>
              </a:rPr>
              <a:t>~</a:t>
            </a:r>
            <a:fld id="{0151A6FF-AFFD-42B6-B97C-B3C09AE8E8C0}" type="datetime'''''''3,''''''8''''0''''''''''''''''''''''''0'''''''''''">
              <a:rPr kumimoji="0" lang="en-US" altLang="en-US" sz="1200" b="0" i="0" u="none" strike="noStrike" kern="1200" cap="none" spc="0" normalizeH="0" baseline="0" noProof="0" smtClean="0">
                <a:ln>
                  <a:noFill/>
                </a:ln>
                <a:solidFill>
                  <a:srgbClr val="FFFFFF"/>
                </a:solidFill>
                <a:effectLst/>
                <a:uLnTx/>
                <a:uFillTx/>
                <a:latin typeface="Arial"/>
                <a:ea typeface="+mn-ea"/>
                <a:cs typeface="Arial" panose="020B0604020202020204" pitchFamily="34" charset="0"/>
              </a:rPr>
              <a:pPr marL="0" marR="0" lvl="0" indent="0" algn="ctr"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t>3,800</a:t>
            </a:fld>
            <a:endParaRPr kumimoji="0" lang="en-US" sz="1200" b="0" i="0" u="none" strike="noStrike" kern="1200" cap="none" spc="0" normalizeH="0" baseline="0" noProof="0">
              <a:ln>
                <a:noFill/>
              </a:ln>
              <a:solidFill>
                <a:srgbClr val="FFFFFF"/>
              </a:solidFill>
              <a:effectLst/>
              <a:uLnTx/>
              <a:uFillTx/>
              <a:latin typeface="Arial"/>
              <a:ea typeface="+mn-ea"/>
              <a:cs typeface="Arial" panose="020B0604020202020204" pitchFamily="34" charset="0"/>
            </a:endParaRPr>
          </a:p>
        </p:txBody>
      </p:sp>
      <p:sp>
        <p:nvSpPr>
          <p:cNvPr id="62" name="Text Placeholder 4">
            <a:extLst>
              <a:ext uri="{FF2B5EF4-FFF2-40B4-BE49-F238E27FC236}">
                <a16:creationId xmlns:a16="http://schemas.microsoft.com/office/drawing/2014/main" id="{19D7A645-209D-074E-C529-34F32E33FF8C}"/>
              </a:ext>
            </a:extLst>
          </p:cNvPr>
          <p:cNvSpPr>
            <a:spLocks noGrp="1"/>
          </p:cNvSpPr>
          <p:nvPr>
            <p:custDataLst>
              <p:tags r:id="rId18"/>
            </p:custDataLst>
          </p:nvPr>
        </p:nvSpPr>
        <p:spPr bwMode="auto">
          <a:xfrm>
            <a:off x="5749925" y="3827463"/>
            <a:ext cx="32543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30400" algn="l" defTabSz="914400" rtl="0" eaLnBrk="1" latinLnBrk="0" hangingPunct="1">
              <a:lnSpc>
                <a:spcPct val="100000"/>
              </a:lnSpc>
              <a:spcBef>
                <a:spcPts val="0"/>
              </a:spcBef>
              <a:spcAft>
                <a:spcPts val="300"/>
              </a:spcAft>
              <a:buSzPct val="110000"/>
              <a:buFont typeface="Wingdings" panose="05000000000000000000" pitchFamily="2" charset="2"/>
              <a:buChar char=""/>
              <a:defRPr lang="en-US" sz="1600" kern="1200" dirty="0">
                <a:solidFill>
                  <a:schemeClr val="tx1"/>
                </a:solidFill>
                <a:latin typeface="+mn-lt"/>
                <a:ea typeface="+mn-ea"/>
                <a:cs typeface="+mn-cs"/>
              </a:defRPr>
            </a:lvl2pPr>
            <a:lvl3pPr marL="439200" indent="-208800" algn="l" defTabSz="914400" rtl="0" eaLnBrk="1" latinLnBrk="0" hangingPunct="1">
              <a:lnSpc>
                <a:spcPct val="100000"/>
              </a:lnSpc>
              <a:spcBef>
                <a:spcPts val="0"/>
              </a:spcBef>
              <a:spcAft>
                <a:spcPts val="300"/>
              </a:spcAft>
              <a:buSzPct val="110000"/>
              <a:buFont typeface="Arial" panose="020B0604020202020204" pitchFamily="34" charset="0"/>
              <a:buChar char="‒"/>
              <a:defRPr lang="en-US" sz="1600" kern="1200" dirty="0">
                <a:solidFill>
                  <a:schemeClr val="tx1"/>
                </a:solidFill>
                <a:latin typeface="+mn-lt"/>
                <a:ea typeface="+mn-ea"/>
                <a:cs typeface="+mn-cs"/>
              </a:defRPr>
            </a:lvl3pPr>
            <a:lvl4pPr marL="604800" indent="-154800" algn="l" defTabSz="914400" rtl="0" eaLnBrk="1" latinLnBrk="0" hangingPunct="1">
              <a:lnSpc>
                <a:spcPct val="100000"/>
              </a:lnSpc>
              <a:spcBef>
                <a:spcPts val="0"/>
              </a:spcBef>
              <a:spcAft>
                <a:spcPts val="300"/>
              </a:spcAft>
              <a:buFont typeface="Arial" panose="020B0604020202020204" pitchFamily="34" charset="0"/>
              <a:buChar char="•"/>
              <a:defRPr lang="en-US" sz="1600" kern="1200" dirty="0">
                <a:solidFill>
                  <a:schemeClr val="tx1"/>
                </a:solidFill>
                <a:latin typeface="+mn-lt"/>
                <a:ea typeface="+mn-ea"/>
                <a:cs typeface="+mn-cs"/>
              </a:defRPr>
            </a:lvl4pPr>
            <a:lvl5pPr marL="813600" indent="-147600" algn="l" defTabSz="914400" rtl="0" eaLnBrk="1" latinLnBrk="0" hangingPunct="1">
              <a:lnSpc>
                <a:spcPct val="100000"/>
              </a:lnSpc>
              <a:spcBef>
                <a:spcPts val="0"/>
              </a:spcBef>
              <a:spcAft>
                <a:spcPts val="300"/>
              </a:spcAft>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fld id="{4D072BA3-772E-4C5C-99E1-1C047A68B6C8}" type="datetime'''E''''''''''P''''''''''''C'''''''''''''">
              <a:rPr kumimoji="0" lang="en-US" altLang="en-US" sz="12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ctr"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t>EPC</a:t>
            </a:fld>
            <a:endParaRPr kumimoji="0" lang="en-US" sz="12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
        <p:nvSpPr>
          <p:cNvPr id="63" name="Text Placeholder 4">
            <a:extLst>
              <a:ext uri="{FF2B5EF4-FFF2-40B4-BE49-F238E27FC236}">
                <a16:creationId xmlns:a16="http://schemas.microsoft.com/office/drawing/2014/main" id="{6C3A7266-03D2-2B9E-16B9-D5EEE8661C8C}"/>
              </a:ext>
            </a:extLst>
          </p:cNvPr>
          <p:cNvSpPr>
            <a:spLocks noGrp="1"/>
          </p:cNvSpPr>
          <p:nvPr>
            <p:custDataLst>
              <p:tags r:id="rId19"/>
            </p:custDataLst>
          </p:nvPr>
        </p:nvSpPr>
        <p:spPr bwMode="gray">
          <a:xfrm>
            <a:off x="6973888" y="2852738"/>
            <a:ext cx="296863" cy="182563"/>
          </a:xfrm>
          <a:prstGeom prst="rect">
            <a:avLst/>
          </a:prstGeom>
          <a:solidFill>
            <a:schemeClr val="accent1"/>
          </a:solidFill>
          <a:ln>
            <a:noFill/>
          </a:ln>
          <a:effectLst/>
        </p:spPr>
        <p:txBody>
          <a:bodyPr vert="horz" wrap="none" lIns="22225" tIns="0" rIns="22225" bIns="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30400" algn="l" defTabSz="914400" rtl="0" eaLnBrk="1" latinLnBrk="0" hangingPunct="1">
              <a:lnSpc>
                <a:spcPct val="100000"/>
              </a:lnSpc>
              <a:spcBef>
                <a:spcPts val="0"/>
              </a:spcBef>
              <a:spcAft>
                <a:spcPts val="300"/>
              </a:spcAft>
              <a:buSzPct val="110000"/>
              <a:buFont typeface="Wingdings" panose="05000000000000000000" pitchFamily="2" charset="2"/>
              <a:buChar char=""/>
              <a:defRPr lang="en-US" sz="1600" kern="1200" dirty="0">
                <a:solidFill>
                  <a:schemeClr val="tx1"/>
                </a:solidFill>
                <a:latin typeface="+mn-lt"/>
                <a:ea typeface="+mn-ea"/>
                <a:cs typeface="+mn-cs"/>
              </a:defRPr>
            </a:lvl2pPr>
            <a:lvl3pPr marL="439200" indent="-208800" algn="l" defTabSz="914400" rtl="0" eaLnBrk="1" latinLnBrk="0" hangingPunct="1">
              <a:lnSpc>
                <a:spcPct val="100000"/>
              </a:lnSpc>
              <a:spcBef>
                <a:spcPts val="0"/>
              </a:spcBef>
              <a:spcAft>
                <a:spcPts val="300"/>
              </a:spcAft>
              <a:buSzPct val="110000"/>
              <a:buFont typeface="Arial" panose="020B0604020202020204" pitchFamily="34" charset="0"/>
              <a:buChar char="‒"/>
              <a:defRPr lang="en-US" sz="1600" kern="1200" dirty="0">
                <a:solidFill>
                  <a:schemeClr val="tx1"/>
                </a:solidFill>
                <a:latin typeface="+mn-lt"/>
                <a:ea typeface="+mn-ea"/>
                <a:cs typeface="+mn-cs"/>
              </a:defRPr>
            </a:lvl3pPr>
            <a:lvl4pPr marL="604800" indent="-154800" algn="l" defTabSz="914400" rtl="0" eaLnBrk="1" latinLnBrk="0" hangingPunct="1">
              <a:lnSpc>
                <a:spcPct val="100000"/>
              </a:lnSpc>
              <a:spcBef>
                <a:spcPts val="0"/>
              </a:spcBef>
              <a:spcAft>
                <a:spcPts val="300"/>
              </a:spcAft>
              <a:buFont typeface="Arial" panose="020B0604020202020204" pitchFamily="34" charset="0"/>
              <a:buChar char="•"/>
              <a:defRPr lang="en-US" sz="1600" kern="1200" dirty="0">
                <a:solidFill>
                  <a:schemeClr val="tx1"/>
                </a:solidFill>
                <a:latin typeface="+mn-lt"/>
                <a:ea typeface="+mn-ea"/>
                <a:cs typeface="+mn-cs"/>
              </a:defRPr>
            </a:lvl4pPr>
            <a:lvl5pPr marL="813600" indent="-147600" algn="l" defTabSz="914400" rtl="0" eaLnBrk="1" latinLnBrk="0" hangingPunct="1">
              <a:lnSpc>
                <a:spcPct val="100000"/>
              </a:lnSpc>
              <a:spcBef>
                <a:spcPts val="0"/>
              </a:spcBef>
              <a:spcAft>
                <a:spcPts val="300"/>
              </a:spcAft>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fld id="{B4DDFC33-8E7A-455A-9E53-B0301987D146}" type="datetime'''''''''''''''''''''''''''''''''''''''20''''''''0'''''''">
              <a:rPr kumimoji="0" lang="en-US" altLang="en-US" sz="1200" b="0" i="0" u="none" strike="noStrike" kern="1200" cap="none" spc="0" normalizeH="0" baseline="0" noProof="0" smtClean="0">
                <a:ln>
                  <a:noFill/>
                </a:ln>
                <a:solidFill>
                  <a:srgbClr val="FFFFFF"/>
                </a:solidFill>
                <a:effectLst/>
                <a:uLnTx/>
                <a:uFillTx/>
                <a:latin typeface="Arial"/>
                <a:ea typeface="+mn-ea"/>
                <a:cs typeface="Arial" panose="020B0604020202020204" pitchFamily="34" charset="0"/>
              </a:rPr>
              <a:pPr marL="0" marR="0" lvl="0" indent="0" algn="ctr"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t>200</a:t>
            </a:fld>
            <a:endParaRPr kumimoji="0" lang="en-US" sz="1200" b="0" i="0" u="none" strike="noStrike" kern="1200" cap="none" spc="0" normalizeH="0" baseline="0" noProof="0">
              <a:ln>
                <a:noFill/>
              </a:ln>
              <a:solidFill>
                <a:srgbClr val="FFFFFF"/>
              </a:solidFill>
              <a:effectLst/>
              <a:uLnTx/>
              <a:uFillTx/>
              <a:latin typeface="Arial"/>
              <a:ea typeface="+mn-ea"/>
              <a:cs typeface="Arial" panose="020B0604020202020204" pitchFamily="34" charset="0"/>
            </a:endParaRPr>
          </a:p>
        </p:txBody>
      </p:sp>
      <p:sp>
        <p:nvSpPr>
          <p:cNvPr id="64" name="Text Placeholder 4">
            <a:extLst>
              <a:ext uri="{FF2B5EF4-FFF2-40B4-BE49-F238E27FC236}">
                <a16:creationId xmlns:a16="http://schemas.microsoft.com/office/drawing/2014/main" id="{72593BE0-B6AE-7DD8-12B7-07B36D8F841D}"/>
              </a:ext>
            </a:extLst>
          </p:cNvPr>
          <p:cNvSpPr>
            <a:spLocks noGrp="1"/>
          </p:cNvSpPr>
          <p:nvPr>
            <p:custDataLst>
              <p:tags r:id="rId20"/>
            </p:custDataLst>
          </p:nvPr>
        </p:nvSpPr>
        <p:spPr bwMode="auto">
          <a:xfrm>
            <a:off x="1751013" y="3827463"/>
            <a:ext cx="1068388" cy="5476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numCol="1" spcCol="0" rtlCol="0" anchor="t"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30400" algn="l" defTabSz="914400" rtl="0" eaLnBrk="1" latinLnBrk="0" hangingPunct="1">
              <a:lnSpc>
                <a:spcPct val="100000"/>
              </a:lnSpc>
              <a:spcBef>
                <a:spcPts val="0"/>
              </a:spcBef>
              <a:spcAft>
                <a:spcPts val="300"/>
              </a:spcAft>
              <a:buSzPct val="110000"/>
              <a:buFont typeface="Wingdings" panose="05000000000000000000" pitchFamily="2" charset="2"/>
              <a:buChar char=""/>
              <a:defRPr lang="en-US" sz="1600" kern="1200" dirty="0">
                <a:solidFill>
                  <a:schemeClr val="tx1"/>
                </a:solidFill>
                <a:latin typeface="+mn-lt"/>
                <a:ea typeface="+mn-ea"/>
                <a:cs typeface="+mn-cs"/>
              </a:defRPr>
            </a:lvl2pPr>
            <a:lvl3pPr marL="439200" indent="-208800" algn="l" defTabSz="914400" rtl="0" eaLnBrk="1" latinLnBrk="0" hangingPunct="1">
              <a:lnSpc>
                <a:spcPct val="100000"/>
              </a:lnSpc>
              <a:spcBef>
                <a:spcPts val="0"/>
              </a:spcBef>
              <a:spcAft>
                <a:spcPts val="300"/>
              </a:spcAft>
              <a:buSzPct val="110000"/>
              <a:buFont typeface="Arial" panose="020B0604020202020204" pitchFamily="34" charset="0"/>
              <a:buChar char="‒"/>
              <a:defRPr lang="en-US" sz="1600" kern="1200" dirty="0">
                <a:solidFill>
                  <a:schemeClr val="tx1"/>
                </a:solidFill>
                <a:latin typeface="+mn-lt"/>
                <a:ea typeface="+mn-ea"/>
                <a:cs typeface="+mn-cs"/>
              </a:defRPr>
            </a:lvl3pPr>
            <a:lvl4pPr marL="604800" indent="-154800" algn="l" defTabSz="914400" rtl="0" eaLnBrk="1" latinLnBrk="0" hangingPunct="1">
              <a:lnSpc>
                <a:spcPct val="100000"/>
              </a:lnSpc>
              <a:spcBef>
                <a:spcPts val="0"/>
              </a:spcBef>
              <a:spcAft>
                <a:spcPts val="300"/>
              </a:spcAft>
              <a:buFont typeface="Arial" panose="020B0604020202020204" pitchFamily="34" charset="0"/>
              <a:buChar char="•"/>
              <a:defRPr lang="en-US" sz="1600" kern="1200" dirty="0">
                <a:solidFill>
                  <a:schemeClr val="tx1"/>
                </a:solidFill>
                <a:latin typeface="+mn-lt"/>
                <a:ea typeface="+mn-ea"/>
                <a:cs typeface="+mn-cs"/>
              </a:defRPr>
            </a:lvl4pPr>
            <a:lvl5pPr marL="813600" indent="-147600" algn="l" defTabSz="914400" rtl="0" eaLnBrk="1" latinLnBrk="0" hangingPunct="1">
              <a:lnSpc>
                <a:spcPct val="100000"/>
              </a:lnSpc>
              <a:spcBef>
                <a:spcPts val="0"/>
              </a:spcBef>
              <a:spcAft>
                <a:spcPts val="300"/>
              </a:spcAft>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fld id="{71059928-ABC0-4CE2-814C-07F3719FDC54}" type="datetime'Cost r''''''edu''''ctions driven by be''st pra''c''tic''''es'">
              <a:rPr kumimoji="0" lang="en-US" altLang="en-US" sz="12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ctr"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t>Cost reductions driven by best practices</a:t>
            </a:fld>
            <a:endParaRPr kumimoji="0" lang="en-US" sz="12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
        <p:nvSpPr>
          <p:cNvPr id="65" name="Text Placeholder 4">
            <a:extLst>
              <a:ext uri="{FF2B5EF4-FFF2-40B4-BE49-F238E27FC236}">
                <a16:creationId xmlns:a16="http://schemas.microsoft.com/office/drawing/2014/main" id="{C8C6A439-B1CA-05F4-955F-C2E3B655A71A}"/>
              </a:ext>
            </a:extLst>
          </p:cNvPr>
          <p:cNvSpPr>
            <a:spLocks noGrp="1"/>
          </p:cNvSpPr>
          <p:nvPr>
            <p:custDataLst>
              <p:tags r:id="rId21"/>
            </p:custDataLst>
          </p:nvPr>
        </p:nvSpPr>
        <p:spPr bwMode="auto">
          <a:xfrm>
            <a:off x="3009900" y="3827463"/>
            <a:ext cx="968375" cy="3651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numCol="1" spcCol="0" rtlCol="0" anchor="t"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30400" algn="l" defTabSz="914400" rtl="0" eaLnBrk="1" latinLnBrk="0" hangingPunct="1">
              <a:lnSpc>
                <a:spcPct val="100000"/>
              </a:lnSpc>
              <a:spcBef>
                <a:spcPts val="0"/>
              </a:spcBef>
              <a:spcAft>
                <a:spcPts val="300"/>
              </a:spcAft>
              <a:buSzPct val="110000"/>
              <a:buFont typeface="Wingdings" panose="05000000000000000000" pitchFamily="2" charset="2"/>
              <a:buChar char=""/>
              <a:defRPr lang="en-US" sz="1600" kern="1200" dirty="0">
                <a:solidFill>
                  <a:schemeClr val="tx1"/>
                </a:solidFill>
                <a:latin typeface="+mn-lt"/>
                <a:ea typeface="+mn-ea"/>
                <a:cs typeface="+mn-cs"/>
              </a:defRPr>
            </a:lvl2pPr>
            <a:lvl3pPr marL="439200" indent="-208800" algn="l" defTabSz="914400" rtl="0" eaLnBrk="1" latinLnBrk="0" hangingPunct="1">
              <a:lnSpc>
                <a:spcPct val="100000"/>
              </a:lnSpc>
              <a:spcBef>
                <a:spcPts val="0"/>
              </a:spcBef>
              <a:spcAft>
                <a:spcPts val="300"/>
              </a:spcAft>
              <a:buSzPct val="110000"/>
              <a:buFont typeface="Arial" panose="020B0604020202020204" pitchFamily="34" charset="0"/>
              <a:buChar char="‒"/>
              <a:defRPr lang="en-US" sz="1600" kern="1200" dirty="0">
                <a:solidFill>
                  <a:schemeClr val="tx1"/>
                </a:solidFill>
                <a:latin typeface="+mn-lt"/>
                <a:ea typeface="+mn-ea"/>
                <a:cs typeface="+mn-cs"/>
              </a:defRPr>
            </a:lvl3pPr>
            <a:lvl4pPr marL="604800" indent="-154800" algn="l" defTabSz="914400" rtl="0" eaLnBrk="1" latinLnBrk="0" hangingPunct="1">
              <a:lnSpc>
                <a:spcPct val="100000"/>
              </a:lnSpc>
              <a:spcBef>
                <a:spcPts val="0"/>
              </a:spcBef>
              <a:spcAft>
                <a:spcPts val="300"/>
              </a:spcAft>
              <a:buFont typeface="Arial" panose="020B0604020202020204" pitchFamily="34" charset="0"/>
              <a:buChar char="•"/>
              <a:defRPr lang="en-US" sz="1600" kern="1200" dirty="0">
                <a:solidFill>
                  <a:schemeClr val="tx1"/>
                </a:solidFill>
                <a:latin typeface="+mn-lt"/>
                <a:ea typeface="+mn-ea"/>
                <a:cs typeface="+mn-cs"/>
              </a:defRPr>
            </a:lvl4pPr>
            <a:lvl5pPr marL="813600" indent="-147600" algn="l" defTabSz="914400" rtl="0" eaLnBrk="1" latinLnBrk="0" hangingPunct="1">
              <a:lnSpc>
                <a:spcPct val="100000"/>
              </a:lnSpc>
              <a:spcBef>
                <a:spcPts val="0"/>
              </a:spcBef>
              <a:spcAft>
                <a:spcPts val="300"/>
              </a:spcAft>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fld id="{591448CD-D0DD-4470-8353-ABA349A84ABA}" type="datetime'B''e''s''''''t'' ''pr''''ac''''t''''i''c''''es ''FO''''A''K'''">
              <a:rPr kumimoji="0" lang="en-US" altLang="en-US" sz="12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ctr"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t>Best practices FOAK</a:t>
            </a:fld>
            <a:endParaRPr kumimoji="0" lang="en-US" sz="12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
        <p:nvSpPr>
          <p:cNvPr id="66" name="Text Placeholder 4">
            <a:extLst>
              <a:ext uri="{FF2B5EF4-FFF2-40B4-BE49-F238E27FC236}">
                <a16:creationId xmlns:a16="http://schemas.microsoft.com/office/drawing/2014/main" id="{CF1D6543-4807-F47E-41A7-2BFDF9053CD6}"/>
              </a:ext>
            </a:extLst>
          </p:cNvPr>
          <p:cNvSpPr>
            <a:spLocks noGrp="1"/>
          </p:cNvSpPr>
          <p:nvPr>
            <p:custDataLst>
              <p:tags r:id="rId22"/>
            </p:custDataLst>
          </p:nvPr>
        </p:nvSpPr>
        <p:spPr bwMode="gray">
          <a:xfrm>
            <a:off x="5764213" y="2781300"/>
            <a:ext cx="296863" cy="182563"/>
          </a:xfrm>
          <a:prstGeom prst="rect">
            <a:avLst/>
          </a:prstGeom>
          <a:solidFill>
            <a:schemeClr val="accent1"/>
          </a:solidFill>
          <a:ln>
            <a:noFill/>
          </a:ln>
          <a:effectLst/>
        </p:spPr>
        <p:txBody>
          <a:bodyPr vert="horz" wrap="none" lIns="22225" tIns="0" rIns="22225" bIns="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30400" algn="l" defTabSz="914400" rtl="0" eaLnBrk="1" latinLnBrk="0" hangingPunct="1">
              <a:lnSpc>
                <a:spcPct val="100000"/>
              </a:lnSpc>
              <a:spcBef>
                <a:spcPts val="0"/>
              </a:spcBef>
              <a:spcAft>
                <a:spcPts val="300"/>
              </a:spcAft>
              <a:buSzPct val="110000"/>
              <a:buFont typeface="Wingdings" panose="05000000000000000000" pitchFamily="2" charset="2"/>
              <a:buChar char=""/>
              <a:defRPr lang="en-US" sz="1600" kern="1200" dirty="0">
                <a:solidFill>
                  <a:schemeClr val="tx1"/>
                </a:solidFill>
                <a:latin typeface="+mn-lt"/>
                <a:ea typeface="+mn-ea"/>
                <a:cs typeface="+mn-cs"/>
              </a:defRPr>
            </a:lvl2pPr>
            <a:lvl3pPr marL="439200" indent="-208800" algn="l" defTabSz="914400" rtl="0" eaLnBrk="1" latinLnBrk="0" hangingPunct="1">
              <a:lnSpc>
                <a:spcPct val="100000"/>
              </a:lnSpc>
              <a:spcBef>
                <a:spcPts val="0"/>
              </a:spcBef>
              <a:spcAft>
                <a:spcPts val="300"/>
              </a:spcAft>
              <a:buSzPct val="110000"/>
              <a:buFont typeface="Arial" panose="020B0604020202020204" pitchFamily="34" charset="0"/>
              <a:buChar char="‒"/>
              <a:defRPr lang="en-US" sz="1600" kern="1200" dirty="0">
                <a:solidFill>
                  <a:schemeClr val="tx1"/>
                </a:solidFill>
                <a:latin typeface="+mn-lt"/>
                <a:ea typeface="+mn-ea"/>
                <a:cs typeface="+mn-cs"/>
              </a:defRPr>
            </a:lvl3pPr>
            <a:lvl4pPr marL="604800" indent="-154800" algn="l" defTabSz="914400" rtl="0" eaLnBrk="1" latinLnBrk="0" hangingPunct="1">
              <a:lnSpc>
                <a:spcPct val="100000"/>
              </a:lnSpc>
              <a:spcBef>
                <a:spcPts val="0"/>
              </a:spcBef>
              <a:spcAft>
                <a:spcPts val="300"/>
              </a:spcAft>
              <a:buFont typeface="Arial" panose="020B0604020202020204" pitchFamily="34" charset="0"/>
              <a:buChar char="•"/>
              <a:defRPr lang="en-US" sz="1600" kern="1200" dirty="0">
                <a:solidFill>
                  <a:schemeClr val="tx1"/>
                </a:solidFill>
                <a:latin typeface="+mn-lt"/>
                <a:ea typeface="+mn-ea"/>
                <a:cs typeface="+mn-cs"/>
              </a:defRPr>
            </a:lvl4pPr>
            <a:lvl5pPr marL="813600" indent="-147600" algn="l" defTabSz="914400" rtl="0" eaLnBrk="1" latinLnBrk="0" hangingPunct="1">
              <a:lnSpc>
                <a:spcPct val="100000"/>
              </a:lnSpc>
              <a:spcBef>
                <a:spcPts val="0"/>
              </a:spcBef>
              <a:spcAft>
                <a:spcPts val="300"/>
              </a:spcAft>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fld id="{BD7802A0-C239-4481-9309-CD852F0AF081}" type="datetime'''''''''''''''''''''''''''''''''''5''''''''''''0''0'">
              <a:rPr kumimoji="0" lang="en-US" altLang="en-US" sz="1200" b="0" i="0" u="none" strike="noStrike" kern="1200" cap="none" spc="0" normalizeH="0" baseline="0" noProof="0" smtClean="0">
                <a:ln>
                  <a:noFill/>
                </a:ln>
                <a:solidFill>
                  <a:srgbClr val="FFFFFF"/>
                </a:solidFill>
                <a:effectLst/>
                <a:uLnTx/>
                <a:uFillTx/>
                <a:latin typeface="Arial"/>
                <a:ea typeface="+mn-ea"/>
                <a:cs typeface="Arial" panose="020B0604020202020204" pitchFamily="34" charset="0"/>
              </a:rPr>
              <a:pPr marL="0" marR="0" lvl="0" indent="0" algn="ctr"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t>500</a:t>
            </a:fld>
            <a:endParaRPr kumimoji="0" lang="en-US" sz="1200" b="0" i="0" u="none" strike="noStrike" kern="1200" cap="none" spc="0" normalizeH="0" baseline="0" noProof="0">
              <a:ln>
                <a:noFill/>
              </a:ln>
              <a:solidFill>
                <a:srgbClr val="FFFFFF"/>
              </a:solidFill>
              <a:effectLst/>
              <a:uLnTx/>
              <a:uFillTx/>
              <a:latin typeface="Arial"/>
              <a:ea typeface="+mn-ea"/>
              <a:cs typeface="Arial" panose="020B0604020202020204" pitchFamily="34" charset="0"/>
            </a:endParaRPr>
          </a:p>
        </p:txBody>
      </p:sp>
      <p:sp>
        <p:nvSpPr>
          <p:cNvPr id="67" name="Text Placeholder 4">
            <a:extLst>
              <a:ext uri="{FF2B5EF4-FFF2-40B4-BE49-F238E27FC236}">
                <a16:creationId xmlns:a16="http://schemas.microsoft.com/office/drawing/2014/main" id="{7F408CA7-B2B5-A305-8B71-52005B07899A}"/>
              </a:ext>
            </a:extLst>
          </p:cNvPr>
          <p:cNvSpPr>
            <a:spLocks noGrp="1"/>
          </p:cNvSpPr>
          <p:nvPr>
            <p:custDataLst>
              <p:tags r:id="rId23"/>
            </p:custDataLst>
          </p:nvPr>
        </p:nvSpPr>
        <p:spPr bwMode="gray">
          <a:xfrm>
            <a:off x="8224838" y="2878138"/>
            <a:ext cx="212725" cy="182563"/>
          </a:xfrm>
          <a:prstGeom prst="rect">
            <a:avLst/>
          </a:prstGeom>
          <a:solidFill>
            <a:schemeClr val="accent1"/>
          </a:solidFill>
          <a:ln>
            <a:noFill/>
          </a:ln>
          <a:effectLst/>
        </p:spPr>
        <p:txBody>
          <a:bodyPr vert="horz" wrap="none" lIns="22225" tIns="0" rIns="22225" bIns="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30400" algn="l" defTabSz="914400" rtl="0" eaLnBrk="1" latinLnBrk="0" hangingPunct="1">
              <a:lnSpc>
                <a:spcPct val="100000"/>
              </a:lnSpc>
              <a:spcBef>
                <a:spcPts val="0"/>
              </a:spcBef>
              <a:spcAft>
                <a:spcPts val="300"/>
              </a:spcAft>
              <a:buSzPct val="110000"/>
              <a:buFont typeface="Wingdings" panose="05000000000000000000" pitchFamily="2" charset="2"/>
              <a:buChar char=""/>
              <a:defRPr lang="en-US" sz="1600" kern="1200" dirty="0">
                <a:solidFill>
                  <a:schemeClr val="tx1"/>
                </a:solidFill>
                <a:latin typeface="+mn-lt"/>
                <a:ea typeface="+mn-ea"/>
                <a:cs typeface="+mn-cs"/>
              </a:defRPr>
            </a:lvl2pPr>
            <a:lvl3pPr marL="439200" indent="-208800" algn="l" defTabSz="914400" rtl="0" eaLnBrk="1" latinLnBrk="0" hangingPunct="1">
              <a:lnSpc>
                <a:spcPct val="100000"/>
              </a:lnSpc>
              <a:spcBef>
                <a:spcPts val="0"/>
              </a:spcBef>
              <a:spcAft>
                <a:spcPts val="300"/>
              </a:spcAft>
              <a:buSzPct val="110000"/>
              <a:buFont typeface="Arial" panose="020B0604020202020204" pitchFamily="34" charset="0"/>
              <a:buChar char="‒"/>
              <a:defRPr lang="en-US" sz="1600" kern="1200" dirty="0">
                <a:solidFill>
                  <a:schemeClr val="tx1"/>
                </a:solidFill>
                <a:latin typeface="+mn-lt"/>
                <a:ea typeface="+mn-ea"/>
                <a:cs typeface="+mn-cs"/>
              </a:defRPr>
            </a:lvl3pPr>
            <a:lvl4pPr marL="604800" indent="-154800" algn="l" defTabSz="914400" rtl="0" eaLnBrk="1" latinLnBrk="0" hangingPunct="1">
              <a:lnSpc>
                <a:spcPct val="100000"/>
              </a:lnSpc>
              <a:spcBef>
                <a:spcPts val="0"/>
              </a:spcBef>
              <a:spcAft>
                <a:spcPts val="300"/>
              </a:spcAft>
              <a:buFont typeface="Arial" panose="020B0604020202020204" pitchFamily="34" charset="0"/>
              <a:buChar char="•"/>
              <a:defRPr lang="en-US" sz="1600" kern="1200" dirty="0">
                <a:solidFill>
                  <a:schemeClr val="tx1"/>
                </a:solidFill>
                <a:latin typeface="+mn-lt"/>
                <a:ea typeface="+mn-ea"/>
                <a:cs typeface="+mn-cs"/>
              </a:defRPr>
            </a:lvl4pPr>
            <a:lvl5pPr marL="813600" indent="-147600" algn="l" defTabSz="914400" rtl="0" eaLnBrk="1" latinLnBrk="0" hangingPunct="1">
              <a:lnSpc>
                <a:spcPct val="100000"/>
              </a:lnSpc>
              <a:spcBef>
                <a:spcPts val="0"/>
              </a:spcBef>
              <a:spcAft>
                <a:spcPts val="300"/>
              </a:spcAft>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fld id="{12A21131-11E3-42DA-86EB-A9692346681F}" type="datetime'''''''''''''''''''5''''''''''0'''''''''''''''''">
              <a:rPr kumimoji="0" lang="en-US" altLang="en-US" sz="1200" b="0" i="0" u="none" strike="noStrike" kern="1200" cap="none" spc="0" normalizeH="0" baseline="0" noProof="0" smtClean="0">
                <a:ln>
                  <a:noFill/>
                </a:ln>
                <a:solidFill>
                  <a:srgbClr val="FFFFFF"/>
                </a:solidFill>
                <a:effectLst/>
                <a:uLnTx/>
                <a:uFillTx/>
                <a:latin typeface="Arial"/>
                <a:ea typeface="+mn-ea"/>
                <a:cs typeface="Arial" panose="020B0604020202020204" pitchFamily="34" charset="0"/>
              </a:rPr>
              <a:pPr marL="0" marR="0" lvl="0" indent="0" algn="ctr"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t>50</a:t>
            </a:fld>
            <a:endParaRPr kumimoji="0" lang="en-US" sz="1200" b="0" i="0" u="none" strike="noStrike" kern="1200" cap="none" spc="0" normalizeH="0" baseline="0" noProof="0">
              <a:ln>
                <a:noFill/>
              </a:ln>
              <a:solidFill>
                <a:srgbClr val="FFFFFF"/>
              </a:solidFill>
              <a:effectLst/>
              <a:uLnTx/>
              <a:uFillTx/>
              <a:latin typeface="Arial"/>
              <a:ea typeface="+mn-ea"/>
              <a:cs typeface="Arial" panose="020B0604020202020204" pitchFamily="34" charset="0"/>
            </a:endParaRPr>
          </a:p>
        </p:txBody>
      </p:sp>
      <p:sp>
        <p:nvSpPr>
          <p:cNvPr id="68" name="Text Placeholder 4">
            <a:extLst>
              <a:ext uri="{FF2B5EF4-FFF2-40B4-BE49-F238E27FC236}">
                <a16:creationId xmlns:a16="http://schemas.microsoft.com/office/drawing/2014/main" id="{E9582614-4F5C-C5D3-ADCC-1EA5AF0138D6}"/>
              </a:ext>
            </a:extLst>
          </p:cNvPr>
          <p:cNvSpPr>
            <a:spLocks noGrp="1"/>
          </p:cNvSpPr>
          <p:nvPr>
            <p:custDataLst>
              <p:tags r:id="rId24"/>
            </p:custDataLst>
          </p:nvPr>
        </p:nvSpPr>
        <p:spPr bwMode="auto">
          <a:xfrm>
            <a:off x="7851775" y="3827463"/>
            <a:ext cx="958850" cy="3651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numCol="1" spcCol="0" rtlCol="0" anchor="t"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30400" algn="l" defTabSz="914400" rtl="0" eaLnBrk="1" latinLnBrk="0" hangingPunct="1">
              <a:lnSpc>
                <a:spcPct val="100000"/>
              </a:lnSpc>
              <a:spcBef>
                <a:spcPts val="0"/>
              </a:spcBef>
              <a:spcAft>
                <a:spcPts val="300"/>
              </a:spcAft>
              <a:buSzPct val="110000"/>
              <a:buFont typeface="Wingdings" panose="05000000000000000000" pitchFamily="2" charset="2"/>
              <a:buChar char=""/>
              <a:defRPr lang="en-US" sz="1600" kern="1200" dirty="0">
                <a:solidFill>
                  <a:schemeClr val="tx1"/>
                </a:solidFill>
                <a:latin typeface="+mn-lt"/>
                <a:ea typeface="+mn-ea"/>
                <a:cs typeface="+mn-cs"/>
              </a:defRPr>
            </a:lvl2pPr>
            <a:lvl3pPr marL="439200" indent="-208800" algn="l" defTabSz="914400" rtl="0" eaLnBrk="1" latinLnBrk="0" hangingPunct="1">
              <a:lnSpc>
                <a:spcPct val="100000"/>
              </a:lnSpc>
              <a:spcBef>
                <a:spcPts val="0"/>
              </a:spcBef>
              <a:spcAft>
                <a:spcPts val="300"/>
              </a:spcAft>
              <a:buSzPct val="110000"/>
              <a:buFont typeface="Arial" panose="020B0604020202020204" pitchFamily="34" charset="0"/>
              <a:buChar char="‒"/>
              <a:defRPr lang="en-US" sz="1600" kern="1200" dirty="0">
                <a:solidFill>
                  <a:schemeClr val="tx1"/>
                </a:solidFill>
                <a:latin typeface="+mn-lt"/>
                <a:ea typeface="+mn-ea"/>
                <a:cs typeface="+mn-cs"/>
              </a:defRPr>
            </a:lvl3pPr>
            <a:lvl4pPr marL="604800" indent="-154800" algn="l" defTabSz="914400" rtl="0" eaLnBrk="1" latinLnBrk="0" hangingPunct="1">
              <a:lnSpc>
                <a:spcPct val="100000"/>
              </a:lnSpc>
              <a:spcBef>
                <a:spcPts val="0"/>
              </a:spcBef>
              <a:spcAft>
                <a:spcPts val="300"/>
              </a:spcAft>
              <a:buFont typeface="Arial" panose="020B0604020202020204" pitchFamily="34" charset="0"/>
              <a:buChar char="•"/>
              <a:defRPr lang="en-US" sz="1600" kern="1200" dirty="0">
                <a:solidFill>
                  <a:schemeClr val="tx1"/>
                </a:solidFill>
                <a:latin typeface="+mn-lt"/>
                <a:ea typeface="+mn-ea"/>
                <a:cs typeface="+mn-cs"/>
              </a:defRPr>
            </a:lvl4pPr>
            <a:lvl5pPr marL="813600" indent="-147600" algn="l" defTabSz="914400" rtl="0" eaLnBrk="1" latinLnBrk="0" hangingPunct="1">
              <a:lnSpc>
                <a:spcPct val="100000"/>
              </a:lnSpc>
              <a:spcBef>
                <a:spcPts val="0"/>
              </a:spcBef>
              <a:spcAft>
                <a:spcPts val="300"/>
              </a:spcAft>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fld id="{39DEB480-847F-4259-B30C-94B75F884293}" type="datetime'''''T''''u''r''b''ine'' ''''i''''sland eq''''''''uipme''nt'">
              <a:rPr kumimoji="0" lang="en-US" altLang="en-US" sz="12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ctr"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t>Turbine island equipment</a:t>
            </a:fld>
            <a:endParaRPr kumimoji="0" lang="en-US" sz="12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
        <p:nvSpPr>
          <p:cNvPr id="69" name="Text Placeholder 4">
            <a:extLst>
              <a:ext uri="{FF2B5EF4-FFF2-40B4-BE49-F238E27FC236}">
                <a16:creationId xmlns:a16="http://schemas.microsoft.com/office/drawing/2014/main" id="{AF18B605-3C5B-3A19-712B-6DBF2EB240E7}"/>
              </a:ext>
            </a:extLst>
          </p:cNvPr>
          <p:cNvSpPr>
            <a:spLocks noGrp="1"/>
          </p:cNvSpPr>
          <p:nvPr>
            <p:custDataLst>
              <p:tags r:id="rId25"/>
            </p:custDataLst>
          </p:nvPr>
        </p:nvSpPr>
        <p:spPr bwMode="gray">
          <a:xfrm>
            <a:off x="9391650" y="2922588"/>
            <a:ext cx="296863" cy="182563"/>
          </a:xfrm>
          <a:prstGeom prst="rect">
            <a:avLst/>
          </a:prstGeom>
          <a:solidFill>
            <a:schemeClr val="accent1"/>
          </a:solidFill>
          <a:ln>
            <a:noFill/>
          </a:ln>
          <a:effectLst/>
        </p:spPr>
        <p:txBody>
          <a:bodyPr vert="horz" wrap="none" lIns="22225" tIns="0" rIns="22225" bIns="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30400" algn="l" defTabSz="914400" rtl="0" eaLnBrk="1" latinLnBrk="0" hangingPunct="1">
              <a:lnSpc>
                <a:spcPct val="100000"/>
              </a:lnSpc>
              <a:spcBef>
                <a:spcPts val="0"/>
              </a:spcBef>
              <a:spcAft>
                <a:spcPts val="300"/>
              </a:spcAft>
              <a:buSzPct val="110000"/>
              <a:buFont typeface="Wingdings" panose="05000000000000000000" pitchFamily="2" charset="2"/>
              <a:buChar char=""/>
              <a:defRPr lang="en-US" sz="1600" kern="1200" dirty="0">
                <a:solidFill>
                  <a:schemeClr val="tx1"/>
                </a:solidFill>
                <a:latin typeface="+mn-lt"/>
                <a:ea typeface="+mn-ea"/>
                <a:cs typeface="+mn-cs"/>
              </a:defRPr>
            </a:lvl2pPr>
            <a:lvl3pPr marL="439200" indent="-208800" algn="l" defTabSz="914400" rtl="0" eaLnBrk="1" latinLnBrk="0" hangingPunct="1">
              <a:lnSpc>
                <a:spcPct val="100000"/>
              </a:lnSpc>
              <a:spcBef>
                <a:spcPts val="0"/>
              </a:spcBef>
              <a:spcAft>
                <a:spcPts val="300"/>
              </a:spcAft>
              <a:buSzPct val="110000"/>
              <a:buFont typeface="Arial" panose="020B0604020202020204" pitchFamily="34" charset="0"/>
              <a:buChar char="‒"/>
              <a:defRPr lang="en-US" sz="1600" kern="1200" dirty="0">
                <a:solidFill>
                  <a:schemeClr val="tx1"/>
                </a:solidFill>
                <a:latin typeface="+mn-lt"/>
                <a:ea typeface="+mn-ea"/>
                <a:cs typeface="+mn-cs"/>
              </a:defRPr>
            </a:lvl3pPr>
            <a:lvl4pPr marL="604800" indent="-154800" algn="l" defTabSz="914400" rtl="0" eaLnBrk="1" latinLnBrk="0" hangingPunct="1">
              <a:lnSpc>
                <a:spcPct val="100000"/>
              </a:lnSpc>
              <a:spcBef>
                <a:spcPts val="0"/>
              </a:spcBef>
              <a:spcAft>
                <a:spcPts val="300"/>
              </a:spcAft>
              <a:buFont typeface="Arial" panose="020B0604020202020204" pitchFamily="34" charset="0"/>
              <a:buChar char="•"/>
              <a:defRPr lang="en-US" sz="1600" kern="1200" dirty="0">
                <a:solidFill>
                  <a:schemeClr val="tx1"/>
                </a:solidFill>
                <a:latin typeface="+mn-lt"/>
                <a:ea typeface="+mn-ea"/>
                <a:cs typeface="+mn-cs"/>
              </a:defRPr>
            </a:lvl4pPr>
            <a:lvl5pPr marL="813600" indent="-147600" algn="l" defTabSz="914400" rtl="0" eaLnBrk="1" latinLnBrk="0" hangingPunct="1">
              <a:lnSpc>
                <a:spcPct val="100000"/>
              </a:lnSpc>
              <a:spcBef>
                <a:spcPts val="0"/>
              </a:spcBef>
              <a:spcAft>
                <a:spcPts val="300"/>
              </a:spcAft>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fld id="{224F7FE8-FDF0-47E6-ACE8-93228F538089}" type="datetime'''''''''''''''''''4''''''''0''''''''''''''''''0'">
              <a:rPr kumimoji="0" lang="en-US" altLang="en-US" sz="1200" b="0" i="0" u="none" strike="noStrike" kern="1200" cap="none" spc="0" normalizeH="0" baseline="0" noProof="0" smtClean="0">
                <a:ln>
                  <a:noFill/>
                </a:ln>
                <a:solidFill>
                  <a:srgbClr val="FFFFFF"/>
                </a:solidFill>
                <a:effectLst/>
                <a:uLnTx/>
                <a:uFillTx/>
                <a:latin typeface="Arial"/>
                <a:ea typeface="+mn-ea"/>
                <a:cs typeface="Arial" panose="020B0604020202020204" pitchFamily="34" charset="0"/>
              </a:rPr>
              <a:pPr marL="0" marR="0" lvl="0" indent="0" algn="ctr"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t>400</a:t>
            </a:fld>
            <a:endParaRPr kumimoji="0" lang="en-US" sz="1200" b="0" i="0" u="none" strike="noStrike" kern="1200" cap="none" spc="0" normalizeH="0" baseline="0" noProof="0">
              <a:ln>
                <a:noFill/>
              </a:ln>
              <a:solidFill>
                <a:srgbClr val="FFFFFF"/>
              </a:solidFill>
              <a:effectLst/>
              <a:uLnTx/>
              <a:uFillTx/>
              <a:latin typeface="Arial"/>
              <a:ea typeface="+mn-ea"/>
              <a:cs typeface="Arial" panose="020B0604020202020204" pitchFamily="34" charset="0"/>
            </a:endParaRPr>
          </a:p>
        </p:txBody>
      </p:sp>
      <p:sp>
        <p:nvSpPr>
          <p:cNvPr id="70" name="Text Placeholder 4">
            <a:extLst>
              <a:ext uri="{FF2B5EF4-FFF2-40B4-BE49-F238E27FC236}">
                <a16:creationId xmlns:a16="http://schemas.microsoft.com/office/drawing/2014/main" id="{D0B926F6-1B8E-110F-5ACF-1BFA31AB1103}"/>
              </a:ext>
            </a:extLst>
          </p:cNvPr>
          <p:cNvSpPr>
            <a:spLocks noGrp="1"/>
          </p:cNvSpPr>
          <p:nvPr>
            <p:custDataLst>
              <p:tags r:id="rId26"/>
            </p:custDataLst>
          </p:nvPr>
        </p:nvSpPr>
        <p:spPr bwMode="auto">
          <a:xfrm>
            <a:off x="9053513" y="3827463"/>
            <a:ext cx="9715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30400" algn="l" defTabSz="914400" rtl="0" eaLnBrk="1" latinLnBrk="0" hangingPunct="1">
              <a:lnSpc>
                <a:spcPct val="100000"/>
              </a:lnSpc>
              <a:spcBef>
                <a:spcPts val="0"/>
              </a:spcBef>
              <a:spcAft>
                <a:spcPts val="300"/>
              </a:spcAft>
              <a:buSzPct val="110000"/>
              <a:buFont typeface="Wingdings" panose="05000000000000000000" pitchFamily="2" charset="2"/>
              <a:buChar char=""/>
              <a:defRPr lang="en-US" sz="1600" kern="1200" dirty="0">
                <a:solidFill>
                  <a:schemeClr val="tx1"/>
                </a:solidFill>
                <a:latin typeface="+mn-lt"/>
                <a:ea typeface="+mn-ea"/>
                <a:cs typeface="+mn-cs"/>
              </a:defRPr>
            </a:lvl2pPr>
            <a:lvl3pPr marL="439200" indent="-208800" algn="l" defTabSz="914400" rtl="0" eaLnBrk="1" latinLnBrk="0" hangingPunct="1">
              <a:lnSpc>
                <a:spcPct val="100000"/>
              </a:lnSpc>
              <a:spcBef>
                <a:spcPts val="0"/>
              </a:spcBef>
              <a:spcAft>
                <a:spcPts val="300"/>
              </a:spcAft>
              <a:buSzPct val="110000"/>
              <a:buFont typeface="Arial" panose="020B0604020202020204" pitchFamily="34" charset="0"/>
              <a:buChar char="‒"/>
              <a:defRPr lang="en-US" sz="1600" kern="1200" dirty="0">
                <a:solidFill>
                  <a:schemeClr val="tx1"/>
                </a:solidFill>
                <a:latin typeface="+mn-lt"/>
                <a:ea typeface="+mn-ea"/>
                <a:cs typeface="+mn-cs"/>
              </a:defRPr>
            </a:lvl3pPr>
            <a:lvl4pPr marL="604800" indent="-154800" algn="l" defTabSz="914400" rtl="0" eaLnBrk="1" latinLnBrk="0" hangingPunct="1">
              <a:lnSpc>
                <a:spcPct val="100000"/>
              </a:lnSpc>
              <a:spcBef>
                <a:spcPts val="0"/>
              </a:spcBef>
              <a:spcAft>
                <a:spcPts val="300"/>
              </a:spcAft>
              <a:buFont typeface="Arial" panose="020B0604020202020204" pitchFamily="34" charset="0"/>
              <a:buChar char="•"/>
              <a:defRPr lang="en-US" sz="1600" kern="1200" dirty="0">
                <a:solidFill>
                  <a:schemeClr val="tx1"/>
                </a:solidFill>
                <a:latin typeface="+mn-lt"/>
                <a:ea typeface="+mn-ea"/>
                <a:cs typeface="+mn-cs"/>
              </a:defRPr>
            </a:lvl4pPr>
            <a:lvl5pPr marL="813600" indent="-147600" algn="l" defTabSz="914400" rtl="0" eaLnBrk="1" latinLnBrk="0" hangingPunct="1">
              <a:lnSpc>
                <a:spcPct val="100000"/>
              </a:lnSpc>
              <a:spcBef>
                <a:spcPts val="0"/>
              </a:spcBef>
              <a:spcAft>
                <a:spcPts val="300"/>
              </a:spcAft>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fld id="{FD2D1533-1B46-4C49-82E0-AB940EEDD03E}" type="datetime'''''O''''wn''''''''e''''r''''''’''''s co''''''''st''s'''''''">
              <a:rPr kumimoji="0" lang="en-US" altLang="en-US" sz="12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ctr"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t>Owner’s costs</a:t>
            </a:fld>
            <a:endParaRPr kumimoji="0" lang="en-US" sz="12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
        <p:nvSpPr>
          <p:cNvPr id="71" name="Text Placeholder 4">
            <a:extLst>
              <a:ext uri="{FF2B5EF4-FFF2-40B4-BE49-F238E27FC236}">
                <a16:creationId xmlns:a16="http://schemas.microsoft.com/office/drawing/2014/main" id="{CAECDE07-8134-04B2-8747-C1611C4BFB14}"/>
              </a:ext>
            </a:extLst>
          </p:cNvPr>
          <p:cNvSpPr>
            <a:spLocks noGrp="1"/>
          </p:cNvSpPr>
          <p:nvPr>
            <p:custDataLst>
              <p:tags r:id="rId27"/>
            </p:custDataLst>
          </p:nvPr>
        </p:nvSpPr>
        <p:spPr bwMode="auto">
          <a:xfrm>
            <a:off x="10526713" y="3827463"/>
            <a:ext cx="4445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30400" algn="l" defTabSz="914400" rtl="0" eaLnBrk="1" latinLnBrk="0" hangingPunct="1">
              <a:lnSpc>
                <a:spcPct val="100000"/>
              </a:lnSpc>
              <a:spcBef>
                <a:spcPts val="0"/>
              </a:spcBef>
              <a:spcAft>
                <a:spcPts val="300"/>
              </a:spcAft>
              <a:buSzPct val="110000"/>
              <a:buFont typeface="Wingdings" panose="05000000000000000000" pitchFamily="2" charset="2"/>
              <a:buChar char=""/>
              <a:defRPr lang="en-US" sz="1600" kern="1200" dirty="0">
                <a:solidFill>
                  <a:schemeClr val="tx1"/>
                </a:solidFill>
                <a:latin typeface="+mn-lt"/>
                <a:ea typeface="+mn-ea"/>
                <a:cs typeface="+mn-cs"/>
              </a:defRPr>
            </a:lvl2pPr>
            <a:lvl3pPr marL="439200" indent="-208800" algn="l" defTabSz="914400" rtl="0" eaLnBrk="1" latinLnBrk="0" hangingPunct="1">
              <a:lnSpc>
                <a:spcPct val="100000"/>
              </a:lnSpc>
              <a:spcBef>
                <a:spcPts val="0"/>
              </a:spcBef>
              <a:spcAft>
                <a:spcPts val="300"/>
              </a:spcAft>
              <a:buSzPct val="110000"/>
              <a:buFont typeface="Arial" panose="020B0604020202020204" pitchFamily="34" charset="0"/>
              <a:buChar char="‒"/>
              <a:defRPr lang="en-US" sz="1600" kern="1200" dirty="0">
                <a:solidFill>
                  <a:schemeClr val="tx1"/>
                </a:solidFill>
                <a:latin typeface="+mn-lt"/>
                <a:ea typeface="+mn-ea"/>
                <a:cs typeface="+mn-cs"/>
              </a:defRPr>
            </a:lvl3pPr>
            <a:lvl4pPr marL="604800" indent="-154800" algn="l" defTabSz="914400" rtl="0" eaLnBrk="1" latinLnBrk="0" hangingPunct="1">
              <a:lnSpc>
                <a:spcPct val="100000"/>
              </a:lnSpc>
              <a:spcBef>
                <a:spcPts val="0"/>
              </a:spcBef>
              <a:spcAft>
                <a:spcPts val="300"/>
              </a:spcAft>
              <a:buFont typeface="Arial" panose="020B0604020202020204" pitchFamily="34" charset="0"/>
              <a:buChar char="•"/>
              <a:defRPr lang="en-US" sz="1600" kern="1200" dirty="0">
                <a:solidFill>
                  <a:schemeClr val="tx1"/>
                </a:solidFill>
                <a:latin typeface="+mn-lt"/>
                <a:ea typeface="+mn-ea"/>
                <a:cs typeface="+mn-cs"/>
              </a:defRPr>
            </a:lvl4pPr>
            <a:lvl5pPr marL="813600" indent="-147600" algn="l" defTabSz="914400" rtl="0" eaLnBrk="1" latinLnBrk="0" hangingPunct="1">
              <a:lnSpc>
                <a:spcPct val="100000"/>
              </a:lnSpc>
              <a:spcBef>
                <a:spcPts val="0"/>
              </a:spcBef>
              <a:spcAft>
                <a:spcPts val="300"/>
              </a:spcAft>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fld id="{CEBCD4D7-B0CF-40F7-99A0-C7AE0858759C}" type="datetime'''''''''''''''''N''''O''''''''''''''''''''''''''A''K'''''''">
              <a:rPr kumimoji="0" lang="en-US" altLang="en-US" sz="12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ctr"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t>NOAK</a:t>
            </a:fld>
            <a:endParaRPr kumimoji="0" lang="en-US" sz="12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
        <p:nvSpPr>
          <p:cNvPr id="72" name="Text Placeholder 4">
            <a:extLst>
              <a:ext uri="{FF2B5EF4-FFF2-40B4-BE49-F238E27FC236}">
                <a16:creationId xmlns:a16="http://schemas.microsoft.com/office/drawing/2014/main" id="{F657393B-B80D-B309-BB43-CF43457D46E3}"/>
              </a:ext>
            </a:extLst>
          </p:cNvPr>
          <p:cNvSpPr>
            <a:spLocks noGrp="1"/>
          </p:cNvSpPr>
          <p:nvPr>
            <p:custDataLst>
              <p:tags r:id="rId28"/>
            </p:custDataLst>
          </p:nvPr>
        </p:nvSpPr>
        <p:spPr bwMode="gray">
          <a:xfrm>
            <a:off x="776288" y="1535113"/>
            <a:ext cx="5969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numCol="1" spcCol="0" rtlCol="0" anchor="b"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30400" algn="l" defTabSz="914400" rtl="0" eaLnBrk="1" latinLnBrk="0" hangingPunct="1">
              <a:lnSpc>
                <a:spcPct val="100000"/>
              </a:lnSpc>
              <a:spcBef>
                <a:spcPts val="0"/>
              </a:spcBef>
              <a:spcAft>
                <a:spcPts val="300"/>
              </a:spcAft>
              <a:buSzPct val="110000"/>
              <a:buFont typeface="Wingdings" panose="05000000000000000000" pitchFamily="2" charset="2"/>
              <a:buChar char=""/>
              <a:defRPr lang="en-US" sz="1600" kern="1200" dirty="0">
                <a:solidFill>
                  <a:schemeClr val="tx1"/>
                </a:solidFill>
                <a:latin typeface="+mn-lt"/>
                <a:ea typeface="+mn-ea"/>
                <a:cs typeface="+mn-cs"/>
              </a:defRPr>
            </a:lvl2pPr>
            <a:lvl3pPr marL="439200" indent="-208800" algn="l" defTabSz="914400" rtl="0" eaLnBrk="1" latinLnBrk="0" hangingPunct="1">
              <a:lnSpc>
                <a:spcPct val="100000"/>
              </a:lnSpc>
              <a:spcBef>
                <a:spcPts val="0"/>
              </a:spcBef>
              <a:spcAft>
                <a:spcPts val="300"/>
              </a:spcAft>
              <a:buSzPct val="110000"/>
              <a:buFont typeface="Arial" panose="020B0604020202020204" pitchFamily="34" charset="0"/>
              <a:buChar char="‒"/>
              <a:defRPr lang="en-US" sz="1600" kern="1200" dirty="0">
                <a:solidFill>
                  <a:schemeClr val="tx1"/>
                </a:solidFill>
                <a:latin typeface="+mn-lt"/>
                <a:ea typeface="+mn-ea"/>
                <a:cs typeface="+mn-cs"/>
              </a:defRPr>
            </a:lvl3pPr>
            <a:lvl4pPr marL="604800" indent="-154800" algn="l" defTabSz="914400" rtl="0" eaLnBrk="1" latinLnBrk="0" hangingPunct="1">
              <a:lnSpc>
                <a:spcPct val="100000"/>
              </a:lnSpc>
              <a:spcBef>
                <a:spcPts val="0"/>
              </a:spcBef>
              <a:spcAft>
                <a:spcPts val="300"/>
              </a:spcAft>
              <a:buFont typeface="Arial" panose="020B0604020202020204" pitchFamily="34" charset="0"/>
              <a:buChar char="•"/>
              <a:defRPr lang="en-US" sz="1600" kern="1200" dirty="0">
                <a:solidFill>
                  <a:schemeClr val="tx1"/>
                </a:solidFill>
                <a:latin typeface="+mn-lt"/>
                <a:ea typeface="+mn-ea"/>
                <a:cs typeface="+mn-cs"/>
              </a:defRPr>
            </a:lvl4pPr>
            <a:lvl5pPr marL="813600" indent="-147600" algn="l" defTabSz="914400" rtl="0" eaLnBrk="1" latinLnBrk="0" hangingPunct="1">
              <a:lnSpc>
                <a:spcPct val="100000"/>
              </a:lnSpc>
              <a:spcBef>
                <a:spcPts val="0"/>
              </a:spcBef>
              <a:spcAft>
                <a:spcPts val="300"/>
              </a:spcAft>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r>
              <a:rPr kumimoji="0" lang="en-US" altLang="en-US" sz="12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10,000</a:t>
            </a:r>
            <a:endParaRPr kumimoji="0" lang="en-US" sz="12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
        <p:nvSpPr>
          <p:cNvPr id="73" name="Text Placeholder 4">
            <a:extLst>
              <a:ext uri="{FF2B5EF4-FFF2-40B4-BE49-F238E27FC236}">
                <a16:creationId xmlns:a16="http://schemas.microsoft.com/office/drawing/2014/main" id="{A95D1A29-9F75-D872-C9FF-028969436081}"/>
              </a:ext>
            </a:extLst>
          </p:cNvPr>
          <p:cNvSpPr>
            <a:spLocks noGrp="1"/>
          </p:cNvSpPr>
          <p:nvPr>
            <p:custDataLst>
              <p:tags r:id="rId29"/>
            </p:custDataLst>
          </p:nvPr>
        </p:nvSpPr>
        <p:spPr bwMode="gray">
          <a:xfrm>
            <a:off x="3238500" y="2308225"/>
            <a:ext cx="5127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numCol="1" spcCol="0" rtlCol="0" anchor="b"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30400" algn="l" defTabSz="914400" rtl="0" eaLnBrk="1" latinLnBrk="0" hangingPunct="1">
              <a:lnSpc>
                <a:spcPct val="100000"/>
              </a:lnSpc>
              <a:spcBef>
                <a:spcPts val="0"/>
              </a:spcBef>
              <a:spcAft>
                <a:spcPts val="300"/>
              </a:spcAft>
              <a:buSzPct val="110000"/>
              <a:buFont typeface="Wingdings" panose="05000000000000000000" pitchFamily="2" charset="2"/>
              <a:buChar char=""/>
              <a:defRPr lang="en-US" sz="1600" kern="1200" dirty="0">
                <a:solidFill>
                  <a:schemeClr val="tx1"/>
                </a:solidFill>
                <a:latin typeface="+mn-lt"/>
                <a:ea typeface="+mn-ea"/>
                <a:cs typeface="+mn-cs"/>
              </a:defRPr>
            </a:lvl2pPr>
            <a:lvl3pPr marL="439200" indent="-208800" algn="l" defTabSz="914400" rtl="0" eaLnBrk="1" latinLnBrk="0" hangingPunct="1">
              <a:lnSpc>
                <a:spcPct val="100000"/>
              </a:lnSpc>
              <a:spcBef>
                <a:spcPts val="0"/>
              </a:spcBef>
              <a:spcAft>
                <a:spcPts val="300"/>
              </a:spcAft>
              <a:buSzPct val="110000"/>
              <a:buFont typeface="Arial" panose="020B0604020202020204" pitchFamily="34" charset="0"/>
              <a:buChar char="‒"/>
              <a:defRPr lang="en-US" sz="1600" kern="1200" dirty="0">
                <a:solidFill>
                  <a:schemeClr val="tx1"/>
                </a:solidFill>
                <a:latin typeface="+mn-lt"/>
                <a:ea typeface="+mn-ea"/>
                <a:cs typeface="+mn-cs"/>
              </a:defRPr>
            </a:lvl3pPr>
            <a:lvl4pPr marL="604800" indent="-154800" algn="l" defTabSz="914400" rtl="0" eaLnBrk="1" latinLnBrk="0" hangingPunct="1">
              <a:lnSpc>
                <a:spcPct val="100000"/>
              </a:lnSpc>
              <a:spcBef>
                <a:spcPts val="0"/>
              </a:spcBef>
              <a:spcAft>
                <a:spcPts val="300"/>
              </a:spcAft>
              <a:buFont typeface="Arial" panose="020B0604020202020204" pitchFamily="34" charset="0"/>
              <a:buChar char="•"/>
              <a:defRPr lang="en-US" sz="1600" kern="1200" dirty="0">
                <a:solidFill>
                  <a:schemeClr val="tx1"/>
                </a:solidFill>
                <a:latin typeface="+mn-lt"/>
                <a:ea typeface="+mn-ea"/>
                <a:cs typeface="+mn-cs"/>
              </a:defRPr>
            </a:lvl4pPr>
            <a:lvl5pPr marL="813600" indent="-147600" algn="l" defTabSz="914400" rtl="0" eaLnBrk="1" latinLnBrk="0" hangingPunct="1">
              <a:lnSpc>
                <a:spcPct val="100000"/>
              </a:lnSpc>
              <a:spcBef>
                <a:spcPts val="0"/>
              </a:spcBef>
              <a:spcAft>
                <a:spcPts val="300"/>
              </a:spcAft>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r>
              <a:rPr kumimoji="0" lang="en-US" altLang="en-US" sz="12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a:t>
            </a:r>
            <a:fld id="{383EE6BD-0B27-42E4-8CF0-C5965662B03D}" type="datetime'''''''''''6'''''''',''''''''''''''''2''''0''''''''0'''''''">
              <a:rPr kumimoji="0" lang="en-US" altLang="en-US" sz="12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ctr"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t>6,200</a:t>
            </a:fld>
            <a:endParaRPr kumimoji="0" lang="en-US" sz="12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
        <p:nvSpPr>
          <p:cNvPr id="74" name="Text Placeholder 4">
            <a:extLst>
              <a:ext uri="{FF2B5EF4-FFF2-40B4-BE49-F238E27FC236}">
                <a16:creationId xmlns:a16="http://schemas.microsoft.com/office/drawing/2014/main" id="{DEF9E24F-7117-49DD-FEE8-BD928966A6AC}"/>
              </a:ext>
            </a:extLst>
          </p:cNvPr>
          <p:cNvSpPr>
            <a:spLocks noGrp="1"/>
          </p:cNvSpPr>
          <p:nvPr>
            <p:custDataLst>
              <p:tags r:id="rId30"/>
            </p:custDataLst>
          </p:nvPr>
        </p:nvSpPr>
        <p:spPr bwMode="gray">
          <a:xfrm>
            <a:off x="10493375" y="2846388"/>
            <a:ext cx="5127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numCol="1" spcCol="0" rtlCol="0" anchor="b"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30400" algn="l" defTabSz="914400" rtl="0" eaLnBrk="1" latinLnBrk="0" hangingPunct="1">
              <a:lnSpc>
                <a:spcPct val="100000"/>
              </a:lnSpc>
              <a:spcBef>
                <a:spcPts val="0"/>
              </a:spcBef>
              <a:spcAft>
                <a:spcPts val="300"/>
              </a:spcAft>
              <a:buSzPct val="110000"/>
              <a:buFont typeface="Wingdings" panose="05000000000000000000" pitchFamily="2" charset="2"/>
              <a:buChar char=""/>
              <a:defRPr lang="en-US" sz="1600" kern="1200" dirty="0">
                <a:solidFill>
                  <a:schemeClr val="tx1"/>
                </a:solidFill>
                <a:latin typeface="+mn-lt"/>
                <a:ea typeface="+mn-ea"/>
                <a:cs typeface="+mn-cs"/>
              </a:defRPr>
            </a:lvl2pPr>
            <a:lvl3pPr marL="439200" indent="-208800" algn="l" defTabSz="914400" rtl="0" eaLnBrk="1" latinLnBrk="0" hangingPunct="1">
              <a:lnSpc>
                <a:spcPct val="100000"/>
              </a:lnSpc>
              <a:spcBef>
                <a:spcPts val="0"/>
              </a:spcBef>
              <a:spcAft>
                <a:spcPts val="300"/>
              </a:spcAft>
              <a:buSzPct val="110000"/>
              <a:buFont typeface="Arial" panose="020B0604020202020204" pitchFamily="34" charset="0"/>
              <a:buChar char="‒"/>
              <a:defRPr lang="en-US" sz="1600" kern="1200" dirty="0">
                <a:solidFill>
                  <a:schemeClr val="tx1"/>
                </a:solidFill>
                <a:latin typeface="+mn-lt"/>
                <a:ea typeface="+mn-ea"/>
                <a:cs typeface="+mn-cs"/>
              </a:defRPr>
            </a:lvl3pPr>
            <a:lvl4pPr marL="604800" indent="-154800" algn="l" defTabSz="914400" rtl="0" eaLnBrk="1" latinLnBrk="0" hangingPunct="1">
              <a:lnSpc>
                <a:spcPct val="100000"/>
              </a:lnSpc>
              <a:spcBef>
                <a:spcPts val="0"/>
              </a:spcBef>
              <a:spcAft>
                <a:spcPts val="300"/>
              </a:spcAft>
              <a:buFont typeface="Arial" panose="020B0604020202020204" pitchFamily="34" charset="0"/>
              <a:buChar char="•"/>
              <a:defRPr lang="en-US" sz="1600" kern="1200" dirty="0">
                <a:solidFill>
                  <a:schemeClr val="tx1"/>
                </a:solidFill>
                <a:latin typeface="+mn-lt"/>
                <a:ea typeface="+mn-ea"/>
                <a:cs typeface="+mn-cs"/>
              </a:defRPr>
            </a:lvl4pPr>
            <a:lvl5pPr marL="813600" indent="-147600" algn="l" defTabSz="914400" rtl="0" eaLnBrk="1" latinLnBrk="0" hangingPunct="1">
              <a:lnSpc>
                <a:spcPct val="100000"/>
              </a:lnSpc>
              <a:spcBef>
                <a:spcPts val="0"/>
              </a:spcBef>
              <a:spcAft>
                <a:spcPts val="300"/>
              </a:spcAft>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r>
              <a:rPr kumimoji="0" lang="en-US" altLang="en-US" sz="12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3,600</a:t>
            </a:r>
            <a:endParaRPr kumimoji="0" lang="en-US" sz="12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grpSp>
        <p:nvGrpSpPr>
          <p:cNvPr id="75" name="Group 74">
            <a:extLst>
              <a:ext uri="{FF2B5EF4-FFF2-40B4-BE49-F238E27FC236}">
                <a16:creationId xmlns:a16="http://schemas.microsoft.com/office/drawing/2014/main" id="{3168AD7D-8E1F-A9EA-72FC-5E55B12BF904}"/>
              </a:ext>
            </a:extLst>
          </p:cNvPr>
          <p:cNvGrpSpPr/>
          <p:nvPr/>
        </p:nvGrpSpPr>
        <p:grpSpPr>
          <a:xfrm>
            <a:off x="1751013" y="5374131"/>
            <a:ext cx="1076328" cy="962746"/>
            <a:chOff x="7163016" y="5123235"/>
            <a:chExt cx="1843137" cy="533599"/>
          </a:xfrm>
        </p:grpSpPr>
        <p:sp>
          <p:nvSpPr>
            <p:cNvPr id="76" name="Rectangle: Rounded Corners 75">
              <a:extLst>
                <a:ext uri="{FF2B5EF4-FFF2-40B4-BE49-F238E27FC236}">
                  <a16:creationId xmlns:a16="http://schemas.microsoft.com/office/drawing/2014/main" id="{F8917A34-054A-DB8D-4E1C-B8B04D89F9BD}"/>
                </a:ext>
              </a:extLst>
            </p:cNvPr>
            <p:cNvSpPr/>
            <p:nvPr/>
          </p:nvSpPr>
          <p:spPr>
            <a:xfrm>
              <a:off x="7163016" y="5123235"/>
              <a:ext cx="1803450" cy="533599"/>
            </a:xfrm>
            <a:prstGeom prst="round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100" b="0" i="0" u="none" strike="noStrike" kern="1200" cap="none" spc="0" normalizeH="0" baseline="0" noProof="0" err="1">
                <a:ln>
                  <a:noFill/>
                </a:ln>
                <a:solidFill>
                  <a:srgbClr val="FFFFFF"/>
                </a:solidFill>
                <a:effectLst/>
                <a:uLnTx/>
                <a:uFillTx/>
                <a:latin typeface="Arial"/>
                <a:ea typeface="+mn-ea"/>
                <a:cs typeface="+mn-cs"/>
              </a:endParaRPr>
            </a:p>
          </p:txBody>
        </p:sp>
        <p:pic>
          <p:nvPicPr>
            <p:cNvPr id="77" name="Graphic 76">
              <a:extLst>
                <a:ext uri="{FF2B5EF4-FFF2-40B4-BE49-F238E27FC236}">
                  <a16:creationId xmlns:a16="http://schemas.microsoft.com/office/drawing/2014/main" id="{B7378F8C-513E-F00A-46B7-CC902BFE3069}"/>
                </a:ext>
              </a:extLst>
            </p:cNvPr>
            <p:cNvPicPr>
              <a:picLocks noChangeAspect="1"/>
            </p:cNvPicPr>
            <p:nvPr/>
          </p:nvPicPr>
          <p:blipFill>
            <a:blip r:embed="rId40" cstate="print">
              <a:extLst>
                <a:ext uri="{28A0092B-C50C-407E-A947-70E740481C1C}">
                  <a14:useLocalDpi xmlns:a14="http://schemas.microsoft.com/office/drawing/2010/main" val="0"/>
                </a:ext>
                <a:ext uri="{96DAC541-7B7A-43D3-8B79-37D633B846F1}">
                  <asvg:svgBlip xmlns:asvg="http://schemas.microsoft.com/office/drawing/2016/SVG/main" r:embed="rId41"/>
                </a:ext>
              </a:extLst>
            </a:blip>
            <a:stretch>
              <a:fillRect/>
            </a:stretch>
          </p:blipFill>
          <p:spPr>
            <a:xfrm>
              <a:off x="7203906" y="5242566"/>
              <a:ext cx="163977" cy="163977"/>
            </a:xfrm>
            <a:prstGeom prst="rect">
              <a:avLst/>
            </a:prstGeom>
          </p:spPr>
        </p:pic>
        <p:sp>
          <p:nvSpPr>
            <p:cNvPr id="78" name="TextBox 77">
              <a:extLst>
                <a:ext uri="{FF2B5EF4-FFF2-40B4-BE49-F238E27FC236}">
                  <a16:creationId xmlns:a16="http://schemas.microsoft.com/office/drawing/2014/main" id="{A8F58F3D-5D17-B959-2813-835964D8F33C}"/>
                </a:ext>
              </a:extLst>
            </p:cNvPr>
            <p:cNvSpPr txBox="1"/>
            <p:nvPr/>
          </p:nvSpPr>
          <p:spPr>
            <a:xfrm>
              <a:off x="7269995" y="5221478"/>
              <a:ext cx="1736158" cy="375285"/>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228600" lvl="1" indent="-230400">
                <a:lnSpc>
                  <a:spcPct val="100000"/>
                </a:lnSpc>
                <a:spcBef>
                  <a:spcPts val="0"/>
                </a:spcBef>
                <a:spcAft>
                  <a:spcPts val="300"/>
                </a:spcAft>
                <a:buSzPct val="110000"/>
                <a:buFont typeface="Wingdings" panose="05000000000000000000" pitchFamily="2" charset="2"/>
                <a:buChar char=""/>
                <a:defRPr lang="en-US" sz="1600" dirty="0"/>
              </a:lvl2pPr>
              <a:lvl3pPr marL="439200" lvl="2" indent="-208800">
                <a:lnSpc>
                  <a:spcPct val="100000"/>
                </a:lnSpc>
                <a:spcBef>
                  <a:spcPts val="0"/>
                </a:spcBef>
                <a:spcAft>
                  <a:spcPts val="300"/>
                </a:spcAft>
                <a:buSzPct val="110000"/>
                <a:buFont typeface="Arial" panose="020B0604020202020204" pitchFamily="34" charset="0"/>
                <a:buChar char="‒"/>
                <a:defRPr lang="en-US" sz="1600" dirty="0"/>
              </a:lvl3pPr>
              <a:lvl4pPr marL="604800" lvl="3" indent="-154800">
                <a:lnSpc>
                  <a:spcPct val="100000"/>
                </a:lnSpc>
                <a:spcBef>
                  <a:spcPts val="0"/>
                </a:spcBef>
                <a:spcAft>
                  <a:spcPts val="300"/>
                </a:spcAft>
                <a:buFont typeface="Arial" panose="020B0604020202020204" pitchFamily="34" charset="0"/>
                <a:buChar char="•"/>
                <a:defRPr lang="en-US" sz="1600" dirty="0"/>
              </a:lvl4pPr>
              <a:lvl5pPr marL="813600" lvl="4" indent="-147600">
                <a:lnSpc>
                  <a:spcPct val="100000"/>
                </a:lnSpc>
                <a:spcBef>
                  <a:spcPts val="0"/>
                </a:spcBef>
                <a:spcAft>
                  <a:spcPts val="300"/>
                </a:spcAft>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100" b="1" i="0" u="none" strike="noStrike" kern="1200" cap="none" spc="0" normalizeH="0" baseline="0" noProof="0">
                  <a:ln>
                    <a:noFill/>
                  </a:ln>
                  <a:solidFill>
                    <a:srgbClr val="FFFFFF"/>
                  </a:solidFill>
                  <a:effectLst/>
                  <a:uLnTx/>
                  <a:uFillTx/>
                  <a:latin typeface="Arial"/>
                  <a:ea typeface="+mn-ea"/>
                  <a:cs typeface="Arial" panose="020B0604020202020204" pitchFamily="34" charset="0"/>
                </a:rPr>
                <a:t>Best practice project delivery, esp. pre-planning</a:t>
              </a:r>
            </a:p>
          </p:txBody>
        </p:sp>
      </p:grpSp>
      <p:cxnSp>
        <p:nvCxnSpPr>
          <p:cNvPr id="79" name="LineBasicDefault 58">
            <a:extLst>
              <a:ext uri="{FF2B5EF4-FFF2-40B4-BE49-F238E27FC236}">
                <a16:creationId xmlns:a16="http://schemas.microsoft.com/office/drawing/2014/main" id="{79D17FA2-1855-4F09-714E-34609181DD7D}"/>
              </a:ext>
            </a:extLst>
          </p:cNvPr>
          <p:cNvCxnSpPr>
            <a:cxnSpLocks/>
          </p:cNvCxnSpPr>
          <p:nvPr>
            <p:custDataLst>
              <p:tags r:id="rId31"/>
            </p:custDataLst>
          </p:nvPr>
        </p:nvCxnSpPr>
        <p:spPr>
          <a:xfrm flipV="1">
            <a:off x="1673924" y="1447800"/>
            <a:ext cx="0" cy="5129099"/>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80" name="LineBasicDefault 58">
            <a:extLst>
              <a:ext uri="{FF2B5EF4-FFF2-40B4-BE49-F238E27FC236}">
                <a16:creationId xmlns:a16="http://schemas.microsoft.com/office/drawing/2014/main" id="{54627121-E12E-E66E-C65F-2B1E27E05E49}"/>
              </a:ext>
            </a:extLst>
          </p:cNvPr>
          <p:cNvCxnSpPr>
            <a:cxnSpLocks/>
          </p:cNvCxnSpPr>
          <p:nvPr>
            <p:custDataLst>
              <p:tags r:id="rId32"/>
            </p:custDataLst>
          </p:nvPr>
        </p:nvCxnSpPr>
        <p:spPr>
          <a:xfrm flipV="1">
            <a:off x="2899474" y="1447800"/>
            <a:ext cx="0" cy="5129099"/>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81" name="LineBasicDefault 58">
            <a:extLst>
              <a:ext uri="{FF2B5EF4-FFF2-40B4-BE49-F238E27FC236}">
                <a16:creationId xmlns:a16="http://schemas.microsoft.com/office/drawing/2014/main" id="{14F663A7-BBD8-13DB-D6C3-0E51A8C5FCED}"/>
              </a:ext>
            </a:extLst>
          </p:cNvPr>
          <p:cNvCxnSpPr>
            <a:cxnSpLocks/>
          </p:cNvCxnSpPr>
          <p:nvPr>
            <p:custDataLst>
              <p:tags r:id="rId33"/>
            </p:custDataLst>
          </p:nvPr>
        </p:nvCxnSpPr>
        <p:spPr>
          <a:xfrm flipV="1">
            <a:off x="4123435" y="1447800"/>
            <a:ext cx="0" cy="5129099"/>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82" name="LineBasicDefault 58">
            <a:extLst>
              <a:ext uri="{FF2B5EF4-FFF2-40B4-BE49-F238E27FC236}">
                <a16:creationId xmlns:a16="http://schemas.microsoft.com/office/drawing/2014/main" id="{834A4CF4-D00A-67FA-3713-4BFE9D029192}"/>
              </a:ext>
            </a:extLst>
          </p:cNvPr>
          <p:cNvCxnSpPr>
            <a:cxnSpLocks/>
          </p:cNvCxnSpPr>
          <p:nvPr>
            <p:custDataLst>
              <p:tags r:id="rId34"/>
            </p:custDataLst>
          </p:nvPr>
        </p:nvCxnSpPr>
        <p:spPr>
          <a:xfrm flipV="1">
            <a:off x="6542196" y="1447800"/>
            <a:ext cx="0" cy="5129099"/>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83" name="LineBasicDefault 58">
            <a:extLst>
              <a:ext uri="{FF2B5EF4-FFF2-40B4-BE49-F238E27FC236}">
                <a16:creationId xmlns:a16="http://schemas.microsoft.com/office/drawing/2014/main" id="{1167B408-2406-A4D0-2C18-698DC1FBFF7A}"/>
              </a:ext>
            </a:extLst>
          </p:cNvPr>
          <p:cNvCxnSpPr>
            <a:cxnSpLocks/>
          </p:cNvCxnSpPr>
          <p:nvPr>
            <p:custDataLst>
              <p:tags r:id="rId35"/>
            </p:custDataLst>
          </p:nvPr>
        </p:nvCxnSpPr>
        <p:spPr>
          <a:xfrm flipV="1">
            <a:off x="8968690" y="1447800"/>
            <a:ext cx="0" cy="5129099"/>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0839053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71DE96E-CE74-75B4-BC9E-5130DEE61620}"/>
              </a:ext>
            </a:extLst>
          </p:cNvPr>
          <p:cNvSpPr>
            <a:spLocks noGrp="1"/>
          </p:cNvSpPr>
          <p:nvPr>
            <p:ph type="title"/>
          </p:nvPr>
        </p:nvSpPr>
        <p:spPr/>
        <p:txBody>
          <a:bodyPr/>
          <a:lstStyle/>
          <a:p>
            <a:r>
              <a:rPr lang="en-US" sz="2400"/>
              <a:t>Catalyzing the orderbook may require interventions to help manage completion risk</a:t>
            </a:r>
            <a:endParaRPr lang="en-US"/>
          </a:p>
        </p:txBody>
      </p:sp>
      <p:sp>
        <p:nvSpPr>
          <p:cNvPr id="4" name="TextBox 3">
            <a:extLst>
              <a:ext uri="{FF2B5EF4-FFF2-40B4-BE49-F238E27FC236}">
                <a16:creationId xmlns:a16="http://schemas.microsoft.com/office/drawing/2014/main" id="{EEE9DE6B-6D7B-457C-DFFC-805CE4D4138B}"/>
              </a:ext>
            </a:extLst>
          </p:cNvPr>
          <p:cNvSpPr txBox="1"/>
          <p:nvPr/>
        </p:nvSpPr>
        <p:spPr>
          <a:xfrm>
            <a:off x="554735" y="2234399"/>
            <a:ext cx="4261105" cy="3939540"/>
          </a:xfrm>
          <a:prstGeom prst="rect">
            <a:avLst/>
          </a:prstGeom>
          <a:noFill/>
          <a:ln w="6350">
            <a:noFill/>
            <a:miter lim="800000"/>
          </a:ln>
        </p:spPr>
        <p:txBody>
          <a:bodyPr wrap="square" lIns="91440" tIns="0" rIns="9144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Arial"/>
                <a:ea typeface="Times New Roman" panose="02020603050405020304" pitchFamily="18" charset="0"/>
                <a:cs typeface="Times New Roman" panose="02020603050405020304" pitchFamily="18" charset="0"/>
              </a:rPr>
              <a:t>The nuclear industry is stuck in a stalemate where utilities and other </a:t>
            </a:r>
            <a:r>
              <a:rPr kumimoji="0" lang="en-US" sz="1600" b="0" i="0" u="none" strike="noStrike" kern="1200" cap="none" spc="0" normalizeH="0" baseline="0" noProof="0">
                <a:ln>
                  <a:noFill/>
                </a:ln>
                <a:solidFill>
                  <a:srgbClr val="000000"/>
                </a:solidFill>
                <a:effectLst/>
                <a:uLnTx/>
                <a:uFillTx/>
                <a:latin typeface="Arial"/>
                <a:ea typeface="+mn-ea"/>
                <a:cs typeface="+mn-cs"/>
              </a:rPr>
              <a:t>potential owners recognize an increasing need for nuclear power, but are </a:t>
            </a:r>
            <a:r>
              <a:rPr kumimoji="0" lang="en-US" sz="1600" b="1" i="0" u="none" strike="noStrike" kern="1200" cap="none" spc="0" normalizeH="0" baseline="0" noProof="0">
                <a:ln>
                  <a:noFill/>
                </a:ln>
                <a:solidFill>
                  <a:srgbClr val="000000"/>
                </a:solidFill>
                <a:effectLst/>
                <a:uLnTx/>
                <a:uFillTx/>
                <a:latin typeface="Arial"/>
                <a:ea typeface="+mn-ea"/>
                <a:cs typeface="+mn-cs"/>
              </a:rPr>
              <a:t>too afraid of uncontrolled overrun and project abandonment </a:t>
            </a:r>
            <a:r>
              <a:rPr kumimoji="0" lang="en-US" sz="1600" b="0" i="0" u="none" strike="noStrike" kern="1200" cap="none" spc="0" normalizeH="0" baseline="0" noProof="0">
                <a:ln>
                  <a:noFill/>
                </a:ln>
                <a:solidFill>
                  <a:srgbClr val="000000"/>
                </a:solidFill>
                <a:effectLst/>
                <a:uLnTx/>
                <a:uFillTx/>
                <a:latin typeface="Arial"/>
                <a:ea typeface="+mn-ea"/>
                <a:cs typeface="+mn-cs"/>
              </a:rPr>
              <a:t>risk to place committed order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Arial"/>
                <a:ea typeface="Times New Roman" panose="02020603050405020304" pitchFamily="18" charset="0"/>
                <a:cs typeface="Times New Roman" panose="02020603050405020304" pitchFamily="18" charset="0"/>
              </a:rPr>
              <a:t>Developing a committed orderbook could be facilitated by </a:t>
            </a:r>
            <a:r>
              <a:rPr kumimoji="0" lang="en-US" sz="1600" b="1" i="0" u="none" strike="noStrike" kern="1200" cap="none" spc="0" normalizeH="0" baseline="0" noProof="0">
                <a:ln>
                  <a:noFill/>
                </a:ln>
                <a:solidFill>
                  <a:srgbClr val="000000"/>
                </a:solidFill>
                <a:effectLst/>
                <a:uLnTx/>
                <a:uFillTx/>
                <a:latin typeface="Arial"/>
                <a:ea typeface="Times New Roman" panose="02020603050405020304" pitchFamily="18" charset="0"/>
                <a:cs typeface="Times New Roman" panose="02020603050405020304" pitchFamily="18" charset="0"/>
              </a:rPr>
              <a:t>pooling demand, e.g., with a consortium of utilitie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Times New Roman" panose="02020603050405020304" pitchFamily="18" charset="0"/>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Arial"/>
                <a:ea typeface="Times New Roman" panose="02020603050405020304" pitchFamily="18" charset="0"/>
                <a:cs typeface="Times New Roman" panose="02020603050405020304" pitchFamily="18" charset="0"/>
              </a:rPr>
              <a:t>Participation in such a model could be </a:t>
            </a:r>
            <a:r>
              <a:rPr kumimoji="0" lang="en-US" sz="1600" b="1" i="0" u="none" strike="noStrike" kern="1200" cap="none" spc="0" normalizeH="0" baseline="0" noProof="0">
                <a:ln>
                  <a:noFill/>
                </a:ln>
                <a:solidFill>
                  <a:srgbClr val="000000"/>
                </a:solidFill>
                <a:effectLst/>
                <a:uLnTx/>
                <a:uFillTx/>
                <a:latin typeface="Arial"/>
                <a:ea typeface="Times New Roman" panose="02020603050405020304" pitchFamily="18" charset="0"/>
                <a:cs typeface="Times New Roman" panose="02020603050405020304" pitchFamily="18" charset="0"/>
              </a:rPr>
              <a:t>accelerated with financial support </a:t>
            </a:r>
            <a:r>
              <a:rPr kumimoji="0" lang="en-US" sz="1600" b="0" i="0" u="none" strike="noStrike" kern="1200" cap="none" spc="0" normalizeH="0" baseline="0" noProof="0">
                <a:ln>
                  <a:noFill/>
                </a:ln>
                <a:solidFill>
                  <a:srgbClr val="000000"/>
                </a:solidFill>
                <a:effectLst/>
                <a:uLnTx/>
                <a:uFillTx/>
                <a:latin typeface="Arial"/>
                <a:ea typeface="Times New Roman" panose="02020603050405020304" pitchFamily="18" charset="0"/>
                <a:cs typeface="Times New Roman" panose="02020603050405020304" pitchFamily="18" charset="0"/>
              </a:rPr>
              <a:t>(either public or private) to help de-risk the first 5-10 projects</a:t>
            </a:r>
            <a:endParaRPr kumimoji="0" lang="en-US" sz="1600" b="0" i="0" u="none" strike="noStrike" kern="1200" cap="none" spc="0" normalizeH="0" baseline="0" noProof="0">
              <a:ln>
                <a:noFill/>
              </a:ln>
              <a:solidFill>
                <a:srgbClr val="000000"/>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5" name="TextBox 4">
            <a:extLst>
              <a:ext uri="{FF2B5EF4-FFF2-40B4-BE49-F238E27FC236}">
                <a16:creationId xmlns:a16="http://schemas.microsoft.com/office/drawing/2014/main" id="{FB2C8E03-51BE-6779-360E-41C4B18E52A0}"/>
              </a:ext>
            </a:extLst>
          </p:cNvPr>
          <p:cNvSpPr txBox="1"/>
          <p:nvPr>
            <p:custDataLst>
              <p:tags r:id="rId1"/>
            </p:custDataLst>
          </p:nvPr>
        </p:nvSpPr>
        <p:spPr>
          <a:xfrm>
            <a:off x="5186216" y="2097477"/>
            <a:ext cx="1513069" cy="914400"/>
          </a:xfrm>
          <a:prstGeom prst="rect">
            <a:avLst/>
          </a:prstGeom>
        </p:spPr>
        <p:txBody>
          <a:bodyPr vert="horz" wrap="square" lIns="0" tIns="0" rIns="0" bIns="0" rtlCol="0" anchor="ctr">
            <a:no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228600" lvl="1" indent="-230400">
              <a:lnSpc>
                <a:spcPct val="100000"/>
              </a:lnSpc>
              <a:spcBef>
                <a:spcPts val="0"/>
              </a:spcBef>
              <a:spcAft>
                <a:spcPts val="300"/>
              </a:spcAft>
              <a:buSzPct val="110000"/>
              <a:buFont typeface="Wingdings" panose="05000000000000000000" pitchFamily="2" charset="2"/>
              <a:buChar char=""/>
              <a:defRPr lang="en-US" sz="1600" dirty="0"/>
            </a:lvl2pPr>
            <a:lvl3pPr marL="439200" lvl="2" indent="-208800">
              <a:lnSpc>
                <a:spcPct val="100000"/>
              </a:lnSpc>
              <a:spcBef>
                <a:spcPts val="0"/>
              </a:spcBef>
              <a:spcAft>
                <a:spcPts val="300"/>
              </a:spcAft>
              <a:buSzPct val="110000"/>
              <a:buFont typeface="Arial" panose="020B0604020202020204" pitchFamily="34" charset="0"/>
              <a:buChar char="‒"/>
              <a:defRPr lang="en-US" sz="1600" dirty="0"/>
            </a:lvl3pPr>
            <a:lvl4pPr marL="604800" lvl="3" indent="-154800">
              <a:lnSpc>
                <a:spcPct val="100000"/>
              </a:lnSpc>
              <a:spcBef>
                <a:spcPts val="0"/>
              </a:spcBef>
              <a:spcAft>
                <a:spcPts val="300"/>
              </a:spcAft>
              <a:buFont typeface="Arial" panose="020B0604020202020204" pitchFamily="34" charset="0"/>
              <a:buChar char="•"/>
              <a:defRPr lang="en-US" sz="1600" dirty="0"/>
            </a:lvl4pPr>
            <a:lvl5pPr marL="813600" lvl="4" indent="-147600">
              <a:lnSpc>
                <a:spcPct val="100000"/>
              </a:lnSpc>
              <a:spcBef>
                <a:spcPts val="0"/>
              </a:spcBef>
              <a:spcAft>
                <a:spcPts val="300"/>
              </a:spcAft>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600" b="1" i="0" u="none" strike="noStrike" kern="1200" cap="none" spc="0" normalizeH="0" baseline="0" noProof="0">
                <a:ln>
                  <a:noFill/>
                </a:ln>
                <a:solidFill>
                  <a:srgbClr val="000000"/>
                </a:solidFill>
                <a:effectLst/>
                <a:uLnTx/>
                <a:uFillTx/>
                <a:latin typeface="Arial (Body)"/>
                <a:ea typeface="Times New Roman" panose="02020603050405020304" pitchFamily="18" charset="0"/>
                <a:cs typeface="Times New Roman" panose="02020603050405020304" pitchFamily="18" charset="0"/>
              </a:rPr>
              <a:t>Cost overrun insurance</a:t>
            </a:r>
          </a:p>
        </p:txBody>
      </p:sp>
      <p:sp>
        <p:nvSpPr>
          <p:cNvPr id="6" name="TextBox 5">
            <a:extLst>
              <a:ext uri="{FF2B5EF4-FFF2-40B4-BE49-F238E27FC236}">
                <a16:creationId xmlns:a16="http://schemas.microsoft.com/office/drawing/2014/main" id="{E21FD3C2-0B14-0673-3C77-159ABE10DADE}"/>
              </a:ext>
            </a:extLst>
          </p:cNvPr>
          <p:cNvSpPr txBox="1"/>
          <p:nvPr>
            <p:custDataLst>
              <p:tags r:id="rId2"/>
            </p:custDataLst>
          </p:nvPr>
        </p:nvSpPr>
        <p:spPr>
          <a:xfrm>
            <a:off x="5186216" y="3112247"/>
            <a:ext cx="1513069" cy="914400"/>
          </a:xfrm>
          <a:prstGeom prst="rect">
            <a:avLst/>
          </a:prstGeom>
        </p:spPr>
        <p:txBody>
          <a:bodyPr vert="horz" wrap="square" lIns="0" tIns="0" rIns="0" bIns="0" rtlCol="0" anchor="ctr">
            <a:no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228600" lvl="1" indent="-230400">
              <a:lnSpc>
                <a:spcPct val="100000"/>
              </a:lnSpc>
              <a:spcBef>
                <a:spcPts val="0"/>
              </a:spcBef>
              <a:spcAft>
                <a:spcPts val="300"/>
              </a:spcAft>
              <a:buSzPct val="110000"/>
              <a:buFont typeface="Wingdings" panose="05000000000000000000" pitchFamily="2" charset="2"/>
              <a:buChar char=""/>
              <a:defRPr lang="en-US" sz="1600" dirty="0"/>
            </a:lvl2pPr>
            <a:lvl3pPr marL="439200" lvl="2" indent="-208800">
              <a:lnSpc>
                <a:spcPct val="100000"/>
              </a:lnSpc>
              <a:spcBef>
                <a:spcPts val="0"/>
              </a:spcBef>
              <a:spcAft>
                <a:spcPts val="300"/>
              </a:spcAft>
              <a:buSzPct val="110000"/>
              <a:buFont typeface="Arial" panose="020B0604020202020204" pitchFamily="34" charset="0"/>
              <a:buChar char="‒"/>
              <a:defRPr lang="en-US" sz="1600" dirty="0"/>
            </a:lvl3pPr>
            <a:lvl4pPr marL="604800" lvl="3" indent="-154800">
              <a:lnSpc>
                <a:spcPct val="100000"/>
              </a:lnSpc>
              <a:spcBef>
                <a:spcPts val="0"/>
              </a:spcBef>
              <a:spcAft>
                <a:spcPts val="300"/>
              </a:spcAft>
              <a:buFont typeface="Arial" panose="020B0604020202020204" pitchFamily="34" charset="0"/>
              <a:buChar char="•"/>
              <a:defRPr lang="en-US" sz="1600" dirty="0"/>
            </a:lvl4pPr>
            <a:lvl5pPr marL="813600" lvl="4" indent="-147600">
              <a:lnSpc>
                <a:spcPct val="100000"/>
              </a:lnSpc>
              <a:spcBef>
                <a:spcPts val="0"/>
              </a:spcBef>
              <a:spcAft>
                <a:spcPts val="300"/>
              </a:spcAft>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600" b="1" i="0" u="none" strike="noStrike" kern="1200" cap="none" spc="0" normalizeH="0" baseline="0" noProof="0">
                <a:ln>
                  <a:noFill/>
                </a:ln>
                <a:solidFill>
                  <a:srgbClr val="000000"/>
                </a:solidFill>
                <a:effectLst/>
                <a:uLnTx/>
                <a:uFillTx/>
                <a:latin typeface="Arial (Body)"/>
                <a:ea typeface="Times New Roman" panose="02020603050405020304" pitchFamily="18" charset="0"/>
                <a:cs typeface="Times New Roman" panose="02020603050405020304" pitchFamily="18" charset="0"/>
              </a:rPr>
              <a:t>Tiered grant</a:t>
            </a:r>
          </a:p>
        </p:txBody>
      </p:sp>
      <p:sp>
        <p:nvSpPr>
          <p:cNvPr id="7" name="TextBox 6">
            <a:extLst>
              <a:ext uri="{FF2B5EF4-FFF2-40B4-BE49-F238E27FC236}">
                <a16:creationId xmlns:a16="http://schemas.microsoft.com/office/drawing/2014/main" id="{41EDECD4-F463-E18B-A3A6-BA4C5297B4BF}"/>
              </a:ext>
            </a:extLst>
          </p:cNvPr>
          <p:cNvSpPr txBox="1"/>
          <p:nvPr>
            <p:custDataLst>
              <p:tags r:id="rId3"/>
            </p:custDataLst>
          </p:nvPr>
        </p:nvSpPr>
        <p:spPr>
          <a:xfrm>
            <a:off x="5186216" y="4127017"/>
            <a:ext cx="1513069" cy="914400"/>
          </a:xfrm>
          <a:prstGeom prst="rect">
            <a:avLst/>
          </a:prstGeom>
        </p:spPr>
        <p:txBody>
          <a:bodyPr vert="horz" wrap="square" lIns="0" tIns="0" rIns="0" bIns="0" rtlCol="0" anchor="ctr">
            <a:no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228600" lvl="1" indent="-230400">
              <a:lnSpc>
                <a:spcPct val="100000"/>
              </a:lnSpc>
              <a:spcBef>
                <a:spcPts val="0"/>
              </a:spcBef>
              <a:spcAft>
                <a:spcPts val="300"/>
              </a:spcAft>
              <a:buSzPct val="110000"/>
              <a:buFont typeface="Wingdings" panose="05000000000000000000" pitchFamily="2" charset="2"/>
              <a:buChar char=""/>
              <a:defRPr lang="en-US" sz="1600" dirty="0"/>
            </a:lvl2pPr>
            <a:lvl3pPr marL="439200" lvl="2" indent="-208800">
              <a:lnSpc>
                <a:spcPct val="100000"/>
              </a:lnSpc>
              <a:spcBef>
                <a:spcPts val="0"/>
              </a:spcBef>
              <a:spcAft>
                <a:spcPts val="300"/>
              </a:spcAft>
              <a:buSzPct val="110000"/>
              <a:buFont typeface="Arial" panose="020B0604020202020204" pitchFamily="34" charset="0"/>
              <a:buChar char="‒"/>
              <a:defRPr lang="en-US" sz="1600" dirty="0"/>
            </a:lvl3pPr>
            <a:lvl4pPr marL="604800" lvl="3" indent="-154800">
              <a:lnSpc>
                <a:spcPct val="100000"/>
              </a:lnSpc>
              <a:spcBef>
                <a:spcPts val="0"/>
              </a:spcBef>
              <a:spcAft>
                <a:spcPts val="300"/>
              </a:spcAft>
              <a:buFont typeface="Arial" panose="020B0604020202020204" pitchFamily="34" charset="0"/>
              <a:buChar char="•"/>
              <a:defRPr lang="en-US" sz="1600" dirty="0"/>
            </a:lvl4pPr>
            <a:lvl5pPr marL="813600" lvl="4" indent="-147600">
              <a:lnSpc>
                <a:spcPct val="100000"/>
              </a:lnSpc>
              <a:spcBef>
                <a:spcPts val="0"/>
              </a:spcBef>
              <a:spcAft>
                <a:spcPts val="300"/>
              </a:spcAft>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600" b="1" i="0" u="none" strike="noStrike" kern="1200" cap="none" spc="0" normalizeH="0" baseline="0" noProof="0">
                <a:ln>
                  <a:noFill/>
                </a:ln>
                <a:solidFill>
                  <a:srgbClr val="000000"/>
                </a:solidFill>
                <a:effectLst/>
                <a:uLnTx/>
                <a:uFillTx/>
                <a:latin typeface="Arial (Body)"/>
                <a:ea typeface="Times New Roman" panose="02020603050405020304" pitchFamily="18" charset="0"/>
                <a:cs typeface="Times New Roman" panose="02020603050405020304" pitchFamily="18" charset="0"/>
              </a:rPr>
              <a:t>Government as the owner</a:t>
            </a:r>
          </a:p>
        </p:txBody>
      </p:sp>
      <p:sp>
        <p:nvSpPr>
          <p:cNvPr id="8" name="TextBox 7">
            <a:extLst>
              <a:ext uri="{FF2B5EF4-FFF2-40B4-BE49-F238E27FC236}">
                <a16:creationId xmlns:a16="http://schemas.microsoft.com/office/drawing/2014/main" id="{945B344B-C73D-E844-D164-3794D12BE62C}"/>
              </a:ext>
            </a:extLst>
          </p:cNvPr>
          <p:cNvSpPr txBox="1"/>
          <p:nvPr>
            <p:custDataLst>
              <p:tags r:id="rId4"/>
            </p:custDataLst>
          </p:nvPr>
        </p:nvSpPr>
        <p:spPr>
          <a:xfrm>
            <a:off x="5186216" y="5141787"/>
            <a:ext cx="1513069" cy="914400"/>
          </a:xfrm>
          <a:prstGeom prst="rect">
            <a:avLst/>
          </a:prstGeom>
        </p:spPr>
        <p:txBody>
          <a:bodyPr vert="horz" wrap="square" lIns="0" tIns="0" rIns="0" bIns="0" rtlCol="0" anchor="ctr">
            <a:no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228600" lvl="1" indent="-230400">
              <a:lnSpc>
                <a:spcPct val="100000"/>
              </a:lnSpc>
              <a:spcBef>
                <a:spcPts val="0"/>
              </a:spcBef>
              <a:spcAft>
                <a:spcPts val="300"/>
              </a:spcAft>
              <a:buSzPct val="110000"/>
              <a:buFont typeface="Wingdings" panose="05000000000000000000" pitchFamily="2" charset="2"/>
              <a:buChar char=""/>
              <a:defRPr lang="en-US" sz="1600" dirty="0"/>
            </a:lvl2pPr>
            <a:lvl3pPr marL="439200" lvl="2" indent="-208800">
              <a:lnSpc>
                <a:spcPct val="100000"/>
              </a:lnSpc>
              <a:spcBef>
                <a:spcPts val="0"/>
              </a:spcBef>
              <a:spcAft>
                <a:spcPts val="300"/>
              </a:spcAft>
              <a:buSzPct val="110000"/>
              <a:buFont typeface="Arial" panose="020B0604020202020204" pitchFamily="34" charset="0"/>
              <a:buChar char="‒"/>
              <a:defRPr lang="en-US" sz="1600" dirty="0"/>
            </a:lvl3pPr>
            <a:lvl4pPr marL="604800" lvl="3" indent="-154800">
              <a:lnSpc>
                <a:spcPct val="100000"/>
              </a:lnSpc>
              <a:spcBef>
                <a:spcPts val="0"/>
              </a:spcBef>
              <a:spcAft>
                <a:spcPts val="300"/>
              </a:spcAft>
              <a:buFont typeface="Arial" panose="020B0604020202020204" pitchFamily="34" charset="0"/>
              <a:buChar char="•"/>
              <a:defRPr lang="en-US" sz="1600" dirty="0"/>
            </a:lvl4pPr>
            <a:lvl5pPr marL="813600" lvl="4" indent="-147600">
              <a:lnSpc>
                <a:spcPct val="100000"/>
              </a:lnSpc>
              <a:spcBef>
                <a:spcPts val="0"/>
              </a:spcBef>
              <a:spcAft>
                <a:spcPts val="300"/>
              </a:spcAft>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600" b="1" i="0" u="none" strike="noStrike" kern="1200" cap="none" spc="0" normalizeH="0" baseline="0" noProof="0">
                <a:ln>
                  <a:noFill/>
                </a:ln>
                <a:solidFill>
                  <a:srgbClr val="000000"/>
                </a:solidFill>
                <a:effectLst/>
                <a:uLnTx/>
                <a:uFillTx/>
                <a:latin typeface="Arial (Body)"/>
                <a:ea typeface="Times New Roman" panose="02020603050405020304" pitchFamily="18" charset="0"/>
                <a:cs typeface="Times New Roman" panose="02020603050405020304" pitchFamily="18" charset="0"/>
              </a:rPr>
              <a:t>Government as the off-taker</a:t>
            </a:r>
          </a:p>
        </p:txBody>
      </p:sp>
      <p:sp>
        <p:nvSpPr>
          <p:cNvPr id="9" name="TextBox 8">
            <a:extLst>
              <a:ext uri="{FF2B5EF4-FFF2-40B4-BE49-F238E27FC236}">
                <a16:creationId xmlns:a16="http://schemas.microsoft.com/office/drawing/2014/main" id="{8C494981-549A-038A-7E81-EA12B13DF655}"/>
              </a:ext>
            </a:extLst>
          </p:cNvPr>
          <p:cNvSpPr txBox="1"/>
          <p:nvPr>
            <p:custDataLst>
              <p:tags r:id="rId5"/>
            </p:custDataLst>
          </p:nvPr>
        </p:nvSpPr>
        <p:spPr>
          <a:xfrm>
            <a:off x="7310148" y="2097477"/>
            <a:ext cx="4132044" cy="914400"/>
          </a:xfrm>
          <a:prstGeom prst="rect">
            <a:avLst/>
          </a:prstGeom>
        </p:spPr>
        <p:txBody>
          <a:bodyPr vert="horz" wrap="square" lIns="0" tIns="0" rIns="0" bIns="0" rtlCol="0" anchor="ctr">
            <a:no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228600" lvl="1" indent="-230400">
              <a:lnSpc>
                <a:spcPct val="100000"/>
              </a:lnSpc>
              <a:spcBef>
                <a:spcPts val="0"/>
              </a:spcBef>
              <a:spcAft>
                <a:spcPts val="300"/>
              </a:spcAft>
              <a:buSzPct val="110000"/>
              <a:buFont typeface="Wingdings" panose="05000000000000000000" pitchFamily="2" charset="2"/>
              <a:buChar char=""/>
              <a:defRPr lang="en-US" sz="1600" dirty="0"/>
            </a:lvl2pPr>
            <a:lvl3pPr marL="439200" lvl="2" indent="-208800">
              <a:lnSpc>
                <a:spcPct val="100000"/>
              </a:lnSpc>
              <a:spcBef>
                <a:spcPts val="0"/>
              </a:spcBef>
              <a:spcAft>
                <a:spcPts val="300"/>
              </a:spcAft>
              <a:buSzPct val="110000"/>
              <a:buFont typeface="Arial" panose="020B0604020202020204" pitchFamily="34" charset="0"/>
              <a:buChar char="‒"/>
              <a:defRPr lang="en-US" sz="1600" dirty="0"/>
            </a:lvl3pPr>
            <a:lvl4pPr marL="604800" lvl="3" indent="-154800">
              <a:lnSpc>
                <a:spcPct val="100000"/>
              </a:lnSpc>
              <a:spcBef>
                <a:spcPts val="0"/>
              </a:spcBef>
              <a:spcAft>
                <a:spcPts val="300"/>
              </a:spcAft>
              <a:buFont typeface="Arial" panose="020B0604020202020204" pitchFamily="34" charset="0"/>
              <a:buChar char="•"/>
              <a:defRPr lang="en-US" sz="1600" dirty="0"/>
            </a:lvl4pPr>
            <a:lvl5pPr marL="813600" lvl="4" indent="-147600">
              <a:lnSpc>
                <a:spcPct val="100000"/>
              </a:lnSpc>
              <a:spcBef>
                <a:spcPts val="0"/>
              </a:spcBef>
              <a:spcAft>
                <a:spcPts val="300"/>
              </a:spcAft>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6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A percentage of construction costs over and above a certain amount are covered by the government or private insurer</a:t>
            </a:r>
          </a:p>
        </p:txBody>
      </p:sp>
      <p:sp>
        <p:nvSpPr>
          <p:cNvPr id="10" name="TextBox 9">
            <a:extLst>
              <a:ext uri="{FF2B5EF4-FFF2-40B4-BE49-F238E27FC236}">
                <a16:creationId xmlns:a16="http://schemas.microsoft.com/office/drawing/2014/main" id="{39960727-1943-82A4-909A-FB6272F05FF7}"/>
              </a:ext>
            </a:extLst>
          </p:cNvPr>
          <p:cNvSpPr txBox="1"/>
          <p:nvPr>
            <p:custDataLst>
              <p:tags r:id="rId6"/>
            </p:custDataLst>
          </p:nvPr>
        </p:nvSpPr>
        <p:spPr>
          <a:xfrm>
            <a:off x="7310148" y="3112247"/>
            <a:ext cx="4132044" cy="914400"/>
          </a:xfrm>
          <a:prstGeom prst="rect">
            <a:avLst/>
          </a:prstGeom>
        </p:spPr>
        <p:txBody>
          <a:bodyPr vert="horz" wrap="square" lIns="0" tIns="0" rIns="0" bIns="0" rtlCol="0" anchor="ctr">
            <a:no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228600" lvl="1" indent="-230400">
              <a:lnSpc>
                <a:spcPct val="100000"/>
              </a:lnSpc>
              <a:spcBef>
                <a:spcPts val="0"/>
              </a:spcBef>
              <a:spcAft>
                <a:spcPts val="300"/>
              </a:spcAft>
              <a:buSzPct val="110000"/>
              <a:buFont typeface="Wingdings" panose="05000000000000000000" pitchFamily="2" charset="2"/>
              <a:buChar char=""/>
              <a:defRPr lang="en-US" sz="1600" dirty="0"/>
            </a:lvl2pPr>
            <a:lvl3pPr marL="439200" lvl="2" indent="-208800">
              <a:lnSpc>
                <a:spcPct val="100000"/>
              </a:lnSpc>
              <a:spcBef>
                <a:spcPts val="0"/>
              </a:spcBef>
              <a:spcAft>
                <a:spcPts val="300"/>
              </a:spcAft>
              <a:buSzPct val="110000"/>
              <a:buFont typeface="Arial" panose="020B0604020202020204" pitchFamily="34" charset="0"/>
              <a:buChar char="‒"/>
              <a:defRPr lang="en-US" sz="1600" dirty="0"/>
            </a:lvl3pPr>
            <a:lvl4pPr marL="604800" lvl="3" indent="-154800">
              <a:lnSpc>
                <a:spcPct val="100000"/>
              </a:lnSpc>
              <a:spcBef>
                <a:spcPts val="0"/>
              </a:spcBef>
              <a:spcAft>
                <a:spcPts val="300"/>
              </a:spcAft>
              <a:buFont typeface="Arial" panose="020B0604020202020204" pitchFamily="34" charset="0"/>
              <a:buChar char="•"/>
              <a:defRPr lang="en-US" sz="1600" dirty="0"/>
            </a:lvl4pPr>
            <a:lvl5pPr marL="813600" lvl="4" indent="-147600">
              <a:lnSpc>
                <a:spcPct val="100000"/>
              </a:lnSpc>
              <a:spcBef>
                <a:spcPts val="0"/>
              </a:spcBef>
              <a:spcAft>
                <a:spcPts val="300"/>
              </a:spcAft>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None/>
              <a:tabLst/>
              <a:defRPr/>
            </a:pPr>
            <a:r>
              <a:rPr kumimoji="0" lang="en-US" sz="16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Large grant amount per kW, ramping down over each successive deployment, e.g., second reactor receives less than the first</a:t>
            </a:r>
          </a:p>
        </p:txBody>
      </p:sp>
      <p:sp>
        <p:nvSpPr>
          <p:cNvPr id="11" name="TextBox 10">
            <a:extLst>
              <a:ext uri="{FF2B5EF4-FFF2-40B4-BE49-F238E27FC236}">
                <a16:creationId xmlns:a16="http://schemas.microsoft.com/office/drawing/2014/main" id="{7D006CAB-0B01-626F-14D7-C0A426F5CD6A}"/>
              </a:ext>
            </a:extLst>
          </p:cNvPr>
          <p:cNvSpPr txBox="1"/>
          <p:nvPr>
            <p:custDataLst>
              <p:tags r:id="rId7"/>
            </p:custDataLst>
          </p:nvPr>
        </p:nvSpPr>
        <p:spPr>
          <a:xfrm>
            <a:off x="7310148" y="4127017"/>
            <a:ext cx="4132044" cy="914400"/>
          </a:xfrm>
          <a:prstGeom prst="rect">
            <a:avLst/>
          </a:prstGeom>
        </p:spPr>
        <p:txBody>
          <a:bodyPr vert="horz" wrap="square" lIns="0" tIns="0" rIns="0" bIns="0" rtlCol="0" anchor="ctr">
            <a:no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228600" lvl="1" indent="-230400">
              <a:lnSpc>
                <a:spcPct val="100000"/>
              </a:lnSpc>
              <a:spcBef>
                <a:spcPts val="0"/>
              </a:spcBef>
              <a:spcAft>
                <a:spcPts val="300"/>
              </a:spcAft>
              <a:buSzPct val="110000"/>
              <a:buFont typeface="Wingdings" panose="05000000000000000000" pitchFamily="2" charset="2"/>
              <a:buChar char=""/>
              <a:defRPr lang="en-US" sz="1600" dirty="0"/>
            </a:lvl2pPr>
            <a:lvl3pPr marL="439200" lvl="2" indent="-208800">
              <a:lnSpc>
                <a:spcPct val="100000"/>
              </a:lnSpc>
              <a:spcBef>
                <a:spcPts val="0"/>
              </a:spcBef>
              <a:spcAft>
                <a:spcPts val="300"/>
              </a:spcAft>
              <a:buSzPct val="110000"/>
              <a:buFont typeface="Arial" panose="020B0604020202020204" pitchFamily="34" charset="0"/>
              <a:buChar char="‒"/>
              <a:defRPr lang="en-US" sz="1600" dirty="0"/>
            </a:lvl3pPr>
            <a:lvl4pPr marL="604800" lvl="3" indent="-154800">
              <a:lnSpc>
                <a:spcPct val="100000"/>
              </a:lnSpc>
              <a:spcBef>
                <a:spcPts val="0"/>
              </a:spcBef>
              <a:spcAft>
                <a:spcPts val="300"/>
              </a:spcAft>
              <a:buFont typeface="Arial" panose="020B0604020202020204" pitchFamily="34" charset="0"/>
              <a:buChar char="•"/>
              <a:defRPr lang="en-US" sz="1600" dirty="0"/>
            </a:lvl4pPr>
            <a:lvl5pPr marL="813600" lvl="4" indent="-147600">
              <a:lnSpc>
                <a:spcPct val="100000"/>
              </a:lnSpc>
              <a:spcBef>
                <a:spcPts val="0"/>
              </a:spcBef>
              <a:spcAft>
                <a:spcPts val="300"/>
              </a:spcAft>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6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Government commits to build and/or operate reactors to provide pooled demand</a:t>
            </a:r>
          </a:p>
        </p:txBody>
      </p:sp>
      <p:sp>
        <p:nvSpPr>
          <p:cNvPr id="12" name="TextBox 11">
            <a:extLst>
              <a:ext uri="{FF2B5EF4-FFF2-40B4-BE49-F238E27FC236}">
                <a16:creationId xmlns:a16="http://schemas.microsoft.com/office/drawing/2014/main" id="{F37BAFE0-4D8A-F23F-108B-9C5EE9BB00B6}"/>
              </a:ext>
            </a:extLst>
          </p:cNvPr>
          <p:cNvSpPr txBox="1"/>
          <p:nvPr>
            <p:custDataLst>
              <p:tags r:id="rId8"/>
            </p:custDataLst>
          </p:nvPr>
        </p:nvSpPr>
        <p:spPr>
          <a:xfrm>
            <a:off x="7310148" y="5141787"/>
            <a:ext cx="4132044" cy="914400"/>
          </a:xfrm>
          <a:prstGeom prst="rect">
            <a:avLst/>
          </a:prstGeom>
        </p:spPr>
        <p:txBody>
          <a:bodyPr vert="horz" wrap="square" lIns="0" tIns="0" rIns="0" bIns="0" rtlCol="0" anchor="ctr">
            <a:no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228600" lvl="1" indent="-230400">
              <a:lnSpc>
                <a:spcPct val="100000"/>
              </a:lnSpc>
              <a:spcBef>
                <a:spcPts val="0"/>
              </a:spcBef>
              <a:spcAft>
                <a:spcPts val="300"/>
              </a:spcAft>
              <a:buSzPct val="110000"/>
              <a:buFont typeface="Wingdings" panose="05000000000000000000" pitchFamily="2" charset="2"/>
              <a:buChar char=""/>
              <a:defRPr lang="en-US" sz="1600" dirty="0"/>
            </a:lvl2pPr>
            <a:lvl3pPr marL="439200" lvl="2" indent="-208800">
              <a:lnSpc>
                <a:spcPct val="100000"/>
              </a:lnSpc>
              <a:spcBef>
                <a:spcPts val="0"/>
              </a:spcBef>
              <a:spcAft>
                <a:spcPts val="300"/>
              </a:spcAft>
              <a:buSzPct val="110000"/>
              <a:buFont typeface="Arial" panose="020B0604020202020204" pitchFamily="34" charset="0"/>
              <a:buChar char="‒"/>
              <a:defRPr lang="en-US" sz="1600" dirty="0"/>
            </a:lvl3pPr>
            <a:lvl4pPr marL="604800" lvl="3" indent="-154800">
              <a:lnSpc>
                <a:spcPct val="100000"/>
              </a:lnSpc>
              <a:spcBef>
                <a:spcPts val="0"/>
              </a:spcBef>
              <a:spcAft>
                <a:spcPts val="300"/>
              </a:spcAft>
              <a:buFont typeface="Arial" panose="020B0604020202020204" pitchFamily="34" charset="0"/>
              <a:buChar char="•"/>
              <a:defRPr lang="en-US" sz="1600" dirty="0"/>
            </a:lvl4pPr>
            <a:lvl5pPr marL="813600" lvl="4" indent="-147600">
              <a:lnSpc>
                <a:spcPct val="100000"/>
              </a:lnSpc>
              <a:spcBef>
                <a:spcPts val="0"/>
              </a:spcBef>
              <a:spcAft>
                <a:spcPts val="300"/>
              </a:spcAft>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None/>
              <a:tabLst/>
              <a:defRPr/>
            </a:pPr>
            <a:r>
              <a:rPr kumimoji="0" lang="en-US" sz="16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Government signs offtake contract for some or all of generation from an orderbook</a:t>
            </a:r>
          </a:p>
        </p:txBody>
      </p:sp>
      <p:cxnSp>
        <p:nvCxnSpPr>
          <p:cNvPr id="13" name="Straight Connector 12">
            <a:extLst>
              <a:ext uri="{FF2B5EF4-FFF2-40B4-BE49-F238E27FC236}">
                <a16:creationId xmlns:a16="http://schemas.microsoft.com/office/drawing/2014/main" id="{533CA149-9F89-FA19-A15B-245382535BDB}"/>
              </a:ext>
            </a:extLst>
          </p:cNvPr>
          <p:cNvCxnSpPr>
            <a:cxnSpLocks/>
          </p:cNvCxnSpPr>
          <p:nvPr>
            <p:custDataLst>
              <p:tags r:id="rId9"/>
            </p:custDataLst>
          </p:nvPr>
        </p:nvCxnSpPr>
        <p:spPr>
          <a:xfrm>
            <a:off x="5186216" y="3062062"/>
            <a:ext cx="6309360" cy="0"/>
          </a:xfrm>
          <a:prstGeom prst="line">
            <a:avLst/>
          </a:prstGeom>
          <a:ln w="12700" cap="flat">
            <a:solidFill>
              <a:schemeClr val="bg1">
                <a:lumMod val="75000"/>
              </a:schemeClr>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B1F2929E-AB76-6095-D770-1134394DBCF6}"/>
              </a:ext>
            </a:extLst>
          </p:cNvPr>
          <p:cNvCxnSpPr>
            <a:cxnSpLocks/>
          </p:cNvCxnSpPr>
          <p:nvPr>
            <p:custDataLst>
              <p:tags r:id="rId10"/>
            </p:custDataLst>
          </p:nvPr>
        </p:nvCxnSpPr>
        <p:spPr>
          <a:xfrm>
            <a:off x="5186216" y="4076832"/>
            <a:ext cx="6309360" cy="0"/>
          </a:xfrm>
          <a:prstGeom prst="line">
            <a:avLst/>
          </a:prstGeom>
          <a:ln w="12700" cap="flat">
            <a:solidFill>
              <a:schemeClr val="bg1">
                <a:lumMod val="75000"/>
              </a:schemeClr>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2541ED8E-C33C-3440-D46D-9A493A719F68}"/>
              </a:ext>
            </a:extLst>
          </p:cNvPr>
          <p:cNvCxnSpPr>
            <a:cxnSpLocks/>
          </p:cNvCxnSpPr>
          <p:nvPr>
            <p:custDataLst>
              <p:tags r:id="rId11"/>
            </p:custDataLst>
          </p:nvPr>
        </p:nvCxnSpPr>
        <p:spPr>
          <a:xfrm>
            <a:off x="5186216" y="5091602"/>
            <a:ext cx="6309360" cy="0"/>
          </a:xfrm>
          <a:prstGeom prst="line">
            <a:avLst/>
          </a:prstGeom>
          <a:ln w="12700" cap="flat">
            <a:solidFill>
              <a:schemeClr val="bg1">
                <a:lumMod val="75000"/>
              </a:schemeClr>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6" name="TextBox 15">
            <a:extLst>
              <a:ext uri="{FF2B5EF4-FFF2-40B4-BE49-F238E27FC236}">
                <a16:creationId xmlns:a16="http://schemas.microsoft.com/office/drawing/2014/main" id="{349B65A4-A80C-919B-EE58-DBB8EA342437}"/>
              </a:ext>
            </a:extLst>
          </p:cNvPr>
          <p:cNvSpPr txBox="1"/>
          <p:nvPr/>
        </p:nvSpPr>
        <p:spPr>
          <a:xfrm>
            <a:off x="5132832" y="1313037"/>
            <a:ext cx="6309360" cy="548640"/>
          </a:xfrm>
          <a:prstGeom prst="rect">
            <a:avLst/>
          </a:prstGeom>
          <a:noFill/>
        </p:spPr>
        <p:txBody>
          <a:bodyPr wrap="square" lIns="0" rIns="0" rtlCol="0" anchor="b">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00652E"/>
                </a:solidFill>
                <a:effectLst/>
                <a:uLnTx/>
                <a:uFillTx/>
                <a:latin typeface="Arial" panose="020B0604020202020204"/>
                <a:ea typeface="+mn-ea"/>
                <a:cs typeface="+mn-cs"/>
              </a:rPr>
              <a:t>Possible accelerants for generating orders</a:t>
            </a:r>
          </a:p>
        </p:txBody>
      </p:sp>
      <p:cxnSp>
        <p:nvCxnSpPr>
          <p:cNvPr id="17" name="Straight Connector 16">
            <a:extLst>
              <a:ext uri="{FF2B5EF4-FFF2-40B4-BE49-F238E27FC236}">
                <a16:creationId xmlns:a16="http://schemas.microsoft.com/office/drawing/2014/main" id="{EB00DF0A-5A34-FA23-22B7-D10E6A4F851B}"/>
              </a:ext>
            </a:extLst>
          </p:cNvPr>
          <p:cNvCxnSpPr>
            <a:cxnSpLocks/>
          </p:cNvCxnSpPr>
          <p:nvPr/>
        </p:nvCxnSpPr>
        <p:spPr>
          <a:xfrm>
            <a:off x="5132832" y="1900177"/>
            <a:ext cx="6309360" cy="0"/>
          </a:xfrm>
          <a:prstGeom prst="line">
            <a:avLst/>
          </a:prstGeom>
          <a:ln w="19050">
            <a:solidFill>
              <a:schemeClr val="accent1"/>
            </a:solidFill>
          </a:ln>
        </p:spPr>
        <p:style>
          <a:lnRef idx="1">
            <a:schemeClr val="dk1"/>
          </a:lnRef>
          <a:fillRef idx="0">
            <a:schemeClr val="dk1"/>
          </a:fillRef>
          <a:effectRef idx="0">
            <a:schemeClr val="dk1"/>
          </a:effectRef>
          <a:fontRef idx="minor">
            <a:schemeClr val="tx1"/>
          </a:fontRef>
        </p:style>
      </p:cxnSp>
      <p:sp>
        <p:nvSpPr>
          <p:cNvPr id="18" name="TextBox 17">
            <a:extLst>
              <a:ext uri="{FF2B5EF4-FFF2-40B4-BE49-F238E27FC236}">
                <a16:creationId xmlns:a16="http://schemas.microsoft.com/office/drawing/2014/main" id="{19A03A41-D64A-CAAA-FD37-1F1332B6482E}"/>
              </a:ext>
            </a:extLst>
          </p:cNvPr>
          <p:cNvSpPr txBox="1"/>
          <p:nvPr/>
        </p:nvSpPr>
        <p:spPr>
          <a:xfrm>
            <a:off x="609600" y="1313037"/>
            <a:ext cx="4206240" cy="548640"/>
          </a:xfrm>
          <a:prstGeom prst="rect">
            <a:avLst/>
          </a:prstGeom>
          <a:noFill/>
        </p:spPr>
        <p:txBody>
          <a:bodyPr wrap="square" lIns="0" tIns="45720" rIns="0" bIns="45720" rtlCol="0" anchor="b">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00652E"/>
                </a:solidFill>
                <a:effectLst/>
                <a:uLnTx/>
                <a:uFillTx/>
                <a:latin typeface="Arial" panose="020B0604020202020204"/>
                <a:ea typeface="+mn-ea"/>
                <a:cs typeface="+mn-cs"/>
              </a:rPr>
              <a:t>Nuclear industry is in a stalemate</a:t>
            </a:r>
          </a:p>
        </p:txBody>
      </p:sp>
      <p:cxnSp>
        <p:nvCxnSpPr>
          <p:cNvPr id="19" name="Straight Connector 18">
            <a:extLst>
              <a:ext uri="{FF2B5EF4-FFF2-40B4-BE49-F238E27FC236}">
                <a16:creationId xmlns:a16="http://schemas.microsoft.com/office/drawing/2014/main" id="{A0D991B0-9E91-4C10-8E95-38003942A2C7}"/>
              </a:ext>
            </a:extLst>
          </p:cNvPr>
          <p:cNvCxnSpPr>
            <a:cxnSpLocks/>
          </p:cNvCxnSpPr>
          <p:nvPr/>
        </p:nvCxnSpPr>
        <p:spPr>
          <a:xfrm>
            <a:off x="609600" y="1900177"/>
            <a:ext cx="4206240" cy="0"/>
          </a:xfrm>
          <a:prstGeom prst="line">
            <a:avLst/>
          </a:prstGeom>
          <a:ln w="19050">
            <a:solidFill>
              <a:schemeClr val="accent1"/>
            </a:solidFill>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261502860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0EEB315-CD55-3658-C2E3-CD7FDC17FA19}"/>
              </a:ext>
            </a:extLst>
          </p:cNvPr>
          <p:cNvSpPr>
            <a:spLocks noGrp="1"/>
          </p:cNvSpPr>
          <p:nvPr>
            <p:ph type="title"/>
          </p:nvPr>
        </p:nvSpPr>
        <p:spPr>
          <a:xfrm>
            <a:off x="554736" y="172212"/>
            <a:ext cx="11082528" cy="731520"/>
          </a:xfrm>
        </p:spPr>
        <p:txBody>
          <a:bodyPr/>
          <a:lstStyle/>
          <a:p>
            <a:r>
              <a:rPr lang="en-US"/>
              <a:t>Advanced Nuclear Pathways to Commercial Liftoff: Executive Summary </a:t>
            </a:r>
          </a:p>
        </p:txBody>
      </p:sp>
      <p:sp>
        <p:nvSpPr>
          <p:cNvPr id="4" name="Rectangle 3">
            <a:extLst>
              <a:ext uri="{FF2B5EF4-FFF2-40B4-BE49-F238E27FC236}">
                <a16:creationId xmlns:a16="http://schemas.microsoft.com/office/drawing/2014/main" id="{DB236ACE-8D7C-5096-3D27-1A143AFFD7B4}"/>
              </a:ext>
            </a:extLst>
          </p:cNvPr>
          <p:cNvSpPr/>
          <p:nvPr/>
        </p:nvSpPr>
        <p:spPr>
          <a:xfrm>
            <a:off x="554735" y="1337912"/>
            <a:ext cx="10658697" cy="4591250"/>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500" b="1" i="0" u="none" strike="noStrike" kern="1200" cap="none" spc="0" normalizeH="0" baseline="0" noProof="0">
                <a:ln>
                  <a:noFill/>
                </a:ln>
                <a:solidFill>
                  <a:sysClr val="windowText" lastClr="000000"/>
                </a:solidFill>
                <a:effectLst/>
                <a:uLnTx/>
                <a:uFillTx/>
                <a:latin typeface="Arial"/>
                <a:ea typeface="+mn-ea"/>
                <a:cs typeface="+mn-cs"/>
              </a:rPr>
              <a:t>Report aims to create a shared fact base for answering key investor and stakeholder questions</a:t>
            </a:r>
          </a:p>
          <a:p>
            <a:pPr marL="640080" marR="0" lvl="1" indent="-182880" algn="l" defTabSz="914400" rtl="0" eaLnBrk="1" fontAlgn="auto" latinLnBrk="0" hangingPunct="1">
              <a:lnSpc>
                <a:spcPct val="100000"/>
              </a:lnSpc>
              <a:spcBef>
                <a:spcPts val="0"/>
              </a:spcBef>
              <a:spcAft>
                <a:spcPts val="0"/>
              </a:spcAft>
              <a:buClr>
                <a:srgbClr val="00652E"/>
              </a:buClr>
              <a:buSzTx/>
              <a:buFont typeface="Arial" panose="020B0604020202020204" pitchFamily="34" charset="0"/>
              <a:buChar char="•"/>
              <a:tabLst/>
              <a:defRPr/>
            </a:pPr>
            <a:r>
              <a:rPr kumimoji="0" lang="en-US" sz="1500" b="1" i="1" u="none" strike="noStrike" kern="1200" cap="none" spc="0" normalizeH="0" baseline="0" noProof="0">
                <a:ln>
                  <a:noFill/>
                </a:ln>
                <a:solidFill>
                  <a:sysClr val="windowText" lastClr="000000"/>
                </a:solidFill>
                <a:effectLst/>
                <a:uLnTx/>
                <a:uFillTx/>
                <a:latin typeface="Arial"/>
                <a:ea typeface="+mn-ea"/>
                <a:cs typeface="+mn-cs"/>
              </a:rPr>
              <a:t>What is advanced nuclear and its value proposition?</a:t>
            </a:r>
            <a:r>
              <a:rPr kumimoji="0" lang="en-US" sz="1500" b="0" i="0" u="none" strike="noStrike" kern="1200" cap="none" spc="0" normalizeH="0" baseline="0" noProof="0">
                <a:ln>
                  <a:noFill/>
                </a:ln>
                <a:solidFill>
                  <a:sysClr val="windowText" lastClr="000000"/>
                </a:solidFill>
                <a:effectLst/>
                <a:uLnTx/>
                <a:uFillTx/>
                <a:latin typeface="Arial"/>
                <a:ea typeface="+mn-ea"/>
                <a:cs typeface="+mn-cs"/>
              </a:rPr>
              <a:t> Report covers Gen III+ and IV across large reactors, SMRs, and microreactors; nuclear is clean, is firm, uses land efficiently, requires less transmission buildout, provides regional economic benefits, and has additional use cases and benefits beyond traditional electricity generation</a:t>
            </a:r>
          </a:p>
          <a:p>
            <a:pPr marL="640080" marR="0" lvl="1" indent="-182880" algn="l" defTabSz="914400" rtl="0" eaLnBrk="1" fontAlgn="auto" latinLnBrk="0" hangingPunct="1">
              <a:lnSpc>
                <a:spcPct val="100000"/>
              </a:lnSpc>
              <a:spcBef>
                <a:spcPts val="0"/>
              </a:spcBef>
              <a:spcAft>
                <a:spcPts val="0"/>
              </a:spcAft>
              <a:buClr>
                <a:srgbClr val="00652E"/>
              </a:buClr>
              <a:buSzTx/>
              <a:buFont typeface="Arial" panose="020B0604020202020204" pitchFamily="34" charset="0"/>
              <a:buChar char="•"/>
              <a:tabLst/>
              <a:defRPr/>
            </a:pPr>
            <a:r>
              <a:rPr kumimoji="0" lang="en-US" sz="1500" b="1" i="1" u="none" strike="noStrike" kern="1200" cap="none" spc="0" normalizeH="0" baseline="0" noProof="0">
                <a:ln>
                  <a:noFill/>
                </a:ln>
                <a:solidFill>
                  <a:sysClr val="windowText" lastClr="000000"/>
                </a:solidFill>
                <a:effectLst/>
                <a:uLnTx/>
                <a:uFillTx/>
                <a:latin typeface="Arial"/>
                <a:ea typeface="+mn-ea"/>
                <a:cs typeface="+mn-cs"/>
              </a:rPr>
              <a:t>Do we need new nuclear for net zero? </a:t>
            </a:r>
            <a:r>
              <a:rPr kumimoji="0" lang="en-US" sz="1500" b="0" i="0" u="none" strike="noStrike" kern="1200" cap="none" spc="0" normalizeH="0" baseline="0" noProof="0">
                <a:ln>
                  <a:noFill/>
                </a:ln>
                <a:solidFill>
                  <a:sysClr val="windowText" lastClr="000000"/>
                </a:solidFill>
                <a:effectLst/>
                <a:uLnTx/>
                <a:uFillTx/>
                <a:latin typeface="Arial"/>
                <a:ea typeface="+mn-ea"/>
                <a:cs typeface="+mn-cs"/>
              </a:rPr>
              <a:t>Likely 100-200GW in the US by 2050, especially given renewables buildout</a:t>
            </a:r>
          </a:p>
          <a:p>
            <a:pPr marL="640080" marR="0" lvl="1" indent="-182880" algn="l" defTabSz="914400" rtl="0" eaLnBrk="1" fontAlgn="auto" latinLnBrk="0" hangingPunct="1">
              <a:lnSpc>
                <a:spcPct val="100000"/>
              </a:lnSpc>
              <a:spcBef>
                <a:spcPts val="0"/>
              </a:spcBef>
              <a:spcAft>
                <a:spcPts val="0"/>
              </a:spcAft>
              <a:buClr>
                <a:srgbClr val="00652E"/>
              </a:buClr>
              <a:buSzTx/>
              <a:buFont typeface="Arial" panose="020B0604020202020204" pitchFamily="34" charset="0"/>
              <a:buChar char="•"/>
              <a:tabLst/>
              <a:defRPr/>
            </a:pPr>
            <a:r>
              <a:rPr kumimoji="0" lang="en-US" sz="1500" b="1" i="1" u="none" strike="noStrike" kern="1200" cap="none" spc="0" normalizeH="0" baseline="0" noProof="0">
                <a:ln>
                  <a:noFill/>
                </a:ln>
                <a:solidFill>
                  <a:sysClr val="windowText" lastClr="000000"/>
                </a:solidFill>
                <a:effectLst/>
                <a:uLnTx/>
                <a:uFillTx/>
                <a:latin typeface="Arial"/>
                <a:ea typeface="+mn-ea"/>
                <a:cs typeface="+mn-cs"/>
              </a:rPr>
              <a:t>Why will it be different than recent over-budget builds?</a:t>
            </a:r>
            <a:r>
              <a:rPr kumimoji="0" lang="en-US" sz="1500" b="0" i="0" u="none" strike="noStrike" kern="1200" cap="none" spc="0" normalizeH="0" baseline="0" noProof="0">
                <a:ln>
                  <a:noFill/>
                </a:ln>
                <a:solidFill>
                  <a:sysClr val="windowText" lastClr="000000"/>
                </a:solidFill>
                <a:effectLst/>
                <a:uLnTx/>
                <a:uFillTx/>
                <a:latin typeface="Arial"/>
                <a:ea typeface="+mn-ea"/>
                <a:cs typeface="+mn-cs"/>
              </a:rPr>
              <a:t> SMRs may avoid historical cost and constructability challenges; Vogtle provides lessons on the importance of rigorous pre-construction planning</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a:ln>
                <a:noFill/>
              </a:ln>
              <a:solidFill>
                <a:sysClr val="windowText" lastClr="000000"/>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500" b="1" i="0" u="none" strike="noStrike" kern="1200" cap="none" spc="0" normalizeH="0" baseline="0" noProof="0">
                <a:ln>
                  <a:noFill/>
                </a:ln>
                <a:solidFill>
                  <a:sysClr val="windowText" lastClr="000000"/>
                </a:solidFill>
                <a:effectLst/>
                <a:uLnTx/>
                <a:uFillTx/>
                <a:latin typeface="Arial"/>
                <a:ea typeface="+mn-ea"/>
                <a:cs typeface="+mn-cs"/>
              </a:rPr>
              <a:t>Requirements for scaling to 200GW of new US nuclear by 2050</a:t>
            </a:r>
            <a:endParaRPr kumimoji="0" lang="en-US" sz="1500" b="0" i="0" u="none" strike="noStrike" kern="1200" cap="none" spc="0" normalizeH="0" baseline="0" noProof="0">
              <a:ln>
                <a:noFill/>
              </a:ln>
              <a:solidFill>
                <a:sysClr val="windowText" lastClr="000000"/>
              </a:solidFill>
              <a:effectLst/>
              <a:uLnTx/>
              <a:uFillTx/>
              <a:latin typeface="Arial"/>
              <a:ea typeface="+mn-ea"/>
              <a:cs typeface="+mn-cs"/>
            </a:endParaRPr>
          </a:p>
          <a:p>
            <a:pPr marL="640080" marR="0" lvl="1" indent="-182880" algn="l" defTabSz="914400" rtl="0" eaLnBrk="1" fontAlgn="auto" latinLnBrk="0" hangingPunct="1">
              <a:lnSpc>
                <a:spcPct val="100000"/>
              </a:lnSpc>
              <a:spcBef>
                <a:spcPts val="0"/>
              </a:spcBef>
              <a:spcAft>
                <a:spcPts val="0"/>
              </a:spcAft>
              <a:buClr>
                <a:srgbClr val="00652E"/>
              </a:buClr>
              <a:buSzTx/>
              <a:buFont typeface="Arial" panose="020B0604020202020204" pitchFamily="34" charset="0"/>
              <a:buChar char="•"/>
              <a:tabLst/>
              <a:defRPr/>
            </a:pPr>
            <a:r>
              <a:rPr kumimoji="0" lang="en-US" sz="1500" b="0" i="0" u="none" strike="noStrike" kern="1200" cap="none" spc="0" normalizeH="0" baseline="0" noProof="0">
                <a:ln>
                  <a:noFill/>
                </a:ln>
                <a:solidFill>
                  <a:sysClr val="windowText" lastClr="000000"/>
                </a:solidFill>
                <a:effectLst/>
                <a:uLnTx/>
                <a:uFillTx/>
                <a:latin typeface="Arial"/>
                <a:ea typeface="+mn-ea"/>
                <a:cs typeface="+mn-cs"/>
              </a:rPr>
              <a:t>Waiting until mid-2030s to deploy at scale would lead to missing targets and/or significant supply chain overbuild</a:t>
            </a:r>
          </a:p>
          <a:p>
            <a:pPr marL="640080" marR="0" lvl="1" indent="-182880" algn="l" defTabSz="914400" rtl="0" eaLnBrk="1" fontAlgn="auto" latinLnBrk="0" hangingPunct="1">
              <a:lnSpc>
                <a:spcPct val="100000"/>
              </a:lnSpc>
              <a:spcBef>
                <a:spcPts val="0"/>
              </a:spcBef>
              <a:spcAft>
                <a:spcPts val="0"/>
              </a:spcAft>
              <a:buClr>
                <a:srgbClr val="00652E"/>
              </a:buClr>
              <a:buSzTx/>
              <a:buFont typeface="Arial" panose="020B0604020202020204" pitchFamily="34" charset="0"/>
              <a:buChar char="•"/>
              <a:tabLst/>
              <a:defRPr/>
            </a:pPr>
            <a:r>
              <a:rPr kumimoji="0" lang="en-US" sz="1500" b="0" i="0" u="none" strike="noStrike" kern="1200" cap="none" spc="0" normalizeH="0" baseline="0" noProof="0">
                <a:ln>
                  <a:noFill/>
                </a:ln>
                <a:solidFill>
                  <a:sysClr val="windowText" lastClr="000000"/>
                </a:solidFill>
                <a:effectLst/>
                <a:uLnTx/>
                <a:uFillTx/>
                <a:latin typeface="Arial"/>
                <a:ea typeface="+mn-ea"/>
                <a:cs typeface="+mn-cs"/>
              </a:rPr>
              <a:t>Need committed orderbook of (likely) Gen III+ SMRs by 2025, 5-10 of one design; one design is necessary, but not sufficient and Gen III+ is likely for nearest-term deployment given utility risk tolerance</a:t>
            </a:r>
          </a:p>
          <a:p>
            <a:pPr marL="640080" marR="0" lvl="1" indent="-182880" algn="l" defTabSz="914400" rtl="0" eaLnBrk="1" fontAlgn="auto" latinLnBrk="0" hangingPunct="1">
              <a:lnSpc>
                <a:spcPct val="100000"/>
              </a:lnSpc>
              <a:spcBef>
                <a:spcPts val="0"/>
              </a:spcBef>
              <a:spcAft>
                <a:spcPts val="0"/>
              </a:spcAft>
              <a:buClr>
                <a:srgbClr val="00652E"/>
              </a:buClr>
              <a:buSzTx/>
              <a:buFont typeface="Arial" panose="020B0604020202020204" pitchFamily="34" charset="0"/>
              <a:buChar char="•"/>
              <a:tabLst/>
              <a:defRPr/>
            </a:pPr>
            <a:r>
              <a:rPr kumimoji="0" lang="en-US" sz="1500" b="0" i="0" u="none" strike="noStrike" kern="1200" cap="none" spc="0" normalizeH="0" baseline="0" noProof="0">
                <a:ln>
                  <a:noFill/>
                </a:ln>
                <a:solidFill>
                  <a:sysClr val="windowText" lastClr="000000"/>
                </a:solidFill>
                <a:effectLst/>
                <a:uLnTx/>
                <a:uFillTx/>
                <a:latin typeface="Arial"/>
                <a:ea typeface="+mn-ea"/>
                <a:cs typeface="+mn-cs"/>
              </a:rPr>
              <a:t>200GW cumulative deployment will require developing a workforce of ~375K and scaling and adapting component supply chains that are sub-scale today; reduced, predictable licensing timelines also key</a:t>
            </a:r>
          </a:p>
          <a:p>
            <a:pPr marL="640080" marR="0" lvl="1" indent="-182880" algn="l" defTabSz="914400" rtl="0" eaLnBrk="1" fontAlgn="auto" latinLnBrk="0" hangingPunct="1">
              <a:lnSpc>
                <a:spcPct val="100000"/>
              </a:lnSpc>
              <a:spcBef>
                <a:spcPts val="0"/>
              </a:spcBef>
              <a:spcAft>
                <a:spcPts val="0"/>
              </a:spcAft>
              <a:buClr>
                <a:srgbClr val="00652E"/>
              </a:buClr>
              <a:buSzTx/>
              <a:buFont typeface="Arial" panose="020B0604020202020204" pitchFamily="34" charset="0"/>
              <a:buChar char="•"/>
              <a:tabLst/>
              <a:defRPr/>
            </a:pPr>
            <a:r>
              <a:rPr kumimoji="0" lang="en-US" sz="1500" b="0" i="0" u="none" strike="noStrike" kern="1200" cap="none" spc="0" normalizeH="0" baseline="0" noProof="0">
                <a:ln>
                  <a:noFill/>
                </a:ln>
                <a:solidFill>
                  <a:sysClr val="windowText" lastClr="000000"/>
                </a:solidFill>
                <a:effectLst/>
                <a:uLnTx/>
                <a:uFillTx/>
                <a:latin typeface="Arial"/>
                <a:ea typeface="+mn-ea"/>
                <a:cs typeface="+mn-cs"/>
              </a:rPr>
              <a:t>Need to identify incentive and location(s) for long-term spent fuel storage implications</a:t>
            </a:r>
          </a:p>
          <a:p>
            <a:pPr marL="640080" marR="0" lvl="1" indent="-182880" algn="l" defTabSz="914400" rtl="0" eaLnBrk="1" fontAlgn="auto" latinLnBrk="0" hangingPunct="1">
              <a:lnSpc>
                <a:spcPct val="100000"/>
              </a:lnSpc>
              <a:spcBef>
                <a:spcPts val="0"/>
              </a:spcBef>
              <a:spcAft>
                <a:spcPts val="0"/>
              </a:spcAft>
              <a:buClr>
                <a:srgbClr val="00652E"/>
              </a:buClr>
              <a:buSzTx/>
              <a:buFont typeface="Arial" panose="020B0604020202020204" pitchFamily="34" charset="0"/>
              <a:buChar char="•"/>
              <a:tabLst/>
              <a:defRPr/>
            </a:pPr>
            <a:endParaRPr kumimoji="0" lang="en-US" sz="1500" b="0" i="0" u="none" strike="noStrike" kern="1200" cap="none" spc="0" normalizeH="0" baseline="0" noProof="0">
              <a:ln>
                <a:noFill/>
              </a:ln>
              <a:solidFill>
                <a:sysClr val="windowText" lastClr="000000"/>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500" b="1" i="0" u="none" strike="noStrike" kern="1200" cap="none" spc="0" normalizeH="0" baseline="0" noProof="0">
                <a:ln>
                  <a:noFill/>
                </a:ln>
                <a:solidFill>
                  <a:sysClr val="windowText" lastClr="000000"/>
                </a:solidFill>
                <a:effectLst/>
                <a:uLnTx/>
                <a:uFillTx/>
                <a:latin typeface="Arial"/>
                <a:ea typeface="+mn-ea"/>
                <a:cs typeface="+mn-cs"/>
              </a:rPr>
              <a:t>Potential solutions</a:t>
            </a:r>
          </a:p>
          <a:p>
            <a:pPr marL="640080" marR="0" lvl="1" indent="-182880" algn="l" defTabSz="914400" rtl="0" eaLnBrk="1" fontAlgn="auto" latinLnBrk="0" hangingPunct="1">
              <a:lnSpc>
                <a:spcPct val="100000"/>
              </a:lnSpc>
              <a:spcBef>
                <a:spcPts val="0"/>
              </a:spcBef>
              <a:spcAft>
                <a:spcPts val="0"/>
              </a:spcAft>
              <a:buClr>
                <a:srgbClr val="00652E"/>
              </a:buClr>
              <a:buSzTx/>
              <a:buFont typeface="Arial" panose="020B0604020202020204" pitchFamily="34" charset="0"/>
              <a:buChar char="•"/>
              <a:tabLst/>
              <a:defRPr/>
            </a:pPr>
            <a:r>
              <a:rPr kumimoji="0" lang="en-US" sz="1500" b="0" i="0" u="none" strike="noStrike" kern="1200" cap="none" spc="0" normalizeH="0" baseline="0" noProof="0">
                <a:ln>
                  <a:noFill/>
                </a:ln>
                <a:solidFill>
                  <a:sysClr val="windowText" lastClr="000000"/>
                </a:solidFill>
                <a:effectLst/>
                <a:uLnTx/>
                <a:uFillTx/>
                <a:latin typeface="Arial"/>
                <a:ea typeface="+mn-ea"/>
                <a:cs typeface="+mn-cs"/>
              </a:rPr>
              <a:t>Utilities are afraid of uncontrolled overrun and project abandonment risk; catalyzing the orderbook will require intervening to manage completion risk, e.g., overrun insurance, tiered grants, government ownership/offtake</a:t>
            </a:r>
          </a:p>
          <a:p>
            <a:pPr marL="640080" marR="0" lvl="1" indent="-182880" algn="l" defTabSz="914400" rtl="0" eaLnBrk="1" fontAlgn="auto" latinLnBrk="0" hangingPunct="1">
              <a:lnSpc>
                <a:spcPct val="100000"/>
              </a:lnSpc>
              <a:spcBef>
                <a:spcPts val="0"/>
              </a:spcBef>
              <a:spcAft>
                <a:spcPts val="0"/>
              </a:spcAft>
              <a:buClr>
                <a:srgbClr val="00652E"/>
              </a:buClr>
              <a:buSzTx/>
              <a:buFont typeface="Arial" panose="020B0604020202020204" pitchFamily="34" charset="0"/>
              <a:buChar char="•"/>
              <a:tabLst/>
              <a:defRPr/>
            </a:pPr>
            <a:r>
              <a:rPr kumimoji="0" lang="en-US" sz="1500" b="0" i="0" u="none" strike="noStrike" kern="1200" cap="none" spc="0" normalizeH="0" baseline="0" noProof="0">
                <a:ln>
                  <a:noFill/>
                </a:ln>
                <a:solidFill>
                  <a:sysClr val="windowText" lastClr="000000"/>
                </a:solidFill>
                <a:effectLst/>
                <a:uLnTx/>
                <a:uFillTx/>
                <a:latin typeface="Arial"/>
                <a:ea typeface="+mn-ea"/>
                <a:cs typeface="+mn-cs"/>
              </a:rPr>
              <a:t>Project delivery for first reactors needs to actively incorporate Vogtle lessons, with potential EPC partnerships</a:t>
            </a:r>
          </a:p>
          <a:p>
            <a:pPr marL="640080" marR="0" lvl="1" indent="-182880" algn="l" defTabSz="914400" rtl="0" eaLnBrk="1" fontAlgn="auto" latinLnBrk="0" hangingPunct="1">
              <a:lnSpc>
                <a:spcPct val="100000"/>
              </a:lnSpc>
              <a:spcBef>
                <a:spcPts val="0"/>
              </a:spcBef>
              <a:spcAft>
                <a:spcPts val="0"/>
              </a:spcAft>
              <a:buClr>
                <a:srgbClr val="00652E"/>
              </a:buClr>
              <a:buSzTx/>
              <a:buFont typeface="Arial" panose="020B0604020202020204" pitchFamily="34" charset="0"/>
              <a:buChar char="•"/>
              <a:tabLst/>
              <a:defRPr/>
            </a:pPr>
            <a:r>
              <a:rPr kumimoji="0" lang="en-US" sz="1500" b="0" i="0" u="none" strike="noStrike" kern="1200" cap="none" spc="0" normalizeH="0" baseline="0" noProof="0">
                <a:ln>
                  <a:noFill/>
                </a:ln>
                <a:solidFill>
                  <a:sysClr val="windowText" lastClr="000000"/>
                </a:solidFill>
                <a:effectLst/>
                <a:uLnTx/>
                <a:uFillTx/>
                <a:latin typeface="Arial"/>
                <a:ea typeface="+mn-ea"/>
                <a:cs typeface="+mn-cs"/>
              </a:rPr>
              <a:t>Industrialization will require large-scale financing (e.g., low-cost debt) and programs (e.g., labor recruiting, training)</a:t>
            </a:r>
          </a:p>
        </p:txBody>
      </p:sp>
    </p:spTree>
    <p:extLst>
      <p:ext uri="{BB962C8B-B14F-4D97-AF65-F5344CB8AC3E}">
        <p14:creationId xmlns:p14="http://schemas.microsoft.com/office/powerpoint/2010/main" val="101770819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71DE96E-CE74-75B4-BC9E-5130DEE61620}"/>
              </a:ext>
            </a:extLst>
          </p:cNvPr>
          <p:cNvSpPr>
            <a:spLocks noGrp="1"/>
          </p:cNvSpPr>
          <p:nvPr>
            <p:ph type="title"/>
          </p:nvPr>
        </p:nvSpPr>
        <p:spPr/>
        <p:txBody>
          <a:bodyPr/>
          <a:lstStyle/>
          <a:p>
            <a:r>
              <a:rPr lang="en-US"/>
              <a:t>Modeling results show demand for 200+GW of new nuclear capacity </a:t>
            </a:r>
          </a:p>
        </p:txBody>
      </p:sp>
      <p:sp>
        <p:nvSpPr>
          <p:cNvPr id="4" name="TextBox 3">
            <a:extLst>
              <a:ext uri="{FF2B5EF4-FFF2-40B4-BE49-F238E27FC236}">
                <a16:creationId xmlns:a16="http://schemas.microsoft.com/office/drawing/2014/main" id="{E933A0CE-D8FC-C8B2-45AC-52693D84B5A7}"/>
              </a:ext>
            </a:extLst>
          </p:cNvPr>
          <p:cNvSpPr txBox="1"/>
          <p:nvPr/>
        </p:nvSpPr>
        <p:spPr>
          <a:xfrm>
            <a:off x="4637088" y="1436101"/>
            <a:ext cx="4480560" cy="295466"/>
          </a:xfrm>
          <a:prstGeom prst="rect">
            <a:avLst/>
          </a:prstGeom>
        </p:spPr>
        <p:txBody>
          <a:bodyPr vert="horz" wrap="square" lIns="0" tIns="0" rIns="0" bIns="18288" rtlCol="0" anchor="b">
            <a:sp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228600" lvl="1" indent="-230400">
              <a:lnSpc>
                <a:spcPct val="100000"/>
              </a:lnSpc>
              <a:spcBef>
                <a:spcPts val="0"/>
              </a:spcBef>
              <a:spcAft>
                <a:spcPts val="300"/>
              </a:spcAft>
              <a:buSzPct val="110000"/>
              <a:buFont typeface="Wingdings" panose="05000000000000000000" pitchFamily="2" charset="2"/>
              <a:buChar char=""/>
              <a:defRPr lang="en-US" sz="1600" dirty="0"/>
            </a:lvl2pPr>
            <a:lvl3pPr marL="439200" lvl="2" indent="-208800">
              <a:lnSpc>
                <a:spcPct val="100000"/>
              </a:lnSpc>
              <a:spcBef>
                <a:spcPts val="0"/>
              </a:spcBef>
              <a:spcAft>
                <a:spcPts val="300"/>
              </a:spcAft>
              <a:buSzPct val="110000"/>
              <a:buFont typeface="Arial" panose="020B0604020202020204" pitchFamily="34" charset="0"/>
              <a:buChar char="‒"/>
              <a:defRPr lang="en-US" sz="1600" dirty="0"/>
            </a:lvl3pPr>
            <a:lvl4pPr marL="604800" lvl="3" indent="-154800">
              <a:lnSpc>
                <a:spcPct val="100000"/>
              </a:lnSpc>
              <a:spcBef>
                <a:spcPts val="0"/>
              </a:spcBef>
              <a:spcAft>
                <a:spcPts val="300"/>
              </a:spcAft>
              <a:buFont typeface="Arial" panose="020B0604020202020204" pitchFamily="34" charset="0"/>
              <a:buChar char="•"/>
              <a:defRPr lang="en-US" sz="1600" dirty="0"/>
            </a:lvl4pPr>
            <a:lvl5pPr marL="813600" lvl="4" indent="-147600">
              <a:lnSpc>
                <a:spcPct val="100000"/>
              </a:lnSpc>
              <a:spcBef>
                <a:spcPts val="0"/>
              </a:spcBef>
              <a:spcAft>
                <a:spcPts val="300"/>
              </a:spcAft>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None/>
              <a:tabLst/>
              <a:defRPr/>
            </a:pPr>
            <a:r>
              <a:rPr kumimoji="0" lang="en-US" sz="1800" b="1" i="0" u="none" strike="noStrike" kern="1200" cap="none" spc="0" normalizeH="0" baseline="0" noProof="0">
                <a:ln>
                  <a:noFill/>
                </a:ln>
                <a:solidFill>
                  <a:srgbClr val="000000"/>
                </a:solidFill>
                <a:effectLst/>
                <a:uLnTx/>
                <a:uFillTx/>
                <a:ea typeface="+mn-ea"/>
                <a:cs typeface="Arial" panose="020B0604020202020204" pitchFamily="34" charset="0"/>
              </a:rPr>
              <a:t>Advanced nuclear capacity,</a:t>
            </a:r>
            <a:r>
              <a:rPr kumimoji="0" lang="en-US" sz="1800" i="0" u="none" strike="noStrike" kern="1200" cap="none" spc="0" normalizeH="0" baseline="0" noProof="0">
                <a:ln>
                  <a:noFill/>
                </a:ln>
                <a:solidFill>
                  <a:srgbClr val="000000"/>
                </a:solidFill>
                <a:effectLst/>
                <a:uLnTx/>
                <a:uFillTx/>
                <a:ea typeface="+mn-ea"/>
                <a:cs typeface="Arial" panose="020B0604020202020204" pitchFamily="34" charset="0"/>
              </a:rPr>
              <a:t> GW</a:t>
            </a:r>
          </a:p>
        </p:txBody>
      </p:sp>
      <p:cxnSp>
        <p:nvCxnSpPr>
          <p:cNvPr id="5" name="LineSeparatorDefault 213">
            <a:extLst>
              <a:ext uri="{FF2B5EF4-FFF2-40B4-BE49-F238E27FC236}">
                <a16:creationId xmlns:a16="http://schemas.microsoft.com/office/drawing/2014/main" id="{713FBAD8-AD77-7F62-4716-9F00E19E4E5E}"/>
              </a:ext>
            </a:extLst>
          </p:cNvPr>
          <p:cNvCxnSpPr>
            <a:cxnSpLocks/>
          </p:cNvCxnSpPr>
          <p:nvPr>
            <p:custDataLst>
              <p:tags r:id="rId1"/>
            </p:custDataLst>
          </p:nvPr>
        </p:nvCxnSpPr>
        <p:spPr>
          <a:xfrm>
            <a:off x="563563" y="1754021"/>
            <a:ext cx="8321040" cy="0"/>
          </a:xfrm>
          <a:prstGeom prst="straightConnector1">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2C732D50-75C6-D6C8-07CA-D5E480BB653F}"/>
              </a:ext>
            </a:extLst>
          </p:cNvPr>
          <p:cNvSpPr txBox="1">
            <a:spLocks/>
          </p:cNvSpPr>
          <p:nvPr/>
        </p:nvSpPr>
        <p:spPr>
          <a:xfrm>
            <a:off x="582612" y="1466879"/>
            <a:ext cx="3815461" cy="264688"/>
          </a:xfrm>
          <a:prstGeom prst="rect">
            <a:avLst/>
          </a:prstGeom>
        </p:spPr>
        <p:txBody>
          <a:bodyPr vert="horz" wrap="square" lIns="0" tIns="0" rIns="0" bIns="18288" rtlCol="0" anchor="b">
            <a:no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228600" lvl="1" indent="-230400">
              <a:lnSpc>
                <a:spcPct val="100000"/>
              </a:lnSpc>
              <a:spcBef>
                <a:spcPts val="0"/>
              </a:spcBef>
              <a:spcAft>
                <a:spcPts val="300"/>
              </a:spcAft>
              <a:buSzPct val="110000"/>
              <a:buFont typeface="Wingdings" panose="05000000000000000000" pitchFamily="2" charset="2"/>
              <a:buChar char=""/>
              <a:defRPr lang="en-US" sz="1600" dirty="0"/>
            </a:lvl2pPr>
            <a:lvl3pPr marL="439200" lvl="2" indent="-208800">
              <a:lnSpc>
                <a:spcPct val="100000"/>
              </a:lnSpc>
              <a:spcBef>
                <a:spcPts val="0"/>
              </a:spcBef>
              <a:spcAft>
                <a:spcPts val="300"/>
              </a:spcAft>
              <a:buSzPct val="110000"/>
              <a:buFont typeface="Arial" panose="020B0604020202020204" pitchFamily="34" charset="0"/>
              <a:buChar char="‒"/>
              <a:defRPr lang="en-US" sz="1600" dirty="0"/>
            </a:lvl3pPr>
            <a:lvl4pPr marL="604800" lvl="3" indent="-154800">
              <a:lnSpc>
                <a:spcPct val="100000"/>
              </a:lnSpc>
              <a:spcBef>
                <a:spcPts val="0"/>
              </a:spcBef>
              <a:spcAft>
                <a:spcPts val="300"/>
              </a:spcAft>
              <a:buFont typeface="Arial" panose="020B0604020202020204" pitchFamily="34" charset="0"/>
              <a:buChar char="•"/>
              <a:defRPr lang="en-US" sz="1600" dirty="0"/>
            </a:lvl4pPr>
            <a:lvl5pPr marL="813600" lvl="4" indent="-147600">
              <a:lnSpc>
                <a:spcPct val="100000"/>
              </a:lnSpc>
              <a:spcBef>
                <a:spcPts val="0"/>
              </a:spcBef>
              <a:spcAft>
                <a:spcPts val="300"/>
              </a:spcAft>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None/>
              <a:tabLst/>
              <a:defRPr/>
            </a:pPr>
            <a:r>
              <a:rPr kumimoji="0" lang="en-US" sz="1800" b="1" i="0" u="none" strike="noStrike" kern="1200" cap="none" spc="0" normalizeH="0" baseline="0" noProof="0">
                <a:ln>
                  <a:noFill/>
                </a:ln>
                <a:solidFill>
                  <a:srgbClr val="000000"/>
                </a:solidFill>
                <a:effectLst/>
                <a:uLnTx/>
                <a:uFillTx/>
                <a:ea typeface="+mn-ea"/>
                <a:cs typeface="Arial" panose="020B0604020202020204" pitchFamily="34" charset="0"/>
              </a:rPr>
              <a:t>Model</a:t>
            </a:r>
          </a:p>
        </p:txBody>
      </p:sp>
      <p:sp>
        <p:nvSpPr>
          <p:cNvPr id="7" name="TextBox 6">
            <a:extLst>
              <a:ext uri="{FF2B5EF4-FFF2-40B4-BE49-F238E27FC236}">
                <a16:creationId xmlns:a16="http://schemas.microsoft.com/office/drawing/2014/main" id="{668777EE-B05F-DC53-C3FB-F6DC9E30E2B1}"/>
              </a:ext>
            </a:extLst>
          </p:cNvPr>
          <p:cNvSpPr txBox="1">
            <a:spLocks/>
          </p:cNvSpPr>
          <p:nvPr/>
        </p:nvSpPr>
        <p:spPr>
          <a:xfrm>
            <a:off x="582612" y="1827503"/>
            <a:ext cx="3815461" cy="215444"/>
          </a:xfrm>
          <a:prstGeom prst="rect">
            <a:avLst/>
          </a:prstGeom>
        </p:spPr>
        <p:txBody>
          <a:bodyPr vert="horz" wrap="square" lIns="0" tIns="0" rIns="0" bIns="0" rtlCol="0">
            <a:no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228600" lvl="1" indent="-230400">
              <a:lnSpc>
                <a:spcPct val="100000"/>
              </a:lnSpc>
              <a:spcBef>
                <a:spcPts val="0"/>
              </a:spcBef>
              <a:spcAft>
                <a:spcPts val="300"/>
              </a:spcAft>
              <a:buSzPct val="110000"/>
              <a:buFont typeface="Wingdings" panose="05000000000000000000" pitchFamily="2" charset="2"/>
              <a:buChar char=""/>
              <a:defRPr lang="en-US" sz="1600" dirty="0"/>
            </a:lvl2pPr>
            <a:lvl3pPr marL="439200" lvl="2" indent="-208800">
              <a:lnSpc>
                <a:spcPct val="100000"/>
              </a:lnSpc>
              <a:spcBef>
                <a:spcPts val="0"/>
              </a:spcBef>
              <a:spcAft>
                <a:spcPts val="300"/>
              </a:spcAft>
              <a:buSzPct val="110000"/>
              <a:buFont typeface="Arial" panose="020B0604020202020204" pitchFamily="34" charset="0"/>
              <a:buChar char="‒"/>
              <a:defRPr lang="en-US" sz="1600" dirty="0"/>
            </a:lvl3pPr>
            <a:lvl4pPr marL="604800" lvl="3" indent="-154800">
              <a:lnSpc>
                <a:spcPct val="100000"/>
              </a:lnSpc>
              <a:spcBef>
                <a:spcPts val="0"/>
              </a:spcBef>
              <a:spcAft>
                <a:spcPts val="300"/>
              </a:spcAft>
              <a:buFont typeface="Arial" panose="020B0604020202020204" pitchFamily="34" charset="0"/>
              <a:buChar char="•"/>
              <a:defRPr lang="en-US" sz="1600" dirty="0"/>
            </a:lvl4pPr>
            <a:lvl5pPr marL="813600" lvl="4" indent="-147600">
              <a:lnSpc>
                <a:spcPct val="100000"/>
              </a:lnSpc>
              <a:spcBef>
                <a:spcPts val="0"/>
              </a:spcBef>
              <a:spcAft>
                <a:spcPts val="300"/>
              </a:spcAft>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400" b="1" i="0" u="none" strike="noStrike" kern="1200" cap="none" spc="0" normalizeH="0" baseline="0" noProof="0">
                <a:ln>
                  <a:noFill/>
                </a:ln>
                <a:solidFill>
                  <a:srgbClr val="000000"/>
                </a:solidFill>
                <a:effectLst/>
                <a:uLnTx/>
                <a:uFillTx/>
                <a:ea typeface="+mn-ea"/>
                <a:cs typeface="Arial" panose="020B0604020202020204" pitchFamily="34" charset="0"/>
              </a:rPr>
              <a:t>Demonstration and Deployment Pathways Modeling (this report)</a:t>
            </a:r>
            <a:r>
              <a:rPr kumimoji="0" lang="en-US" sz="1400" b="1" i="0" u="none" strike="noStrike" kern="1200" cap="none" spc="0" normalizeH="0" baseline="30000" noProof="0">
                <a:ln>
                  <a:noFill/>
                </a:ln>
                <a:solidFill>
                  <a:srgbClr val="000000"/>
                </a:solidFill>
                <a:effectLst/>
                <a:uLnTx/>
                <a:uFillTx/>
                <a:ea typeface="+mn-ea"/>
                <a:cs typeface="Arial" panose="020B0604020202020204" pitchFamily="34" charset="0"/>
              </a:rPr>
              <a:t>2</a:t>
            </a:r>
            <a:r>
              <a:rPr kumimoji="0" lang="en-US" sz="1400" b="1" i="0" u="none" strike="noStrike" kern="1200" cap="none" spc="0" normalizeH="0" noProof="0">
                <a:ln>
                  <a:noFill/>
                </a:ln>
                <a:solidFill>
                  <a:srgbClr val="000000"/>
                </a:solidFill>
                <a:effectLst/>
                <a:uLnTx/>
                <a:uFillTx/>
                <a:ea typeface="+mn-ea"/>
                <a:cs typeface="Arial" panose="020B0604020202020204" pitchFamily="34" charset="0"/>
              </a:rPr>
              <a:t> </a:t>
            </a:r>
          </a:p>
        </p:txBody>
      </p:sp>
      <p:sp>
        <p:nvSpPr>
          <p:cNvPr id="8" name="TextBox 7">
            <a:extLst>
              <a:ext uri="{FF2B5EF4-FFF2-40B4-BE49-F238E27FC236}">
                <a16:creationId xmlns:a16="http://schemas.microsoft.com/office/drawing/2014/main" id="{B1209B61-3AC8-545C-8FDA-5E6BF9E2C295}"/>
              </a:ext>
            </a:extLst>
          </p:cNvPr>
          <p:cNvSpPr txBox="1">
            <a:spLocks/>
          </p:cNvSpPr>
          <p:nvPr/>
        </p:nvSpPr>
        <p:spPr>
          <a:xfrm>
            <a:off x="582612" y="2565579"/>
            <a:ext cx="3815461" cy="215444"/>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228600" lvl="1" indent="-230400">
              <a:lnSpc>
                <a:spcPct val="100000"/>
              </a:lnSpc>
              <a:spcBef>
                <a:spcPts val="0"/>
              </a:spcBef>
              <a:spcAft>
                <a:spcPts val="300"/>
              </a:spcAft>
              <a:buSzPct val="110000"/>
              <a:buFont typeface="Wingdings" panose="05000000000000000000" pitchFamily="2" charset="2"/>
              <a:buChar char=""/>
              <a:defRPr lang="en-US" sz="1600" dirty="0"/>
            </a:lvl2pPr>
            <a:lvl3pPr marL="439200" lvl="2" indent="-208800">
              <a:lnSpc>
                <a:spcPct val="100000"/>
              </a:lnSpc>
              <a:spcBef>
                <a:spcPts val="0"/>
              </a:spcBef>
              <a:spcAft>
                <a:spcPts val="300"/>
              </a:spcAft>
              <a:buSzPct val="110000"/>
              <a:buFont typeface="Arial" panose="020B0604020202020204" pitchFamily="34" charset="0"/>
              <a:buChar char="‒"/>
              <a:defRPr lang="en-US" sz="1600" dirty="0"/>
            </a:lvl3pPr>
            <a:lvl4pPr marL="604800" lvl="3" indent="-154800">
              <a:lnSpc>
                <a:spcPct val="100000"/>
              </a:lnSpc>
              <a:spcBef>
                <a:spcPts val="0"/>
              </a:spcBef>
              <a:spcAft>
                <a:spcPts val="300"/>
              </a:spcAft>
              <a:buFont typeface="Arial" panose="020B0604020202020204" pitchFamily="34" charset="0"/>
              <a:buChar char="•"/>
              <a:defRPr lang="en-US" sz="1600" dirty="0"/>
            </a:lvl4pPr>
            <a:lvl5pPr marL="813600" lvl="4" indent="-147600">
              <a:lnSpc>
                <a:spcPct val="100000"/>
              </a:lnSpc>
              <a:spcBef>
                <a:spcPts val="0"/>
              </a:spcBef>
              <a:spcAft>
                <a:spcPts val="300"/>
              </a:spcAft>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400" b="1" i="0" u="none" strike="noStrike" kern="1200" cap="none" spc="0" normalizeH="0" baseline="0" noProof="0">
                <a:ln>
                  <a:noFill/>
                </a:ln>
                <a:solidFill>
                  <a:srgbClr val="000000"/>
                </a:solidFill>
                <a:effectLst/>
                <a:uLnTx/>
                <a:uFillTx/>
                <a:ea typeface="+mn-ea"/>
                <a:cs typeface="Arial" panose="020B0604020202020204" pitchFamily="34" charset="0"/>
              </a:rPr>
              <a:t>NREL, 2022 “100% Clean Electricity by 2035”</a:t>
            </a:r>
          </a:p>
        </p:txBody>
      </p:sp>
      <p:sp>
        <p:nvSpPr>
          <p:cNvPr id="9" name="TextBox 8">
            <a:extLst>
              <a:ext uri="{FF2B5EF4-FFF2-40B4-BE49-F238E27FC236}">
                <a16:creationId xmlns:a16="http://schemas.microsoft.com/office/drawing/2014/main" id="{C6DF6A92-A31E-25FA-C015-14583473C9F1}"/>
              </a:ext>
            </a:extLst>
          </p:cNvPr>
          <p:cNvSpPr txBox="1">
            <a:spLocks/>
          </p:cNvSpPr>
          <p:nvPr/>
        </p:nvSpPr>
        <p:spPr>
          <a:xfrm>
            <a:off x="582612" y="4164999"/>
            <a:ext cx="3815461" cy="430887"/>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228600" lvl="1" indent="-230400">
              <a:lnSpc>
                <a:spcPct val="100000"/>
              </a:lnSpc>
              <a:spcBef>
                <a:spcPts val="0"/>
              </a:spcBef>
              <a:spcAft>
                <a:spcPts val="300"/>
              </a:spcAft>
              <a:buSzPct val="110000"/>
              <a:buFont typeface="Wingdings" panose="05000000000000000000" pitchFamily="2" charset="2"/>
              <a:buChar char=""/>
              <a:defRPr lang="en-US" sz="1600" dirty="0"/>
            </a:lvl2pPr>
            <a:lvl3pPr marL="439200" lvl="2" indent="-208800">
              <a:lnSpc>
                <a:spcPct val="100000"/>
              </a:lnSpc>
              <a:spcBef>
                <a:spcPts val="0"/>
              </a:spcBef>
              <a:spcAft>
                <a:spcPts val="300"/>
              </a:spcAft>
              <a:buSzPct val="110000"/>
              <a:buFont typeface="Arial" panose="020B0604020202020204" pitchFamily="34" charset="0"/>
              <a:buChar char="‒"/>
              <a:defRPr lang="en-US" sz="1600" dirty="0"/>
            </a:lvl3pPr>
            <a:lvl4pPr marL="604800" lvl="3" indent="-154800">
              <a:lnSpc>
                <a:spcPct val="100000"/>
              </a:lnSpc>
              <a:spcBef>
                <a:spcPts val="0"/>
              </a:spcBef>
              <a:spcAft>
                <a:spcPts val="300"/>
              </a:spcAft>
              <a:buFont typeface="Arial" panose="020B0604020202020204" pitchFamily="34" charset="0"/>
              <a:buChar char="•"/>
              <a:defRPr lang="en-US" sz="1600" dirty="0"/>
            </a:lvl4pPr>
            <a:lvl5pPr marL="813600" lvl="4" indent="-147600">
              <a:lnSpc>
                <a:spcPct val="100000"/>
              </a:lnSpc>
              <a:spcBef>
                <a:spcPts val="0"/>
              </a:spcBef>
              <a:spcAft>
                <a:spcPts val="300"/>
              </a:spcAft>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400" b="1" i="0" u="none" strike="noStrike" kern="1200" cap="none" spc="0" normalizeH="0" baseline="0" noProof="0">
                <a:ln>
                  <a:noFill/>
                </a:ln>
                <a:solidFill>
                  <a:srgbClr val="000000"/>
                </a:solidFill>
                <a:effectLst/>
                <a:uLnTx/>
                <a:uFillTx/>
                <a:ea typeface="+mn-ea"/>
                <a:cs typeface="Arial" panose="020B0604020202020204" pitchFamily="34" charset="0"/>
              </a:rPr>
              <a:t>Breakthrough Institute, 2022 “Advancing Nuclear Energy”</a:t>
            </a:r>
          </a:p>
        </p:txBody>
      </p:sp>
      <p:sp>
        <p:nvSpPr>
          <p:cNvPr id="10" name="TextBox 9">
            <a:extLst>
              <a:ext uri="{FF2B5EF4-FFF2-40B4-BE49-F238E27FC236}">
                <a16:creationId xmlns:a16="http://schemas.microsoft.com/office/drawing/2014/main" id="{2BB31C8E-DAFE-FB8E-5AB9-8F2CBB98C879}"/>
              </a:ext>
            </a:extLst>
          </p:cNvPr>
          <p:cNvSpPr txBox="1">
            <a:spLocks/>
          </p:cNvSpPr>
          <p:nvPr/>
        </p:nvSpPr>
        <p:spPr>
          <a:xfrm>
            <a:off x="582612" y="3334105"/>
            <a:ext cx="3815461" cy="646331"/>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228600" lvl="1" indent="-230400">
              <a:lnSpc>
                <a:spcPct val="100000"/>
              </a:lnSpc>
              <a:spcBef>
                <a:spcPts val="0"/>
              </a:spcBef>
              <a:spcAft>
                <a:spcPts val="300"/>
              </a:spcAft>
              <a:buSzPct val="110000"/>
              <a:buFont typeface="Wingdings" panose="05000000000000000000" pitchFamily="2" charset="2"/>
              <a:buChar char=""/>
              <a:defRPr lang="en-US" sz="1600" dirty="0"/>
            </a:lvl2pPr>
            <a:lvl3pPr marL="439200" lvl="2" indent="-208800">
              <a:lnSpc>
                <a:spcPct val="100000"/>
              </a:lnSpc>
              <a:spcBef>
                <a:spcPts val="0"/>
              </a:spcBef>
              <a:spcAft>
                <a:spcPts val="300"/>
              </a:spcAft>
              <a:buSzPct val="110000"/>
              <a:buFont typeface="Arial" panose="020B0604020202020204" pitchFamily="34" charset="0"/>
              <a:buChar char="‒"/>
              <a:defRPr lang="en-US" sz="1600" dirty="0"/>
            </a:lvl3pPr>
            <a:lvl4pPr marL="604800" lvl="3" indent="-154800">
              <a:lnSpc>
                <a:spcPct val="100000"/>
              </a:lnSpc>
              <a:spcBef>
                <a:spcPts val="0"/>
              </a:spcBef>
              <a:spcAft>
                <a:spcPts val="300"/>
              </a:spcAft>
              <a:buFont typeface="Arial" panose="020B0604020202020204" pitchFamily="34" charset="0"/>
              <a:buChar char="•"/>
              <a:defRPr lang="en-US" sz="1600" dirty="0"/>
            </a:lvl4pPr>
            <a:lvl5pPr marL="813600" lvl="4" indent="-147600">
              <a:lnSpc>
                <a:spcPct val="100000"/>
              </a:lnSpc>
              <a:spcBef>
                <a:spcPts val="0"/>
              </a:spcBef>
              <a:spcAft>
                <a:spcPts val="300"/>
              </a:spcAft>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400" b="1" i="0" u="none" strike="noStrike" kern="1200" cap="none" spc="0" normalizeH="0" baseline="0" noProof="0">
                <a:ln>
                  <a:noFill/>
                </a:ln>
                <a:solidFill>
                  <a:srgbClr val="000000"/>
                </a:solidFill>
                <a:effectLst/>
                <a:uLnTx/>
                <a:uFillTx/>
                <a:ea typeface="+mn-ea"/>
                <a:cs typeface="Arial" panose="020B0604020202020204" pitchFamily="34" charset="0"/>
              </a:rPr>
              <a:t>Princeton University “Net-Zero America: Potential Pathways, Infrastructure, and Impacts” </a:t>
            </a:r>
          </a:p>
        </p:txBody>
      </p:sp>
      <p:sp>
        <p:nvSpPr>
          <p:cNvPr id="11" name="TextBox 10">
            <a:extLst>
              <a:ext uri="{FF2B5EF4-FFF2-40B4-BE49-F238E27FC236}">
                <a16:creationId xmlns:a16="http://schemas.microsoft.com/office/drawing/2014/main" id="{176AA629-F9EE-C904-712B-A79BE9BB4F81}"/>
              </a:ext>
            </a:extLst>
          </p:cNvPr>
          <p:cNvSpPr txBox="1">
            <a:spLocks/>
          </p:cNvSpPr>
          <p:nvPr/>
        </p:nvSpPr>
        <p:spPr>
          <a:xfrm>
            <a:off x="582612" y="4912183"/>
            <a:ext cx="3815461" cy="646331"/>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228600" lvl="1" indent="-230400">
              <a:lnSpc>
                <a:spcPct val="100000"/>
              </a:lnSpc>
              <a:spcBef>
                <a:spcPts val="0"/>
              </a:spcBef>
              <a:spcAft>
                <a:spcPts val="300"/>
              </a:spcAft>
              <a:buSzPct val="110000"/>
              <a:buFont typeface="Wingdings" panose="05000000000000000000" pitchFamily="2" charset="2"/>
              <a:buChar char=""/>
              <a:defRPr lang="en-US" sz="1600" dirty="0"/>
            </a:lvl2pPr>
            <a:lvl3pPr marL="439200" lvl="2" indent="-208800">
              <a:lnSpc>
                <a:spcPct val="100000"/>
              </a:lnSpc>
              <a:spcBef>
                <a:spcPts val="0"/>
              </a:spcBef>
              <a:spcAft>
                <a:spcPts val="300"/>
              </a:spcAft>
              <a:buSzPct val="110000"/>
              <a:buFont typeface="Arial" panose="020B0604020202020204" pitchFamily="34" charset="0"/>
              <a:buChar char="‒"/>
              <a:defRPr lang="en-US" sz="1600" dirty="0"/>
            </a:lvl3pPr>
            <a:lvl4pPr marL="604800" lvl="3" indent="-154800">
              <a:lnSpc>
                <a:spcPct val="100000"/>
              </a:lnSpc>
              <a:spcBef>
                <a:spcPts val="0"/>
              </a:spcBef>
              <a:spcAft>
                <a:spcPts val="300"/>
              </a:spcAft>
              <a:buFont typeface="Arial" panose="020B0604020202020204" pitchFamily="34" charset="0"/>
              <a:buChar char="•"/>
              <a:defRPr lang="en-US" sz="1600" dirty="0"/>
            </a:lvl4pPr>
            <a:lvl5pPr marL="813600" lvl="4" indent="-147600">
              <a:lnSpc>
                <a:spcPct val="100000"/>
              </a:lnSpc>
              <a:spcBef>
                <a:spcPts val="0"/>
              </a:spcBef>
              <a:spcAft>
                <a:spcPts val="300"/>
              </a:spcAft>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400" b="1" i="0" u="none" strike="noStrike" kern="1200" cap="none" spc="0" normalizeH="0" baseline="0" noProof="0">
                <a:ln>
                  <a:noFill/>
                </a:ln>
                <a:solidFill>
                  <a:srgbClr val="000000"/>
                </a:solidFill>
                <a:effectLst/>
                <a:uLnTx/>
                <a:uFillTx/>
                <a:ea typeface="+mn-ea"/>
                <a:cs typeface="Arial" panose="020B0604020202020204" pitchFamily="34" charset="0"/>
              </a:rPr>
              <a:t>Vibrant Clean Energy, 2022 “Role of Electricity Produced by Advanced Nuclear Technologies”</a:t>
            </a:r>
          </a:p>
        </p:txBody>
      </p:sp>
      <p:graphicFrame>
        <p:nvGraphicFramePr>
          <p:cNvPr id="12" name="Chart 11">
            <a:extLst>
              <a:ext uri="{FF2B5EF4-FFF2-40B4-BE49-F238E27FC236}">
                <a16:creationId xmlns:a16="http://schemas.microsoft.com/office/drawing/2014/main" id="{5EC5E5B6-A3E1-9B01-3679-BC03089DE686}"/>
              </a:ext>
            </a:extLst>
          </p:cNvPr>
          <p:cNvGraphicFramePr/>
          <p:nvPr>
            <p:custDataLst>
              <p:tags r:id="rId2"/>
            </p:custDataLst>
            <p:extLst>
              <p:ext uri="{D42A27DB-BD31-4B8C-83A1-F6EECF244321}">
                <p14:modId xmlns:p14="http://schemas.microsoft.com/office/powerpoint/2010/main" val="147186805"/>
              </p:ext>
            </p:extLst>
          </p:nvPr>
        </p:nvGraphicFramePr>
        <p:xfrm>
          <a:off x="5060950" y="1764225"/>
          <a:ext cx="3771900" cy="701675"/>
        </p:xfrm>
        <a:graphic>
          <a:graphicData uri="http://schemas.openxmlformats.org/drawingml/2006/chart">
            <c:chart xmlns:c="http://schemas.openxmlformats.org/drawingml/2006/chart" xmlns:r="http://schemas.openxmlformats.org/officeDocument/2006/relationships" r:id="rId31"/>
          </a:graphicData>
        </a:graphic>
      </p:graphicFrame>
      <p:sp>
        <p:nvSpPr>
          <p:cNvPr id="13" name="Text Placeholder 4">
            <a:extLst>
              <a:ext uri="{FF2B5EF4-FFF2-40B4-BE49-F238E27FC236}">
                <a16:creationId xmlns:a16="http://schemas.microsoft.com/office/drawing/2014/main" id="{31C4EF75-6E90-9D70-CB96-916C2081C37F}"/>
              </a:ext>
            </a:extLst>
          </p:cNvPr>
          <p:cNvSpPr>
            <a:spLocks noGrp="1"/>
          </p:cNvSpPr>
          <p:nvPr>
            <p:custDataLst>
              <p:tags r:id="rId3"/>
            </p:custDataLst>
          </p:nvPr>
        </p:nvSpPr>
        <p:spPr bwMode="auto">
          <a:xfrm>
            <a:off x="4705350" y="2022988"/>
            <a:ext cx="3365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30400" algn="l" defTabSz="914400" rtl="0" eaLnBrk="1" latinLnBrk="0" hangingPunct="1">
              <a:lnSpc>
                <a:spcPct val="100000"/>
              </a:lnSpc>
              <a:spcBef>
                <a:spcPts val="0"/>
              </a:spcBef>
              <a:spcAft>
                <a:spcPts val="300"/>
              </a:spcAft>
              <a:buSzPct val="110000"/>
              <a:buFont typeface="Wingdings" panose="05000000000000000000" pitchFamily="2" charset="2"/>
              <a:buChar char=""/>
              <a:defRPr lang="en-US" sz="1600" kern="1200" dirty="0">
                <a:solidFill>
                  <a:schemeClr val="tx1"/>
                </a:solidFill>
                <a:latin typeface="+mn-lt"/>
                <a:ea typeface="+mn-ea"/>
                <a:cs typeface="+mn-cs"/>
              </a:defRPr>
            </a:lvl2pPr>
            <a:lvl3pPr marL="439200" indent="-208800" algn="l" defTabSz="914400" rtl="0" eaLnBrk="1" latinLnBrk="0" hangingPunct="1">
              <a:lnSpc>
                <a:spcPct val="100000"/>
              </a:lnSpc>
              <a:spcBef>
                <a:spcPts val="0"/>
              </a:spcBef>
              <a:spcAft>
                <a:spcPts val="300"/>
              </a:spcAft>
              <a:buSzPct val="110000"/>
              <a:buFont typeface="Arial" panose="020B0604020202020204" pitchFamily="34" charset="0"/>
              <a:buChar char="‒"/>
              <a:defRPr lang="en-US" sz="1600" kern="1200" dirty="0">
                <a:solidFill>
                  <a:schemeClr val="tx1"/>
                </a:solidFill>
                <a:latin typeface="+mn-lt"/>
                <a:ea typeface="+mn-ea"/>
                <a:cs typeface="+mn-cs"/>
              </a:defRPr>
            </a:lvl3pPr>
            <a:lvl4pPr marL="604800" indent="-154800" algn="l" defTabSz="914400" rtl="0" eaLnBrk="1" latinLnBrk="0" hangingPunct="1">
              <a:lnSpc>
                <a:spcPct val="100000"/>
              </a:lnSpc>
              <a:spcBef>
                <a:spcPts val="0"/>
              </a:spcBef>
              <a:spcAft>
                <a:spcPts val="300"/>
              </a:spcAft>
              <a:buFont typeface="Arial" panose="020B0604020202020204" pitchFamily="34" charset="0"/>
              <a:buChar char="•"/>
              <a:defRPr lang="en-US" sz="1600" kern="1200" dirty="0">
                <a:solidFill>
                  <a:schemeClr val="tx1"/>
                </a:solidFill>
                <a:latin typeface="+mn-lt"/>
                <a:ea typeface="+mn-ea"/>
                <a:cs typeface="+mn-cs"/>
              </a:defRPr>
            </a:lvl4pPr>
            <a:lvl5pPr marL="813600" indent="-147600" algn="l" defTabSz="914400" rtl="0" eaLnBrk="1" latinLnBrk="0" hangingPunct="1">
              <a:lnSpc>
                <a:spcPct val="100000"/>
              </a:lnSpc>
              <a:spcBef>
                <a:spcPts val="0"/>
              </a:spcBef>
              <a:spcAft>
                <a:spcPts val="300"/>
              </a:spcAft>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defRPr/>
            </a:pPr>
            <a:fld id="{5390DF5A-9A35-4F22-8BE8-6E336855E042}" type="datetime'2''''''''''''''''''''0''''''5''0'''''''''''''''''''''''">
              <a:rPr lang="en-US" altLang="en-US" sz="1200" smtClean="0">
                <a:solidFill>
                  <a:srgbClr val="000000"/>
                </a:solidFill>
                <a:cs typeface="+mn-cs"/>
              </a:rPr>
              <a:pPr lvl="0">
                <a:spcBef>
                  <a:spcPct val="0"/>
                </a:spcBef>
                <a:spcAft>
                  <a:spcPct val="0"/>
                </a:spcAft>
                <a:defRPr/>
              </a:pPr>
              <a:t>2050</a:t>
            </a:fld>
            <a:endParaRPr kumimoji="0" lang="en-US" sz="1200" b="0" i="0" strike="noStrike" kern="1200" cap="none" spc="0" normalizeH="0" baseline="0" noProof="0">
              <a:ln>
                <a:noFill/>
              </a:ln>
              <a:solidFill>
                <a:srgbClr val="000000"/>
              </a:solidFill>
              <a:effectLst/>
              <a:uLnTx/>
              <a:uFillTx/>
              <a:cs typeface="+mn-cs"/>
            </a:endParaRPr>
          </a:p>
        </p:txBody>
      </p:sp>
      <p:sp>
        <p:nvSpPr>
          <p:cNvPr id="14" name="Rectangle 13">
            <a:extLst>
              <a:ext uri="{FF2B5EF4-FFF2-40B4-BE49-F238E27FC236}">
                <a16:creationId xmlns:a16="http://schemas.microsoft.com/office/drawing/2014/main" id="{3C53477C-51A5-74D9-EA22-E9001B154B39}"/>
              </a:ext>
            </a:extLst>
          </p:cNvPr>
          <p:cNvSpPr/>
          <p:nvPr>
            <p:custDataLst>
              <p:tags r:id="rId4"/>
            </p:custDataLst>
          </p:nvPr>
        </p:nvSpPr>
        <p:spPr bwMode="auto">
          <a:xfrm>
            <a:off x="4121785" y="1158688"/>
            <a:ext cx="165100" cy="165100"/>
          </a:xfrm>
          <a:prstGeom prst="rect">
            <a:avLst/>
          </a:prstGeom>
          <a:solidFill>
            <a:schemeClr val="accent1"/>
          </a:solidFill>
          <a:ln w="9525" cap="sq" algn="ctr">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Arial"/>
              <a:ea typeface="+mn-ea"/>
              <a:cs typeface="+mn-cs"/>
            </a:endParaRPr>
          </a:p>
        </p:txBody>
      </p:sp>
      <p:sp>
        <p:nvSpPr>
          <p:cNvPr id="15" name="Rectangle 14">
            <a:extLst>
              <a:ext uri="{FF2B5EF4-FFF2-40B4-BE49-F238E27FC236}">
                <a16:creationId xmlns:a16="http://schemas.microsoft.com/office/drawing/2014/main" id="{5A1D8162-0138-4058-C505-BAFC95E6B971}"/>
              </a:ext>
            </a:extLst>
          </p:cNvPr>
          <p:cNvSpPr/>
          <p:nvPr>
            <p:custDataLst>
              <p:tags r:id="rId5"/>
            </p:custDataLst>
          </p:nvPr>
        </p:nvSpPr>
        <p:spPr bwMode="auto">
          <a:xfrm>
            <a:off x="5080635" y="1158688"/>
            <a:ext cx="165100" cy="165100"/>
          </a:xfrm>
          <a:prstGeom prst="rect">
            <a:avLst/>
          </a:prstGeom>
          <a:solidFill>
            <a:schemeClr val="accent2"/>
          </a:solidFill>
          <a:ln w="9525" cap="sq" algn="ctr">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Arial"/>
              <a:ea typeface="+mn-ea"/>
              <a:cs typeface="+mn-cs"/>
            </a:endParaRPr>
          </a:p>
        </p:txBody>
      </p:sp>
      <p:sp>
        <p:nvSpPr>
          <p:cNvPr id="16" name="Rectangle 15">
            <a:extLst>
              <a:ext uri="{FF2B5EF4-FFF2-40B4-BE49-F238E27FC236}">
                <a16:creationId xmlns:a16="http://schemas.microsoft.com/office/drawing/2014/main" id="{FBFE0C36-0A86-CD54-DA65-0A03FF80CFF0}"/>
              </a:ext>
            </a:extLst>
          </p:cNvPr>
          <p:cNvSpPr/>
          <p:nvPr>
            <p:custDataLst>
              <p:tags r:id="rId6"/>
            </p:custDataLst>
          </p:nvPr>
        </p:nvSpPr>
        <p:spPr bwMode="auto">
          <a:xfrm>
            <a:off x="7877175" y="1158688"/>
            <a:ext cx="165100" cy="165100"/>
          </a:xfrm>
          <a:prstGeom prst="rect">
            <a:avLst/>
          </a:prstGeom>
          <a:solidFill>
            <a:schemeClr val="accent3"/>
          </a:solidFill>
          <a:ln w="9525" cap="sq" algn="ctr">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Arial"/>
              <a:ea typeface="+mn-ea"/>
              <a:cs typeface="+mn-cs"/>
            </a:endParaRPr>
          </a:p>
        </p:txBody>
      </p:sp>
      <p:sp>
        <p:nvSpPr>
          <p:cNvPr id="17" name="Text Placeholder 4">
            <a:extLst>
              <a:ext uri="{FF2B5EF4-FFF2-40B4-BE49-F238E27FC236}">
                <a16:creationId xmlns:a16="http://schemas.microsoft.com/office/drawing/2014/main" id="{D8E459FB-D2D1-042B-CF6D-CDEAF7119260}"/>
              </a:ext>
            </a:extLst>
          </p:cNvPr>
          <p:cNvSpPr>
            <a:spLocks noGrp="1"/>
          </p:cNvSpPr>
          <p:nvPr>
            <p:custDataLst>
              <p:tags r:id="rId7"/>
            </p:custDataLst>
          </p:nvPr>
        </p:nvSpPr>
        <p:spPr bwMode="auto">
          <a:xfrm>
            <a:off x="8093075" y="1157100"/>
            <a:ext cx="73183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30400" algn="l" defTabSz="914400" rtl="0" eaLnBrk="1" latinLnBrk="0" hangingPunct="1">
              <a:lnSpc>
                <a:spcPct val="100000"/>
              </a:lnSpc>
              <a:spcBef>
                <a:spcPts val="0"/>
              </a:spcBef>
              <a:spcAft>
                <a:spcPts val="300"/>
              </a:spcAft>
              <a:buSzPct val="110000"/>
              <a:buFont typeface="Wingdings" panose="05000000000000000000" pitchFamily="2" charset="2"/>
              <a:buChar char=""/>
              <a:defRPr lang="en-US" sz="1600" kern="1200" dirty="0">
                <a:solidFill>
                  <a:schemeClr val="tx1"/>
                </a:solidFill>
                <a:latin typeface="+mn-lt"/>
                <a:ea typeface="+mn-ea"/>
                <a:cs typeface="+mn-cs"/>
              </a:defRPr>
            </a:lvl2pPr>
            <a:lvl3pPr marL="439200" indent="-208800" algn="l" defTabSz="914400" rtl="0" eaLnBrk="1" latinLnBrk="0" hangingPunct="1">
              <a:lnSpc>
                <a:spcPct val="100000"/>
              </a:lnSpc>
              <a:spcBef>
                <a:spcPts val="0"/>
              </a:spcBef>
              <a:spcAft>
                <a:spcPts val="300"/>
              </a:spcAft>
              <a:buSzPct val="110000"/>
              <a:buFont typeface="Arial" panose="020B0604020202020204" pitchFamily="34" charset="0"/>
              <a:buChar char="‒"/>
              <a:defRPr lang="en-US" sz="1600" kern="1200" dirty="0">
                <a:solidFill>
                  <a:schemeClr val="tx1"/>
                </a:solidFill>
                <a:latin typeface="+mn-lt"/>
                <a:ea typeface="+mn-ea"/>
                <a:cs typeface="+mn-cs"/>
              </a:defRPr>
            </a:lvl3pPr>
            <a:lvl4pPr marL="604800" indent="-154800" algn="l" defTabSz="914400" rtl="0" eaLnBrk="1" latinLnBrk="0" hangingPunct="1">
              <a:lnSpc>
                <a:spcPct val="100000"/>
              </a:lnSpc>
              <a:spcBef>
                <a:spcPts val="0"/>
              </a:spcBef>
              <a:spcAft>
                <a:spcPts val="300"/>
              </a:spcAft>
              <a:buFont typeface="Arial" panose="020B0604020202020204" pitchFamily="34" charset="0"/>
              <a:buChar char="•"/>
              <a:defRPr lang="en-US" sz="1600" kern="1200" dirty="0">
                <a:solidFill>
                  <a:schemeClr val="tx1"/>
                </a:solidFill>
                <a:latin typeface="+mn-lt"/>
                <a:ea typeface="+mn-ea"/>
                <a:cs typeface="+mn-cs"/>
              </a:defRPr>
            </a:lvl4pPr>
            <a:lvl5pPr marL="813600" indent="-147600" algn="l" defTabSz="914400" rtl="0" eaLnBrk="1" latinLnBrk="0" hangingPunct="1">
              <a:lnSpc>
                <a:spcPct val="100000"/>
              </a:lnSpc>
              <a:spcBef>
                <a:spcPts val="0"/>
              </a:spcBef>
              <a:spcAft>
                <a:spcPts val="300"/>
              </a:spcAft>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defRPr/>
            </a:pPr>
            <a:fld id="{F20CD115-8F57-44DE-B199-870BA3589F4C}" type="datetime'Hi''g''''''''''''''''''''h'''''''''">
              <a:rPr lang="en-US" altLang="en-US" sz="1200" smtClean="0">
                <a:solidFill>
                  <a:srgbClr val="000000"/>
                </a:solidFill>
                <a:cs typeface="+mn-cs"/>
              </a:rPr>
              <a:pPr lvl="0">
                <a:spcBef>
                  <a:spcPct val="0"/>
                </a:spcBef>
                <a:spcAft>
                  <a:spcPct val="0"/>
                </a:spcAft>
                <a:defRPr/>
              </a:pPr>
              <a:t>High</a:t>
            </a:fld>
            <a:r>
              <a:rPr lang="en-US" altLang="en-US" sz="1200">
                <a:solidFill>
                  <a:srgbClr val="000000"/>
                </a:solidFill>
                <a:cs typeface="+mn-cs"/>
              </a:rPr>
              <a:t> case</a:t>
            </a:r>
            <a:r>
              <a:rPr lang="en-US" altLang="en-US" sz="1200" baseline="30000">
                <a:solidFill>
                  <a:srgbClr val="000000"/>
                </a:solidFill>
                <a:cs typeface="+mn-cs"/>
              </a:rPr>
              <a:t>1</a:t>
            </a:r>
            <a:endParaRPr kumimoji="0" lang="en-US" sz="1200" b="0" i="0" strike="noStrike" kern="1200" cap="none" spc="0" normalizeH="0" baseline="30000" noProof="0">
              <a:ln>
                <a:noFill/>
              </a:ln>
              <a:solidFill>
                <a:srgbClr val="000000"/>
              </a:solidFill>
              <a:effectLst/>
              <a:uLnTx/>
              <a:uFillTx/>
              <a:cs typeface="+mn-cs"/>
            </a:endParaRPr>
          </a:p>
        </p:txBody>
      </p:sp>
      <p:sp>
        <p:nvSpPr>
          <p:cNvPr id="18" name="Text Placeholder 4">
            <a:extLst>
              <a:ext uri="{FF2B5EF4-FFF2-40B4-BE49-F238E27FC236}">
                <a16:creationId xmlns:a16="http://schemas.microsoft.com/office/drawing/2014/main" id="{72D36A5C-8644-6BBA-2CE1-4A5EA00FDB13}"/>
              </a:ext>
            </a:extLst>
          </p:cNvPr>
          <p:cNvSpPr>
            <a:spLocks noGrp="1"/>
          </p:cNvSpPr>
          <p:nvPr>
            <p:custDataLst>
              <p:tags r:id="rId8"/>
            </p:custDataLst>
          </p:nvPr>
        </p:nvSpPr>
        <p:spPr bwMode="auto">
          <a:xfrm>
            <a:off x="5296535" y="1157100"/>
            <a:ext cx="256032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30400" algn="l" defTabSz="914400" rtl="0" eaLnBrk="1" latinLnBrk="0" hangingPunct="1">
              <a:lnSpc>
                <a:spcPct val="100000"/>
              </a:lnSpc>
              <a:spcBef>
                <a:spcPts val="0"/>
              </a:spcBef>
              <a:spcAft>
                <a:spcPts val="300"/>
              </a:spcAft>
              <a:buSzPct val="110000"/>
              <a:buFont typeface="Wingdings" panose="05000000000000000000" pitchFamily="2" charset="2"/>
              <a:buChar char=""/>
              <a:defRPr lang="en-US" sz="1600" kern="1200" dirty="0">
                <a:solidFill>
                  <a:schemeClr val="tx1"/>
                </a:solidFill>
                <a:latin typeface="+mn-lt"/>
                <a:ea typeface="+mn-ea"/>
                <a:cs typeface="+mn-cs"/>
              </a:defRPr>
            </a:lvl2pPr>
            <a:lvl3pPr marL="439200" indent="-208800" algn="l" defTabSz="914400" rtl="0" eaLnBrk="1" latinLnBrk="0" hangingPunct="1">
              <a:lnSpc>
                <a:spcPct val="100000"/>
              </a:lnSpc>
              <a:spcBef>
                <a:spcPts val="0"/>
              </a:spcBef>
              <a:spcAft>
                <a:spcPts val="300"/>
              </a:spcAft>
              <a:buSzPct val="110000"/>
              <a:buFont typeface="Arial" panose="020B0604020202020204" pitchFamily="34" charset="0"/>
              <a:buChar char="‒"/>
              <a:defRPr lang="en-US" sz="1600" kern="1200" dirty="0">
                <a:solidFill>
                  <a:schemeClr val="tx1"/>
                </a:solidFill>
                <a:latin typeface="+mn-lt"/>
                <a:ea typeface="+mn-ea"/>
                <a:cs typeface="+mn-cs"/>
              </a:defRPr>
            </a:lvl3pPr>
            <a:lvl4pPr marL="604800" indent="-154800" algn="l" defTabSz="914400" rtl="0" eaLnBrk="1" latinLnBrk="0" hangingPunct="1">
              <a:lnSpc>
                <a:spcPct val="100000"/>
              </a:lnSpc>
              <a:spcBef>
                <a:spcPts val="0"/>
              </a:spcBef>
              <a:spcAft>
                <a:spcPts val="300"/>
              </a:spcAft>
              <a:buFont typeface="Arial" panose="020B0604020202020204" pitchFamily="34" charset="0"/>
              <a:buChar char="•"/>
              <a:defRPr lang="en-US" sz="1600" kern="1200" dirty="0">
                <a:solidFill>
                  <a:schemeClr val="tx1"/>
                </a:solidFill>
                <a:latin typeface="+mn-lt"/>
                <a:ea typeface="+mn-ea"/>
                <a:cs typeface="+mn-cs"/>
              </a:defRPr>
            </a:lvl4pPr>
            <a:lvl5pPr marL="813600" indent="-147600" algn="l" defTabSz="914400" rtl="0" eaLnBrk="1" latinLnBrk="0" hangingPunct="1">
              <a:lnSpc>
                <a:spcPct val="100000"/>
              </a:lnSpc>
              <a:spcBef>
                <a:spcPts val="0"/>
              </a:spcBef>
              <a:spcAft>
                <a:spcPts val="300"/>
              </a:spcAft>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defRPr/>
            </a:pPr>
            <a:r>
              <a:rPr lang="en-US" altLang="en-US" sz="1200">
                <a:solidFill>
                  <a:srgbClr val="000000"/>
                </a:solidFill>
                <a:cs typeface="+mn-cs"/>
              </a:rPr>
              <a:t>Infrastructure/renewables limitations</a:t>
            </a:r>
            <a:endParaRPr kumimoji="0" lang="en-US" sz="1200" b="0" i="0" strike="noStrike" kern="1200" cap="none" spc="0" normalizeH="0" baseline="0" noProof="0">
              <a:ln>
                <a:noFill/>
              </a:ln>
              <a:solidFill>
                <a:srgbClr val="000000"/>
              </a:solidFill>
              <a:effectLst/>
              <a:uLnTx/>
              <a:uFillTx/>
              <a:cs typeface="+mn-cs"/>
            </a:endParaRPr>
          </a:p>
        </p:txBody>
      </p:sp>
      <p:sp>
        <p:nvSpPr>
          <p:cNvPr id="19" name="Text Placeholder 4">
            <a:extLst>
              <a:ext uri="{FF2B5EF4-FFF2-40B4-BE49-F238E27FC236}">
                <a16:creationId xmlns:a16="http://schemas.microsoft.com/office/drawing/2014/main" id="{67076D98-E5E4-0A6F-C480-17026D303D35}"/>
              </a:ext>
            </a:extLst>
          </p:cNvPr>
          <p:cNvSpPr>
            <a:spLocks noGrp="1"/>
          </p:cNvSpPr>
          <p:nvPr>
            <p:custDataLst>
              <p:tags r:id="rId9"/>
            </p:custDataLst>
          </p:nvPr>
        </p:nvSpPr>
        <p:spPr bwMode="auto">
          <a:xfrm>
            <a:off x="4337685" y="1157100"/>
            <a:ext cx="6413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30400" algn="l" defTabSz="914400" rtl="0" eaLnBrk="1" latinLnBrk="0" hangingPunct="1">
              <a:lnSpc>
                <a:spcPct val="100000"/>
              </a:lnSpc>
              <a:spcBef>
                <a:spcPts val="0"/>
              </a:spcBef>
              <a:spcAft>
                <a:spcPts val="300"/>
              </a:spcAft>
              <a:buSzPct val="110000"/>
              <a:buFont typeface="Wingdings" panose="05000000000000000000" pitchFamily="2" charset="2"/>
              <a:buChar char=""/>
              <a:defRPr lang="en-US" sz="1600" kern="1200" dirty="0">
                <a:solidFill>
                  <a:schemeClr val="tx1"/>
                </a:solidFill>
                <a:latin typeface="+mn-lt"/>
                <a:ea typeface="+mn-ea"/>
                <a:cs typeface="+mn-cs"/>
              </a:defRPr>
            </a:lvl2pPr>
            <a:lvl3pPr marL="439200" indent="-208800" algn="l" defTabSz="914400" rtl="0" eaLnBrk="1" latinLnBrk="0" hangingPunct="1">
              <a:lnSpc>
                <a:spcPct val="100000"/>
              </a:lnSpc>
              <a:spcBef>
                <a:spcPts val="0"/>
              </a:spcBef>
              <a:spcAft>
                <a:spcPts val="300"/>
              </a:spcAft>
              <a:buSzPct val="110000"/>
              <a:buFont typeface="Arial" panose="020B0604020202020204" pitchFamily="34" charset="0"/>
              <a:buChar char="‒"/>
              <a:defRPr lang="en-US" sz="1600" kern="1200" dirty="0">
                <a:solidFill>
                  <a:schemeClr val="tx1"/>
                </a:solidFill>
                <a:latin typeface="+mn-lt"/>
                <a:ea typeface="+mn-ea"/>
                <a:cs typeface="+mn-cs"/>
              </a:defRPr>
            </a:lvl3pPr>
            <a:lvl4pPr marL="604800" indent="-154800" algn="l" defTabSz="914400" rtl="0" eaLnBrk="1" latinLnBrk="0" hangingPunct="1">
              <a:lnSpc>
                <a:spcPct val="100000"/>
              </a:lnSpc>
              <a:spcBef>
                <a:spcPts val="0"/>
              </a:spcBef>
              <a:spcAft>
                <a:spcPts val="300"/>
              </a:spcAft>
              <a:buFont typeface="Arial" panose="020B0604020202020204" pitchFamily="34" charset="0"/>
              <a:buChar char="•"/>
              <a:defRPr lang="en-US" sz="1600" kern="1200" dirty="0">
                <a:solidFill>
                  <a:schemeClr val="tx1"/>
                </a:solidFill>
                <a:latin typeface="+mn-lt"/>
                <a:ea typeface="+mn-ea"/>
                <a:cs typeface="+mn-cs"/>
              </a:defRPr>
            </a:lvl4pPr>
            <a:lvl5pPr marL="813600" indent="-147600" algn="l" defTabSz="914400" rtl="0" eaLnBrk="1" latinLnBrk="0" hangingPunct="1">
              <a:lnSpc>
                <a:spcPct val="100000"/>
              </a:lnSpc>
              <a:spcBef>
                <a:spcPts val="0"/>
              </a:spcBef>
              <a:spcAft>
                <a:spcPts val="300"/>
              </a:spcAft>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defRPr/>
            </a:pPr>
            <a:fld id="{72B9572A-BB9C-44B3-8E0D-85C026010AD6}" type="datetime'''''''''''L''''''''''''''o''''''w'''''''''''''''">
              <a:rPr lang="en-US" altLang="en-US" sz="1200" smtClean="0">
                <a:solidFill>
                  <a:srgbClr val="000000"/>
                </a:solidFill>
                <a:cs typeface="+mn-cs"/>
              </a:rPr>
              <a:pPr lvl="0">
                <a:spcBef>
                  <a:spcPct val="0"/>
                </a:spcBef>
                <a:spcAft>
                  <a:spcPct val="0"/>
                </a:spcAft>
                <a:defRPr/>
              </a:pPr>
              <a:t>Low</a:t>
            </a:fld>
            <a:r>
              <a:rPr lang="en-US" altLang="en-US" sz="1200">
                <a:solidFill>
                  <a:srgbClr val="000000"/>
                </a:solidFill>
                <a:cs typeface="+mn-cs"/>
              </a:rPr>
              <a:t> case</a:t>
            </a:r>
            <a:endParaRPr kumimoji="0" lang="en-US" sz="1200" b="0" i="0" strike="noStrike" kern="1200" cap="none" spc="0" normalizeH="0" baseline="0" noProof="0">
              <a:ln>
                <a:noFill/>
              </a:ln>
              <a:solidFill>
                <a:srgbClr val="000000"/>
              </a:solidFill>
              <a:effectLst/>
              <a:uLnTx/>
              <a:uFillTx/>
              <a:cs typeface="+mn-cs"/>
            </a:endParaRPr>
          </a:p>
        </p:txBody>
      </p:sp>
      <p:graphicFrame>
        <p:nvGraphicFramePr>
          <p:cNvPr id="20" name="Chart 19">
            <a:extLst>
              <a:ext uri="{FF2B5EF4-FFF2-40B4-BE49-F238E27FC236}">
                <a16:creationId xmlns:a16="http://schemas.microsoft.com/office/drawing/2014/main" id="{239BD3AB-6738-AD03-D042-71BB53F72084}"/>
              </a:ext>
            </a:extLst>
          </p:cNvPr>
          <p:cNvGraphicFramePr/>
          <p:nvPr>
            <p:custDataLst>
              <p:tags r:id="rId10"/>
            </p:custDataLst>
            <p:extLst>
              <p:ext uri="{D42A27DB-BD31-4B8C-83A1-F6EECF244321}">
                <p14:modId xmlns:p14="http://schemas.microsoft.com/office/powerpoint/2010/main" val="62152197"/>
              </p:ext>
            </p:extLst>
          </p:nvPr>
        </p:nvGraphicFramePr>
        <p:xfrm>
          <a:off x="5060950" y="2550038"/>
          <a:ext cx="3611563" cy="701675"/>
        </p:xfrm>
        <a:graphic>
          <a:graphicData uri="http://schemas.openxmlformats.org/drawingml/2006/chart">
            <c:chart xmlns:c="http://schemas.openxmlformats.org/drawingml/2006/chart" xmlns:r="http://schemas.openxmlformats.org/officeDocument/2006/relationships" r:id="rId32"/>
          </a:graphicData>
        </a:graphic>
      </p:graphicFrame>
      <p:sp>
        <p:nvSpPr>
          <p:cNvPr id="21" name="Text Placeholder 4">
            <a:extLst>
              <a:ext uri="{FF2B5EF4-FFF2-40B4-BE49-F238E27FC236}">
                <a16:creationId xmlns:a16="http://schemas.microsoft.com/office/drawing/2014/main" id="{9480F173-CCFB-FD7A-A99A-339E172382F7}"/>
              </a:ext>
            </a:extLst>
          </p:cNvPr>
          <p:cNvSpPr>
            <a:spLocks noGrp="1"/>
          </p:cNvSpPr>
          <p:nvPr>
            <p:custDataLst>
              <p:tags r:id="rId11"/>
            </p:custDataLst>
          </p:nvPr>
        </p:nvSpPr>
        <p:spPr bwMode="auto">
          <a:xfrm>
            <a:off x="4705350" y="2808800"/>
            <a:ext cx="3365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30400" algn="l" defTabSz="914400" rtl="0" eaLnBrk="1" latinLnBrk="0" hangingPunct="1">
              <a:lnSpc>
                <a:spcPct val="100000"/>
              </a:lnSpc>
              <a:spcBef>
                <a:spcPts val="0"/>
              </a:spcBef>
              <a:spcAft>
                <a:spcPts val="300"/>
              </a:spcAft>
              <a:buSzPct val="110000"/>
              <a:buFont typeface="Wingdings" panose="05000000000000000000" pitchFamily="2" charset="2"/>
              <a:buChar char=""/>
              <a:defRPr lang="en-US" sz="1600" kern="1200" dirty="0">
                <a:solidFill>
                  <a:schemeClr val="tx1"/>
                </a:solidFill>
                <a:latin typeface="+mn-lt"/>
                <a:ea typeface="+mn-ea"/>
                <a:cs typeface="+mn-cs"/>
              </a:defRPr>
            </a:lvl2pPr>
            <a:lvl3pPr marL="439200" indent="-208800" algn="l" defTabSz="914400" rtl="0" eaLnBrk="1" latinLnBrk="0" hangingPunct="1">
              <a:lnSpc>
                <a:spcPct val="100000"/>
              </a:lnSpc>
              <a:spcBef>
                <a:spcPts val="0"/>
              </a:spcBef>
              <a:spcAft>
                <a:spcPts val="300"/>
              </a:spcAft>
              <a:buSzPct val="110000"/>
              <a:buFont typeface="Arial" panose="020B0604020202020204" pitchFamily="34" charset="0"/>
              <a:buChar char="‒"/>
              <a:defRPr lang="en-US" sz="1600" kern="1200" dirty="0">
                <a:solidFill>
                  <a:schemeClr val="tx1"/>
                </a:solidFill>
                <a:latin typeface="+mn-lt"/>
                <a:ea typeface="+mn-ea"/>
                <a:cs typeface="+mn-cs"/>
              </a:defRPr>
            </a:lvl3pPr>
            <a:lvl4pPr marL="604800" indent="-154800" algn="l" defTabSz="914400" rtl="0" eaLnBrk="1" latinLnBrk="0" hangingPunct="1">
              <a:lnSpc>
                <a:spcPct val="100000"/>
              </a:lnSpc>
              <a:spcBef>
                <a:spcPts val="0"/>
              </a:spcBef>
              <a:spcAft>
                <a:spcPts val="300"/>
              </a:spcAft>
              <a:buFont typeface="Arial" panose="020B0604020202020204" pitchFamily="34" charset="0"/>
              <a:buChar char="•"/>
              <a:defRPr lang="en-US" sz="1600" kern="1200" dirty="0">
                <a:solidFill>
                  <a:schemeClr val="tx1"/>
                </a:solidFill>
                <a:latin typeface="+mn-lt"/>
                <a:ea typeface="+mn-ea"/>
                <a:cs typeface="+mn-cs"/>
              </a:defRPr>
            </a:lvl4pPr>
            <a:lvl5pPr marL="813600" indent="-147600" algn="l" defTabSz="914400" rtl="0" eaLnBrk="1" latinLnBrk="0" hangingPunct="1">
              <a:lnSpc>
                <a:spcPct val="100000"/>
              </a:lnSpc>
              <a:spcBef>
                <a:spcPts val="0"/>
              </a:spcBef>
              <a:spcAft>
                <a:spcPts val="300"/>
              </a:spcAft>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defRPr/>
            </a:pPr>
            <a:fld id="{1B5667A8-828B-4F41-BE02-B168D09B4D40}" type="datetime'''''''''''2''''''''''''''''''''''0''''''''''''''3''''''''5'">
              <a:rPr lang="en-US" altLang="en-US" sz="1200" smtClean="0">
                <a:solidFill>
                  <a:srgbClr val="000000"/>
                </a:solidFill>
                <a:cs typeface="+mn-cs"/>
              </a:rPr>
              <a:pPr lvl="0">
                <a:spcBef>
                  <a:spcPct val="0"/>
                </a:spcBef>
                <a:spcAft>
                  <a:spcPct val="0"/>
                </a:spcAft>
                <a:defRPr/>
              </a:pPr>
              <a:t>2035</a:t>
            </a:fld>
            <a:endParaRPr kumimoji="0" lang="en-US" sz="1200" b="0" i="0" strike="noStrike" kern="1200" cap="none" spc="0" normalizeH="0" baseline="0" noProof="0">
              <a:ln>
                <a:noFill/>
              </a:ln>
              <a:solidFill>
                <a:srgbClr val="000000"/>
              </a:solidFill>
              <a:effectLst/>
              <a:uLnTx/>
              <a:uFillTx/>
              <a:cs typeface="+mn-cs"/>
            </a:endParaRPr>
          </a:p>
        </p:txBody>
      </p:sp>
      <p:graphicFrame>
        <p:nvGraphicFramePr>
          <p:cNvPr id="22" name="Chart 21">
            <a:extLst>
              <a:ext uri="{FF2B5EF4-FFF2-40B4-BE49-F238E27FC236}">
                <a16:creationId xmlns:a16="http://schemas.microsoft.com/office/drawing/2014/main" id="{95F09DDF-AC31-00D9-A2D9-2655176FD7EE}"/>
              </a:ext>
            </a:extLst>
          </p:cNvPr>
          <p:cNvGraphicFramePr/>
          <p:nvPr>
            <p:custDataLst>
              <p:tags r:id="rId12"/>
            </p:custDataLst>
            <p:extLst>
              <p:ext uri="{D42A27DB-BD31-4B8C-83A1-F6EECF244321}">
                <p14:modId xmlns:p14="http://schemas.microsoft.com/office/powerpoint/2010/main" val="2070912938"/>
              </p:ext>
            </p:extLst>
          </p:nvPr>
        </p:nvGraphicFramePr>
        <p:xfrm>
          <a:off x="5060950" y="4123250"/>
          <a:ext cx="3875088" cy="700088"/>
        </p:xfrm>
        <a:graphic>
          <a:graphicData uri="http://schemas.openxmlformats.org/drawingml/2006/chart">
            <c:chart xmlns:c="http://schemas.openxmlformats.org/drawingml/2006/chart" xmlns:r="http://schemas.openxmlformats.org/officeDocument/2006/relationships" r:id="rId33"/>
          </a:graphicData>
        </a:graphic>
      </p:graphicFrame>
      <p:sp>
        <p:nvSpPr>
          <p:cNvPr id="23" name="Text Placeholder 4">
            <a:extLst>
              <a:ext uri="{FF2B5EF4-FFF2-40B4-BE49-F238E27FC236}">
                <a16:creationId xmlns:a16="http://schemas.microsoft.com/office/drawing/2014/main" id="{780621C6-B2C0-FF6B-AA13-3C7E77B583D0}"/>
              </a:ext>
            </a:extLst>
          </p:cNvPr>
          <p:cNvSpPr>
            <a:spLocks noGrp="1"/>
          </p:cNvSpPr>
          <p:nvPr>
            <p:custDataLst>
              <p:tags r:id="rId13"/>
            </p:custDataLst>
          </p:nvPr>
        </p:nvSpPr>
        <p:spPr bwMode="auto">
          <a:xfrm>
            <a:off x="4705350" y="4382013"/>
            <a:ext cx="3365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30400" algn="l" defTabSz="914400" rtl="0" eaLnBrk="1" latinLnBrk="0" hangingPunct="1">
              <a:lnSpc>
                <a:spcPct val="100000"/>
              </a:lnSpc>
              <a:spcBef>
                <a:spcPts val="0"/>
              </a:spcBef>
              <a:spcAft>
                <a:spcPts val="300"/>
              </a:spcAft>
              <a:buSzPct val="110000"/>
              <a:buFont typeface="Wingdings" panose="05000000000000000000" pitchFamily="2" charset="2"/>
              <a:buChar char=""/>
              <a:defRPr lang="en-US" sz="1600" kern="1200" dirty="0">
                <a:solidFill>
                  <a:schemeClr val="tx1"/>
                </a:solidFill>
                <a:latin typeface="+mn-lt"/>
                <a:ea typeface="+mn-ea"/>
                <a:cs typeface="+mn-cs"/>
              </a:defRPr>
            </a:lvl2pPr>
            <a:lvl3pPr marL="439200" indent="-208800" algn="l" defTabSz="914400" rtl="0" eaLnBrk="1" latinLnBrk="0" hangingPunct="1">
              <a:lnSpc>
                <a:spcPct val="100000"/>
              </a:lnSpc>
              <a:spcBef>
                <a:spcPts val="0"/>
              </a:spcBef>
              <a:spcAft>
                <a:spcPts val="300"/>
              </a:spcAft>
              <a:buSzPct val="110000"/>
              <a:buFont typeface="Arial" panose="020B0604020202020204" pitchFamily="34" charset="0"/>
              <a:buChar char="‒"/>
              <a:defRPr lang="en-US" sz="1600" kern="1200" dirty="0">
                <a:solidFill>
                  <a:schemeClr val="tx1"/>
                </a:solidFill>
                <a:latin typeface="+mn-lt"/>
                <a:ea typeface="+mn-ea"/>
                <a:cs typeface="+mn-cs"/>
              </a:defRPr>
            </a:lvl3pPr>
            <a:lvl4pPr marL="604800" indent="-154800" algn="l" defTabSz="914400" rtl="0" eaLnBrk="1" latinLnBrk="0" hangingPunct="1">
              <a:lnSpc>
                <a:spcPct val="100000"/>
              </a:lnSpc>
              <a:spcBef>
                <a:spcPts val="0"/>
              </a:spcBef>
              <a:spcAft>
                <a:spcPts val="300"/>
              </a:spcAft>
              <a:buFont typeface="Arial" panose="020B0604020202020204" pitchFamily="34" charset="0"/>
              <a:buChar char="•"/>
              <a:defRPr lang="en-US" sz="1600" kern="1200" dirty="0">
                <a:solidFill>
                  <a:schemeClr val="tx1"/>
                </a:solidFill>
                <a:latin typeface="+mn-lt"/>
                <a:ea typeface="+mn-ea"/>
                <a:cs typeface="+mn-cs"/>
              </a:defRPr>
            </a:lvl4pPr>
            <a:lvl5pPr marL="813600" indent="-147600" algn="l" defTabSz="914400" rtl="0" eaLnBrk="1" latinLnBrk="0" hangingPunct="1">
              <a:lnSpc>
                <a:spcPct val="100000"/>
              </a:lnSpc>
              <a:spcBef>
                <a:spcPts val="0"/>
              </a:spcBef>
              <a:spcAft>
                <a:spcPts val="300"/>
              </a:spcAft>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defRPr/>
            </a:pPr>
            <a:fld id="{84EBDC83-3B32-43A5-A8AA-20B3BBBED424}" type="datetime'''''''''''''2''''''''''''''''''''''05''''''''''''0'''''''''">
              <a:rPr lang="en-US" altLang="en-US" sz="1200" smtClean="0">
                <a:solidFill>
                  <a:srgbClr val="000000"/>
                </a:solidFill>
                <a:cs typeface="+mn-cs"/>
              </a:rPr>
              <a:pPr lvl="0">
                <a:spcBef>
                  <a:spcPct val="0"/>
                </a:spcBef>
                <a:spcAft>
                  <a:spcPct val="0"/>
                </a:spcAft>
                <a:defRPr/>
              </a:pPr>
              <a:t>2050</a:t>
            </a:fld>
            <a:endParaRPr kumimoji="0" lang="en-US" sz="1200" b="0" i="0" strike="noStrike" kern="1200" cap="none" spc="0" normalizeH="0" baseline="0" noProof="0">
              <a:ln>
                <a:noFill/>
              </a:ln>
              <a:solidFill>
                <a:srgbClr val="000000"/>
              </a:solidFill>
              <a:effectLst/>
              <a:uLnTx/>
              <a:uFillTx/>
              <a:cs typeface="+mn-cs"/>
            </a:endParaRPr>
          </a:p>
        </p:txBody>
      </p:sp>
      <p:sp>
        <p:nvSpPr>
          <p:cNvPr id="24" name="Text Placeholder 4">
            <a:extLst>
              <a:ext uri="{FF2B5EF4-FFF2-40B4-BE49-F238E27FC236}">
                <a16:creationId xmlns:a16="http://schemas.microsoft.com/office/drawing/2014/main" id="{70B62D91-E9A7-34D4-3DD9-0B0BD84F6687}"/>
              </a:ext>
            </a:extLst>
          </p:cNvPr>
          <p:cNvSpPr>
            <a:spLocks noGrp="1"/>
          </p:cNvSpPr>
          <p:nvPr>
            <p:custDataLst>
              <p:tags r:id="rId14"/>
            </p:custDataLst>
          </p:nvPr>
        </p:nvSpPr>
        <p:spPr bwMode="gray">
          <a:xfrm>
            <a:off x="5168899" y="4393125"/>
            <a:ext cx="260350"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9050" tIns="0" rIns="19050" bIns="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30400" algn="l" defTabSz="914400" rtl="0" eaLnBrk="1" latinLnBrk="0" hangingPunct="1">
              <a:lnSpc>
                <a:spcPct val="100000"/>
              </a:lnSpc>
              <a:spcBef>
                <a:spcPts val="0"/>
              </a:spcBef>
              <a:spcAft>
                <a:spcPts val="300"/>
              </a:spcAft>
              <a:buSzPct val="110000"/>
              <a:buFont typeface="Wingdings" panose="05000000000000000000" pitchFamily="2" charset="2"/>
              <a:buChar char=""/>
              <a:defRPr lang="en-US" sz="1600" kern="1200" dirty="0">
                <a:solidFill>
                  <a:schemeClr val="tx1"/>
                </a:solidFill>
                <a:latin typeface="+mn-lt"/>
                <a:ea typeface="+mn-ea"/>
                <a:cs typeface="+mn-cs"/>
              </a:defRPr>
            </a:lvl2pPr>
            <a:lvl3pPr marL="439200" indent="-208800" algn="l" defTabSz="914400" rtl="0" eaLnBrk="1" latinLnBrk="0" hangingPunct="1">
              <a:lnSpc>
                <a:spcPct val="100000"/>
              </a:lnSpc>
              <a:spcBef>
                <a:spcPts val="0"/>
              </a:spcBef>
              <a:spcAft>
                <a:spcPts val="300"/>
              </a:spcAft>
              <a:buSzPct val="110000"/>
              <a:buFont typeface="Arial" panose="020B0604020202020204" pitchFamily="34" charset="0"/>
              <a:buChar char="‒"/>
              <a:defRPr lang="en-US" sz="1600" kern="1200" dirty="0">
                <a:solidFill>
                  <a:schemeClr val="tx1"/>
                </a:solidFill>
                <a:latin typeface="+mn-lt"/>
                <a:ea typeface="+mn-ea"/>
                <a:cs typeface="+mn-cs"/>
              </a:defRPr>
            </a:lvl3pPr>
            <a:lvl4pPr marL="604800" indent="-154800" algn="l" defTabSz="914400" rtl="0" eaLnBrk="1" latinLnBrk="0" hangingPunct="1">
              <a:lnSpc>
                <a:spcPct val="100000"/>
              </a:lnSpc>
              <a:spcBef>
                <a:spcPts val="0"/>
              </a:spcBef>
              <a:spcAft>
                <a:spcPts val="300"/>
              </a:spcAft>
              <a:buFont typeface="Arial" panose="020B0604020202020204" pitchFamily="34" charset="0"/>
              <a:buChar char="•"/>
              <a:defRPr lang="en-US" sz="1600" kern="1200" dirty="0">
                <a:solidFill>
                  <a:schemeClr val="tx1"/>
                </a:solidFill>
                <a:latin typeface="+mn-lt"/>
                <a:ea typeface="+mn-ea"/>
                <a:cs typeface="+mn-cs"/>
              </a:defRPr>
            </a:lvl4pPr>
            <a:lvl5pPr marL="813600" indent="-147600" algn="l" defTabSz="914400" rtl="0" eaLnBrk="1" latinLnBrk="0" hangingPunct="1">
              <a:lnSpc>
                <a:spcPct val="100000"/>
              </a:lnSpc>
              <a:spcBef>
                <a:spcPts val="0"/>
              </a:spcBef>
              <a:spcAft>
                <a:spcPts val="300"/>
              </a:spcAft>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sz="1050">
                <a:effectLst/>
                <a:cs typeface="+mn-cs"/>
              </a:rPr>
              <a:t>N/A</a:t>
            </a:r>
            <a:endParaRPr lang="en-US" sz="1200">
              <a:cs typeface="+mn-cs"/>
            </a:endParaRPr>
          </a:p>
        </p:txBody>
      </p:sp>
      <p:graphicFrame>
        <p:nvGraphicFramePr>
          <p:cNvPr id="25" name="Chart 24">
            <a:extLst>
              <a:ext uri="{FF2B5EF4-FFF2-40B4-BE49-F238E27FC236}">
                <a16:creationId xmlns:a16="http://schemas.microsoft.com/office/drawing/2014/main" id="{2CAF199C-F5A5-EDEF-663D-15011D1696AC}"/>
              </a:ext>
            </a:extLst>
          </p:cNvPr>
          <p:cNvGraphicFramePr/>
          <p:nvPr>
            <p:custDataLst>
              <p:tags r:id="rId15"/>
            </p:custDataLst>
            <p:extLst>
              <p:ext uri="{D42A27DB-BD31-4B8C-83A1-F6EECF244321}">
                <p14:modId xmlns:p14="http://schemas.microsoft.com/office/powerpoint/2010/main" val="3055483731"/>
              </p:ext>
            </p:extLst>
          </p:nvPr>
        </p:nvGraphicFramePr>
        <p:xfrm>
          <a:off x="5060950" y="3335850"/>
          <a:ext cx="3611563" cy="701675"/>
        </p:xfrm>
        <a:graphic>
          <a:graphicData uri="http://schemas.openxmlformats.org/drawingml/2006/chart">
            <c:chart xmlns:c="http://schemas.openxmlformats.org/drawingml/2006/chart" xmlns:r="http://schemas.openxmlformats.org/officeDocument/2006/relationships" r:id="rId34"/>
          </a:graphicData>
        </a:graphic>
      </p:graphicFrame>
      <p:sp>
        <p:nvSpPr>
          <p:cNvPr id="26" name="Text Placeholder 4">
            <a:extLst>
              <a:ext uri="{FF2B5EF4-FFF2-40B4-BE49-F238E27FC236}">
                <a16:creationId xmlns:a16="http://schemas.microsoft.com/office/drawing/2014/main" id="{71299C33-3247-8B72-7684-53D200FEC3E5}"/>
              </a:ext>
            </a:extLst>
          </p:cNvPr>
          <p:cNvSpPr>
            <a:spLocks noGrp="1"/>
          </p:cNvSpPr>
          <p:nvPr>
            <p:custDataLst>
              <p:tags r:id="rId16"/>
            </p:custDataLst>
          </p:nvPr>
        </p:nvSpPr>
        <p:spPr bwMode="auto">
          <a:xfrm>
            <a:off x="4705350" y="3594613"/>
            <a:ext cx="3365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30400" algn="l" defTabSz="914400" rtl="0" eaLnBrk="1" latinLnBrk="0" hangingPunct="1">
              <a:lnSpc>
                <a:spcPct val="100000"/>
              </a:lnSpc>
              <a:spcBef>
                <a:spcPts val="0"/>
              </a:spcBef>
              <a:spcAft>
                <a:spcPts val="300"/>
              </a:spcAft>
              <a:buSzPct val="110000"/>
              <a:buFont typeface="Wingdings" panose="05000000000000000000" pitchFamily="2" charset="2"/>
              <a:buChar char=""/>
              <a:defRPr lang="en-US" sz="1600" kern="1200" dirty="0">
                <a:solidFill>
                  <a:schemeClr val="tx1"/>
                </a:solidFill>
                <a:latin typeface="+mn-lt"/>
                <a:ea typeface="+mn-ea"/>
                <a:cs typeface="+mn-cs"/>
              </a:defRPr>
            </a:lvl2pPr>
            <a:lvl3pPr marL="439200" indent="-208800" algn="l" defTabSz="914400" rtl="0" eaLnBrk="1" latinLnBrk="0" hangingPunct="1">
              <a:lnSpc>
                <a:spcPct val="100000"/>
              </a:lnSpc>
              <a:spcBef>
                <a:spcPts val="0"/>
              </a:spcBef>
              <a:spcAft>
                <a:spcPts val="300"/>
              </a:spcAft>
              <a:buSzPct val="110000"/>
              <a:buFont typeface="Arial" panose="020B0604020202020204" pitchFamily="34" charset="0"/>
              <a:buChar char="‒"/>
              <a:defRPr lang="en-US" sz="1600" kern="1200" dirty="0">
                <a:solidFill>
                  <a:schemeClr val="tx1"/>
                </a:solidFill>
                <a:latin typeface="+mn-lt"/>
                <a:ea typeface="+mn-ea"/>
                <a:cs typeface="+mn-cs"/>
              </a:defRPr>
            </a:lvl3pPr>
            <a:lvl4pPr marL="604800" indent="-154800" algn="l" defTabSz="914400" rtl="0" eaLnBrk="1" latinLnBrk="0" hangingPunct="1">
              <a:lnSpc>
                <a:spcPct val="100000"/>
              </a:lnSpc>
              <a:spcBef>
                <a:spcPts val="0"/>
              </a:spcBef>
              <a:spcAft>
                <a:spcPts val="300"/>
              </a:spcAft>
              <a:buFont typeface="Arial" panose="020B0604020202020204" pitchFamily="34" charset="0"/>
              <a:buChar char="•"/>
              <a:defRPr lang="en-US" sz="1600" kern="1200" dirty="0">
                <a:solidFill>
                  <a:schemeClr val="tx1"/>
                </a:solidFill>
                <a:latin typeface="+mn-lt"/>
                <a:ea typeface="+mn-ea"/>
                <a:cs typeface="+mn-cs"/>
              </a:defRPr>
            </a:lvl4pPr>
            <a:lvl5pPr marL="813600" indent="-147600" algn="l" defTabSz="914400" rtl="0" eaLnBrk="1" latinLnBrk="0" hangingPunct="1">
              <a:lnSpc>
                <a:spcPct val="100000"/>
              </a:lnSpc>
              <a:spcBef>
                <a:spcPts val="0"/>
              </a:spcBef>
              <a:spcAft>
                <a:spcPts val="300"/>
              </a:spcAft>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defRPr/>
            </a:pPr>
            <a:fld id="{7F6873F0-035A-4AAA-8A68-6FC1BE8E8B44}" type="datetime'''''''''''''''2''''''''''''''''035'''''''''''''''''''''''">
              <a:rPr lang="en-US" altLang="en-US" sz="1200" smtClean="0">
                <a:solidFill>
                  <a:srgbClr val="000000"/>
                </a:solidFill>
                <a:cs typeface="+mn-cs"/>
              </a:rPr>
              <a:pPr lvl="0">
                <a:spcBef>
                  <a:spcPct val="0"/>
                </a:spcBef>
                <a:spcAft>
                  <a:spcPct val="0"/>
                </a:spcAft>
                <a:defRPr/>
              </a:pPr>
              <a:t>2035</a:t>
            </a:fld>
            <a:endParaRPr kumimoji="0" lang="en-US" sz="1200" b="0" i="0" strike="noStrike" kern="1200" cap="none" spc="0" normalizeH="0" baseline="0" noProof="0">
              <a:ln>
                <a:noFill/>
              </a:ln>
              <a:solidFill>
                <a:srgbClr val="000000"/>
              </a:solidFill>
              <a:effectLst/>
              <a:uLnTx/>
              <a:uFillTx/>
              <a:cs typeface="+mn-cs"/>
            </a:endParaRPr>
          </a:p>
        </p:txBody>
      </p:sp>
      <p:sp>
        <p:nvSpPr>
          <p:cNvPr id="27" name="Text Placeholder 4">
            <a:extLst>
              <a:ext uri="{FF2B5EF4-FFF2-40B4-BE49-F238E27FC236}">
                <a16:creationId xmlns:a16="http://schemas.microsoft.com/office/drawing/2014/main" id="{5C03358A-CF25-1F5C-CEF3-C26C9D5473E7}"/>
              </a:ext>
            </a:extLst>
          </p:cNvPr>
          <p:cNvSpPr>
            <a:spLocks noGrp="1"/>
          </p:cNvSpPr>
          <p:nvPr>
            <p:custDataLst>
              <p:tags r:id="rId17"/>
            </p:custDataLst>
          </p:nvPr>
        </p:nvSpPr>
        <p:spPr bwMode="gray">
          <a:xfrm>
            <a:off x="5168900" y="3448563"/>
            <a:ext cx="260350"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9050" tIns="0" rIns="19050" bIns="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30400" algn="l" defTabSz="914400" rtl="0" eaLnBrk="1" latinLnBrk="0" hangingPunct="1">
              <a:lnSpc>
                <a:spcPct val="100000"/>
              </a:lnSpc>
              <a:spcBef>
                <a:spcPts val="0"/>
              </a:spcBef>
              <a:spcAft>
                <a:spcPts val="300"/>
              </a:spcAft>
              <a:buSzPct val="110000"/>
              <a:buFont typeface="Wingdings" panose="05000000000000000000" pitchFamily="2" charset="2"/>
              <a:buChar char=""/>
              <a:defRPr lang="en-US" sz="1600" kern="1200" dirty="0">
                <a:solidFill>
                  <a:schemeClr val="tx1"/>
                </a:solidFill>
                <a:latin typeface="+mn-lt"/>
                <a:ea typeface="+mn-ea"/>
                <a:cs typeface="+mn-cs"/>
              </a:defRPr>
            </a:lvl2pPr>
            <a:lvl3pPr marL="439200" indent="-208800" algn="l" defTabSz="914400" rtl="0" eaLnBrk="1" latinLnBrk="0" hangingPunct="1">
              <a:lnSpc>
                <a:spcPct val="100000"/>
              </a:lnSpc>
              <a:spcBef>
                <a:spcPts val="0"/>
              </a:spcBef>
              <a:spcAft>
                <a:spcPts val="300"/>
              </a:spcAft>
              <a:buSzPct val="110000"/>
              <a:buFont typeface="Arial" panose="020B0604020202020204" pitchFamily="34" charset="0"/>
              <a:buChar char="‒"/>
              <a:defRPr lang="en-US" sz="1600" kern="1200" dirty="0">
                <a:solidFill>
                  <a:schemeClr val="tx1"/>
                </a:solidFill>
                <a:latin typeface="+mn-lt"/>
                <a:ea typeface="+mn-ea"/>
                <a:cs typeface="+mn-cs"/>
              </a:defRPr>
            </a:lvl3pPr>
            <a:lvl4pPr marL="604800" indent="-154800" algn="l" defTabSz="914400" rtl="0" eaLnBrk="1" latinLnBrk="0" hangingPunct="1">
              <a:lnSpc>
                <a:spcPct val="100000"/>
              </a:lnSpc>
              <a:spcBef>
                <a:spcPts val="0"/>
              </a:spcBef>
              <a:spcAft>
                <a:spcPts val="300"/>
              </a:spcAft>
              <a:buFont typeface="Arial" panose="020B0604020202020204" pitchFamily="34" charset="0"/>
              <a:buChar char="•"/>
              <a:defRPr lang="en-US" sz="1600" kern="1200" dirty="0">
                <a:solidFill>
                  <a:schemeClr val="tx1"/>
                </a:solidFill>
                <a:latin typeface="+mn-lt"/>
                <a:ea typeface="+mn-ea"/>
                <a:cs typeface="+mn-cs"/>
              </a:defRPr>
            </a:lvl4pPr>
            <a:lvl5pPr marL="813600" indent="-147600" algn="l" defTabSz="914400" rtl="0" eaLnBrk="1" latinLnBrk="0" hangingPunct="1">
              <a:lnSpc>
                <a:spcPct val="100000"/>
              </a:lnSpc>
              <a:spcBef>
                <a:spcPts val="0"/>
              </a:spcBef>
              <a:spcAft>
                <a:spcPts val="300"/>
              </a:spcAft>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sz="1050">
                <a:cs typeface="+mn-cs"/>
              </a:rPr>
              <a:t>N/A</a:t>
            </a:r>
            <a:endParaRPr lang="en-US" sz="1200">
              <a:cs typeface="+mn-cs"/>
            </a:endParaRPr>
          </a:p>
        </p:txBody>
      </p:sp>
      <p:graphicFrame>
        <p:nvGraphicFramePr>
          <p:cNvPr id="28" name="Chart 27">
            <a:extLst>
              <a:ext uri="{FF2B5EF4-FFF2-40B4-BE49-F238E27FC236}">
                <a16:creationId xmlns:a16="http://schemas.microsoft.com/office/drawing/2014/main" id="{6BF9E791-49A6-0B3A-82E5-56645B116283}"/>
              </a:ext>
            </a:extLst>
          </p:cNvPr>
          <p:cNvGraphicFramePr/>
          <p:nvPr>
            <p:custDataLst>
              <p:tags r:id="rId18"/>
            </p:custDataLst>
            <p:extLst>
              <p:ext uri="{D42A27DB-BD31-4B8C-83A1-F6EECF244321}">
                <p14:modId xmlns:p14="http://schemas.microsoft.com/office/powerpoint/2010/main" val="3504467845"/>
              </p:ext>
            </p:extLst>
          </p:nvPr>
        </p:nvGraphicFramePr>
        <p:xfrm>
          <a:off x="5060950" y="4909063"/>
          <a:ext cx="3611563" cy="674687"/>
        </p:xfrm>
        <a:graphic>
          <a:graphicData uri="http://schemas.openxmlformats.org/drawingml/2006/chart">
            <c:chart xmlns:c="http://schemas.openxmlformats.org/drawingml/2006/chart" xmlns:r="http://schemas.openxmlformats.org/officeDocument/2006/relationships" r:id="rId35"/>
          </a:graphicData>
        </a:graphic>
      </p:graphicFrame>
      <p:sp>
        <p:nvSpPr>
          <p:cNvPr id="29" name="Text Placeholder 4">
            <a:extLst>
              <a:ext uri="{FF2B5EF4-FFF2-40B4-BE49-F238E27FC236}">
                <a16:creationId xmlns:a16="http://schemas.microsoft.com/office/drawing/2014/main" id="{B1120E85-00E3-0983-8F53-C569653ADDBE}"/>
              </a:ext>
            </a:extLst>
          </p:cNvPr>
          <p:cNvSpPr>
            <a:spLocks noGrp="1"/>
          </p:cNvSpPr>
          <p:nvPr>
            <p:custDataLst>
              <p:tags r:id="rId19"/>
            </p:custDataLst>
          </p:nvPr>
        </p:nvSpPr>
        <p:spPr bwMode="auto">
          <a:xfrm>
            <a:off x="4705350" y="5155125"/>
            <a:ext cx="3365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30400" algn="l" defTabSz="914400" rtl="0" eaLnBrk="1" latinLnBrk="0" hangingPunct="1">
              <a:lnSpc>
                <a:spcPct val="100000"/>
              </a:lnSpc>
              <a:spcBef>
                <a:spcPts val="0"/>
              </a:spcBef>
              <a:spcAft>
                <a:spcPts val="300"/>
              </a:spcAft>
              <a:buSzPct val="110000"/>
              <a:buFont typeface="Wingdings" panose="05000000000000000000" pitchFamily="2" charset="2"/>
              <a:buChar char=""/>
              <a:defRPr lang="en-US" sz="1600" kern="1200" dirty="0">
                <a:solidFill>
                  <a:schemeClr val="tx1"/>
                </a:solidFill>
                <a:latin typeface="+mn-lt"/>
                <a:ea typeface="+mn-ea"/>
                <a:cs typeface="+mn-cs"/>
              </a:defRPr>
            </a:lvl2pPr>
            <a:lvl3pPr marL="439200" indent="-208800" algn="l" defTabSz="914400" rtl="0" eaLnBrk="1" latinLnBrk="0" hangingPunct="1">
              <a:lnSpc>
                <a:spcPct val="100000"/>
              </a:lnSpc>
              <a:spcBef>
                <a:spcPts val="0"/>
              </a:spcBef>
              <a:spcAft>
                <a:spcPts val="300"/>
              </a:spcAft>
              <a:buSzPct val="110000"/>
              <a:buFont typeface="Arial" panose="020B0604020202020204" pitchFamily="34" charset="0"/>
              <a:buChar char="‒"/>
              <a:defRPr lang="en-US" sz="1600" kern="1200" dirty="0">
                <a:solidFill>
                  <a:schemeClr val="tx1"/>
                </a:solidFill>
                <a:latin typeface="+mn-lt"/>
                <a:ea typeface="+mn-ea"/>
                <a:cs typeface="+mn-cs"/>
              </a:defRPr>
            </a:lvl3pPr>
            <a:lvl4pPr marL="604800" indent="-154800" algn="l" defTabSz="914400" rtl="0" eaLnBrk="1" latinLnBrk="0" hangingPunct="1">
              <a:lnSpc>
                <a:spcPct val="100000"/>
              </a:lnSpc>
              <a:spcBef>
                <a:spcPts val="0"/>
              </a:spcBef>
              <a:spcAft>
                <a:spcPts val="300"/>
              </a:spcAft>
              <a:buFont typeface="Arial" panose="020B0604020202020204" pitchFamily="34" charset="0"/>
              <a:buChar char="•"/>
              <a:defRPr lang="en-US" sz="1600" kern="1200" dirty="0">
                <a:solidFill>
                  <a:schemeClr val="tx1"/>
                </a:solidFill>
                <a:latin typeface="+mn-lt"/>
                <a:ea typeface="+mn-ea"/>
                <a:cs typeface="+mn-cs"/>
              </a:defRPr>
            </a:lvl4pPr>
            <a:lvl5pPr marL="813600" indent="-147600" algn="l" defTabSz="914400" rtl="0" eaLnBrk="1" latinLnBrk="0" hangingPunct="1">
              <a:lnSpc>
                <a:spcPct val="100000"/>
              </a:lnSpc>
              <a:spcBef>
                <a:spcPts val="0"/>
              </a:spcBef>
              <a:spcAft>
                <a:spcPts val="300"/>
              </a:spcAft>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defRPr/>
            </a:pPr>
            <a:fld id="{971C4AF0-E1AD-4872-867F-784851C3E025}" type="datetime'''2''0''''''''''''''''''5''''''''''''''0'''''">
              <a:rPr lang="en-US" altLang="en-US" sz="1200" smtClean="0">
                <a:solidFill>
                  <a:srgbClr val="000000"/>
                </a:solidFill>
                <a:cs typeface="+mn-cs"/>
              </a:rPr>
              <a:pPr lvl="0">
                <a:spcBef>
                  <a:spcPct val="0"/>
                </a:spcBef>
                <a:spcAft>
                  <a:spcPct val="0"/>
                </a:spcAft>
                <a:defRPr/>
              </a:pPr>
              <a:t>2050</a:t>
            </a:fld>
            <a:endParaRPr kumimoji="0" lang="en-US" sz="1200" b="0" i="0" strike="noStrike" kern="1200" cap="none" spc="0" normalizeH="0" baseline="0" noProof="0">
              <a:ln>
                <a:noFill/>
              </a:ln>
              <a:solidFill>
                <a:srgbClr val="000000"/>
              </a:solidFill>
              <a:effectLst/>
              <a:uLnTx/>
              <a:uFillTx/>
              <a:cs typeface="+mn-cs"/>
            </a:endParaRPr>
          </a:p>
        </p:txBody>
      </p:sp>
      <p:sp>
        <p:nvSpPr>
          <p:cNvPr id="30" name="Text Placeholder 4">
            <a:extLst>
              <a:ext uri="{FF2B5EF4-FFF2-40B4-BE49-F238E27FC236}">
                <a16:creationId xmlns:a16="http://schemas.microsoft.com/office/drawing/2014/main" id="{C8921DBC-E3AF-61B3-0729-E72874C4138A}"/>
              </a:ext>
            </a:extLst>
          </p:cNvPr>
          <p:cNvSpPr>
            <a:spLocks noGrp="1"/>
          </p:cNvSpPr>
          <p:nvPr>
            <p:custDataLst>
              <p:tags r:id="rId20"/>
            </p:custDataLst>
          </p:nvPr>
        </p:nvSpPr>
        <p:spPr bwMode="gray">
          <a:xfrm>
            <a:off x="5168899" y="5166238"/>
            <a:ext cx="260350" cy="1603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9050" tIns="0" rIns="19050" bIns="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30400" algn="l" defTabSz="914400" rtl="0" eaLnBrk="1" latinLnBrk="0" hangingPunct="1">
              <a:lnSpc>
                <a:spcPct val="100000"/>
              </a:lnSpc>
              <a:spcBef>
                <a:spcPts val="0"/>
              </a:spcBef>
              <a:spcAft>
                <a:spcPts val="300"/>
              </a:spcAft>
              <a:buSzPct val="110000"/>
              <a:buFont typeface="Wingdings" panose="05000000000000000000" pitchFamily="2" charset="2"/>
              <a:buChar char=""/>
              <a:defRPr lang="en-US" sz="1600" kern="1200" dirty="0">
                <a:solidFill>
                  <a:schemeClr val="tx1"/>
                </a:solidFill>
                <a:latin typeface="+mn-lt"/>
                <a:ea typeface="+mn-ea"/>
                <a:cs typeface="+mn-cs"/>
              </a:defRPr>
            </a:lvl2pPr>
            <a:lvl3pPr marL="439200" indent="-208800" algn="l" defTabSz="914400" rtl="0" eaLnBrk="1" latinLnBrk="0" hangingPunct="1">
              <a:lnSpc>
                <a:spcPct val="100000"/>
              </a:lnSpc>
              <a:spcBef>
                <a:spcPts val="0"/>
              </a:spcBef>
              <a:spcAft>
                <a:spcPts val="300"/>
              </a:spcAft>
              <a:buSzPct val="110000"/>
              <a:buFont typeface="Arial" panose="020B0604020202020204" pitchFamily="34" charset="0"/>
              <a:buChar char="‒"/>
              <a:defRPr lang="en-US" sz="1600" kern="1200" dirty="0">
                <a:solidFill>
                  <a:schemeClr val="tx1"/>
                </a:solidFill>
                <a:latin typeface="+mn-lt"/>
                <a:ea typeface="+mn-ea"/>
                <a:cs typeface="+mn-cs"/>
              </a:defRPr>
            </a:lvl3pPr>
            <a:lvl4pPr marL="604800" indent="-154800" algn="l" defTabSz="914400" rtl="0" eaLnBrk="1" latinLnBrk="0" hangingPunct="1">
              <a:lnSpc>
                <a:spcPct val="100000"/>
              </a:lnSpc>
              <a:spcBef>
                <a:spcPts val="0"/>
              </a:spcBef>
              <a:spcAft>
                <a:spcPts val="300"/>
              </a:spcAft>
              <a:buFont typeface="Arial" panose="020B0604020202020204" pitchFamily="34" charset="0"/>
              <a:buChar char="•"/>
              <a:defRPr lang="en-US" sz="1600" kern="1200" dirty="0">
                <a:solidFill>
                  <a:schemeClr val="tx1"/>
                </a:solidFill>
                <a:latin typeface="+mn-lt"/>
                <a:ea typeface="+mn-ea"/>
                <a:cs typeface="+mn-cs"/>
              </a:defRPr>
            </a:lvl4pPr>
            <a:lvl5pPr marL="813600" indent="-147600" algn="l" defTabSz="914400" rtl="0" eaLnBrk="1" latinLnBrk="0" hangingPunct="1">
              <a:lnSpc>
                <a:spcPct val="100000"/>
              </a:lnSpc>
              <a:spcBef>
                <a:spcPts val="0"/>
              </a:spcBef>
              <a:spcAft>
                <a:spcPts val="300"/>
              </a:spcAft>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sz="1050">
                <a:cs typeface="+mn-cs"/>
              </a:rPr>
              <a:t>N/A</a:t>
            </a:r>
            <a:endParaRPr lang="en-US" sz="1100">
              <a:cs typeface="+mn-cs"/>
            </a:endParaRPr>
          </a:p>
        </p:txBody>
      </p:sp>
      <p:sp>
        <p:nvSpPr>
          <p:cNvPr id="31" name="4. Footnote">
            <a:extLst>
              <a:ext uri="{FF2B5EF4-FFF2-40B4-BE49-F238E27FC236}">
                <a16:creationId xmlns:a16="http://schemas.microsoft.com/office/drawing/2014/main" id="{26546D2A-A536-C336-838E-D8750E185E58}"/>
              </a:ext>
            </a:extLst>
          </p:cNvPr>
          <p:cNvSpPr txBox="1"/>
          <p:nvPr>
            <p:custDataLst>
              <p:tags r:id="rId21"/>
            </p:custDataLst>
          </p:nvPr>
        </p:nvSpPr>
        <p:spPr>
          <a:xfrm>
            <a:off x="553972" y="6508688"/>
            <a:ext cx="8382066" cy="123111"/>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p>
            <a:pPr marR="0" lvl="0" defTabSz="914400" rtl="0" eaLnBrk="1" fontAlgn="auto" latinLnBrk="0" hangingPunct="1">
              <a:lnSpc>
                <a:spcPct val="100000"/>
              </a:lnSpc>
              <a:spcBef>
                <a:spcPts val="0"/>
              </a:spcBef>
              <a:spcAft>
                <a:spcPts val="0"/>
              </a:spcAft>
              <a:buClrTx/>
              <a:buSzTx/>
              <a:buFontTx/>
              <a:buNone/>
              <a:tabLst/>
              <a:defRPr/>
            </a:pPr>
            <a:r>
              <a:rPr lang="en-US" sz="800" kern="1200">
                <a:ea typeface="+mn-ea"/>
                <a:cs typeface="Arial" panose="020B0604020202020204" pitchFamily="34" charset="0"/>
              </a:rPr>
              <a:t>1.“Low” and “high” refer to the level of nuclear build out</a:t>
            </a:r>
            <a:r>
              <a:rPr lang="en-US" sz="800">
                <a:cs typeface="Arial" panose="020B0604020202020204" pitchFamily="34" charset="0"/>
              </a:rPr>
              <a:t>; </a:t>
            </a:r>
            <a:r>
              <a:rPr lang="en-US" sz="800" kern="1200">
                <a:ea typeface="+mn-ea"/>
                <a:cs typeface="Arial" panose="020B0604020202020204" pitchFamily="34" charset="0"/>
              </a:rPr>
              <a:t>methodology for “low” and “high” nuclear build-out cases differ report to report; 2. NZD Low-RES case sensitivities shown</a:t>
            </a:r>
          </a:p>
        </p:txBody>
      </p:sp>
      <p:sp>
        <p:nvSpPr>
          <p:cNvPr id="32" name="TextBox 31">
            <a:extLst>
              <a:ext uri="{FF2B5EF4-FFF2-40B4-BE49-F238E27FC236}">
                <a16:creationId xmlns:a16="http://schemas.microsoft.com/office/drawing/2014/main" id="{CB5100F3-CC86-90CF-0FA0-9BB89822D3CF}"/>
              </a:ext>
            </a:extLst>
          </p:cNvPr>
          <p:cNvSpPr txBox="1">
            <a:spLocks/>
          </p:cNvSpPr>
          <p:nvPr/>
        </p:nvSpPr>
        <p:spPr>
          <a:xfrm>
            <a:off x="582612" y="5704916"/>
            <a:ext cx="3815461" cy="646331"/>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228600" lvl="1" indent="-230400">
              <a:lnSpc>
                <a:spcPct val="100000"/>
              </a:lnSpc>
              <a:spcBef>
                <a:spcPts val="0"/>
              </a:spcBef>
              <a:spcAft>
                <a:spcPts val="300"/>
              </a:spcAft>
              <a:buSzPct val="110000"/>
              <a:buFont typeface="Wingdings" panose="05000000000000000000" pitchFamily="2" charset="2"/>
              <a:buChar char=""/>
              <a:defRPr lang="en-US" sz="1600" dirty="0"/>
            </a:lvl2pPr>
            <a:lvl3pPr marL="439200" lvl="2" indent="-208800">
              <a:lnSpc>
                <a:spcPct val="100000"/>
              </a:lnSpc>
              <a:spcBef>
                <a:spcPts val="0"/>
              </a:spcBef>
              <a:spcAft>
                <a:spcPts val="300"/>
              </a:spcAft>
              <a:buSzPct val="110000"/>
              <a:buFont typeface="Arial" panose="020B0604020202020204" pitchFamily="34" charset="0"/>
              <a:buChar char="‒"/>
              <a:defRPr lang="en-US" sz="1600" dirty="0"/>
            </a:lvl3pPr>
            <a:lvl4pPr marL="604800" lvl="3" indent="-154800">
              <a:lnSpc>
                <a:spcPct val="100000"/>
              </a:lnSpc>
              <a:spcBef>
                <a:spcPts val="0"/>
              </a:spcBef>
              <a:spcAft>
                <a:spcPts val="300"/>
              </a:spcAft>
              <a:buFont typeface="Arial" panose="020B0604020202020204" pitchFamily="34" charset="0"/>
              <a:buChar char="•"/>
              <a:defRPr lang="en-US" sz="1600" dirty="0"/>
            </a:lvl4pPr>
            <a:lvl5pPr marL="813600" lvl="4" indent="-147600">
              <a:lnSpc>
                <a:spcPct val="100000"/>
              </a:lnSpc>
              <a:spcBef>
                <a:spcPts val="0"/>
              </a:spcBef>
              <a:spcAft>
                <a:spcPts val="300"/>
              </a:spcAft>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None/>
              <a:tabLst/>
              <a:defRPr/>
            </a:pPr>
            <a:r>
              <a:rPr lang="en-US" sz="1400" b="1">
                <a:solidFill>
                  <a:srgbClr val="000000"/>
                </a:solidFill>
              </a:rPr>
              <a:t>Pacific Northwest National Laboratory, 2022 “Scenarios of Nuclear Energy Use in the United States in the 21</a:t>
            </a:r>
            <a:r>
              <a:rPr lang="en-US" sz="1400" b="1" baseline="30000">
                <a:solidFill>
                  <a:srgbClr val="000000"/>
                </a:solidFill>
              </a:rPr>
              <a:t>st</a:t>
            </a:r>
            <a:r>
              <a:rPr lang="en-US" sz="1400" b="1">
                <a:solidFill>
                  <a:srgbClr val="000000"/>
                </a:solidFill>
              </a:rPr>
              <a:t> Century”</a:t>
            </a:r>
            <a:endParaRPr kumimoji="0" lang="en-US" sz="1400" b="1" i="0" u="none" strike="noStrike" kern="1200" cap="none" spc="0" normalizeH="0" baseline="0" noProof="0">
              <a:ln>
                <a:noFill/>
              </a:ln>
              <a:solidFill>
                <a:srgbClr val="000000"/>
              </a:solidFill>
              <a:effectLst/>
              <a:uLnTx/>
              <a:uFillTx/>
              <a:ea typeface="+mn-ea"/>
              <a:cs typeface="Arial" panose="020B0604020202020204" pitchFamily="34" charset="0"/>
            </a:endParaRPr>
          </a:p>
        </p:txBody>
      </p:sp>
      <p:graphicFrame>
        <p:nvGraphicFramePr>
          <p:cNvPr id="33" name="Chart 32">
            <a:extLst>
              <a:ext uri="{FF2B5EF4-FFF2-40B4-BE49-F238E27FC236}">
                <a16:creationId xmlns:a16="http://schemas.microsoft.com/office/drawing/2014/main" id="{7D155CC6-C4BB-3A0C-D3B9-BD2B2A72AC2D}"/>
              </a:ext>
            </a:extLst>
          </p:cNvPr>
          <p:cNvGraphicFramePr/>
          <p:nvPr>
            <p:custDataLst>
              <p:tags r:id="rId22"/>
            </p:custDataLst>
            <p:extLst>
              <p:ext uri="{D42A27DB-BD31-4B8C-83A1-F6EECF244321}">
                <p14:modId xmlns:p14="http://schemas.microsoft.com/office/powerpoint/2010/main" val="4026329806"/>
              </p:ext>
            </p:extLst>
          </p:nvPr>
        </p:nvGraphicFramePr>
        <p:xfrm>
          <a:off x="5060950" y="5667888"/>
          <a:ext cx="3735388" cy="701675"/>
        </p:xfrm>
        <a:graphic>
          <a:graphicData uri="http://schemas.openxmlformats.org/drawingml/2006/chart">
            <c:chart xmlns:c="http://schemas.openxmlformats.org/drawingml/2006/chart" xmlns:r="http://schemas.openxmlformats.org/officeDocument/2006/relationships" r:id="rId36"/>
          </a:graphicData>
        </a:graphic>
      </p:graphicFrame>
      <p:sp>
        <p:nvSpPr>
          <p:cNvPr id="34" name="Text Placeholder 4">
            <a:extLst>
              <a:ext uri="{FF2B5EF4-FFF2-40B4-BE49-F238E27FC236}">
                <a16:creationId xmlns:a16="http://schemas.microsoft.com/office/drawing/2014/main" id="{5392A9DB-6598-EA9E-07BB-213F845C7F33}"/>
              </a:ext>
            </a:extLst>
          </p:cNvPr>
          <p:cNvSpPr>
            <a:spLocks noGrp="1"/>
          </p:cNvSpPr>
          <p:nvPr>
            <p:custDataLst>
              <p:tags r:id="rId23"/>
            </p:custDataLst>
          </p:nvPr>
        </p:nvSpPr>
        <p:spPr bwMode="auto">
          <a:xfrm>
            <a:off x="4705350" y="5926650"/>
            <a:ext cx="3365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30400" algn="l" defTabSz="914400" rtl="0" eaLnBrk="1" latinLnBrk="0" hangingPunct="1">
              <a:lnSpc>
                <a:spcPct val="100000"/>
              </a:lnSpc>
              <a:spcBef>
                <a:spcPts val="0"/>
              </a:spcBef>
              <a:spcAft>
                <a:spcPts val="300"/>
              </a:spcAft>
              <a:buSzPct val="110000"/>
              <a:buFont typeface="Wingdings" panose="05000000000000000000" pitchFamily="2" charset="2"/>
              <a:buChar char=""/>
              <a:defRPr lang="en-US" sz="1600" kern="1200" dirty="0">
                <a:solidFill>
                  <a:schemeClr val="tx1"/>
                </a:solidFill>
                <a:latin typeface="+mn-lt"/>
                <a:ea typeface="+mn-ea"/>
                <a:cs typeface="+mn-cs"/>
              </a:defRPr>
            </a:lvl2pPr>
            <a:lvl3pPr marL="439200" indent="-208800" algn="l" defTabSz="914400" rtl="0" eaLnBrk="1" latinLnBrk="0" hangingPunct="1">
              <a:lnSpc>
                <a:spcPct val="100000"/>
              </a:lnSpc>
              <a:spcBef>
                <a:spcPts val="0"/>
              </a:spcBef>
              <a:spcAft>
                <a:spcPts val="300"/>
              </a:spcAft>
              <a:buSzPct val="110000"/>
              <a:buFont typeface="Arial" panose="020B0604020202020204" pitchFamily="34" charset="0"/>
              <a:buChar char="‒"/>
              <a:defRPr lang="en-US" sz="1600" kern="1200" dirty="0">
                <a:solidFill>
                  <a:schemeClr val="tx1"/>
                </a:solidFill>
                <a:latin typeface="+mn-lt"/>
                <a:ea typeface="+mn-ea"/>
                <a:cs typeface="+mn-cs"/>
              </a:defRPr>
            </a:lvl3pPr>
            <a:lvl4pPr marL="604800" indent="-154800" algn="l" defTabSz="914400" rtl="0" eaLnBrk="1" latinLnBrk="0" hangingPunct="1">
              <a:lnSpc>
                <a:spcPct val="100000"/>
              </a:lnSpc>
              <a:spcBef>
                <a:spcPts val="0"/>
              </a:spcBef>
              <a:spcAft>
                <a:spcPts val="300"/>
              </a:spcAft>
              <a:buFont typeface="Arial" panose="020B0604020202020204" pitchFamily="34" charset="0"/>
              <a:buChar char="•"/>
              <a:defRPr lang="en-US" sz="1600" kern="1200" dirty="0">
                <a:solidFill>
                  <a:schemeClr val="tx1"/>
                </a:solidFill>
                <a:latin typeface="+mn-lt"/>
                <a:ea typeface="+mn-ea"/>
                <a:cs typeface="+mn-cs"/>
              </a:defRPr>
            </a:lvl4pPr>
            <a:lvl5pPr marL="813600" indent="-147600" algn="l" defTabSz="914400" rtl="0" eaLnBrk="1" latinLnBrk="0" hangingPunct="1">
              <a:lnSpc>
                <a:spcPct val="100000"/>
              </a:lnSpc>
              <a:spcBef>
                <a:spcPts val="0"/>
              </a:spcBef>
              <a:spcAft>
                <a:spcPts val="300"/>
              </a:spcAft>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spcBef>
                <a:spcPct val="0"/>
              </a:spcBef>
              <a:spcAft>
                <a:spcPct val="0"/>
              </a:spcAft>
              <a:defRPr/>
            </a:pPr>
            <a:fld id="{63B43338-76B1-44F4-B02D-D8FAFBD350E9}" type="datetime'''''''''''''''''''''''''''''2''''''''''0''50'">
              <a:rPr lang="en-US" altLang="en-US" sz="1200" smtClean="0">
                <a:solidFill>
                  <a:srgbClr val="000000"/>
                </a:solidFill>
                <a:cs typeface="+mn-cs"/>
              </a:rPr>
              <a:pPr lvl="0">
                <a:spcBef>
                  <a:spcPct val="0"/>
                </a:spcBef>
                <a:spcAft>
                  <a:spcPct val="0"/>
                </a:spcAft>
                <a:defRPr/>
              </a:pPr>
              <a:t>2050</a:t>
            </a:fld>
            <a:endParaRPr kumimoji="0" lang="en-US" sz="1200" b="0" i="0" strike="noStrike" kern="1200" cap="none" spc="0" normalizeH="0" baseline="0" noProof="0">
              <a:ln>
                <a:noFill/>
              </a:ln>
              <a:solidFill>
                <a:srgbClr val="000000"/>
              </a:solidFill>
              <a:effectLst/>
              <a:uLnTx/>
              <a:uFillTx/>
              <a:cs typeface="+mn-cs"/>
            </a:endParaRPr>
          </a:p>
        </p:txBody>
      </p:sp>
      <p:cxnSp>
        <p:nvCxnSpPr>
          <p:cNvPr id="35" name="LineSeparatorDefault 213">
            <a:extLst>
              <a:ext uri="{FF2B5EF4-FFF2-40B4-BE49-F238E27FC236}">
                <a16:creationId xmlns:a16="http://schemas.microsoft.com/office/drawing/2014/main" id="{E4C9B4A2-EA4D-2D9E-7D02-9EC226A08935}"/>
              </a:ext>
            </a:extLst>
          </p:cNvPr>
          <p:cNvCxnSpPr>
            <a:cxnSpLocks/>
          </p:cNvCxnSpPr>
          <p:nvPr>
            <p:custDataLst>
              <p:tags r:id="rId24"/>
            </p:custDataLst>
          </p:nvPr>
        </p:nvCxnSpPr>
        <p:spPr>
          <a:xfrm>
            <a:off x="563563" y="2507175"/>
            <a:ext cx="8321040" cy="0"/>
          </a:xfrm>
          <a:prstGeom prst="straightConnector1">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36" name="LineSeparatorDefault 213">
            <a:extLst>
              <a:ext uri="{FF2B5EF4-FFF2-40B4-BE49-F238E27FC236}">
                <a16:creationId xmlns:a16="http://schemas.microsoft.com/office/drawing/2014/main" id="{CE2A97B9-76E5-8A19-C3CF-F4EF674F7419}"/>
              </a:ext>
            </a:extLst>
          </p:cNvPr>
          <p:cNvCxnSpPr>
            <a:cxnSpLocks/>
          </p:cNvCxnSpPr>
          <p:nvPr>
            <p:custDataLst>
              <p:tags r:id="rId25"/>
            </p:custDataLst>
          </p:nvPr>
        </p:nvCxnSpPr>
        <p:spPr>
          <a:xfrm>
            <a:off x="563563" y="4080388"/>
            <a:ext cx="8321040" cy="0"/>
          </a:xfrm>
          <a:prstGeom prst="straightConnector1">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37" name="LineSeparatorDefault 213">
            <a:extLst>
              <a:ext uri="{FF2B5EF4-FFF2-40B4-BE49-F238E27FC236}">
                <a16:creationId xmlns:a16="http://schemas.microsoft.com/office/drawing/2014/main" id="{D8065427-506C-65D1-38AF-12532AE5DCBB}"/>
              </a:ext>
            </a:extLst>
          </p:cNvPr>
          <p:cNvCxnSpPr>
            <a:cxnSpLocks/>
          </p:cNvCxnSpPr>
          <p:nvPr>
            <p:custDataLst>
              <p:tags r:id="rId26"/>
            </p:custDataLst>
          </p:nvPr>
        </p:nvCxnSpPr>
        <p:spPr>
          <a:xfrm>
            <a:off x="563563" y="4866200"/>
            <a:ext cx="8321040" cy="0"/>
          </a:xfrm>
          <a:prstGeom prst="straightConnector1">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38" name="LineSeparatorDefault 213">
            <a:extLst>
              <a:ext uri="{FF2B5EF4-FFF2-40B4-BE49-F238E27FC236}">
                <a16:creationId xmlns:a16="http://schemas.microsoft.com/office/drawing/2014/main" id="{85463C2C-DF24-DEFA-78E3-7EA1EBF1D729}"/>
              </a:ext>
            </a:extLst>
          </p:cNvPr>
          <p:cNvCxnSpPr>
            <a:cxnSpLocks/>
          </p:cNvCxnSpPr>
          <p:nvPr>
            <p:custDataLst>
              <p:tags r:id="rId27"/>
            </p:custDataLst>
          </p:nvPr>
        </p:nvCxnSpPr>
        <p:spPr>
          <a:xfrm>
            <a:off x="563563" y="5626613"/>
            <a:ext cx="8321040" cy="0"/>
          </a:xfrm>
          <a:prstGeom prst="straightConnector1">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39" name="LineSeparatorDefault 213">
            <a:extLst>
              <a:ext uri="{FF2B5EF4-FFF2-40B4-BE49-F238E27FC236}">
                <a16:creationId xmlns:a16="http://schemas.microsoft.com/office/drawing/2014/main" id="{CFA53DAD-1FDA-1C58-DC2A-25A6E8B887B7}"/>
              </a:ext>
            </a:extLst>
          </p:cNvPr>
          <p:cNvCxnSpPr>
            <a:cxnSpLocks/>
          </p:cNvCxnSpPr>
          <p:nvPr>
            <p:custDataLst>
              <p:tags r:id="rId28"/>
            </p:custDataLst>
          </p:nvPr>
        </p:nvCxnSpPr>
        <p:spPr>
          <a:xfrm>
            <a:off x="563563" y="3294575"/>
            <a:ext cx="8321040" cy="0"/>
          </a:xfrm>
          <a:prstGeom prst="straightConnector1">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41" name="LineSeparatorDefault 213">
            <a:extLst>
              <a:ext uri="{FF2B5EF4-FFF2-40B4-BE49-F238E27FC236}">
                <a16:creationId xmlns:a16="http://schemas.microsoft.com/office/drawing/2014/main" id="{F20968A7-AF0F-C4C0-2DBE-68A5C81A6EE3}"/>
              </a:ext>
            </a:extLst>
          </p:cNvPr>
          <p:cNvCxnSpPr>
            <a:cxnSpLocks/>
          </p:cNvCxnSpPr>
          <p:nvPr>
            <p:custDataLst>
              <p:tags r:id="rId29"/>
            </p:custDataLst>
          </p:nvPr>
        </p:nvCxnSpPr>
        <p:spPr>
          <a:xfrm>
            <a:off x="563563" y="6414691"/>
            <a:ext cx="8321040" cy="0"/>
          </a:xfrm>
          <a:prstGeom prst="straightConnector1">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3486456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6" hidden="1">
            <a:extLst>
              <a:ext uri="{FF2B5EF4-FFF2-40B4-BE49-F238E27FC236}">
                <a16:creationId xmlns:a16="http://schemas.microsoft.com/office/drawing/2014/main" id="{2820A807-6A8F-4F06-8280-A309333A3B59}"/>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7153" name="think-cell Slide" r:id="rId59" imgW="360" imgH="360" progId="TCLayout.ActiveDocument.1">
                  <p:embed/>
                </p:oleObj>
              </mc:Choice>
              <mc:Fallback>
                <p:oleObj name="think-cell Slide" r:id="rId59" imgW="360" imgH="360" progId="TCLayout.ActiveDocument.1">
                  <p:embed/>
                  <p:pic>
                    <p:nvPicPr>
                      <p:cNvPr id="5" name="Object 6" hidden="1">
                        <a:extLst>
                          <a:ext uri="{FF2B5EF4-FFF2-40B4-BE49-F238E27FC236}">
                            <a16:creationId xmlns:a16="http://schemas.microsoft.com/office/drawing/2014/main" id="{2820A807-6A8F-4F06-8280-A309333A3B59}"/>
                          </a:ext>
                        </a:extLst>
                      </p:cNvPr>
                      <p:cNvPicPr/>
                      <p:nvPr/>
                    </p:nvPicPr>
                    <p:blipFill>
                      <a:blip r:embed="rId60"/>
                      <a:stretch>
                        <a:fillRect/>
                      </a:stretch>
                    </p:blipFill>
                    <p:spPr>
                      <a:xfrm>
                        <a:off x="1588" y="1588"/>
                        <a:ext cx="1588" cy="1588"/>
                      </a:xfrm>
                      <a:prstGeom prst="rect">
                        <a:avLst/>
                      </a:prstGeom>
                    </p:spPr>
                  </p:pic>
                </p:oleObj>
              </mc:Fallback>
            </mc:AlternateContent>
          </a:graphicData>
        </a:graphic>
      </p:graphicFrame>
      <p:sp>
        <p:nvSpPr>
          <p:cNvPr id="140" name="Title 139">
            <a:extLst>
              <a:ext uri="{FF2B5EF4-FFF2-40B4-BE49-F238E27FC236}">
                <a16:creationId xmlns:a16="http://schemas.microsoft.com/office/drawing/2014/main" id="{B81FB49F-F930-4AE1-B54B-5FF20958D8EF}"/>
              </a:ext>
            </a:extLst>
          </p:cNvPr>
          <p:cNvSpPr>
            <a:spLocks noGrp="1"/>
          </p:cNvSpPr>
          <p:nvPr>
            <p:ph type="title"/>
          </p:nvPr>
        </p:nvSpPr>
        <p:spPr>
          <a:xfrm>
            <a:off x="554736" y="275483"/>
            <a:ext cx="11137615" cy="731520"/>
          </a:xfrm>
        </p:spPr>
        <p:txBody>
          <a:bodyPr vert="horz"/>
          <a:lstStyle/>
          <a:p>
            <a:r>
              <a:rPr lang="en-US" sz="2400"/>
              <a:t>LCOE expected to achieve sub $60/MWh if capex costs reach &lt;$5000k/kW</a:t>
            </a:r>
          </a:p>
        </p:txBody>
      </p:sp>
      <p:sp>
        <p:nvSpPr>
          <p:cNvPr id="2" name="Rectangle 1">
            <a:extLst>
              <a:ext uri="{FF2B5EF4-FFF2-40B4-BE49-F238E27FC236}">
                <a16:creationId xmlns:a16="http://schemas.microsoft.com/office/drawing/2014/main" id="{5D14D7ED-B48C-E93E-D8B5-19526C3B49E7}"/>
              </a:ext>
            </a:extLst>
          </p:cNvPr>
          <p:cNvSpPr>
            <a:spLocks/>
          </p:cNvSpPr>
          <p:nvPr/>
        </p:nvSpPr>
        <p:spPr>
          <a:xfrm>
            <a:off x="1023217" y="2014538"/>
            <a:ext cx="2655093" cy="3921122"/>
          </a:xfrm>
          <a:prstGeom prst="rect">
            <a:avLst/>
          </a:prstGeom>
          <a:solidFill>
            <a:schemeClr val="accent1">
              <a:alpha val="2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spcBef>
                <a:spcPts val="300"/>
              </a:spcBef>
              <a:spcAft>
                <a:spcPts val="300"/>
              </a:spcAft>
            </a:pPr>
            <a:r>
              <a:rPr lang="en-US" sz="1400" b="1">
                <a:solidFill>
                  <a:schemeClr val="tx1"/>
                </a:solidFill>
              </a:rPr>
              <a:t> Potential FOAK estimates</a:t>
            </a:r>
          </a:p>
        </p:txBody>
      </p:sp>
      <p:sp>
        <p:nvSpPr>
          <p:cNvPr id="4" name="Rectangle 3">
            <a:extLst>
              <a:ext uri="{FF2B5EF4-FFF2-40B4-BE49-F238E27FC236}">
                <a16:creationId xmlns:a16="http://schemas.microsoft.com/office/drawing/2014/main" id="{5492DD67-D2F4-855C-3109-15DA70595CAD}"/>
              </a:ext>
            </a:extLst>
          </p:cNvPr>
          <p:cNvSpPr>
            <a:spLocks/>
          </p:cNvSpPr>
          <p:nvPr/>
        </p:nvSpPr>
        <p:spPr>
          <a:xfrm>
            <a:off x="6288882" y="2014538"/>
            <a:ext cx="1439863" cy="3918078"/>
          </a:xfrm>
          <a:prstGeom prst="rect">
            <a:avLst/>
          </a:prstGeom>
          <a:solidFill>
            <a:schemeClr val="accent1">
              <a:alpha val="2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spcBef>
                <a:spcPts val="300"/>
              </a:spcBef>
              <a:spcAft>
                <a:spcPts val="300"/>
              </a:spcAft>
            </a:pPr>
            <a:r>
              <a:rPr lang="en-US" sz="1400" b="1">
                <a:solidFill>
                  <a:schemeClr val="tx1"/>
                </a:solidFill>
              </a:rPr>
              <a:t>Potential NOAK estimates</a:t>
            </a:r>
          </a:p>
        </p:txBody>
      </p:sp>
      <p:sp>
        <p:nvSpPr>
          <p:cNvPr id="6" name="5. Source">
            <a:extLst>
              <a:ext uri="{FF2B5EF4-FFF2-40B4-BE49-F238E27FC236}">
                <a16:creationId xmlns:a16="http://schemas.microsoft.com/office/drawing/2014/main" id="{605A59E2-73F7-8CAF-2635-4B72A7A55348}"/>
              </a:ext>
            </a:extLst>
          </p:cNvPr>
          <p:cNvSpPr txBox="1"/>
          <p:nvPr>
            <p:custDataLst>
              <p:tags r:id="rId3"/>
            </p:custDataLst>
          </p:nvPr>
        </p:nvSpPr>
        <p:spPr>
          <a:xfrm>
            <a:off x="554735" y="6369639"/>
            <a:ext cx="6967729"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NREL “Examining Supply Side Options to Achieve 100% Clean Electricity by 2035”, Inflation Reduction Act, EIA Annual Energy Outlook 2022</a:t>
            </a:r>
          </a:p>
        </p:txBody>
      </p:sp>
      <p:graphicFrame>
        <p:nvGraphicFramePr>
          <p:cNvPr id="7" name="Chart 6">
            <a:extLst>
              <a:ext uri="{FF2B5EF4-FFF2-40B4-BE49-F238E27FC236}">
                <a16:creationId xmlns:a16="http://schemas.microsoft.com/office/drawing/2014/main" id="{E7C99615-2110-F43D-9A4E-33FF16DAC137}"/>
              </a:ext>
            </a:extLst>
          </p:cNvPr>
          <p:cNvGraphicFramePr/>
          <p:nvPr>
            <p:custDataLst>
              <p:tags r:id="rId4"/>
            </p:custDataLst>
          </p:nvPr>
        </p:nvGraphicFramePr>
        <p:xfrm>
          <a:off x="928688" y="2732088"/>
          <a:ext cx="6800850" cy="3005137"/>
        </p:xfrm>
        <a:graphic>
          <a:graphicData uri="http://schemas.openxmlformats.org/drawingml/2006/chart">
            <c:chart xmlns:c="http://schemas.openxmlformats.org/drawingml/2006/chart" xmlns:r="http://schemas.openxmlformats.org/officeDocument/2006/relationships" r:id="rId61"/>
          </a:graphicData>
        </a:graphic>
      </p:graphicFrame>
      <p:sp>
        <p:nvSpPr>
          <p:cNvPr id="8" name="Text Placeholder 4">
            <a:extLst>
              <a:ext uri="{FF2B5EF4-FFF2-40B4-BE49-F238E27FC236}">
                <a16:creationId xmlns:a16="http://schemas.microsoft.com/office/drawing/2014/main" id="{1C06D8F4-0390-3577-F3F9-6DB91116CECB}"/>
              </a:ext>
            </a:extLst>
          </p:cNvPr>
          <p:cNvSpPr>
            <a:spLocks noGrp="1"/>
          </p:cNvSpPr>
          <p:nvPr>
            <p:custDataLst>
              <p:tags r:id="rId5"/>
            </p:custDataLst>
          </p:nvPr>
        </p:nvSpPr>
        <p:spPr bwMode="gray">
          <a:xfrm>
            <a:off x="696913" y="3654425"/>
            <a:ext cx="19685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30400" algn="l" defTabSz="914400" rtl="0" eaLnBrk="1" latinLnBrk="0" hangingPunct="1">
              <a:lnSpc>
                <a:spcPct val="100000"/>
              </a:lnSpc>
              <a:spcBef>
                <a:spcPts val="0"/>
              </a:spcBef>
              <a:spcAft>
                <a:spcPts val="300"/>
              </a:spcAft>
              <a:buSzPct val="110000"/>
              <a:buFont typeface="Wingdings" panose="05000000000000000000" pitchFamily="2" charset="2"/>
              <a:buChar char=""/>
              <a:defRPr lang="en-US" sz="1600" kern="1200" dirty="0">
                <a:solidFill>
                  <a:schemeClr val="tx1"/>
                </a:solidFill>
                <a:latin typeface="+mn-lt"/>
                <a:ea typeface="+mn-ea"/>
                <a:cs typeface="+mn-cs"/>
              </a:defRPr>
            </a:lvl2pPr>
            <a:lvl3pPr marL="439200" indent="-208800" algn="l" defTabSz="914400" rtl="0" eaLnBrk="1" latinLnBrk="0" hangingPunct="1">
              <a:lnSpc>
                <a:spcPct val="100000"/>
              </a:lnSpc>
              <a:spcBef>
                <a:spcPts val="0"/>
              </a:spcBef>
              <a:spcAft>
                <a:spcPts val="300"/>
              </a:spcAft>
              <a:buSzPct val="110000"/>
              <a:buFont typeface="Arial" panose="020B0604020202020204" pitchFamily="34" charset="0"/>
              <a:buChar char="‒"/>
              <a:defRPr lang="en-US" sz="1600" kern="1200" dirty="0">
                <a:solidFill>
                  <a:schemeClr val="tx1"/>
                </a:solidFill>
                <a:latin typeface="+mn-lt"/>
                <a:ea typeface="+mn-ea"/>
                <a:cs typeface="+mn-cs"/>
              </a:defRPr>
            </a:lvl3pPr>
            <a:lvl4pPr marL="604800" indent="-154800" algn="l" defTabSz="914400" rtl="0" eaLnBrk="1" latinLnBrk="0" hangingPunct="1">
              <a:lnSpc>
                <a:spcPct val="100000"/>
              </a:lnSpc>
              <a:spcBef>
                <a:spcPts val="0"/>
              </a:spcBef>
              <a:spcAft>
                <a:spcPts val="300"/>
              </a:spcAft>
              <a:buFont typeface="Arial" panose="020B0604020202020204" pitchFamily="34" charset="0"/>
              <a:buChar char="•"/>
              <a:defRPr lang="en-US" sz="1600" kern="1200" dirty="0">
                <a:solidFill>
                  <a:schemeClr val="tx1"/>
                </a:solidFill>
                <a:latin typeface="+mn-lt"/>
                <a:ea typeface="+mn-ea"/>
                <a:cs typeface="+mn-cs"/>
              </a:defRPr>
            </a:lvl4pPr>
            <a:lvl5pPr marL="813600" indent="-147600" algn="l" defTabSz="914400" rtl="0" eaLnBrk="1" latinLnBrk="0" hangingPunct="1">
              <a:lnSpc>
                <a:spcPct val="100000"/>
              </a:lnSpc>
              <a:spcBef>
                <a:spcPts val="0"/>
              </a:spcBef>
              <a:spcAft>
                <a:spcPts val="300"/>
              </a:spcAft>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spcBef>
                <a:spcPct val="0"/>
              </a:spcBef>
              <a:spcAft>
                <a:spcPct val="0"/>
              </a:spcAft>
            </a:pPr>
            <a:fld id="{8E07A08A-3208-4472-B89B-ED87BCAB9FD6}" type="datetime'''''''''''''''''''''''''8''''''''''''0'''''">
              <a:rPr lang="en-US" altLang="en-US" sz="1400" smtClean="0">
                <a:cs typeface="+mn-cs"/>
              </a:rPr>
              <a:pPr algn="r">
                <a:spcBef>
                  <a:spcPct val="0"/>
                </a:spcBef>
                <a:spcAft>
                  <a:spcPct val="0"/>
                </a:spcAft>
              </a:pPr>
              <a:t>80</a:t>
            </a:fld>
            <a:endParaRPr lang="en-US" sz="1400">
              <a:cs typeface="+mn-cs"/>
            </a:endParaRPr>
          </a:p>
        </p:txBody>
      </p:sp>
      <p:sp>
        <p:nvSpPr>
          <p:cNvPr id="9" name="Text Placeholder 4">
            <a:extLst>
              <a:ext uri="{FF2B5EF4-FFF2-40B4-BE49-F238E27FC236}">
                <a16:creationId xmlns:a16="http://schemas.microsoft.com/office/drawing/2014/main" id="{7FD9CA26-1395-51AA-85D3-C913392171E9}"/>
              </a:ext>
            </a:extLst>
          </p:cNvPr>
          <p:cNvSpPr>
            <a:spLocks noGrp="1"/>
          </p:cNvSpPr>
          <p:nvPr>
            <p:custDataLst>
              <p:tags r:id="rId6"/>
            </p:custDataLst>
          </p:nvPr>
        </p:nvSpPr>
        <p:spPr bwMode="gray">
          <a:xfrm>
            <a:off x="598488" y="3340100"/>
            <a:ext cx="295275"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30400" algn="l" defTabSz="914400" rtl="0" eaLnBrk="1" latinLnBrk="0" hangingPunct="1">
              <a:lnSpc>
                <a:spcPct val="100000"/>
              </a:lnSpc>
              <a:spcBef>
                <a:spcPts val="0"/>
              </a:spcBef>
              <a:spcAft>
                <a:spcPts val="300"/>
              </a:spcAft>
              <a:buSzPct val="110000"/>
              <a:buFont typeface="Wingdings" panose="05000000000000000000" pitchFamily="2" charset="2"/>
              <a:buChar char=""/>
              <a:defRPr lang="en-US" sz="1600" kern="1200" dirty="0">
                <a:solidFill>
                  <a:schemeClr val="tx1"/>
                </a:solidFill>
                <a:latin typeface="+mn-lt"/>
                <a:ea typeface="+mn-ea"/>
                <a:cs typeface="+mn-cs"/>
              </a:defRPr>
            </a:lvl2pPr>
            <a:lvl3pPr marL="439200" indent="-208800" algn="l" defTabSz="914400" rtl="0" eaLnBrk="1" latinLnBrk="0" hangingPunct="1">
              <a:lnSpc>
                <a:spcPct val="100000"/>
              </a:lnSpc>
              <a:spcBef>
                <a:spcPts val="0"/>
              </a:spcBef>
              <a:spcAft>
                <a:spcPts val="300"/>
              </a:spcAft>
              <a:buSzPct val="110000"/>
              <a:buFont typeface="Arial" panose="020B0604020202020204" pitchFamily="34" charset="0"/>
              <a:buChar char="‒"/>
              <a:defRPr lang="en-US" sz="1600" kern="1200" dirty="0">
                <a:solidFill>
                  <a:schemeClr val="tx1"/>
                </a:solidFill>
                <a:latin typeface="+mn-lt"/>
                <a:ea typeface="+mn-ea"/>
                <a:cs typeface="+mn-cs"/>
              </a:defRPr>
            </a:lvl3pPr>
            <a:lvl4pPr marL="604800" indent="-154800" algn="l" defTabSz="914400" rtl="0" eaLnBrk="1" latinLnBrk="0" hangingPunct="1">
              <a:lnSpc>
                <a:spcPct val="100000"/>
              </a:lnSpc>
              <a:spcBef>
                <a:spcPts val="0"/>
              </a:spcBef>
              <a:spcAft>
                <a:spcPts val="300"/>
              </a:spcAft>
              <a:buFont typeface="Arial" panose="020B0604020202020204" pitchFamily="34" charset="0"/>
              <a:buChar char="•"/>
              <a:defRPr lang="en-US" sz="1600" kern="1200" dirty="0">
                <a:solidFill>
                  <a:schemeClr val="tx1"/>
                </a:solidFill>
                <a:latin typeface="+mn-lt"/>
                <a:ea typeface="+mn-ea"/>
                <a:cs typeface="+mn-cs"/>
              </a:defRPr>
            </a:lvl4pPr>
            <a:lvl5pPr marL="813600" indent="-147600" algn="l" defTabSz="914400" rtl="0" eaLnBrk="1" latinLnBrk="0" hangingPunct="1">
              <a:lnSpc>
                <a:spcPct val="100000"/>
              </a:lnSpc>
              <a:spcBef>
                <a:spcPts val="0"/>
              </a:spcBef>
              <a:spcAft>
                <a:spcPts val="300"/>
              </a:spcAft>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spcBef>
                <a:spcPct val="0"/>
              </a:spcBef>
              <a:spcAft>
                <a:spcPct val="0"/>
              </a:spcAft>
            </a:pPr>
            <a:fld id="{E55A19C9-1539-4778-A9A2-12D886D33128}" type="datetime'''''''''''''''''''''''''''''''''''''''''''''1''0''''0'">
              <a:rPr lang="en-US" altLang="en-US" sz="1400" smtClean="0">
                <a:cs typeface="+mn-cs"/>
              </a:rPr>
              <a:pPr algn="r">
                <a:spcBef>
                  <a:spcPct val="0"/>
                </a:spcBef>
                <a:spcAft>
                  <a:spcPct val="0"/>
                </a:spcAft>
              </a:pPr>
              <a:t>100</a:t>
            </a:fld>
            <a:endParaRPr lang="en-US" sz="1400">
              <a:cs typeface="+mn-cs"/>
            </a:endParaRPr>
          </a:p>
        </p:txBody>
      </p:sp>
      <p:sp>
        <p:nvSpPr>
          <p:cNvPr id="10" name="Text Placeholder 4">
            <a:extLst>
              <a:ext uri="{FF2B5EF4-FFF2-40B4-BE49-F238E27FC236}">
                <a16:creationId xmlns:a16="http://schemas.microsoft.com/office/drawing/2014/main" id="{06AAE7E1-49D6-BC03-0357-F70A9D97B891}"/>
              </a:ext>
            </a:extLst>
          </p:cNvPr>
          <p:cNvSpPr>
            <a:spLocks noGrp="1"/>
          </p:cNvSpPr>
          <p:nvPr>
            <p:custDataLst>
              <p:tags r:id="rId7"/>
            </p:custDataLst>
          </p:nvPr>
        </p:nvSpPr>
        <p:spPr bwMode="gray">
          <a:xfrm>
            <a:off x="638175" y="5548313"/>
            <a:ext cx="255588"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30400" algn="l" defTabSz="914400" rtl="0" eaLnBrk="1" latinLnBrk="0" hangingPunct="1">
              <a:lnSpc>
                <a:spcPct val="100000"/>
              </a:lnSpc>
              <a:spcBef>
                <a:spcPts val="0"/>
              </a:spcBef>
              <a:spcAft>
                <a:spcPts val="300"/>
              </a:spcAft>
              <a:buSzPct val="110000"/>
              <a:buFont typeface="Wingdings" panose="05000000000000000000" pitchFamily="2" charset="2"/>
              <a:buChar char=""/>
              <a:defRPr lang="en-US" sz="1600" kern="1200" dirty="0">
                <a:solidFill>
                  <a:schemeClr val="tx1"/>
                </a:solidFill>
                <a:latin typeface="+mn-lt"/>
                <a:ea typeface="+mn-ea"/>
                <a:cs typeface="+mn-cs"/>
              </a:defRPr>
            </a:lvl2pPr>
            <a:lvl3pPr marL="439200" indent="-208800" algn="l" defTabSz="914400" rtl="0" eaLnBrk="1" latinLnBrk="0" hangingPunct="1">
              <a:lnSpc>
                <a:spcPct val="100000"/>
              </a:lnSpc>
              <a:spcBef>
                <a:spcPts val="0"/>
              </a:spcBef>
              <a:spcAft>
                <a:spcPts val="300"/>
              </a:spcAft>
              <a:buSzPct val="110000"/>
              <a:buFont typeface="Arial" panose="020B0604020202020204" pitchFamily="34" charset="0"/>
              <a:buChar char="‒"/>
              <a:defRPr lang="en-US" sz="1600" kern="1200" dirty="0">
                <a:solidFill>
                  <a:schemeClr val="tx1"/>
                </a:solidFill>
                <a:latin typeface="+mn-lt"/>
                <a:ea typeface="+mn-ea"/>
                <a:cs typeface="+mn-cs"/>
              </a:defRPr>
            </a:lvl3pPr>
            <a:lvl4pPr marL="604800" indent="-154800" algn="l" defTabSz="914400" rtl="0" eaLnBrk="1" latinLnBrk="0" hangingPunct="1">
              <a:lnSpc>
                <a:spcPct val="100000"/>
              </a:lnSpc>
              <a:spcBef>
                <a:spcPts val="0"/>
              </a:spcBef>
              <a:spcAft>
                <a:spcPts val="300"/>
              </a:spcAft>
              <a:buFont typeface="Arial" panose="020B0604020202020204" pitchFamily="34" charset="0"/>
              <a:buChar char="•"/>
              <a:defRPr lang="en-US" sz="1600" kern="1200" dirty="0">
                <a:solidFill>
                  <a:schemeClr val="tx1"/>
                </a:solidFill>
                <a:latin typeface="+mn-lt"/>
                <a:ea typeface="+mn-ea"/>
                <a:cs typeface="+mn-cs"/>
              </a:defRPr>
            </a:lvl4pPr>
            <a:lvl5pPr marL="813600" indent="-147600" algn="l" defTabSz="914400" rtl="0" eaLnBrk="1" latinLnBrk="0" hangingPunct="1">
              <a:lnSpc>
                <a:spcPct val="100000"/>
              </a:lnSpc>
              <a:spcBef>
                <a:spcPts val="0"/>
              </a:spcBef>
              <a:spcAft>
                <a:spcPts val="300"/>
              </a:spcAft>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spcBef>
                <a:spcPct val="0"/>
              </a:spcBef>
              <a:spcAft>
                <a:spcPct val="0"/>
              </a:spcAft>
            </a:pPr>
            <a:fld id="{DA95DA86-F8EB-4BD1-9B27-2A0F9837EB3B}" type="datetime'''''''''''''''''-''''4''''''''''''''''0'''''''''">
              <a:rPr lang="en-US" altLang="en-US" sz="1400" smtClean="0">
                <a:cs typeface="+mn-cs"/>
              </a:rPr>
              <a:pPr algn="r">
                <a:spcBef>
                  <a:spcPct val="0"/>
                </a:spcBef>
                <a:spcAft>
                  <a:spcPct val="0"/>
                </a:spcAft>
              </a:pPr>
              <a:t>-40</a:t>
            </a:fld>
            <a:endParaRPr lang="en-US" sz="1400">
              <a:cs typeface="+mn-cs"/>
            </a:endParaRPr>
          </a:p>
        </p:txBody>
      </p:sp>
      <p:sp>
        <p:nvSpPr>
          <p:cNvPr id="11" name="Text Placeholder 4">
            <a:extLst>
              <a:ext uri="{FF2B5EF4-FFF2-40B4-BE49-F238E27FC236}">
                <a16:creationId xmlns:a16="http://schemas.microsoft.com/office/drawing/2014/main" id="{FA0BD768-FE35-9C27-0D16-8C73ED99489E}"/>
              </a:ext>
            </a:extLst>
          </p:cNvPr>
          <p:cNvSpPr>
            <a:spLocks noGrp="1"/>
          </p:cNvSpPr>
          <p:nvPr>
            <p:custDataLst>
              <p:tags r:id="rId8"/>
            </p:custDataLst>
          </p:nvPr>
        </p:nvSpPr>
        <p:spPr bwMode="gray">
          <a:xfrm>
            <a:off x="638175" y="5232400"/>
            <a:ext cx="255588"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30400" algn="l" defTabSz="914400" rtl="0" eaLnBrk="1" latinLnBrk="0" hangingPunct="1">
              <a:lnSpc>
                <a:spcPct val="100000"/>
              </a:lnSpc>
              <a:spcBef>
                <a:spcPts val="0"/>
              </a:spcBef>
              <a:spcAft>
                <a:spcPts val="300"/>
              </a:spcAft>
              <a:buSzPct val="110000"/>
              <a:buFont typeface="Wingdings" panose="05000000000000000000" pitchFamily="2" charset="2"/>
              <a:buChar char=""/>
              <a:defRPr lang="en-US" sz="1600" kern="1200" dirty="0">
                <a:solidFill>
                  <a:schemeClr val="tx1"/>
                </a:solidFill>
                <a:latin typeface="+mn-lt"/>
                <a:ea typeface="+mn-ea"/>
                <a:cs typeface="+mn-cs"/>
              </a:defRPr>
            </a:lvl2pPr>
            <a:lvl3pPr marL="439200" indent="-208800" algn="l" defTabSz="914400" rtl="0" eaLnBrk="1" latinLnBrk="0" hangingPunct="1">
              <a:lnSpc>
                <a:spcPct val="100000"/>
              </a:lnSpc>
              <a:spcBef>
                <a:spcPts val="0"/>
              </a:spcBef>
              <a:spcAft>
                <a:spcPts val="300"/>
              </a:spcAft>
              <a:buSzPct val="110000"/>
              <a:buFont typeface="Arial" panose="020B0604020202020204" pitchFamily="34" charset="0"/>
              <a:buChar char="‒"/>
              <a:defRPr lang="en-US" sz="1600" kern="1200" dirty="0">
                <a:solidFill>
                  <a:schemeClr val="tx1"/>
                </a:solidFill>
                <a:latin typeface="+mn-lt"/>
                <a:ea typeface="+mn-ea"/>
                <a:cs typeface="+mn-cs"/>
              </a:defRPr>
            </a:lvl3pPr>
            <a:lvl4pPr marL="604800" indent="-154800" algn="l" defTabSz="914400" rtl="0" eaLnBrk="1" latinLnBrk="0" hangingPunct="1">
              <a:lnSpc>
                <a:spcPct val="100000"/>
              </a:lnSpc>
              <a:spcBef>
                <a:spcPts val="0"/>
              </a:spcBef>
              <a:spcAft>
                <a:spcPts val="300"/>
              </a:spcAft>
              <a:buFont typeface="Arial" panose="020B0604020202020204" pitchFamily="34" charset="0"/>
              <a:buChar char="•"/>
              <a:defRPr lang="en-US" sz="1600" kern="1200" dirty="0">
                <a:solidFill>
                  <a:schemeClr val="tx1"/>
                </a:solidFill>
                <a:latin typeface="+mn-lt"/>
                <a:ea typeface="+mn-ea"/>
                <a:cs typeface="+mn-cs"/>
              </a:defRPr>
            </a:lvl4pPr>
            <a:lvl5pPr marL="813600" indent="-147600" algn="l" defTabSz="914400" rtl="0" eaLnBrk="1" latinLnBrk="0" hangingPunct="1">
              <a:lnSpc>
                <a:spcPct val="100000"/>
              </a:lnSpc>
              <a:spcBef>
                <a:spcPts val="0"/>
              </a:spcBef>
              <a:spcAft>
                <a:spcPts val="300"/>
              </a:spcAft>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spcBef>
                <a:spcPct val="0"/>
              </a:spcBef>
              <a:spcAft>
                <a:spcPct val="0"/>
              </a:spcAft>
            </a:pPr>
            <a:fld id="{305528C0-EF1E-4DA6-AFFE-7B4F3C220636}" type="datetime'''''-''''''''''''''2''''''0'''''''''''''''''''''''''''''">
              <a:rPr lang="en-US" altLang="en-US" sz="1400" smtClean="0">
                <a:cs typeface="+mn-cs"/>
              </a:rPr>
              <a:pPr algn="r">
                <a:spcBef>
                  <a:spcPct val="0"/>
                </a:spcBef>
                <a:spcAft>
                  <a:spcPct val="0"/>
                </a:spcAft>
              </a:pPr>
              <a:t>-20</a:t>
            </a:fld>
            <a:endParaRPr lang="en-US" sz="1400">
              <a:cs typeface="+mn-cs"/>
            </a:endParaRPr>
          </a:p>
        </p:txBody>
      </p:sp>
      <p:sp>
        <p:nvSpPr>
          <p:cNvPr id="31" name="Text Placeholder 4">
            <a:extLst>
              <a:ext uri="{FF2B5EF4-FFF2-40B4-BE49-F238E27FC236}">
                <a16:creationId xmlns:a16="http://schemas.microsoft.com/office/drawing/2014/main" id="{218BCF30-E39B-A5FF-D7F5-EEBA0CC1495C}"/>
              </a:ext>
            </a:extLst>
          </p:cNvPr>
          <p:cNvSpPr>
            <a:spLocks noGrp="1"/>
          </p:cNvSpPr>
          <p:nvPr>
            <p:custDataLst>
              <p:tags r:id="rId9"/>
            </p:custDataLst>
          </p:nvPr>
        </p:nvSpPr>
        <p:spPr bwMode="gray">
          <a:xfrm>
            <a:off x="696913" y="3970338"/>
            <a:ext cx="19685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30400" algn="l" defTabSz="914400" rtl="0" eaLnBrk="1" latinLnBrk="0" hangingPunct="1">
              <a:lnSpc>
                <a:spcPct val="100000"/>
              </a:lnSpc>
              <a:spcBef>
                <a:spcPts val="0"/>
              </a:spcBef>
              <a:spcAft>
                <a:spcPts val="300"/>
              </a:spcAft>
              <a:buSzPct val="110000"/>
              <a:buFont typeface="Wingdings" panose="05000000000000000000" pitchFamily="2" charset="2"/>
              <a:buChar char=""/>
              <a:defRPr lang="en-US" sz="1600" kern="1200" dirty="0">
                <a:solidFill>
                  <a:schemeClr val="tx1"/>
                </a:solidFill>
                <a:latin typeface="+mn-lt"/>
                <a:ea typeface="+mn-ea"/>
                <a:cs typeface="+mn-cs"/>
              </a:defRPr>
            </a:lvl2pPr>
            <a:lvl3pPr marL="439200" indent="-208800" algn="l" defTabSz="914400" rtl="0" eaLnBrk="1" latinLnBrk="0" hangingPunct="1">
              <a:lnSpc>
                <a:spcPct val="100000"/>
              </a:lnSpc>
              <a:spcBef>
                <a:spcPts val="0"/>
              </a:spcBef>
              <a:spcAft>
                <a:spcPts val="300"/>
              </a:spcAft>
              <a:buSzPct val="110000"/>
              <a:buFont typeface="Arial" panose="020B0604020202020204" pitchFamily="34" charset="0"/>
              <a:buChar char="‒"/>
              <a:defRPr lang="en-US" sz="1600" kern="1200" dirty="0">
                <a:solidFill>
                  <a:schemeClr val="tx1"/>
                </a:solidFill>
                <a:latin typeface="+mn-lt"/>
                <a:ea typeface="+mn-ea"/>
                <a:cs typeface="+mn-cs"/>
              </a:defRPr>
            </a:lvl3pPr>
            <a:lvl4pPr marL="604800" indent="-154800" algn="l" defTabSz="914400" rtl="0" eaLnBrk="1" latinLnBrk="0" hangingPunct="1">
              <a:lnSpc>
                <a:spcPct val="100000"/>
              </a:lnSpc>
              <a:spcBef>
                <a:spcPts val="0"/>
              </a:spcBef>
              <a:spcAft>
                <a:spcPts val="300"/>
              </a:spcAft>
              <a:buFont typeface="Arial" panose="020B0604020202020204" pitchFamily="34" charset="0"/>
              <a:buChar char="•"/>
              <a:defRPr lang="en-US" sz="1600" kern="1200" dirty="0">
                <a:solidFill>
                  <a:schemeClr val="tx1"/>
                </a:solidFill>
                <a:latin typeface="+mn-lt"/>
                <a:ea typeface="+mn-ea"/>
                <a:cs typeface="+mn-cs"/>
              </a:defRPr>
            </a:lvl4pPr>
            <a:lvl5pPr marL="813600" indent="-147600" algn="l" defTabSz="914400" rtl="0" eaLnBrk="1" latinLnBrk="0" hangingPunct="1">
              <a:lnSpc>
                <a:spcPct val="100000"/>
              </a:lnSpc>
              <a:spcBef>
                <a:spcPts val="0"/>
              </a:spcBef>
              <a:spcAft>
                <a:spcPts val="300"/>
              </a:spcAft>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spcBef>
                <a:spcPct val="0"/>
              </a:spcBef>
              <a:spcAft>
                <a:spcPct val="0"/>
              </a:spcAft>
            </a:pPr>
            <a:fld id="{74ED8756-5379-4A47-B2FC-FA389A6E86B0}" type="datetime'''''''''6''''''''''''''''''''''0'''''''''">
              <a:rPr lang="en-US" altLang="en-US" sz="1400" smtClean="0">
                <a:cs typeface="+mn-cs"/>
              </a:rPr>
              <a:pPr algn="r">
                <a:spcBef>
                  <a:spcPct val="0"/>
                </a:spcBef>
                <a:spcAft>
                  <a:spcPct val="0"/>
                </a:spcAft>
              </a:pPr>
              <a:t>60</a:t>
            </a:fld>
            <a:endParaRPr lang="en-US" sz="1400">
              <a:cs typeface="+mn-cs"/>
            </a:endParaRPr>
          </a:p>
        </p:txBody>
      </p:sp>
      <p:sp>
        <p:nvSpPr>
          <p:cNvPr id="228" name="Text Placeholder 4">
            <a:extLst>
              <a:ext uri="{FF2B5EF4-FFF2-40B4-BE49-F238E27FC236}">
                <a16:creationId xmlns:a16="http://schemas.microsoft.com/office/drawing/2014/main" id="{B06860FF-C2B4-6628-67F7-1C2027A36478}"/>
              </a:ext>
            </a:extLst>
          </p:cNvPr>
          <p:cNvSpPr>
            <a:spLocks noGrp="1"/>
          </p:cNvSpPr>
          <p:nvPr>
            <p:custDataLst>
              <p:tags r:id="rId10"/>
            </p:custDataLst>
          </p:nvPr>
        </p:nvSpPr>
        <p:spPr bwMode="gray">
          <a:xfrm>
            <a:off x="795338" y="4918075"/>
            <a:ext cx="9842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30400" algn="l" defTabSz="914400" rtl="0" eaLnBrk="1" latinLnBrk="0" hangingPunct="1">
              <a:lnSpc>
                <a:spcPct val="100000"/>
              </a:lnSpc>
              <a:spcBef>
                <a:spcPts val="0"/>
              </a:spcBef>
              <a:spcAft>
                <a:spcPts val="300"/>
              </a:spcAft>
              <a:buSzPct val="110000"/>
              <a:buFont typeface="Wingdings" panose="05000000000000000000" pitchFamily="2" charset="2"/>
              <a:buChar char=""/>
              <a:defRPr lang="en-US" sz="1600" kern="1200" dirty="0">
                <a:solidFill>
                  <a:schemeClr val="tx1"/>
                </a:solidFill>
                <a:latin typeface="+mn-lt"/>
                <a:ea typeface="+mn-ea"/>
                <a:cs typeface="+mn-cs"/>
              </a:defRPr>
            </a:lvl2pPr>
            <a:lvl3pPr marL="439200" indent="-208800" algn="l" defTabSz="914400" rtl="0" eaLnBrk="1" latinLnBrk="0" hangingPunct="1">
              <a:lnSpc>
                <a:spcPct val="100000"/>
              </a:lnSpc>
              <a:spcBef>
                <a:spcPts val="0"/>
              </a:spcBef>
              <a:spcAft>
                <a:spcPts val="300"/>
              </a:spcAft>
              <a:buSzPct val="110000"/>
              <a:buFont typeface="Arial" panose="020B0604020202020204" pitchFamily="34" charset="0"/>
              <a:buChar char="‒"/>
              <a:defRPr lang="en-US" sz="1600" kern="1200" dirty="0">
                <a:solidFill>
                  <a:schemeClr val="tx1"/>
                </a:solidFill>
                <a:latin typeface="+mn-lt"/>
                <a:ea typeface="+mn-ea"/>
                <a:cs typeface="+mn-cs"/>
              </a:defRPr>
            </a:lvl3pPr>
            <a:lvl4pPr marL="604800" indent="-154800" algn="l" defTabSz="914400" rtl="0" eaLnBrk="1" latinLnBrk="0" hangingPunct="1">
              <a:lnSpc>
                <a:spcPct val="100000"/>
              </a:lnSpc>
              <a:spcBef>
                <a:spcPts val="0"/>
              </a:spcBef>
              <a:spcAft>
                <a:spcPts val="300"/>
              </a:spcAft>
              <a:buFont typeface="Arial" panose="020B0604020202020204" pitchFamily="34" charset="0"/>
              <a:buChar char="•"/>
              <a:defRPr lang="en-US" sz="1600" kern="1200" dirty="0">
                <a:solidFill>
                  <a:schemeClr val="tx1"/>
                </a:solidFill>
                <a:latin typeface="+mn-lt"/>
                <a:ea typeface="+mn-ea"/>
                <a:cs typeface="+mn-cs"/>
              </a:defRPr>
            </a:lvl4pPr>
            <a:lvl5pPr marL="813600" indent="-147600" algn="l" defTabSz="914400" rtl="0" eaLnBrk="1" latinLnBrk="0" hangingPunct="1">
              <a:lnSpc>
                <a:spcPct val="100000"/>
              </a:lnSpc>
              <a:spcBef>
                <a:spcPts val="0"/>
              </a:spcBef>
              <a:spcAft>
                <a:spcPts val="300"/>
              </a:spcAft>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spcBef>
                <a:spcPct val="0"/>
              </a:spcBef>
              <a:spcAft>
                <a:spcPct val="0"/>
              </a:spcAft>
            </a:pPr>
            <a:fld id="{F28C4C31-864F-48D7-9BCB-4A55E9C97AAA}" type="datetime'''''''''''''''''''''''''''''''''''0'''''''''''">
              <a:rPr lang="en-US" altLang="en-US" sz="1400" smtClean="0">
                <a:cs typeface="+mn-cs"/>
              </a:rPr>
              <a:pPr algn="r">
                <a:spcBef>
                  <a:spcPct val="0"/>
                </a:spcBef>
                <a:spcAft>
                  <a:spcPct val="0"/>
                </a:spcAft>
              </a:pPr>
              <a:t>0</a:t>
            </a:fld>
            <a:endParaRPr lang="en-US" sz="1400">
              <a:cs typeface="+mn-cs"/>
            </a:endParaRPr>
          </a:p>
        </p:txBody>
      </p:sp>
      <p:sp>
        <p:nvSpPr>
          <p:cNvPr id="229" name="Text Placeholder 4">
            <a:extLst>
              <a:ext uri="{FF2B5EF4-FFF2-40B4-BE49-F238E27FC236}">
                <a16:creationId xmlns:a16="http://schemas.microsoft.com/office/drawing/2014/main" id="{553D4E58-901E-AA9B-06A8-CC13559B61FE}"/>
              </a:ext>
            </a:extLst>
          </p:cNvPr>
          <p:cNvSpPr>
            <a:spLocks noGrp="1"/>
          </p:cNvSpPr>
          <p:nvPr>
            <p:custDataLst>
              <p:tags r:id="rId11"/>
            </p:custDataLst>
          </p:nvPr>
        </p:nvSpPr>
        <p:spPr bwMode="gray">
          <a:xfrm>
            <a:off x="696913" y="4602163"/>
            <a:ext cx="19685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30400" algn="l" defTabSz="914400" rtl="0" eaLnBrk="1" latinLnBrk="0" hangingPunct="1">
              <a:lnSpc>
                <a:spcPct val="100000"/>
              </a:lnSpc>
              <a:spcBef>
                <a:spcPts val="0"/>
              </a:spcBef>
              <a:spcAft>
                <a:spcPts val="300"/>
              </a:spcAft>
              <a:buSzPct val="110000"/>
              <a:buFont typeface="Wingdings" panose="05000000000000000000" pitchFamily="2" charset="2"/>
              <a:buChar char=""/>
              <a:defRPr lang="en-US" sz="1600" kern="1200" dirty="0">
                <a:solidFill>
                  <a:schemeClr val="tx1"/>
                </a:solidFill>
                <a:latin typeface="+mn-lt"/>
                <a:ea typeface="+mn-ea"/>
                <a:cs typeface="+mn-cs"/>
              </a:defRPr>
            </a:lvl2pPr>
            <a:lvl3pPr marL="439200" indent="-208800" algn="l" defTabSz="914400" rtl="0" eaLnBrk="1" latinLnBrk="0" hangingPunct="1">
              <a:lnSpc>
                <a:spcPct val="100000"/>
              </a:lnSpc>
              <a:spcBef>
                <a:spcPts val="0"/>
              </a:spcBef>
              <a:spcAft>
                <a:spcPts val="300"/>
              </a:spcAft>
              <a:buSzPct val="110000"/>
              <a:buFont typeface="Arial" panose="020B0604020202020204" pitchFamily="34" charset="0"/>
              <a:buChar char="‒"/>
              <a:defRPr lang="en-US" sz="1600" kern="1200" dirty="0">
                <a:solidFill>
                  <a:schemeClr val="tx1"/>
                </a:solidFill>
                <a:latin typeface="+mn-lt"/>
                <a:ea typeface="+mn-ea"/>
                <a:cs typeface="+mn-cs"/>
              </a:defRPr>
            </a:lvl3pPr>
            <a:lvl4pPr marL="604800" indent="-154800" algn="l" defTabSz="914400" rtl="0" eaLnBrk="1" latinLnBrk="0" hangingPunct="1">
              <a:lnSpc>
                <a:spcPct val="100000"/>
              </a:lnSpc>
              <a:spcBef>
                <a:spcPts val="0"/>
              </a:spcBef>
              <a:spcAft>
                <a:spcPts val="300"/>
              </a:spcAft>
              <a:buFont typeface="Arial" panose="020B0604020202020204" pitchFamily="34" charset="0"/>
              <a:buChar char="•"/>
              <a:defRPr lang="en-US" sz="1600" kern="1200" dirty="0">
                <a:solidFill>
                  <a:schemeClr val="tx1"/>
                </a:solidFill>
                <a:latin typeface="+mn-lt"/>
                <a:ea typeface="+mn-ea"/>
                <a:cs typeface="+mn-cs"/>
              </a:defRPr>
            </a:lvl4pPr>
            <a:lvl5pPr marL="813600" indent="-147600" algn="l" defTabSz="914400" rtl="0" eaLnBrk="1" latinLnBrk="0" hangingPunct="1">
              <a:lnSpc>
                <a:spcPct val="100000"/>
              </a:lnSpc>
              <a:spcBef>
                <a:spcPts val="0"/>
              </a:spcBef>
              <a:spcAft>
                <a:spcPts val="300"/>
              </a:spcAft>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spcBef>
                <a:spcPct val="0"/>
              </a:spcBef>
              <a:spcAft>
                <a:spcPct val="0"/>
              </a:spcAft>
            </a:pPr>
            <a:fld id="{FC5850E3-32F1-4DAD-A236-457B820D365D}" type="datetime'''''''''''''''''''''''''''''''''''''20'''''''''''''''''''''">
              <a:rPr lang="en-US" altLang="en-US" sz="1400" smtClean="0">
                <a:cs typeface="+mn-cs"/>
              </a:rPr>
              <a:pPr algn="r">
                <a:spcBef>
                  <a:spcPct val="0"/>
                </a:spcBef>
                <a:spcAft>
                  <a:spcPct val="0"/>
                </a:spcAft>
              </a:pPr>
              <a:t>20</a:t>
            </a:fld>
            <a:endParaRPr lang="en-US" sz="1400">
              <a:cs typeface="+mn-cs"/>
            </a:endParaRPr>
          </a:p>
        </p:txBody>
      </p:sp>
      <p:sp>
        <p:nvSpPr>
          <p:cNvPr id="230" name="Text Placeholder 4">
            <a:extLst>
              <a:ext uri="{FF2B5EF4-FFF2-40B4-BE49-F238E27FC236}">
                <a16:creationId xmlns:a16="http://schemas.microsoft.com/office/drawing/2014/main" id="{8B8553A9-4B7E-62A9-6D13-766CC41BBA5F}"/>
              </a:ext>
            </a:extLst>
          </p:cNvPr>
          <p:cNvSpPr>
            <a:spLocks noGrp="1"/>
          </p:cNvSpPr>
          <p:nvPr>
            <p:custDataLst>
              <p:tags r:id="rId12"/>
            </p:custDataLst>
          </p:nvPr>
        </p:nvSpPr>
        <p:spPr bwMode="gray">
          <a:xfrm>
            <a:off x="598488" y="3024188"/>
            <a:ext cx="295275"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30400" algn="l" defTabSz="914400" rtl="0" eaLnBrk="1" latinLnBrk="0" hangingPunct="1">
              <a:lnSpc>
                <a:spcPct val="100000"/>
              </a:lnSpc>
              <a:spcBef>
                <a:spcPts val="0"/>
              </a:spcBef>
              <a:spcAft>
                <a:spcPts val="300"/>
              </a:spcAft>
              <a:buSzPct val="110000"/>
              <a:buFont typeface="Wingdings" panose="05000000000000000000" pitchFamily="2" charset="2"/>
              <a:buChar char=""/>
              <a:defRPr lang="en-US" sz="1600" kern="1200" dirty="0">
                <a:solidFill>
                  <a:schemeClr val="tx1"/>
                </a:solidFill>
                <a:latin typeface="+mn-lt"/>
                <a:ea typeface="+mn-ea"/>
                <a:cs typeface="+mn-cs"/>
              </a:defRPr>
            </a:lvl2pPr>
            <a:lvl3pPr marL="439200" indent="-208800" algn="l" defTabSz="914400" rtl="0" eaLnBrk="1" latinLnBrk="0" hangingPunct="1">
              <a:lnSpc>
                <a:spcPct val="100000"/>
              </a:lnSpc>
              <a:spcBef>
                <a:spcPts val="0"/>
              </a:spcBef>
              <a:spcAft>
                <a:spcPts val="300"/>
              </a:spcAft>
              <a:buSzPct val="110000"/>
              <a:buFont typeface="Arial" panose="020B0604020202020204" pitchFamily="34" charset="0"/>
              <a:buChar char="‒"/>
              <a:defRPr lang="en-US" sz="1600" kern="1200" dirty="0">
                <a:solidFill>
                  <a:schemeClr val="tx1"/>
                </a:solidFill>
                <a:latin typeface="+mn-lt"/>
                <a:ea typeface="+mn-ea"/>
                <a:cs typeface="+mn-cs"/>
              </a:defRPr>
            </a:lvl3pPr>
            <a:lvl4pPr marL="604800" indent="-154800" algn="l" defTabSz="914400" rtl="0" eaLnBrk="1" latinLnBrk="0" hangingPunct="1">
              <a:lnSpc>
                <a:spcPct val="100000"/>
              </a:lnSpc>
              <a:spcBef>
                <a:spcPts val="0"/>
              </a:spcBef>
              <a:spcAft>
                <a:spcPts val="300"/>
              </a:spcAft>
              <a:buFont typeface="Arial" panose="020B0604020202020204" pitchFamily="34" charset="0"/>
              <a:buChar char="•"/>
              <a:defRPr lang="en-US" sz="1600" kern="1200" dirty="0">
                <a:solidFill>
                  <a:schemeClr val="tx1"/>
                </a:solidFill>
                <a:latin typeface="+mn-lt"/>
                <a:ea typeface="+mn-ea"/>
                <a:cs typeface="+mn-cs"/>
              </a:defRPr>
            </a:lvl4pPr>
            <a:lvl5pPr marL="813600" indent="-147600" algn="l" defTabSz="914400" rtl="0" eaLnBrk="1" latinLnBrk="0" hangingPunct="1">
              <a:lnSpc>
                <a:spcPct val="100000"/>
              </a:lnSpc>
              <a:spcBef>
                <a:spcPts val="0"/>
              </a:spcBef>
              <a:spcAft>
                <a:spcPts val="300"/>
              </a:spcAft>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spcBef>
                <a:spcPct val="0"/>
              </a:spcBef>
              <a:spcAft>
                <a:spcPct val="0"/>
              </a:spcAft>
            </a:pPr>
            <a:fld id="{BC9A9594-FD67-4790-9D8F-2E301312814B}" type="datetime'1''''''2''''''0'''''''''''''''''''''''''''''">
              <a:rPr lang="en-US" altLang="en-US" sz="1400" smtClean="0">
                <a:cs typeface="+mn-cs"/>
              </a:rPr>
              <a:pPr algn="r">
                <a:spcBef>
                  <a:spcPct val="0"/>
                </a:spcBef>
                <a:spcAft>
                  <a:spcPct val="0"/>
                </a:spcAft>
              </a:pPr>
              <a:t>120</a:t>
            </a:fld>
            <a:endParaRPr lang="en-US" sz="1400">
              <a:cs typeface="+mn-cs"/>
            </a:endParaRPr>
          </a:p>
        </p:txBody>
      </p:sp>
      <p:sp>
        <p:nvSpPr>
          <p:cNvPr id="231" name="Text Placeholder 4">
            <a:extLst>
              <a:ext uri="{FF2B5EF4-FFF2-40B4-BE49-F238E27FC236}">
                <a16:creationId xmlns:a16="http://schemas.microsoft.com/office/drawing/2014/main" id="{CCDC4F22-9029-3F07-AF70-1A4BCD179406}"/>
              </a:ext>
            </a:extLst>
          </p:cNvPr>
          <p:cNvSpPr>
            <a:spLocks noGrp="1"/>
          </p:cNvSpPr>
          <p:nvPr>
            <p:custDataLst>
              <p:tags r:id="rId13"/>
            </p:custDataLst>
          </p:nvPr>
        </p:nvSpPr>
        <p:spPr bwMode="gray">
          <a:xfrm>
            <a:off x="696913" y="4286250"/>
            <a:ext cx="19685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30400" algn="l" defTabSz="914400" rtl="0" eaLnBrk="1" latinLnBrk="0" hangingPunct="1">
              <a:lnSpc>
                <a:spcPct val="100000"/>
              </a:lnSpc>
              <a:spcBef>
                <a:spcPts val="0"/>
              </a:spcBef>
              <a:spcAft>
                <a:spcPts val="300"/>
              </a:spcAft>
              <a:buSzPct val="110000"/>
              <a:buFont typeface="Wingdings" panose="05000000000000000000" pitchFamily="2" charset="2"/>
              <a:buChar char=""/>
              <a:defRPr lang="en-US" sz="1600" kern="1200" dirty="0">
                <a:solidFill>
                  <a:schemeClr val="tx1"/>
                </a:solidFill>
                <a:latin typeface="+mn-lt"/>
                <a:ea typeface="+mn-ea"/>
                <a:cs typeface="+mn-cs"/>
              </a:defRPr>
            </a:lvl2pPr>
            <a:lvl3pPr marL="439200" indent="-208800" algn="l" defTabSz="914400" rtl="0" eaLnBrk="1" latinLnBrk="0" hangingPunct="1">
              <a:lnSpc>
                <a:spcPct val="100000"/>
              </a:lnSpc>
              <a:spcBef>
                <a:spcPts val="0"/>
              </a:spcBef>
              <a:spcAft>
                <a:spcPts val="300"/>
              </a:spcAft>
              <a:buSzPct val="110000"/>
              <a:buFont typeface="Arial" panose="020B0604020202020204" pitchFamily="34" charset="0"/>
              <a:buChar char="‒"/>
              <a:defRPr lang="en-US" sz="1600" kern="1200" dirty="0">
                <a:solidFill>
                  <a:schemeClr val="tx1"/>
                </a:solidFill>
                <a:latin typeface="+mn-lt"/>
                <a:ea typeface="+mn-ea"/>
                <a:cs typeface="+mn-cs"/>
              </a:defRPr>
            </a:lvl3pPr>
            <a:lvl4pPr marL="604800" indent="-154800" algn="l" defTabSz="914400" rtl="0" eaLnBrk="1" latinLnBrk="0" hangingPunct="1">
              <a:lnSpc>
                <a:spcPct val="100000"/>
              </a:lnSpc>
              <a:spcBef>
                <a:spcPts val="0"/>
              </a:spcBef>
              <a:spcAft>
                <a:spcPts val="300"/>
              </a:spcAft>
              <a:buFont typeface="Arial" panose="020B0604020202020204" pitchFamily="34" charset="0"/>
              <a:buChar char="•"/>
              <a:defRPr lang="en-US" sz="1600" kern="1200" dirty="0">
                <a:solidFill>
                  <a:schemeClr val="tx1"/>
                </a:solidFill>
                <a:latin typeface="+mn-lt"/>
                <a:ea typeface="+mn-ea"/>
                <a:cs typeface="+mn-cs"/>
              </a:defRPr>
            </a:lvl4pPr>
            <a:lvl5pPr marL="813600" indent="-147600" algn="l" defTabSz="914400" rtl="0" eaLnBrk="1" latinLnBrk="0" hangingPunct="1">
              <a:lnSpc>
                <a:spcPct val="100000"/>
              </a:lnSpc>
              <a:spcBef>
                <a:spcPts val="0"/>
              </a:spcBef>
              <a:spcAft>
                <a:spcPts val="300"/>
              </a:spcAft>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spcBef>
                <a:spcPct val="0"/>
              </a:spcBef>
              <a:spcAft>
                <a:spcPct val="0"/>
              </a:spcAft>
            </a:pPr>
            <a:fld id="{070A4D09-55EC-438F-843B-7B4E3565F256}" type="datetime'''''''''''''''''''''4''''''''''''''''''0'''''''''''''''''">
              <a:rPr lang="en-US" altLang="en-US" sz="1400" smtClean="0">
                <a:cs typeface="+mn-cs"/>
              </a:rPr>
              <a:pPr algn="r">
                <a:spcBef>
                  <a:spcPct val="0"/>
                </a:spcBef>
                <a:spcAft>
                  <a:spcPct val="0"/>
                </a:spcAft>
              </a:pPr>
              <a:t>40</a:t>
            </a:fld>
            <a:endParaRPr lang="en-US" sz="1400">
              <a:cs typeface="+mn-cs"/>
            </a:endParaRPr>
          </a:p>
        </p:txBody>
      </p:sp>
      <p:sp>
        <p:nvSpPr>
          <p:cNvPr id="232" name="Text Placeholder 4">
            <a:extLst>
              <a:ext uri="{FF2B5EF4-FFF2-40B4-BE49-F238E27FC236}">
                <a16:creationId xmlns:a16="http://schemas.microsoft.com/office/drawing/2014/main" id="{B4FC7137-5652-1DDD-2BBC-B332A722E33F}"/>
              </a:ext>
            </a:extLst>
          </p:cNvPr>
          <p:cNvSpPr>
            <a:spLocks noGrp="1"/>
          </p:cNvSpPr>
          <p:nvPr>
            <p:custDataLst>
              <p:tags r:id="rId14"/>
            </p:custDataLst>
          </p:nvPr>
        </p:nvSpPr>
        <p:spPr bwMode="gray">
          <a:xfrm>
            <a:off x="598488" y="2708275"/>
            <a:ext cx="295275"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30400" algn="l" defTabSz="914400" rtl="0" eaLnBrk="1" latinLnBrk="0" hangingPunct="1">
              <a:lnSpc>
                <a:spcPct val="100000"/>
              </a:lnSpc>
              <a:spcBef>
                <a:spcPts val="0"/>
              </a:spcBef>
              <a:spcAft>
                <a:spcPts val="300"/>
              </a:spcAft>
              <a:buSzPct val="110000"/>
              <a:buFont typeface="Wingdings" panose="05000000000000000000" pitchFamily="2" charset="2"/>
              <a:buChar char=""/>
              <a:defRPr lang="en-US" sz="1600" kern="1200" dirty="0">
                <a:solidFill>
                  <a:schemeClr val="tx1"/>
                </a:solidFill>
                <a:latin typeface="+mn-lt"/>
                <a:ea typeface="+mn-ea"/>
                <a:cs typeface="+mn-cs"/>
              </a:defRPr>
            </a:lvl2pPr>
            <a:lvl3pPr marL="439200" indent="-208800" algn="l" defTabSz="914400" rtl="0" eaLnBrk="1" latinLnBrk="0" hangingPunct="1">
              <a:lnSpc>
                <a:spcPct val="100000"/>
              </a:lnSpc>
              <a:spcBef>
                <a:spcPts val="0"/>
              </a:spcBef>
              <a:spcAft>
                <a:spcPts val="300"/>
              </a:spcAft>
              <a:buSzPct val="110000"/>
              <a:buFont typeface="Arial" panose="020B0604020202020204" pitchFamily="34" charset="0"/>
              <a:buChar char="‒"/>
              <a:defRPr lang="en-US" sz="1600" kern="1200" dirty="0">
                <a:solidFill>
                  <a:schemeClr val="tx1"/>
                </a:solidFill>
                <a:latin typeface="+mn-lt"/>
                <a:ea typeface="+mn-ea"/>
                <a:cs typeface="+mn-cs"/>
              </a:defRPr>
            </a:lvl3pPr>
            <a:lvl4pPr marL="604800" indent="-154800" algn="l" defTabSz="914400" rtl="0" eaLnBrk="1" latinLnBrk="0" hangingPunct="1">
              <a:lnSpc>
                <a:spcPct val="100000"/>
              </a:lnSpc>
              <a:spcBef>
                <a:spcPts val="0"/>
              </a:spcBef>
              <a:spcAft>
                <a:spcPts val="300"/>
              </a:spcAft>
              <a:buFont typeface="Arial" panose="020B0604020202020204" pitchFamily="34" charset="0"/>
              <a:buChar char="•"/>
              <a:defRPr lang="en-US" sz="1600" kern="1200" dirty="0">
                <a:solidFill>
                  <a:schemeClr val="tx1"/>
                </a:solidFill>
                <a:latin typeface="+mn-lt"/>
                <a:ea typeface="+mn-ea"/>
                <a:cs typeface="+mn-cs"/>
              </a:defRPr>
            </a:lvl4pPr>
            <a:lvl5pPr marL="813600" indent="-147600" algn="l" defTabSz="914400" rtl="0" eaLnBrk="1" latinLnBrk="0" hangingPunct="1">
              <a:lnSpc>
                <a:spcPct val="100000"/>
              </a:lnSpc>
              <a:spcBef>
                <a:spcPts val="0"/>
              </a:spcBef>
              <a:spcAft>
                <a:spcPts val="300"/>
              </a:spcAft>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spcBef>
                <a:spcPct val="0"/>
              </a:spcBef>
              <a:spcAft>
                <a:spcPct val="0"/>
              </a:spcAft>
            </a:pPr>
            <a:fld id="{CBB52EC6-CD3D-4AC4-A222-D4E0FBBDB567}" type="datetime'''''''''''''''''''1''''''''''''''4''''''''''''''''0'''''''">
              <a:rPr lang="en-US" altLang="en-US" sz="1400" smtClean="0">
                <a:cs typeface="+mn-cs"/>
              </a:rPr>
              <a:pPr algn="r">
                <a:spcBef>
                  <a:spcPct val="0"/>
                </a:spcBef>
                <a:spcAft>
                  <a:spcPct val="0"/>
                </a:spcAft>
              </a:pPr>
              <a:t>140</a:t>
            </a:fld>
            <a:endParaRPr lang="en-US" sz="1400">
              <a:cs typeface="+mn-cs"/>
            </a:endParaRPr>
          </a:p>
        </p:txBody>
      </p:sp>
      <p:cxnSp>
        <p:nvCxnSpPr>
          <p:cNvPr id="237" name="Straight Connector 236">
            <a:extLst>
              <a:ext uri="{FF2B5EF4-FFF2-40B4-BE49-F238E27FC236}">
                <a16:creationId xmlns:a16="http://schemas.microsoft.com/office/drawing/2014/main" id="{F1927635-18C1-47D6-669C-E19B36CEC6A6}"/>
              </a:ext>
            </a:extLst>
          </p:cNvPr>
          <p:cNvCxnSpPr/>
          <p:nvPr>
            <p:custDataLst>
              <p:tags r:id="rId15"/>
            </p:custDataLst>
          </p:nvPr>
        </p:nvCxnSpPr>
        <p:spPr bwMode="auto">
          <a:xfrm>
            <a:off x="6508750" y="5029200"/>
            <a:ext cx="0" cy="150813"/>
          </a:xfrm>
          <a:prstGeom prst="line">
            <a:avLst/>
          </a:prstGeom>
          <a:ln w="952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38" name="Straight Connector 237">
            <a:extLst>
              <a:ext uri="{FF2B5EF4-FFF2-40B4-BE49-F238E27FC236}">
                <a16:creationId xmlns:a16="http://schemas.microsoft.com/office/drawing/2014/main" id="{ABE8939D-503F-3B81-B909-110708D38212}"/>
              </a:ext>
            </a:extLst>
          </p:cNvPr>
          <p:cNvCxnSpPr/>
          <p:nvPr>
            <p:custDataLst>
              <p:tags r:id="rId16"/>
            </p:custDataLst>
          </p:nvPr>
        </p:nvCxnSpPr>
        <p:spPr bwMode="auto">
          <a:xfrm>
            <a:off x="7458075" y="5029200"/>
            <a:ext cx="0" cy="150813"/>
          </a:xfrm>
          <a:prstGeom prst="line">
            <a:avLst/>
          </a:prstGeom>
          <a:ln w="952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39" name="Straight Connector 238">
            <a:extLst>
              <a:ext uri="{FF2B5EF4-FFF2-40B4-BE49-F238E27FC236}">
                <a16:creationId xmlns:a16="http://schemas.microsoft.com/office/drawing/2014/main" id="{012CDD37-FD17-6484-CF98-6ADD90339118}"/>
              </a:ext>
            </a:extLst>
          </p:cNvPr>
          <p:cNvCxnSpPr/>
          <p:nvPr>
            <p:custDataLst>
              <p:tags r:id="rId17"/>
            </p:custDataLst>
          </p:nvPr>
        </p:nvCxnSpPr>
        <p:spPr bwMode="auto">
          <a:xfrm>
            <a:off x="6508750" y="5180013"/>
            <a:ext cx="949325" cy="0"/>
          </a:xfrm>
          <a:prstGeom prst="line">
            <a:avLst/>
          </a:prstGeom>
          <a:ln w="952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0" name="Straight Connector 239">
            <a:extLst>
              <a:ext uri="{FF2B5EF4-FFF2-40B4-BE49-F238E27FC236}">
                <a16:creationId xmlns:a16="http://schemas.microsoft.com/office/drawing/2014/main" id="{1062A821-36AC-A340-23A4-D5C4599A8184}"/>
              </a:ext>
            </a:extLst>
          </p:cNvPr>
          <p:cNvCxnSpPr/>
          <p:nvPr>
            <p:custDataLst>
              <p:tags r:id="rId18"/>
            </p:custDataLst>
          </p:nvPr>
        </p:nvCxnSpPr>
        <p:spPr bwMode="auto">
          <a:xfrm>
            <a:off x="6130925" y="5029200"/>
            <a:ext cx="0" cy="168275"/>
          </a:xfrm>
          <a:prstGeom prst="line">
            <a:avLst/>
          </a:prstGeom>
          <a:ln w="952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3" name="Straight Connector 242">
            <a:extLst>
              <a:ext uri="{FF2B5EF4-FFF2-40B4-BE49-F238E27FC236}">
                <a16:creationId xmlns:a16="http://schemas.microsoft.com/office/drawing/2014/main" id="{4776DFE2-DF86-30F3-18DE-A7A27B0EF2CC}"/>
              </a:ext>
            </a:extLst>
          </p:cNvPr>
          <p:cNvCxnSpPr/>
          <p:nvPr>
            <p:custDataLst>
              <p:tags r:id="rId19"/>
            </p:custDataLst>
          </p:nvPr>
        </p:nvCxnSpPr>
        <p:spPr bwMode="auto">
          <a:xfrm>
            <a:off x="5181600" y="5197475"/>
            <a:ext cx="949325" cy="0"/>
          </a:xfrm>
          <a:prstGeom prst="line">
            <a:avLst/>
          </a:prstGeom>
          <a:ln w="952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4" name="Straight Connector 243">
            <a:extLst>
              <a:ext uri="{FF2B5EF4-FFF2-40B4-BE49-F238E27FC236}">
                <a16:creationId xmlns:a16="http://schemas.microsoft.com/office/drawing/2014/main" id="{7715A50D-3A68-DBCA-1905-BC8AD9DC32CD}"/>
              </a:ext>
            </a:extLst>
          </p:cNvPr>
          <p:cNvCxnSpPr/>
          <p:nvPr>
            <p:custDataLst>
              <p:tags r:id="rId20"/>
            </p:custDataLst>
          </p:nvPr>
        </p:nvCxnSpPr>
        <p:spPr bwMode="auto">
          <a:xfrm>
            <a:off x="5181600" y="5029200"/>
            <a:ext cx="0" cy="168275"/>
          </a:xfrm>
          <a:prstGeom prst="line">
            <a:avLst/>
          </a:prstGeom>
          <a:ln w="952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5" name="Straight Connector 244">
            <a:extLst>
              <a:ext uri="{FF2B5EF4-FFF2-40B4-BE49-F238E27FC236}">
                <a16:creationId xmlns:a16="http://schemas.microsoft.com/office/drawing/2014/main" id="{E40A3B22-E1F3-AE3C-EF77-3FC56BEB8A4E}"/>
              </a:ext>
            </a:extLst>
          </p:cNvPr>
          <p:cNvCxnSpPr/>
          <p:nvPr>
            <p:custDataLst>
              <p:tags r:id="rId21"/>
            </p:custDataLst>
          </p:nvPr>
        </p:nvCxnSpPr>
        <p:spPr bwMode="auto">
          <a:xfrm>
            <a:off x="4803775" y="5029200"/>
            <a:ext cx="0" cy="211138"/>
          </a:xfrm>
          <a:prstGeom prst="line">
            <a:avLst/>
          </a:prstGeom>
          <a:ln w="952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6" name="Straight Connector 245">
            <a:extLst>
              <a:ext uri="{FF2B5EF4-FFF2-40B4-BE49-F238E27FC236}">
                <a16:creationId xmlns:a16="http://schemas.microsoft.com/office/drawing/2014/main" id="{C48FF2F3-D0C5-C19D-EDA4-B719F1885E05}"/>
              </a:ext>
            </a:extLst>
          </p:cNvPr>
          <p:cNvCxnSpPr/>
          <p:nvPr>
            <p:custDataLst>
              <p:tags r:id="rId22"/>
            </p:custDataLst>
          </p:nvPr>
        </p:nvCxnSpPr>
        <p:spPr bwMode="auto">
          <a:xfrm>
            <a:off x="3854450" y="5240338"/>
            <a:ext cx="949325" cy="0"/>
          </a:xfrm>
          <a:prstGeom prst="line">
            <a:avLst/>
          </a:prstGeom>
          <a:ln w="952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7" name="Straight Connector 246">
            <a:extLst>
              <a:ext uri="{FF2B5EF4-FFF2-40B4-BE49-F238E27FC236}">
                <a16:creationId xmlns:a16="http://schemas.microsoft.com/office/drawing/2014/main" id="{02319111-51A3-6262-0A73-5768B72C4138}"/>
              </a:ext>
            </a:extLst>
          </p:cNvPr>
          <p:cNvCxnSpPr/>
          <p:nvPr>
            <p:custDataLst>
              <p:tags r:id="rId23"/>
            </p:custDataLst>
          </p:nvPr>
        </p:nvCxnSpPr>
        <p:spPr bwMode="auto">
          <a:xfrm>
            <a:off x="3854450" y="5029200"/>
            <a:ext cx="0" cy="211138"/>
          </a:xfrm>
          <a:prstGeom prst="line">
            <a:avLst/>
          </a:prstGeom>
          <a:ln w="952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8" name="Straight Connector 247">
            <a:extLst>
              <a:ext uri="{FF2B5EF4-FFF2-40B4-BE49-F238E27FC236}">
                <a16:creationId xmlns:a16="http://schemas.microsoft.com/office/drawing/2014/main" id="{DA82E90B-C51B-DFAC-D403-CDB1AF90C83D}"/>
              </a:ext>
            </a:extLst>
          </p:cNvPr>
          <p:cNvCxnSpPr/>
          <p:nvPr>
            <p:custDataLst>
              <p:tags r:id="rId24"/>
            </p:custDataLst>
          </p:nvPr>
        </p:nvCxnSpPr>
        <p:spPr bwMode="auto">
          <a:xfrm>
            <a:off x="2527300" y="5283200"/>
            <a:ext cx="949325" cy="0"/>
          </a:xfrm>
          <a:prstGeom prst="line">
            <a:avLst/>
          </a:prstGeom>
          <a:ln w="952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9" name="Straight Connector 248">
            <a:extLst>
              <a:ext uri="{FF2B5EF4-FFF2-40B4-BE49-F238E27FC236}">
                <a16:creationId xmlns:a16="http://schemas.microsoft.com/office/drawing/2014/main" id="{795F6BFB-8DFA-60F6-25A1-559DFF2DA1A8}"/>
              </a:ext>
            </a:extLst>
          </p:cNvPr>
          <p:cNvCxnSpPr/>
          <p:nvPr>
            <p:custDataLst>
              <p:tags r:id="rId25"/>
            </p:custDataLst>
          </p:nvPr>
        </p:nvCxnSpPr>
        <p:spPr bwMode="auto">
          <a:xfrm>
            <a:off x="2527300" y="5029200"/>
            <a:ext cx="0" cy="254000"/>
          </a:xfrm>
          <a:prstGeom prst="line">
            <a:avLst/>
          </a:prstGeom>
          <a:ln w="952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0" name="Straight Connector 249">
            <a:extLst>
              <a:ext uri="{FF2B5EF4-FFF2-40B4-BE49-F238E27FC236}">
                <a16:creationId xmlns:a16="http://schemas.microsoft.com/office/drawing/2014/main" id="{6F82C1BF-DAC6-5141-752F-CD96AF0B73F7}"/>
              </a:ext>
            </a:extLst>
          </p:cNvPr>
          <p:cNvCxnSpPr/>
          <p:nvPr>
            <p:custDataLst>
              <p:tags r:id="rId26"/>
            </p:custDataLst>
          </p:nvPr>
        </p:nvCxnSpPr>
        <p:spPr bwMode="auto">
          <a:xfrm>
            <a:off x="3476625" y="5029200"/>
            <a:ext cx="0" cy="254000"/>
          </a:xfrm>
          <a:prstGeom prst="line">
            <a:avLst/>
          </a:prstGeom>
          <a:ln w="952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1" name="Straight Connector 250">
            <a:extLst>
              <a:ext uri="{FF2B5EF4-FFF2-40B4-BE49-F238E27FC236}">
                <a16:creationId xmlns:a16="http://schemas.microsoft.com/office/drawing/2014/main" id="{F06E5C1F-8722-59D3-9A5E-F484CA1E2A33}"/>
              </a:ext>
            </a:extLst>
          </p:cNvPr>
          <p:cNvCxnSpPr/>
          <p:nvPr>
            <p:custDataLst>
              <p:tags r:id="rId27"/>
            </p:custDataLst>
          </p:nvPr>
        </p:nvCxnSpPr>
        <p:spPr bwMode="auto">
          <a:xfrm>
            <a:off x="1200150" y="5413375"/>
            <a:ext cx="949325" cy="0"/>
          </a:xfrm>
          <a:prstGeom prst="line">
            <a:avLst/>
          </a:prstGeom>
          <a:ln w="952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2" name="Straight Connector 251">
            <a:extLst>
              <a:ext uri="{FF2B5EF4-FFF2-40B4-BE49-F238E27FC236}">
                <a16:creationId xmlns:a16="http://schemas.microsoft.com/office/drawing/2014/main" id="{5227AF3F-91AC-F6E9-C2E7-6CA197316248}"/>
              </a:ext>
            </a:extLst>
          </p:cNvPr>
          <p:cNvCxnSpPr/>
          <p:nvPr>
            <p:custDataLst>
              <p:tags r:id="rId28"/>
            </p:custDataLst>
          </p:nvPr>
        </p:nvCxnSpPr>
        <p:spPr bwMode="auto">
          <a:xfrm>
            <a:off x="1200150" y="5029200"/>
            <a:ext cx="0" cy="384175"/>
          </a:xfrm>
          <a:prstGeom prst="line">
            <a:avLst/>
          </a:prstGeom>
          <a:ln w="952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3" name="Straight Connector 252">
            <a:extLst>
              <a:ext uri="{FF2B5EF4-FFF2-40B4-BE49-F238E27FC236}">
                <a16:creationId xmlns:a16="http://schemas.microsoft.com/office/drawing/2014/main" id="{5BEA2751-8EC6-9EAB-48C2-C81A5734DFCA}"/>
              </a:ext>
            </a:extLst>
          </p:cNvPr>
          <p:cNvCxnSpPr/>
          <p:nvPr>
            <p:custDataLst>
              <p:tags r:id="rId29"/>
            </p:custDataLst>
          </p:nvPr>
        </p:nvCxnSpPr>
        <p:spPr bwMode="auto">
          <a:xfrm>
            <a:off x="2149475" y="5029200"/>
            <a:ext cx="0" cy="384175"/>
          </a:xfrm>
          <a:prstGeom prst="line">
            <a:avLst/>
          </a:prstGeom>
          <a:ln w="952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54" name="Text Placeholder 4">
            <a:extLst>
              <a:ext uri="{FF2B5EF4-FFF2-40B4-BE49-F238E27FC236}">
                <a16:creationId xmlns:a16="http://schemas.microsoft.com/office/drawing/2014/main" id="{E7E70038-2357-2C6D-B344-B47FDA42844E}"/>
              </a:ext>
            </a:extLst>
          </p:cNvPr>
          <p:cNvSpPr>
            <a:spLocks noGrp="1"/>
          </p:cNvSpPr>
          <p:nvPr>
            <p:custDataLst>
              <p:tags r:id="rId30"/>
            </p:custDataLst>
          </p:nvPr>
        </p:nvSpPr>
        <p:spPr bwMode="auto">
          <a:xfrm>
            <a:off x="5280025" y="6069013"/>
            <a:ext cx="237172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30400" algn="l" defTabSz="914400" rtl="0" eaLnBrk="1" latinLnBrk="0" hangingPunct="1">
              <a:lnSpc>
                <a:spcPct val="100000"/>
              </a:lnSpc>
              <a:spcBef>
                <a:spcPts val="0"/>
              </a:spcBef>
              <a:spcAft>
                <a:spcPts val="300"/>
              </a:spcAft>
              <a:buSzPct val="110000"/>
              <a:buFont typeface="Wingdings" panose="05000000000000000000" pitchFamily="2" charset="2"/>
              <a:buChar char=""/>
              <a:defRPr lang="en-US" sz="1600" kern="1200" dirty="0">
                <a:solidFill>
                  <a:schemeClr val="tx1"/>
                </a:solidFill>
                <a:latin typeface="+mn-lt"/>
                <a:ea typeface="+mn-ea"/>
                <a:cs typeface="+mn-cs"/>
              </a:defRPr>
            </a:lvl2pPr>
            <a:lvl3pPr marL="439200" indent="-208800" algn="l" defTabSz="914400" rtl="0" eaLnBrk="1" latinLnBrk="0" hangingPunct="1">
              <a:lnSpc>
                <a:spcPct val="100000"/>
              </a:lnSpc>
              <a:spcBef>
                <a:spcPts val="0"/>
              </a:spcBef>
              <a:spcAft>
                <a:spcPts val="300"/>
              </a:spcAft>
              <a:buSzPct val="110000"/>
              <a:buFont typeface="Arial" panose="020B0604020202020204" pitchFamily="34" charset="0"/>
              <a:buChar char="‒"/>
              <a:defRPr lang="en-US" sz="1600" kern="1200" dirty="0">
                <a:solidFill>
                  <a:schemeClr val="tx1"/>
                </a:solidFill>
                <a:latin typeface="+mn-lt"/>
                <a:ea typeface="+mn-ea"/>
                <a:cs typeface="+mn-cs"/>
              </a:defRPr>
            </a:lvl3pPr>
            <a:lvl4pPr marL="604800" indent="-154800" algn="l" defTabSz="914400" rtl="0" eaLnBrk="1" latinLnBrk="0" hangingPunct="1">
              <a:lnSpc>
                <a:spcPct val="100000"/>
              </a:lnSpc>
              <a:spcBef>
                <a:spcPts val="0"/>
              </a:spcBef>
              <a:spcAft>
                <a:spcPts val="300"/>
              </a:spcAft>
              <a:buFont typeface="Arial" panose="020B0604020202020204" pitchFamily="34" charset="0"/>
              <a:buChar char="•"/>
              <a:defRPr lang="en-US" sz="1600" kern="1200" dirty="0">
                <a:solidFill>
                  <a:schemeClr val="tx1"/>
                </a:solidFill>
                <a:latin typeface="+mn-lt"/>
                <a:ea typeface="+mn-ea"/>
                <a:cs typeface="+mn-cs"/>
              </a:defRPr>
            </a:lvl4pPr>
            <a:lvl5pPr marL="813600" indent="-147600" algn="l" defTabSz="914400" rtl="0" eaLnBrk="1" latinLnBrk="0" hangingPunct="1">
              <a:lnSpc>
                <a:spcPct val="100000"/>
              </a:lnSpc>
              <a:spcBef>
                <a:spcPts val="0"/>
              </a:spcBef>
              <a:spcAft>
                <a:spcPts val="300"/>
              </a:spcAft>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spcBef>
                <a:spcPct val="0"/>
              </a:spcBef>
              <a:spcAft>
                <a:spcPct val="0"/>
              </a:spcAft>
            </a:pPr>
            <a:r>
              <a:rPr lang="en-US" altLang="en-US" sz="1400" b="1">
                <a:cs typeface="+mn-cs"/>
              </a:rPr>
              <a:t>Overnight capital cost</a:t>
            </a:r>
            <a:r>
              <a:rPr lang="en-US" altLang="en-US" sz="1400" b="1">
                <a:effectLst/>
                <a:cs typeface="+mn-cs"/>
              </a:rPr>
              <a:t>, $/kW</a:t>
            </a:r>
            <a:endParaRPr lang="en-US" sz="1400" b="1">
              <a:cs typeface="+mn-cs"/>
            </a:endParaRPr>
          </a:p>
        </p:txBody>
      </p:sp>
      <p:sp>
        <p:nvSpPr>
          <p:cNvPr id="255" name="Text Placeholder 4">
            <a:extLst>
              <a:ext uri="{FF2B5EF4-FFF2-40B4-BE49-F238E27FC236}">
                <a16:creationId xmlns:a16="http://schemas.microsoft.com/office/drawing/2014/main" id="{C374B0FA-5B84-FA98-E8D8-5B3D8A7752B0}"/>
              </a:ext>
            </a:extLst>
          </p:cNvPr>
          <p:cNvSpPr>
            <a:spLocks noGrp="1"/>
          </p:cNvSpPr>
          <p:nvPr>
            <p:custDataLst>
              <p:tags r:id="rId31"/>
            </p:custDataLst>
          </p:nvPr>
        </p:nvSpPr>
        <p:spPr bwMode="gray">
          <a:xfrm>
            <a:off x="5532438" y="3517900"/>
            <a:ext cx="247650"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b"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30400" algn="l" defTabSz="914400" rtl="0" eaLnBrk="1" latinLnBrk="0" hangingPunct="1">
              <a:lnSpc>
                <a:spcPct val="100000"/>
              </a:lnSpc>
              <a:spcBef>
                <a:spcPts val="0"/>
              </a:spcBef>
              <a:spcAft>
                <a:spcPts val="300"/>
              </a:spcAft>
              <a:buSzPct val="110000"/>
              <a:buFont typeface="Wingdings" panose="05000000000000000000" pitchFamily="2" charset="2"/>
              <a:buChar char=""/>
              <a:defRPr lang="en-US" sz="1600" kern="1200" dirty="0">
                <a:solidFill>
                  <a:schemeClr val="tx1"/>
                </a:solidFill>
                <a:latin typeface="+mn-lt"/>
                <a:ea typeface="+mn-ea"/>
                <a:cs typeface="+mn-cs"/>
              </a:defRPr>
            </a:lvl2pPr>
            <a:lvl3pPr marL="439200" indent="-208800" algn="l" defTabSz="914400" rtl="0" eaLnBrk="1" latinLnBrk="0" hangingPunct="1">
              <a:lnSpc>
                <a:spcPct val="100000"/>
              </a:lnSpc>
              <a:spcBef>
                <a:spcPts val="0"/>
              </a:spcBef>
              <a:spcAft>
                <a:spcPts val="300"/>
              </a:spcAft>
              <a:buSzPct val="110000"/>
              <a:buFont typeface="Arial" panose="020B0604020202020204" pitchFamily="34" charset="0"/>
              <a:buChar char="‒"/>
              <a:defRPr lang="en-US" sz="1600" kern="1200" dirty="0">
                <a:solidFill>
                  <a:schemeClr val="tx1"/>
                </a:solidFill>
                <a:latin typeface="+mn-lt"/>
                <a:ea typeface="+mn-ea"/>
                <a:cs typeface="+mn-cs"/>
              </a:defRPr>
            </a:lvl3pPr>
            <a:lvl4pPr marL="604800" indent="-154800" algn="l" defTabSz="914400" rtl="0" eaLnBrk="1" latinLnBrk="0" hangingPunct="1">
              <a:lnSpc>
                <a:spcPct val="100000"/>
              </a:lnSpc>
              <a:spcBef>
                <a:spcPts val="0"/>
              </a:spcBef>
              <a:spcAft>
                <a:spcPts val="300"/>
              </a:spcAft>
              <a:buFont typeface="Arial" panose="020B0604020202020204" pitchFamily="34" charset="0"/>
              <a:buChar char="•"/>
              <a:defRPr lang="en-US" sz="1600" kern="1200" dirty="0">
                <a:solidFill>
                  <a:schemeClr val="tx1"/>
                </a:solidFill>
                <a:latin typeface="+mn-lt"/>
                <a:ea typeface="+mn-ea"/>
                <a:cs typeface="+mn-cs"/>
              </a:defRPr>
            </a:lvl4pPr>
            <a:lvl5pPr marL="813600" indent="-147600" algn="l" defTabSz="914400" rtl="0" eaLnBrk="1" latinLnBrk="0" hangingPunct="1">
              <a:lnSpc>
                <a:spcPct val="100000"/>
              </a:lnSpc>
              <a:spcBef>
                <a:spcPts val="0"/>
              </a:spcBef>
              <a:spcAft>
                <a:spcPts val="300"/>
              </a:spcAft>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76E98D0B-E122-45D0-8E6F-4AB3D715DE57}" type="datetime'''''''''6''''''''''9'''''''''''''''''''''">
              <a:rPr lang="en-US" altLang="en-US" sz="1400" b="1" smtClean="0">
                <a:cs typeface="+mn-cs"/>
              </a:rPr>
              <a:pPr algn="ctr">
                <a:spcBef>
                  <a:spcPct val="0"/>
                </a:spcBef>
                <a:spcAft>
                  <a:spcPct val="0"/>
                </a:spcAft>
              </a:pPr>
              <a:t>69</a:t>
            </a:fld>
            <a:endParaRPr lang="en-US" sz="1400" b="1">
              <a:cs typeface="+mn-cs"/>
            </a:endParaRPr>
          </a:p>
        </p:txBody>
      </p:sp>
      <p:sp>
        <p:nvSpPr>
          <p:cNvPr id="32" name="Text Placeholder 4">
            <a:extLst>
              <a:ext uri="{FF2B5EF4-FFF2-40B4-BE49-F238E27FC236}">
                <a16:creationId xmlns:a16="http://schemas.microsoft.com/office/drawing/2014/main" id="{CAB9DB44-BC22-E5B4-7A5F-75EDB20059F5}"/>
              </a:ext>
            </a:extLst>
          </p:cNvPr>
          <p:cNvSpPr>
            <a:spLocks noGrp="1"/>
          </p:cNvSpPr>
          <p:nvPr>
            <p:custDataLst>
              <p:tags r:id="rId32"/>
            </p:custDataLst>
          </p:nvPr>
        </p:nvSpPr>
        <p:spPr bwMode="gray">
          <a:xfrm>
            <a:off x="1600200" y="4897438"/>
            <a:ext cx="149225" cy="212725"/>
          </a:xfrm>
          <a:prstGeom prst="rect">
            <a:avLst/>
          </a:prstGeom>
          <a:solidFill>
            <a:schemeClr val="accent4"/>
          </a:solidFill>
          <a:ln>
            <a:noFill/>
          </a:ln>
          <a:effectLst/>
        </p:spPr>
        <p:txBody>
          <a:bodyPr vert="horz" wrap="none" lIns="25400" tIns="0" rIns="25400" bIns="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30400" algn="l" defTabSz="914400" rtl="0" eaLnBrk="1" latinLnBrk="0" hangingPunct="1">
              <a:lnSpc>
                <a:spcPct val="100000"/>
              </a:lnSpc>
              <a:spcBef>
                <a:spcPts val="0"/>
              </a:spcBef>
              <a:spcAft>
                <a:spcPts val="300"/>
              </a:spcAft>
              <a:buSzPct val="110000"/>
              <a:buFont typeface="Wingdings" panose="05000000000000000000" pitchFamily="2" charset="2"/>
              <a:buChar char=""/>
              <a:defRPr lang="en-US" sz="1600" kern="1200" dirty="0">
                <a:solidFill>
                  <a:schemeClr val="tx1"/>
                </a:solidFill>
                <a:latin typeface="+mn-lt"/>
                <a:ea typeface="+mn-ea"/>
                <a:cs typeface="+mn-cs"/>
              </a:defRPr>
            </a:lvl2pPr>
            <a:lvl3pPr marL="439200" indent="-208800" algn="l" defTabSz="914400" rtl="0" eaLnBrk="1" latinLnBrk="0" hangingPunct="1">
              <a:lnSpc>
                <a:spcPct val="100000"/>
              </a:lnSpc>
              <a:spcBef>
                <a:spcPts val="0"/>
              </a:spcBef>
              <a:spcAft>
                <a:spcPts val="300"/>
              </a:spcAft>
              <a:buSzPct val="110000"/>
              <a:buFont typeface="Arial" panose="020B0604020202020204" pitchFamily="34" charset="0"/>
              <a:buChar char="‒"/>
              <a:defRPr lang="en-US" sz="1600" kern="1200" dirty="0">
                <a:solidFill>
                  <a:schemeClr val="tx1"/>
                </a:solidFill>
                <a:latin typeface="+mn-lt"/>
                <a:ea typeface="+mn-ea"/>
                <a:cs typeface="+mn-cs"/>
              </a:defRPr>
            </a:lvl3pPr>
            <a:lvl4pPr marL="604800" indent="-154800" algn="l" defTabSz="914400" rtl="0" eaLnBrk="1" latinLnBrk="0" hangingPunct="1">
              <a:lnSpc>
                <a:spcPct val="100000"/>
              </a:lnSpc>
              <a:spcBef>
                <a:spcPts val="0"/>
              </a:spcBef>
              <a:spcAft>
                <a:spcPts val="300"/>
              </a:spcAft>
              <a:buFont typeface="Arial" panose="020B0604020202020204" pitchFamily="34" charset="0"/>
              <a:buChar char="•"/>
              <a:defRPr lang="en-US" sz="1600" kern="1200" dirty="0">
                <a:solidFill>
                  <a:schemeClr val="tx1"/>
                </a:solidFill>
                <a:latin typeface="+mn-lt"/>
                <a:ea typeface="+mn-ea"/>
                <a:cs typeface="+mn-cs"/>
              </a:defRPr>
            </a:lvl4pPr>
            <a:lvl5pPr marL="813600" indent="-147600" algn="l" defTabSz="914400" rtl="0" eaLnBrk="1" latinLnBrk="0" hangingPunct="1">
              <a:lnSpc>
                <a:spcPct val="100000"/>
              </a:lnSpc>
              <a:spcBef>
                <a:spcPts val="0"/>
              </a:spcBef>
              <a:spcAft>
                <a:spcPts val="300"/>
              </a:spcAft>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E14F429B-C531-4FE9-BCEC-936997774C19}" type="datetime'''''''''''''''''''''''''3'''''''''">
              <a:rPr lang="en-US" altLang="en-US" sz="1400" smtClean="0">
                <a:effectLst/>
                <a:cs typeface="+mn-cs"/>
              </a:rPr>
              <a:pPr algn="ctr">
                <a:spcBef>
                  <a:spcPct val="0"/>
                </a:spcBef>
                <a:spcAft>
                  <a:spcPct val="0"/>
                </a:spcAft>
              </a:pPr>
              <a:t>3</a:t>
            </a:fld>
            <a:endParaRPr lang="en-US" sz="1400">
              <a:cs typeface="+mn-cs"/>
            </a:endParaRPr>
          </a:p>
        </p:txBody>
      </p:sp>
      <p:sp>
        <p:nvSpPr>
          <p:cNvPr id="33" name="Text Placeholder 4">
            <a:extLst>
              <a:ext uri="{FF2B5EF4-FFF2-40B4-BE49-F238E27FC236}">
                <a16:creationId xmlns:a16="http://schemas.microsoft.com/office/drawing/2014/main" id="{AE9CB624-4D0D-5226-5036-51B481A52475}"/>
              </a:ext>
            </a:extLst>
          </p:cNvPr>
          <p:cNvSpPr>
            <a:spLocks noGrp="1"/>
          </p:cNvSpPr>
          <p:nvPr>
            <p:custDataLst>
              <p:tags r:id="rId33"/>
            </p:custDataLst>
          </p:nvPr>
        </p:nvSpPr>
        <p:spPr bwMode="auto">
          <a:xfrm>
            <a:off x="1447800" y="5713413"/>
            <a:ext cx="455613"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30400" algn="l" defTabSz="914400" rtl="0" eaLnBrk="1" latinLnBrk="0" hangingPunct="1">
              <a:lnSpc>
                <a:spcPct val="100000"/>
              </a:lnSpc>
              <a:spcBef>
                <a:spcPts val="0"/>
              </a:spcBef>
              <a:spcAft>
                <a:spcPts val="300"/>
              </a:spcAft>
              <a:buSzPct val="110000"/>
              <a:buFont typeface="Wingdings" panose="05000000000000000000" pitchFamily="2" charset="2"/>
              <a:buChar char=""/>
              <a:defRPr lang="en-US" sz="1600" kern="1200" dirty="0">
                <a:solidFill>
                  <a:schemeClr val="tx1"/>
                </a:solidFill>
                <a:latin typeface="+mn-lt"/>
                <a:ea typeface="+mn-ea"/>
                <a:cs typeface="+mn-cs"/>
              </a:defRPr>
            </a:lvl2pPr>
            <a:lvl3pPr marL="439200" indent="-208800" algn="l" defTabSz="914400" rtl="0" eaLnBrk="1" latinLnBrk="0" hangingPunct="1">
              <a:lnSpc>
                <a:spcPct val="100000"/>
              </a:lnSpc>
              <a:spcBef>
                <a:spcPts val="0"/>
              </a:spcBef>
              <a:spcAft>
                <a:spcPts val="300"/>
              </a:spcAft>
              <a:buSzPct val="110000"/>
              <a:buFont typeface="Arial" panose="020B0604020202020204" pitchFamily="34" charset="0"/>
              <a:buChar char="‒"/>
              <a:defRPr lang="en-US" sz="1600" kern="1200" dirty="0">
                <a:solidFill>
                  <a:schemeClr val="tx1"/>
                </a:solidFill>
                <a:latin typeface="+mn-lt"/>
                <a:ea typeface="+mn-ea"/>
                <a:cs typeface="+mn-cs"/>
              </a:defRPr>
            </a:lvl3pPr>
            <a:lvl4pPr marL="604800" indent="-154800" algn="l" defTabSz="914400" rtl="0" eaLnBrk="1" latinLnBrk="0" hangingPunct="1">
              <a:lnSpc>
                <a:spcPct val="100000"/>
              </a:lnSpc>
              <a:spcBef>
                <a:spcPts val="0"/>
              </a:spcBef>
              <a:spcAft>
                <a:spcPts val="300"/>
              </a:spcAft>
              <a:buFont typeface="Arial" panose="020B0604020202020204" pitchFamily="34" charset="0"/>
              <a:buChar char="•"/>
              <a:defRPr lang="en-US" sz="1600" kern="1200" dirty="0">
                <a:solidFill>
                  <a:schemeClr val="tx1"/>
                </a:solidFill>
                <a:latin typeface="+mn-lt"/>
                <a:ea typeface="+mn-ea"/>
                <a:cs typeface="+mn-cs"/>
              </a:defRPr>
            </a:lvl4pPr>
            <a:lvl5pPr marL="813600" indent="-147600" algn="l" defTabSz="914400" rtl="0" eaLnBrk="1" latinLnBrk="0" hangingPunct="1">
              <a:lnSpc>
                <a:spcPct val="100000"/>
              </a:lnSpc>
              <a:spcBef>
                <a:spcPts val="0"/>
              </a:spcBef>
              <a:spcAft>
                <a:spcPts val="300"/>
              </a:spcAft>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B9B2F9FD-DAB9-4C61-BBFC-1FD2DCB404E2}" type="datetime'''''9,0''''''''''''''''0''''''0'''''''''''''''''">
              <a:rPr lang="en-US" altLang="en-US" sz="1400" smtClean="0">
                <a:cs typeface="+mn-cs"/>
              </a:rPr>
              <a:pPr algn="ctr">
                <a:spcBef>
                  <a:spcPct val="0"/>
                </a:spcBef>
                <a:spcAft>
                  <a:spcPct val="0"/>
                </a:spcAft>
              </a:pPr>
              <a:t>9,000</a:t>
            </a:fld>
            <a:endParaRPr lang="en-US" sz="1400">
              <a:cs typeface="+mn-cs"/>
            </a:endParaRPr>
          </a:p>
        </p:txBody>
      </p:sp>
      <p:sp>
        <p:nvSpPr>
          <p:cNvPr id="34" name="Text Placeholder 4">
            <a:extLst>
              <a:ext uri="{FF2B5EF4-FFF2-40B4-BE49-F238E27FC236}">
                <a16:creationId xmlns:a16="http://schemas.microsoft.com/office/drawing/2014/main" id="{8BC5CA19-1800-D504-6965-4BADC8B3B2D9}"/>
              </a:ext>
            </a:extLst>
          </p:cNvPr>
          <p:cNvSpPr>
            <a:spLocks noGrp="1"/>
          </p:cNvSpPr>
          <p:nvPr>
            <p:custDataLst>
              <p:tags r:id="rId34"/>
            </p:custDataLst>
          </p:nvPr>
        </p:nvSpPr>
        <p:spPr bwMode="gray">
          <a:xfrm>
            <a:off x="5273675" y="5003800"/>
            <a:ext cx="293688" cy="212725"/>
          </a:xfrm>
          <a:prstGeom prst="rect">
            <a:avLst/>
          </a:prstGeom>
          <a:solidFill>
            <a:schemeClr val="bg1"/>
          </a:solidFill>
          <a:ln>
            <a:noFill/>
          </a:ln>
          <a:effectLst/>
        </p:spPr>
        <p:txBody>
          <a:bodyPr vert="horz" wrap="none" lIns="25400" tIns="0" rIns="25400" bIns="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30400" algn="l" defTabSz="914400" rtl="0" eaLnBrk="1" latinLnBrk="0" hangingPunct="1">
              <a:lnSpc>
                <a:spcPct val="100000"/>
              </a:lnSpc>
              <a:spcBef>
                <a:spcPts val="0"/>
              </a:spcBef>
              <a:spcAft>
                <a:spcPts val="300"/>
              </a:spcAft>
              <a:buSzPct val="110000"/>
              <a:buFont typeface="Wingdings" panose="05000000000000000000" pitchFamily="2" charset="2"/>
              <a:buChar char=""/>
              <a:defRPr lang="en-US" sz="1600" kern="1200" dirty="0">
                <a:solidFill>
                  <a:schemeClr val="tx1"/>
                </a:solidFill>
                <a:latin typeface="+mn-lt"/>
                <a:ea typeface="+mn-ea"/>
                <a:cs typeface="+mn-cs"/>
              </a:defRPr>
            </a:lvl2pPr>
            <a:lvl3pPr marL="439200" indent="-208800" algn="l" defTabSz="914400" rtl="0" eaLnBrk="1" latinLnBrk="0" hangingPunct="1">
              <a:lnSpc>
                <a:spcPct val="100000"/>
              </a:lnSpc>
              <a:spcBef>
                <a:spcPts val="0"/>
              </a:spcBef>
              <a:spcAft>
                <a:spcPts val="300"/>
              </a:spcAft>
              <a:buSzPct val="110000"/>
              <a:buFont typeface="Arial" panose="020B0604020202020204" pitchFamily="34" charset="0"/>
              <a:buChar char="‒"/>
              <a:defRPr lang="en-US" sz="1600" kern="1200" dirty="0">
                <a:solidFill>
                  <a:schemeClr val="tx1"/>
                </a:solidFill>
                <a:latin typeface="+mn-lt"/>
                <a:ea typeface="+mn-ea"/>
                <a:cs typeface="+mn-cs"/>
              </a:defRPr>
            </a:lvl3pPr>
            <a:lvl4pPr marL="604800" indent="-154800" algn="l" defTabSz="914400" rtl="0" eaLnBrk="1" latinLnBrk="0" hangingPunct="1">
              <a:lnSpc>
                <a:spcPct val="100000"/>
              </a:lnSpc>
              <a:spcBef>
                <a:spcPts val="0"/>
              </a:spcBef>
              <a:spcAft>
                <a:spcPts val="300"/>
              </a:spcAft>
              <a:buFont typeface="Arial" panose="020B0604020202020204" pitchFamily="34" charset="0"/>
              <a:buChar char="•"/>
              <a:defRPr lang="en-US" sz="1600" kern="1200" dirty="0">
                <a:solidFill>
                  <a:schemeClr val="tx1"/>
                </a:solidFill>
                <a:latin typeface="+mn-lt"/>
                <a:ea typeface="+mn-ea"/>
                <a:cs typeface="+mn-cs"/>
              </a:defRPr>
            </a:lvl4pPr>
            <a:lvl5pPr marL="813600" indent="-147600" algn="l" defTabSz="914400" rtl="0" eaLnBrk="1" latinLnBrk="0" hangingPunct="1">
              <a:lnSpc>
                <a:spcPct val="100000"/>
              </a:lnSpc>
              <a:spcBef>
                <a:spcPts val="0"/>
              </a:spcBef>
              <a:spcAft>
                <a:spcPts val="300"/>
              </a:spcAft>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A5705FE3-DFD0-4383-B10C-B3F8A27F2A92}" type="datetime'''-''''''''''''''''1''''''''''1'''''''''''''''''''''''''''">
              <a:rPr lang="en-US" altLang="en-US" sz="1400" smtClean="0">
                <a:effectLst/>
                <a:cs typeface="+mn-cs"/>
              </a:rPr>
              <a:pPr algn="ctr">
                <a:spcBef>
                  <a:spcPct val="0"/>
                </a:spcBef>
                <a:spcAft>
                  <a:spcPct val="0"/>
                </a:spcAft>
              </a:pPr>
              <a:t>-11</a:t>
            </a:fld>
            <a:endParaRPr lang="en-US" sz="1400">
              <a:cs typeface="+mn-cs"/>
            </a:endParaRPr>
          </a:p>
        </p:txBody>
      </p:sp>
      <p:sp>
        <p:nvSpPr>
          <p:cNvPr id="35" name="Text Placeholder 4">
            <a:extLst>
              <a:ext uri="{FF2B5EF4-FFF2-40B4-BE49-F238E27FC236}">
                <a16:creationId xmlns:a16="http://schemas.microsoft.com/office/drawing/2014/main" id="{CE8226E5-F6F2-BBCB-E9A6-08434CABC187}"/>
              </a:ext>
            </a:extLst>
          </p:cNvPr>
          <p:cNvSpPr>
            <a:spLocks noGrp="1"/>
          </p:cNvSpPr>
          <p:nvPr>
            <p:custDataLst>
              <p:tags r:id="rId35"/>
            </p:custDataLst>
          </p:nvPr>
        </p:nvSpPr>
        <p:spPr bwMode="auto">
          <a:xfrm>
            <a:off x="2774950" y="5713413"/>
            <a:ext cx="455613"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30400" algn="l" defTabSz="914400" rtl="0" eaLnBrk="1" latinLnBrk="0" hangingPunct="1">
              <a:lnSpc>
                <a:spcPct val="100000"/>
              </a:lnSpc>
              <a:spcBef>
                <a:spcPts val="0"/>
              </a:spcBef>
              <a:spcAft>
                <a:spcPts val="300"/>
              </a:spcAft>
              <a:buSzPct val="110000"/>
              <a:buFont typeface="Wingdings" panose="05000000000000000000" pitchFamily="2" charset="2"/>
              <a:buChar char=""/>
              <a:defRPr lang="en-US" sz="1600" kern="1200" dirty="0">
                <a:solidFill>
                  <a:schemeClr val="tx1"/>
                </a:solidFill>
                <a:latin typeface="+mn-lt"/>
                <a:ea typeface="+mn-ea"/>
                <a:cs typeface="+mn-cs"/>
              </a:defRPr>
            </a:lvl2pPr>
            <a:lvl3pPr marL="439200" indent="-208800" algn="l" defTabSz="914400" rtl="0" eaLnBrk="1" latinLnBrk="0" hangingPunct="1">
              <a:lnSpc>
                <a:spcPct val="100000"/>
              </a:lnSpc>
              <a:spcBef>
                <a:spcPts val="0"/>
              </a:spcBef>
              <a:spcAft>
                <a:spcPts val="300"/>
              </a:spcAft>
              <a:buSzPct val="110000"/>
              <a:buFont typeface="Arial" panose="020B0604020202020204" pitchFamily="34" charset="0"/>
              <a:buChar char="‒"/>
              <a:defRPr lang="en-US" sz="1600" kern="1200" dirty="0">
                <a:solidFill>
                  <a:schemeClr val="tx1"/>
                </a:solidFill>
                <a:latin typeface="+mn-lt"/>
                <a:ea typeface="+mn-ea"/>
                <a:cs typeface="+mn-cs"/>
              </a:defRPr>
            </a:lvl3pPr>
            <a:lvl4pPr marL="604800" indent="-154800" algn="l" defTabSz="914400" rtl="0" eaLnBrk="1" latinLnBrk="0" hangingPunct="1">
              <a:lnSpc>
                <a:spcPct val="100000"/>
              </a:lnSpc>
              <a:spcBef>
                <a:spcPts val="0"/>
              </a:spcBef>
              <a:spcAft>
                <a:spcPts val="300"/>
              </a:spcAft>
              <a:buFont typeface="Arial" panose="020B0604020202020204" pitchFamily="34" charset="0"/>
              <a:buChar char="•"/>
              <a:defRPr lang="en-US" sz="1600" kern="1200" dirty="0">
                <a:solidFill>
                  <a:schemeClr val="tx1"/>
                </a:solidFill>
                <a:latin typeface="+mn-lt"/>
                <a:ea typeface="+mn-ea"/>
                <a:cs typeface="+mn-cs"/>
              </a:defRPr>
            </a:lvl4pPr>
            <a:lvl5pPr marL="813600" indent="-147600" algn="l" defTabSz="914400" rtl="0" eaLnBrk="1" latinLnBrk="0" hangingPunct="1">
              <a:lnSpc>
                <a:spcPct val="100000"/>
              </a:lnSpc>
              <a:spcBef>
                <a:spcPts val="0"/>
              </a:spcBef>
              <a:spcAft>
                <a:spcPts val="300"/>
              </a:spcAft>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91111FC5-7CEC-489F-A46E-7DA4FABCA997}" type="datetime'''''''6'''',''00''''''''''''''''''''''''0'''''''''''''''''">
              <a:rPr lang="en-US" altLang="en-US" sz="1400" smtClean="0">
                <a:cs typeface="+mn-cs"/>
              </a:rPr>
              <a:pPr algn="ctr">
                <a:spcBef>
                  <a:spcPct val="0"/>
                </a:spcBef>
                <a:spcAft>
                  <a:spcPct val="0"/>
                </a:spcAft>
              </a:pPr>
              <a:t>6,000</a:t>
            </a:fld>
            <a:endParaRPr lang="en-US" sz="1400">
              <a:cs typeface="+mn-cs"/>
            </a:endParaRPr>
          </a:p>
        </p:txBody>
      </p:sp>
      <p:sp>
        <p:nvSpPr>
          <p:cNvPr id="36" name="Text Placeholder 4">
            <a:extLst>
              <a:ext uri="{FF2B5EF4-FFF2-40B4-BE49-F238E27FC236}">
                <a16:creationId xmlns:a16="http://schemas.microsoft.com/office/drawing/2014/main" id="{9669CD3D-48BB-7A23-A226-2387D6FAD2B9}"/>
              </a:ext>
            </a:extLst>
          </p:cNvPr>
          <p:cNvSpPr>
            <a:spLocks noGrp="1"/>
          </p:cNvSpPr>
          <p:nvPr>
            <p:custDataLst>
              <p:tags r:id="rId36"/>
            </p:custDataLst>
          </p:nvPr>
        </p:nvSpPr>
        <p:spPr bwMode="gray">
          <a:xfrm>
            <a:off x="4492625" y="4895850"/>
            <a:ext cx="149225" cy="212725"/>
          </a:xfrm>
          <a:prstGeom prst="rect">
            <a:avLst/>
          </a:prstGeom>
          <a:solidFill>
            <a:schemeClr val="accent4"/>
          </a:solidFill>
          <a:ln>
            <a:noFill/>
          </a:ln>
          <a:effectLst/>
        </p:spPr>
        <p:txBody>
          <a:bodyPr vert="horz" wrap="none" lIns="25400" tIns="0" rIns="25400" bIns="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30400" algn="l" defTabSz="914400" rtl="0" eaLnBrk="1" latinLnBrk="0" hangingPunct="1">
              <a:lnSpc>
                <a:spcPct val="100000"/>
              </a:lnSpc>
              <a:spcBef>
                <a:spcPts val="0"/>
              </a:spcBef>
              <a:spcAft>
                <a:spcPts val="300"/>
              </a:spcAft>
              <a:buSzPct val="110000"/>
              <a:buFont typeface="Wingdings" panose="05000000000000000000" pitchFamily="2" charset="2"/>
              <a:buChar char=""/>
              <a:defRPr lang="en-US" sz="1600" kern="1200" dirty="0">
                <a:solidFill>
                  <a:schemeClr val="tx1"/>
                </a:solidFill>
                <a:latin typeface="+mn-lt"/>
                <a:ea typeface="+mn-ea"/>
                <a:cs typeface="+mn-cs"/>
              </a:defRPr>
            </a:lvl2pPr>
            <a:lvl3pPr marL="439200" indent="-208800" algn="l" defTabSz="914400" rtl="0" eaLnBrk="1" latinLnBrk="0" hangingPunct="1">
              <a:lnSpc>
                <a:spcPct val="100000"/>
              </a:lnSpc>
              <a:spcBef>
                <a:spcPts val="0"/>
              </a:spcBef>
              <a:spcAft>
                <a:spcPts val="300"/>
              </a:spcAft>
              <a:buSzPct val="110000"/>
              <a:buFont typeface="Arial" panose="020B0604020202020204" pitchFamily="34" charset="0"/>
              <a:buChar char="‒"/>
              <a:defRPr lang="en-US" sz="1600" kern="1200" dirty="0">
                <a:solidFill>
                  <a:schemeClr val="tx1"/>
                </a:solidFill>
                <a:latin typeface="+mn-lt"/>
                <a:ea typeface="+mn-ea"/>
                <a:cs typeface="+mn-cs"/>
              </a:defRPr>
            </a:lvl3pPr>
            <a:lvl4pPr marL="604800" indent="-154800" algn="l" defTabSz="914400" rtl="0" eaLnBrk="1" latinLnBrk="0" hangingPunct="1">
              <a:lnSpc>
                <a:spcPct val="100000"/>
              </a:lnSpc>
              <a:spcBef>
                <a:spcPts val="0"/>
              </a:spcBef>
              <a:spcAft>
                <a:spcPts val="300"/>
              </a:spcAft>
              <a:buFont typeface="Arial" panose="020B0604020202020204" pitchFamily="34" charset="0"/>
              <a:buChar char="•"/>
              <a:defRPr lang="en-US" sz="1600" kern="1200" dirty="0">
                <a:solidFill>
                  <a:schemeClr val="tx1"/>
                </a:solidFill>
                <a:latin typeface="+mn-lt"/>
                <a:ea typeface="+mn-ea"/>
                <a:cs typeface="+mn-cs"/>
              </a:defRPr>
            </a:lvl4pPr>
            <a:lvl5pPr marL="813600" indent="-147600" algn="l" defTabSz="914400" rtl="0" eaLnBrk="1" latinLnBrk="0" hangingPunct="1">
              <a:lnSpc>
                <a:spcPct val="100000"/>
              </a:lnSpc>
              <a:spcBef>
                <a:spcPts val="0"/>
              </a:spcBef>
              <a:spcAft>
                <a:spcPts val="300"/>
              </a:spcAft>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41CAFA60-66B6-49DF-89D3-2F19E66D4C55}" type="datetime'''''''''''''3'''''''''''''''''''''''''">
              <a:rPr lang="en-US" altLang="en-US" sz="1400" smtClean="0">
                <a:effectLst/>
                <a:cs typeface="+mn-cs"/>
              </a:rPr>
              <a:pPr algn="ctr">
                <a:spcBef>
                  <a:spcPct val="0"/>
                </a:spcBef>
                <a:spcAft>
                  <a:spcPct val="0"/>
                </a:spcAft>
              </a:pPr>
              <a:t>3</a:t>
            </a:fld>
            <a:endParaRPr lang="en-US" sz="1400">
              <a:cs typeface="+mn-cs"/>
            </a:endParaRPr>
          </a:p>
        </p:txBody>
      </p:sp>
      <p:sp>
        <p:nvSpPr>
          <p:cNvPr id="37" name="Text Placeholder 4">
            <a:extLst>
              <a:ext uri="{FF2B5EF4-FFF2-40B4-BE49-F238E27FC236}">
                <a16:creationId xmlns:a16="http://schemas.microsoft.com/office/drawing/2014/main" id="{8BA2D10F-9240-C61B-33AA-CCE9A386F1CB}"/>
              </a:ext>
            </a:extLst>
          </p:cNvPr>
          <p:cNvSpPr>
            <a:spLocks noGrp="1"/>
          </p:cNvSpPr>
          <p:nvPr>
            <p:custDataLst>
              <p:tags r:id="rId37"/>
            </p:custDataLst>
          </p:nvPr>
        </p:nvSpPr>
        <p:spPr bwMode="gray">
          <a:xfrm>
            <a:off x="3165475" y="4895850"/>
            <a:ext cx="149225" cy="212725"/>
          </a:xfrm>
          <a:prstGeom prst="rect">
            <a:avLst/>
          </a:prstGeom>
          <a:solidFill>
            <a:schemeClr val="accent4"/>
          </a:solidFill>
          <a:ln>
            <a:noFill/>
          </a:ln>
          <a:effectLst/>
        </p:spPr>
        <p:txBody>
          <a:bodyPr vert="horz" wrap="none" lIns="25400" tIns="0" rIns="25400" bIns="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30400" algn="l" defTabSz="914400" rtl="0" eaLnBrk="1" latinLnBrk="0" hangingPunct="1">
              <a:lnSpc>
                <a:spcPct val="100000"/>
              </a:lnSpc>
              <a:spcBef>
                <a:spcPts val="0"/>
              </a:spcBef>
              <a:spcAft>
                <a:spcPts val="300"/>
              </a:spcAft>
              <a:buSzPct val="110000"/>
              <a:buFont typeface="Wingdings" panose="05000000000000000000" pitchFamily="2" charset="2"/>
              <a:buChar char=""/>
              <a:defRPr lang="en-US" sz="1600" kern="1200" dirty="0">
                <a:solidFill>
                  <a:schemeClr val="tx1"/>
                </a:solidFill>
                <a:latin typeface="+mn-lt"/>
                <a:ea typeface="+mn-ea"/>
                <a:cs typeface="+mn-cs"/>
              </a:defRPr>
            </a:lvl2pPr>
            <a:lvl3pPr marL="439200" indent="-208800" algn="l" defTabSz="914400" rtl="0" eaLnBrk="1" latinLnBrk="0" hangingPunct="1">
              <a:lnSpc>
                <a:spcPct val="100000"/>
              </a:lnSpc>
              <a:spcBef>
                <a:spcPts val="0"/>
              </a:spcBef>
              <a:spcAft>
                <a:spcPts val="300"/>
              </a:spcAft>
              <a:buSzPct val="110000"/>
              <a:buFont typeface="Arial" panose="020B0604020202020204" pitchFamily="34" charset="0"/>
              <a:buChar char="‒"/>
              <a:defRPr lang="en-US" sz="1600" kern="1200" dirty="0">
                <a:solidFill>
                  <a:schemeClr val="tx1"/>
                </a:solidFill>
                <a:latin typeface="+mn-lt"/>
                <a:ea typeface="+mn-ea"/>
                <a:cs typeface="+mn-cs"/>
              </a:defRPr>
            </a:lvl3pPr>
            <a:lvl4pPr marL="604800" indent="-154800" algn="l" defTabSz="914400" rtl="0" eaLnBrk="1" latinLnBrk="0" hangingPunct="1">
              <a:lnSpc>
                <a:spcPct val="100000"/>
              </a:lnSpc>
              <a:spcBef>
                <a:spcPts val="0"/>
              </a:spcBef>
              <a:spcAft>
                <a:spcPts val="300"/>
              </a:spcAft>
              <a:buFont typeface="Arial" panose="020B0604020202020204" pitchFamily="34" charset="0"/>
              <a:buChar char="•"/>
              <a:defRPr lang="en-US" sz="1600" kern="1200" dirty="0">
                <a:solidFill>
                  <a:schemeClr val="tx1"/>
                </a:solidFill>
                <a:latin typeface="+mn-lt"/>
                <a:ea typeface="+mn-ea"/>
                <a:cs typeface="+mn-cs"/>
              </a:defRPr>
            </a:lvl4pPr>
            <a:lvl5pPr marL="813600" indent="-147600" algn="l" defTabSz="914400" rtl="0" eaLnBrk="1" latinLnBrk="0" hangingPunct="1">
              <a:lnSpc>
                <a:spcPct val="100000"/>
              </a:lnSpc>
              <a:spcBef>
                <a:spcPts val="0"/>
              </a:spcBef>
              <a:spcAft>
                <a:spcPts val="300"/>
              </a:spcAft>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25D9205D-E865-45A0-B46A-AEDC08B2FE24}" type="datetime'''''3'''''''''''''''''''''''''''''''''''''''''''''''''">
              <a:rPr lang="en-US" altLang="en-US" sz="1400" smtClean="0">
                <a:effectLst/>
                <a:cs typeface="+mn-cs"/>
              </a:rPr>
              <a:pPr algn="ctr">
                <a:spcBef>
                  <a:spcPct val="0"/>
                </a:spcBef>
                <a:spcAft>
                  <a:spcPct val="0"/>
                </a:spcAft>
              </a:pPr>
              <a:t>3</a:t>
            </a:fld>
            <a:endParaRPr lang="en-US" sz="1400">
              <a:cs typeface="+mn-cs"/>
            </a:endParaRPr>
          </a:p>
        </p:txBody>
      </p:sp>
      <p:sp>
        <p:nvSpPr>
          <p:cNvPr id="38" name="Text Placeholder 4">
            <a:extLst>
              <a:ext uri="{FF2B5EF4-FFF2-40B4-BE49-F238E27FC236}">
                <a16:creationId xmlns:a16="http://schemas.microsoft.com/office/drawing/2014/main" id="{FA7BE02C-2C36-9C42-B8E2-7BA0F8D19B09}"/>
              </a:ext>
            </a:extLst>
          </p:cNvPr>
          <p:cNvSpPr>
            <a:spLocks noGrp="1"/>
          </p:cNvSpPr>
          <p:nvPr>
            <p:custDataLst>
              <p:tags r:id="rId38"/>
            </p:custDataLst>
          </p:nvPr>
        </p:nvSpPr>
        <p:spPr bwMode="auto">
          <a:xfrm>
            <a:off x="6756400" y="5713413"/>
            <a:ext cx="455613"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30400" algn="l" defTabSz="914400" rtl="0" eaLnBrk="1" latinLnBrk="0" hangingPunct="1">
              <a:lnSpc>
                <a:spcPct val="100000"/>
              </a:lnSpc>
              <a:spcBef>
                <a:spcPts val="0"/>
              </a:spcBef>
              <a:spcAft>
                <a:spcPts val="300"/>
              </a:spcAft>
              <a:buSzPct val="110000"/>
              <a:buFont typeface="Wingdings" panose="05000000000000000000" pitchFamily="2" charset="2"/>
              <a:buChar char=""/>
              <a:defRPr lang="en-US" sz="1600" kern="1200" dirty="0">
                <a:solidFill>
                  <a:schemeClr val="tx1"/>
                </a:solidFill>
                <a:latin typeface="+mn-lt"/>
                <a:ea typeface="+mn-ea"/>
                <a:cs typeface="+mn-cs"/>
              </a:defRPr>
            </a:lvl2pPr>
            <a:lvl3pPr marL="439200" indent="-208800" algn="l" defTabSz="914400" rtl="0" eaLnBrk="1" latinLnBrk="0" hangingPunct="1">
              <a:lnSpc>
                <a:spcPct val="100000"/>
              </a:lnSpc>
              <a:spcBef>
                <a:spcPts val="0"/>
              </a:spcBef>
              <a:spcAft>
                <a:spcPts val="300"/>
              </a:spcAft>
              <a:buSzPct val="110000"/>
              <a:buFont typeface="Arial" panose="020B0604020202020204" pitchFamily="34" charset="0"/>
              <a:buChar char="‒"/>
              <a:defRPr lang="en-US" sz="1600" kern="1200" dirty="0">
                <a:solidFill>
                  <a:schemeClr val="tx1"/>
                </a:solidFill>
                <a:latin typeface="+mn-lt"/>
                <a:ea typeface="+mn-ea"/>
                <a:cs typeface="+mn-cs"/>
              </a:defRPr>
            </a:lvl3pPr>
            <a:lvl4pPr marL="604800" indent="-154800" algn="l" defTabSz="914400" rtl="0" eaLnBrk="1" latinLnBrk="0" hangingPunct="1">
              <a:lnSpc>
                <a:spcPct val="100000"/>
              </a:lnSpc>
              <a:spcBef>
                <a:spcPts val="0"/>
              </a:spcBef>
              <a:spcAft>
                <a:spcPts val="300"/>
              </a:spcAft>
              <a:buFont typeface="Arial" panose="020B0604020202020204" pitchFamily="34" charset="0"/>
              <a:buChar char="•"/>
              <a:defRPr lang="en-US" sz="1600" kern="1200" dirty="0">
                <a:solidFill>
                  <a:schemeClr val="tx1"/>
                </a:solidFill>
                <a:latin typeface="+mn-lt"/>
                <a:ea typeface="+mn-ea"/>
                <a:cs typeface="+mn-cs"/>
              </a:defRPr>
            </a:lvl4pPr>
            <a:lvl5pPr marL="813600" indent="-147600" algn="l" defTabSz="914400" rtl="0" eaLnBrk="1" latinLnBrk="0" hangingPunct="1">
              <a:lnSpc>
                <a:spcPct val="100000"/>
              </a:lnSpc>
              <a:spcBef>
                <a:spcPts val="0"/>
              </a:spcBef>
              <a:spcAft>
                <a:spcPts val="300"/>
              </a:spcAft>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114BBE57-6A86-47AF-ABFD-9731BE61F32B}" type="datetime'''3'''''''''''''',''''6''''''''''''''''0''''''''0'''''">
              <a:rPr lang="en-US" altLang="en-US" sz="1400" smtClean="0">
                <a:cs typeface="+mn-cs"/>
              </a:rPr>
              <a:pPr algn="ctr">
                <a:spcBef>
                  <a:spcPct val="0"/>
                </a:spcBef>
                <a:spcAft>
                  <a:spcPct val="0"/>
                </a:spcAft>
              </a:pPr>
              <a:t>3,600</a:t>
            </a:fld>
            <a:endParaRPr lang="en-US" sz="1400">
              <a:cs typeface="+mn-cs"/>
            </a:endParaRPr>
          </a:p>
        </p:txBody>
      </p:sp>
      <p:sp>
        <p:nvSpPr>
          <p:cNvPr id="39" name="Text Placeholder 4">
            <a:extLst>
              <a:ext uri="{FF2B5EF4-FFF2-40B4-BE49-F238E27FC236}">
                <a16:creationId xmlns:a16="http://schemas.microsoft.com/office/drawing/2014/main" id="{E9800D2F-2D19-09F8-4FA9-E4DCE44BBA7C}"/>
              </a:ext>
            </a:extLst>
          </p:cNvPr>
          <p:cNvSpPr>
            <a:spLocks noGrp="1"/>
          </p:cNvSpPr>
          <p:nvPr>
            <p:custDataLst>
              <p:tags r:id="rId39"/>
            </p:custDataLst>
          </p:nvPr>
        </p:nvSpPr>
        <p:spPr bwMode="auto">
          <a:xfrm>
            <a:off x="4102100" y="5713413"/>
            <a:ext cx="455613"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30400" algn="l" defTabSz="914400" rtl="0" eaLnBrk="1" latinLnBrk="0" hangingPunct="1">
              <a:lnSpc>
                <a:spcPct val="100000"/>
              </a:lnSpc>
              <a:spcBef>
                <a:spcPts val="0"/>
              </a:spcBef>
              <a:spcAft>
                <a:spcPts val="300"/>
              </a:spcAft>
              <a:buSzPct val="110000"/>
              <a:buFont typeface="Wingdings" panose="05000000000000000000" pitchFamily="2" charset="2"/>
              <a:buChar char=""/>
              <a:defRPr lang="en-US" sz="1600" kern="1200" dirty="0">
                <a:solidFill>
                  <a:schemeClr val="tx1"/>
                </a:solidFill>
                <a:latin typeface="+mn-lt"/>
                <a:ea typeface="+mn-ea"/>
                <a:cs typeface="+mn-cs"/>
              </a:defRPr>
            </a:lvl2pPr>
            <a:lvl3pPr marL="439200" indent="-208800" algn="l" defTabSz="914400" rtl="0" eaLnBrk="1" latinLnBrk="0" hangingPunct="1">
              <a:lnSpc>
                <a:spcPct val="100000"/>
              </a:lnSpc>
              <a:spcBef>
                <a:spcPts val="0"/>
              </a:spcBef>
              <a:spcAft>
                <a:spcPts val="300"/>
              </a:spcAft>
              <a:buSzPct val="110000"/>
              <a:buFont typeface="Arial" panose="020B0604020202020204" pitchFamily="34" charset="0"/>
              <a:buChar char="‒"/>
              <a:defRPr lang="en-US" sz="1600" kern="1200" dirty="0">
                <a:solidFill>
                  <a:schemeClr val="tx1"/>
                </a:solidFill>
                <a:latin typeface="+mn-lt"/>
                <a:ea typeface="+mn-ea"/>
                <a:cs typeface="+mn-cs"/>
              </a:defRPr>
            </a:lvl3pPr>
            <a:lvl4pPr marL="604800" indent="-154800" algn="l" defTabSz="914400" rtl="0" eaLnBrk="1" latinLnBrk="0" hangingPunct="1">
              <a:lnSpc>
                <a:spcPct val="100000"/>
              </a:lnSpc>
              <a:spcBef>
                <a:spcPts val="0"/>
              </a:spcBef>
              <a:spcAft>
                <a:spcPts val="300"/>
              </a:spcAft>
              <a:buFont typeface="Arial" panose="020B0604020202020204" pitchFamily="34" charset="0"/>
              <a:buChar char="•"/>
              <a:defRPr lang="en-US" sz="1600" kern="1200" dirty="0">
                <a:solidFill>
                  <a:schemeClr val="tx1"/>
                </a:solidFill>
                <a:latin typeface="+mn-lt"/>
                <a:ea typeface="+mn-ea"/>
                <a:cs typeface="+mn-cs"/>
              </a:defRPr>
            </a:lvl4pPr>
            <a:lvl5pPr marL="813600" indent="-147600" algn="l" defTabSz="914400" rtl="0" eaLnBrk="1" latinLnBrk="0" hangingPunct="1">
              <a:lnSpc>
                <a:spcPct val="100000"/>
              </a:lnSpc>
              <a:spcBef>
                <a:spcPts val="0"/>
              </a:spcBef>
              <a:spcAft>
                <a:spcPts val="300"/>
              </a:spcAft>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4AF44C51-73C5-4D2A-832F-2F0E9735974D}" type="datetime'''''''''''''''5'''',''''''''''''''''''0''0''''''''''0'">
              <a:rPr lang="en-US" altLang="en-US" sz="1400" smtClean="0">
                <a:cs typeface="+mn-cs"/>
              </a:rPr>
              <a:pPr algn="ctr">
                <a:spcBef>
                  <a:spcPct val="0"/>
                </a:spcBef>
                <a:spcAft>
                  <a:spcPct val="0"/>
                </a:spcAft>
              </a:pPr>
              <a:t>5,000</a:t>
            </a:fld>
            <a:endParaRPr lang="en-US" sz="1400">
              <a:cs typeface="+mn-cs"/>
            </a:endParaRPr>
          </a:p>
        </p:txBody>
      </p:sp>
      <p:sp>
        <p:nvSpPr>
          <p:cNvPr id="40" name="Text Placeholder 4">
            <a:extLst>
              <a:ext uri="{FF2B5EF4-FFF2-40B4-BE49-F238E27FC236}">
                <a16:creationId xmlns:a16="http://schemas.microsoft.com/office/drawing/2014/main" id="{4C3D4A58-9328-FECB-C414-9EB4E071B4C8}"/>
              </a:ext>
            </a:extLst>
          </p:cNvPr>
          <p:cNvSpPr>
            <a:spLocks noGrp="1"/>
          </p:cNvSpPr>
          <p:nvPr>
            <p:custDataLst>
              <p:tags r:id="rId40"/>
            </p:custDataLst>
          </p:nvPr>
        </p:nvSpPr>
        <p:spPr bwMode="gray">
          <a:xfrm>
            <a:off x="5819775" y="4894263"/>
            <a:ext cx="149225" cy="212725"/>
          </a:xfrm>
          <a:prstGeom prst="rect">
            <a:avLst/>
          </a:prstGeom>
          <a:solidFill>
            <a:schemeClr val="accent4"/>
          </a:solidFill>
          <a:ln>
            <a:noFill/>
          </a:ln>
          <a:effectLst/>
        </p:spPr>
        <p:txBody>
          <a:bodyPr vert="horz" wrap="none" lIns="25400" tIns="0" rIns="25400" bIns="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30400" algn="l" defTabSz="914400" rtl="0" eaLnBrk="1" latinLnBrk="0" hangingPunct="1">
              <a:lnSpc>
                <a:spcPct val="100000"/>
              </a:lnSpc>
              <a:spcBef>
                <a:spcPts val="0"/>
              </a:spcBef>
              <a:spcAft>
                <a:spcPts val="300"/>
              </a:spcAft>
              <a:buSzPct val="110000"/>
              <a:buFont typeface="Wingdings" panose="05000000000000000000" pitchFamily="2" charset="2"/>
              <a:buChar char=""/>
              <a:defRPr lang="en-US" sz="1600" kern="1200" dirty="0">
                <a:solidFill>
                  <a:schemeClr val="tx1"/>
                </a:solidFill>
                <a:latin typeface="+mn-lt"/>
                <a:ea typeface="+mn-ea"/>
                <a:cs typeface="+mn-cs"/>
              </a:defRPr>
            </a:lvl2pPr>
            <a:lvl3pPr marL="439200" indent="-208800" algn="l" defTabSz="914400" rtl="0" eaLnBrk="1" latinLnBrk="0" hangingPunct="1">
              <a:lnSpc>
                <a:spcPct val="100000"/>
              </a:lnSpc>
              <a:spcBef>
                <a:spcPts val="0"/>
              </a:spcBef>
              <a:spcAft>
                <a:spcPts val="300"/>
              </a:spcAft>
              <a:buSzPct val="110000"/>
              <a:buFont typeface="Arial" panose="020B0604020202020204" pitchFamily="34" charset="0"/>
              <a:buChar char="‒"/>
              <a:defRPr lang="en-US" sz="1600" kern="1200" dirty="0">
                <a:solidFill>
                  <a:schemeClr val="tx1"/>
                </a:solidFill>
                <a:latin typeface="+mn-lt"/>
                <a:ea typeface="+mn-ea"/>
                <a:cs typeface="+mn-cs"/>
              </a:defRPr>
            </a:lvl3pPr>
            <a:lvl4pPr marL="604800" indent="-154800" algn="l" defTabSz="914400" rtl="0" eaLnBrk="1" latinLnBrk="0" hangingPunct="1">
              <a:lnSpc>
                <a:spcPct val="100000"/>
              </a:lnSpc>
              <a:spcBef>
                <a:spcPts val="0"/>
              </a:spcBef>
              <a:spcAft>
                <a:spcPts val="300"/>
              </a:spcAft>
              <a:buFont typeface="Arial" panose="020B0604020202020204" pitchFamily="34" charset="0"/>
              <a:buChar char="•"/>
              <a:defRPr lang="en-US" sz="1600" kern="1200" dirty="0">
                <a:solidFill>
                  <a:schemeClr val="tx1"/>
                </a:solidFill>
                <a:latin typeface="+mn-lt"/>
                <a:ea typeface="+mn-ea"/>
                <a:cs typeface="+mn-cs"/>
              </a:defRPr>
            </a:lvl4pPr>
            <a:lvl5pPr marL="813600" indent="-147600" algn="l" defTabSz="914400" rtl="0" eaLnBrk="1" latinLnBrk="0" hangingPunct="1">
              <a:lnSpc>
                <a:spcPct val="100000"/>
              </a:lnSpc>
              <a:spcBef>
                <a:spcPts val="0"/>
              </a:spcBef>
              <a:spcAft>
                <a:spcPts val="300"/>
              </a:spcAft>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32F33184-2B36-4E42-A5C5-82D3148937EE}" type="datetime'''''''''3'''''''''''''''''''''''''''''''''''''''''''''">
              <a:rPr lang="en-US" altLang="en-US" sz="1400" smtClean="0">
                <a:effectLst/>
                <a:cs typeface="+mn-cs"/>
              </a:rPr>
              <a:pPr algn="ctr">
                <a:spcBef>
                  <a:spcPct val="0"/>
                </a:spcBef>
                <a:spcAft>
                  <a:spcPct val="0"/>
                </a:spcAft>
              </a:pPr>
              <a:t>3</a:t>
            </a:fld>
            <a:endParaRPr lang="en-US" sz="1400">
              <a:cs typeface="+mn-cs"/>
            </a:endParaRPr>
          </a:p>
        </p:txBody>
      </p:sp>
      <p:sp>
        <p:nvSpPr>
          <p:cNvPr id="41" name="Text Placeholder 4">
            <a:extLst>
              <a:ext uri="{FF2B5EF4-FFF2-40B4-BE49-F238E27FC236}">
                <a16:creationId xmlns:a16="http://schemas.microsoft.com/office/drawing/2014/main" id="{FD20E868-3236-46D4-2720-04E6C572FB77}"/>
              </a:ext>
            </a:extLst>
          </p:cNvPr>
          <p:cNvSpPr>
            <a:spLocks noGrp="1"/>
          </p:cNvSpPr>
          <p:nvPr>
            <p:custDataLst>
              <p:tags r:id="rId41"/>
            </p:custDataLst>
          </p:nvPr>
        </p:nvSpPr>
        <p:spPr bwMode="gray">
          <a:xfrm>
            <a:off x="2878138" y="3182938"/>
            <a:ext cx="247650"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b"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30400" algn="l" defTabSz="914400" rtl="0" eaLnBrk="1" latinLnBrk="0" hangingPunct="1">
              <a:lnSpc>
                <a:spcPct val="100000"/>
              </a:lnSpc>
              <a:spcBef>
                <a:spcPts val="0"/>
              </a:spcBef>
              <a:spcAft>
                <a:spcPts val="300"/>
              </a:spcAft>
              <a:buSzPct val="110000"/>
              <a:buFont typeface="Wingdings" panose="05000000000000000000" pitchFamily="2" charset="2"/>
              <a:buChar char=""/>
              <a:defRPr lang="en-US" sz="1600" kern="1200" dirty="0">
                <a:solidFill>
                  <a:schemeClr val="tx1"/>
                </a:solidFill>
                <a:latin typeface="+mn-lt"/>
                <a:ea typeface="+mn-ea"/>
                <a:cs typeface="+mn-cs"/>
              </a:defRPr>
            </a:lvl2pPr>
            <a:lvl3pPr marL="439200" indent="-208800" algn="l" defTabSz="914400" rtl="0" eaLnBrk="1" latinLnBrk="0" hangingPunct="1">
              <a:lnSpc>
                <a:spcPct val="100000"/>
              </a:lnSpc>
              <a:spcBef>
                <a:spcPts val="0"/>
              </a:spcBef>
              <a:spcAft>
                <a:spcPts val="300"/>
              </a:spcAft>
              <a:buSzPct val="110000"/>
              <a:buFont typeface="Arial" panose="020B0604020202020204" pitchFamily="34" charset="0"/>
              <a:buChar char="‒"/>
              <a:defRPr lang="en-US" sz="1600" kern="1200" dirty="0">
                <a:solidFill>
                  <a:schemeClr val="tx1"/>
                </a:solidFill>
                <a:latin typeface="+mn-lt"/>
                <a:ea typeface="+mn-ea"/>
                <a:cs typeface="+mn-cs"/>
              </a:defRPr>
            </a:lvl3pPr>
            <a:lvl4pPr marL="604800" indent="-154800" algn="l" defTabSz="914400" rtl="0" eaLnBrk="1" latinLnBrk="0" hangingPunct="1">
              <a:lnSpc>
                <a:spcPct val="100000"/>
              </a:lnSpc>
              <a:spcBef>
                <a:spcPts val="0"/>
              </a:spcBef>
              <a:spcAft>
                <a:spcPts val="300"/>
              </a:spcAft>
              <a:buFont typeface="Arial" panose="020B0604020202020204" pitchFamily="34" charset="0"/>
              <a:buChar char="•"/>
              <a:defRPr lang="en-US" sz="1600" kern="1200" dirty="0">
                <a:solidFill>
                  <a:schemeClr val="tx1"/>
                </a:solidFill>
                <a:latin typeface="+mn-lt"/>
                <a:ea typeface="+mn-ea"/>
                <a:cs typeface="+mn-cs"/>
              </a:defRPr>
            </a:lvl4pPr>
            <a:lvl5pPr marL="813600" indent="-147600" algn="l" defTabSz="914400" rtl="0" eaLnBrk="1" latinLnBrk="0" hangingPunct="1">
              <a:lnSpc>
                <a:spcPct val="100000"/>
              </a:lnSpc>
              <a:spcBef>
                <a:spcPts val="0"/>
              </a:spcBef>
              <a:spcAft>
                <a:spcPts val="300"/>
              </a:spcAft>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64089F4B-EEB8-4C64-8540-8D7AAC7B8FA6}" type="datetime'''''''''''''''''''''8''''''''''''''''''''''''''''''5'''''''''">
              <a:rPr lang="en-US" altLang="en-US" sz="1400" b="1" smtClean="0">
                <a:cs typeface="+mn-cs"/>
              </a:rPr>
              <a:pPr algn="ctr">
                <a:spcBef>
                  <a:spcPct val="0"/>
                </a:spcBef>
                <a:spcAft>
                  <a:spcPct val="0"/>
                </a:spcAft>
              </a:pPr>
              <a:t>85</a:t>
            </a:fld>
            <a:endParaRPr lang="en-US" sz="1400" b="1">
              <a:cs typeface="+mn-cs"/>
            </a:endParaRPr>
          </a:p>
        </p:txBody>
      </p:sp>
      <p:sp>
        <p:nvSpPr>
          <p:cNvPr id="42" name="Text Placeholder 4">
            <a:extLst>
              <a:ext uri="{FF2B5EF4-FFF2-40B4-BE49-F238E27FC236}">
                <a16:creationId xmlns:a16="http://schemas.microsoft.com/office/drawing/2014/main" id="{285BD4DD-764D-7976-8D25-C339ACE4A0B9}"/>
              </a:ext>
            </a:extLst>
          </p:cNvPr>
          <p:cNvSpPr>
            <a:spLocks noGrp="1"/>
          </p:cNvSpPr>
          <p:nvPr>
            <p:custDataLst>
              <p:tags r:id="rId42"/>
            </p:custDataLst>
          </p:nvPr>
        </p:nvSpPr>
        <p:spPr bwMode="auto">
          <a:xfrm>
            <a:off x="5429250" y="5713413"/>
            <a:ext cx="455613"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30400" algn="l" defTabSz="914400" rtl="0" eaLnBrk="1" latinLnBrk="0" hangingPunct="1">
              <a:lnSpc>
                <a:spcPct val="100000"/>
              </a:lnSpc>
              <a:spcBef>
                <a:spcPts val="0"/>
              </a:spcBef>
              <a:spcAft>
                <a:spcPts val="300"/>
              </a:spcAft>
              <a:buSzPct val="110000"/>
              <a:buFont typeface="Wingdings" panose="05000000000000000000" pitchFamily="2" charset="2"/>
              <a:buChar char=""/>
              <a:defRPr lang="en-US" sz="1600" kern="1200" dirty="0">
                <a:solidFill>
                  <a:schemeClr val="tx1"/>
                </a:solidFill>
                <a:latin typeface="+mn-lt"/>
                <a:ea typeface="+mn-ea"/>
                <a:cs typeface="+mn-cs"/>
              </a:defRPr>
            </a:lvl2pPr>
            <a:lvl3pPr marL="439200" indent="-208800" algn="l" defTabSz="914400" rtl="0" eaLnBrk="1" latinLnBrk="0" hangingPunct="1">
              <a:lnSpc>
                <a:spcPct val="100000"/>
              </a:lnSpc>
              <a:spcBef>
                <a:spcPts val="0"/>
              </a:spcBef>
              <a:spcAft>
                <a:spcPts val="300"/>
              </a:spcAft>
              <a:buSzPct val="110000"/>
              <a:buFont typeface="Arial" panose="020B0604020202020204" pitchFamily="34" charset="0"/>
              <a:buChar char="‒"/>
              <a:defRPr lang="en-US" sz="1600" kern="1200" dirty="0">
                <a:solidFill>
                  <a:schemeClr val="tx1"/>
                </a:solidFill>
                <a:latin typeface="+mn-lt"/>
                <a:ea typeface="+mn-ea"/>
                <a:cs typeface="+mn-cs"/>
              </a:defRPr>
            </a:lvl3pPr>
            <a:lvl4pPr marL="604800" indent="-154800" algn="l" defTabSz="914400" rtl="0" eaLnBrk="1" latinLnBrk="0" hangingPunct="1">
              <a:lnSpc>
                <a:spcPct val="100000"/>
              </a:lnSpc>
              <a:spcBef>
                <a:spcPts val="0"/>
              </a:spcBef>
              <a:spcAft>
                <a:spcPts val="300"/>
              </a:spcAft>
              <a:buFont typeface="Arial" panose="020B0604020202020204" pitchFamily="34" charset="0"/>
              <a:buChar char="•"/>
              <a:defRPr lang="en-US" sz="1600" kern="1200" dirty="0">
                <a:solidFill>
                  <a:schemeClr val="tx1"/>
                </a:solidFill>
                <a:latin typeface="+mn-lt"/>
                <a:ea typeface="+mn-ea"/>
                <a:cs typeface="+mn-cs"/>
              </a:defRPr>
            </a:lvl4pPr>
            <a:lvl5pPr marL="813600" indent="-147600" algn="l" defTabSz="914400" rtl="0" eaLnBrk="1" latinLnBrk="0" hangingPunct="1">
              <a:lnSpc>
                <a:spcPct val="100000"/>
              </a:lnSpc>
              <a:spcBef>
                <a:spcPts val="0"/>
              </a:spcBef>
              <a:spcAft>
                <a:spcPts val="300"/>
              </a:spcAft>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8D4BF90E-E9AB-47E1-BE13-0002246977B9}" type="datetime'''''''''''''''''''''''4'',0''0''0'''''">
              <a:rPr lang="en-US" altLang="en-US" sz="1400" smtClean="0">
                <a:cs typeface="+mn-cs"/>
              </a:rPr>
              <a:pPr algn="ctr">
                <a:spcBef>
                  <a:spcPct val="0"/>
                </a:spcBef>
                <a:spcAft>
                  <a:spcPct val="0"/>
                </a:spcAft>
              </a:pPr>
              <a:t>4,000</a:t>
            </a:fld>
            <a:endParaRPr lang="en-US" sz="1400">
              <a:cs typeface="+mn-cs"/>
            </a:endParaRPr>
          </a:p>
        </p:txBody>
      </p:sp>
      <p:sp>
        <p:nvSpPr>
          <p:cNvPr id="43" name="Text Placeholder 4">
            <a:extLst>
              <a:ext uri="{FF2B5EF4-FFF2-40B4-BE49-F238E27FC236}">
                <a16:creationId xmlns:a16="http://schemas.microsoft.com/office/drawing/2014/main" id="{7E4D92FB-3F64-CCF6-A485-96D3CAA3CBA3}"/>
              </a:ext>
            </a:extLst>
          </p:cNvPr>
          <p:cNvSpPr>
            <a:spLocks noGrp="1"/>
          </p:cNvSpPr>
          <p:nvPr>
            <p:custDataLst>
              <p:tags r:id="rId43"/>
            </p:custDataLst>
          </p:nvPr>
        </p:nvSpPr>
        <p:spPr bwMode="gray">
          <a:xfrm>
            <a:off x="6594475" y="4995863"/>
            <a:ext cx="306388" cy="212725"/>
          </a:xfrm>
          <a:prstGeom prst="rect">
            <a:avLst/>
          </a:prstGeom>
          <a:solidFill>
            <a:schemeClr val="bg1"/>
          </a:solidFill>
          <a:ln>
            <a:noFill/>
          </a:ln>
          <a:effectLst/>
        </p:spPr>
        <p:txBody>
          <a:bodyPr vert="horz" wrap="none" lIns="25400" tIns="0" rIns="25400" bIns="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30400" algn="l" defTabSz="914400" rtl="0" eaLnBrk="1" latinLnBrk="0" hangingPunct="1">
              <a:lnSpc>
                <a:spcPct val="100000"/>
              </a:lnSpc>
              <a:spcBef>
                <a:spcPts val="0"/>
              </a:spcBef>
              <a:spcAft>
                <a:spcPts val="300"/>
              </a:spcAft>
              <a:buSzPct val="110000"/>
              <a:buFont typeface="Wingdings" panose="05000000000000000000" pitchFamily="2" charset="2"/>
              <a:buChar char=""/>
              <a:defRPr lang="en-US" sz="1600" kern="1200" dirty="0">
                <a:solidFill>
                  <a:schemeClr val="tx1"/>
                </a:solidFill>
                <a:latin typeface="+mn-lt"/>
                <a:ea typeface="+mn-ea"/>
                <a:cs typeface="+mn-cs"/>
              </a:defRPr>
            </a:lvl2pPr>
            <a:lvl3pPr marL="439200" indent="-208800" algn="l" defTabSz="914400" rtl="0" eaLnBrk="1" latinLnBrk="0" hangingPunct="1">
              <a:lnSpc>
                <a:spcPct val="100000"/>
              </a:lnSpc>
              <a:spcBef>
                <a:spcPts val="0"/>
              </a:spcBef>
              <a:spcAft>
                <a:spcPts val="300"/>
              </a:spcAft>
              <a:buSzPct val="110000"/>
              <a:buFont typeface="Arial" panose="020B0604020202020204" pitchFamily="34" charset="0"/>
              <a:buChar char="‒"/>
              <a:defRPr lang="en-US" sz="1600" kern="1200" dirty="0">
                <a:solidFill>
                  <a:schemeClr val="tx1"/>
                </a:solidFill>
                <a:latin typeface="+mn-lt"/>
                <a:ea typeface="+mn-ea"/>
                <a:cs typeface="+mn-cs"/>
              </a:defRPr>
            </a:lvl3pPr>
            <a:lvl4pPr marL="604800" indent="-154800" algn="l" defTabSz="914400" rtl="0" eaLnBrk="1" latinLnBrk="0" hangingPunct="1">
              <a:lnSpc>
                <a:spcPct val="100000"/>
              </a:lnSpc>
              <a:spcBef>
                <a:spcPts val="0"/>
              </a:spcBef>
              <a:spcAft>
                <a:spcPts val="300"/>
              </a:spcAft>
              <a:buFont typeface="Arial" panose="020B0604020202020204" pitchFamily="34" charset="0"/>
              <a:buChar char="•"/>
              <a:defRPr lang="en-US" sz="1600" kern="1200" dirty="0">
                <a:solidFill>
                  <a:schemeClr val="tx1"/>
                </a:solidFill>
                <a:latin typeface="+mn-lt"/>
                <a:ea typeface="+mn-ea"/>
                <a:cs typeface="+mn-cs"/>
              </a:defRPr>
            </a:lvl4pPr>
            <a:lvl5pPr marL="813600" indent="-147600" algn="l" defTabSz="914400" rtl="0" eaLnBrk="1" latinLnBrk="0" hangingPunct="1">
              <a:lnSpc>
                <a:spcPct val="100000"/>
              </a:lnSpc>
              <a:spcBef>
                <a:spcPts val="0"/>
              </a:spcBef>
              <a:spcAft>
                <a:spcPts val="300"/>
              </a:spcAft>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3EE3AAE9-FED1-4726-A9BB-0D783C602D5E}" type="datetime'''''''''''''''''''-''''''''''''''1''''''''0'''''''''''">
              <a:rPr lang="en-US" altLang="en-US" sz="1400" smtClean="0">
                <a:effectLst/>
                <a:cs typeface="+mn-cs"/>
              </a:rPr>
              <a:pPr algn="ctr">
                <a:spcBef>
                  <a:spcPct val="0"/>
                </a:spcBef>
                <a:spcAft>
                  <a:spcPct val="0"/>
                </a:spcAft>
              </a:pPr>
              <a:t>-10</a:t>
            </a:fld>
            <a:endParaRPr lang="en-US" sz="1400">
              <a:cs typeface="+mn-cs"/>
            </a:endParaRPr>
          </a:p>
        </p:txBody>
      </p:sp>
      <p:sp>
        <p:nvSpPr>
          <p:cNvPr id="44" name="Text Placeholder 4">
            <a:extLst>
              <a:ext uri="{FF2B5EF4-FFF2-40B4-BE49-F238E27FC236}">
                <a16:creationId xmlns:a16="http://schemas.microsoft.com/office/drawing/2014/main" id="{E32B4188-1B43-8F8D-B56F-744759DB3222}"/>
              </a:ext>
            </a:extLst>
          </p:cNvPr>
          <p:cNvSpPr>
            <a:spLocks noGrp="1"/>
          </p:cNvSpPr>
          <p:nvPr>
            <p:custDataLst>
              <p:tags r:id="rId44"/>
            </p:custDataLst>
          </p:nvPr>
        </p:nvSpPr>
        <p:spPr bwMode="gray">
          <a:xfrm>
            <a:off x="1501775" y="2679700"/>
            <a:ext cx="346075"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b"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30400" algn="l" defTabSz="914400" rtl="0" eaLnBrk="1" latinLnBrk="0" hangingPunct="1">
              <a:lnSpc>
                <a:spcPct val="100000"/>
              </a:lnSpc>
              <a:spcBef>
                <a:spcPts val="0"/>
              </a:spcBef>
              <a:spcAft>
                <a:spcPts val="300"/>
              </a:spcAft>
              <a:buSzPct val="110000"/>
              <a:buFont typeface="Wingdings" panose="05000000000000000000" pitchFamily="2" charset="2"/>
              <a:buChar char=""/>
              <a:defRPr lang="en-US" sz="1600" kern="1200" dirty="0">
                <a:solidFill>
                  <a:schemeClr val="tx1"/>
                </a:solidFill>
                <a:latin typeface="+mn-lt"/>
                <a:ea typeface="+mn-ea"/>
                <a:cs typeface="+mn-cs"/>
              </a:defRPr>
            </a:lvl2pPr>
            <a:lvl3pPr marL="439200" indent="-208800" algn="l" defTabSz="914400" rtl="0" eaLnBrk="1" latinLnBrk="0" hangingPunct="1">
              <a:lnSpc>
                <a:spcPct val="100000"/>
              </a:lnSpc>
              <a:spcBef>
                <a:spcPts val="0"/>
              </a:spcBef>
              <a:spcAft>
                <a:spcPts val="300"/>
              </a:spcAft>
              <a:buSzPct val="110000"/>
              <a:buFont typeface="Arial" panose="020B0604020202020204" pitchFamily="34" charset="0"/>
              <a:buChar char="‒"/>
              <a:defRPr lang="en-US" sz="1600" kern="1200" dirty="0">
                <a:solidFill>
                  <a:schemeClr val="tx1"/>
                </a:solidFill>
                <a:latin typeface="+mn-lt"/>
                <a:ea typeface="+mn-ea"/>
                <a:cs typeface="+mn-cs"/>
              </a:defRPr>
            </a:lvl3pPr>
            <a:lvl4pPr marL="604800" indent="-154800" algn="l" defTabSz="914400" rtl="0" eaLnBrk="1" latinLnBrk="0" hangingPunct="1">
              <a:lnSpc>
                <a:spcPct val="100000"/>
              </a:lnSpc>
              <a:spcBef>
                <a:spcPts val="0"/>
              </a:spcBef>
              <a:spcAft>
                <a:spcPts val="300"/>
              </a:spcAft>
              <a:buFont typeface="Arial" panose="020B0604020202020204" pitchFamily="34" charset="0"/>
              <a:buChar char="•"/>
              <a:defRPr lang="en-US" sz="1600" kern="1200" dirty="0">
                <a:solidFill>
                  <a:schemeClr val="tx1"/>
                </a:solidFill>
                <a:latin typeface="+mn-lt"/>
                <a:ea typeface="+mn-ea"/>
                <a:cs typeface="+mn-cs"/>
              </a:defRPr>
            </a:lvl4pPr>
            <a:lvl5pPr marL="813600" indent="-147600" algn="l" defTabSz="914400" rtl="0" eaLnBrk="1" latinLnBrk="0" hangingPunct="1">
              <a:lnSpc>
                <a:spcPct val="100000"/>
              </a:lnSpc>
              <a:spcBef>
                <a:spcPts val="0"/>
              </a:spcBef>
              <a:spcAft>
                <a:spcPts val="300"/>
              </a:spcAft>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E54D3F13-E898-4765-A0B6-92E5DC12BE9B}" type="datetime'''1''''''''''''''''''''''''''0''''''''''''''''9'">
              <a:rPr lang="en-US" altLang="en-US" sz="1400" b="1" smtClean="0">
                <a:cs typeface="+mn-cs"/>
              </a:rPr>
              <a:pPr algn="ctr">
                <a:spcBef>
                  <a:spcPct val="0"/>
                </a:spcBef>
                <a:spcAft>
                  <a:spcPct val="0"/>
                </a:spcAft>
              </a:pPr>
              <a:t>109</a:t>
            </a:fld>
            <a:endParaRPr lang="en-US" sz="1400" b="1">
              <a:cs typeface="+mn-cs"/>
            </a:endParaRPr>
          </a:p>
        </p:txBody>
      </p:sp>
      <p:sp>
        <p:nvSpPr>
          <p:cNvPr id="45" name="Text Placeholder 4">
            <a:extLst>
              <a:ext uri="{FF2B5EF4-FFF2-40B4-BE49-F238E27FC236}">
                <a16:creationId xmlns:a16="http://schemas.microsoft.com/office/drawing/2014/main" id="{59E8DAEC-1520-CA36-94B4-84DC630AC4AA}"/>
              </a:ext>
            </a:extLst>
          </p:cNvPr>
          <p:cNvSpPr>
            <a:spLocks noGrp="1"/>
          </p:cNvSpPr>
          <p:nvPr>
            <p:custDataLst>
              <p:tags r:id="rId45"/>
            </p:custDataLst>
          </p:nvPr>
        </p:nvSpPr>
        <p:spPr bwMode="gray">
          <a:xfrm>
            <a:off x="4205288" y="3351213"/>
            <a:ext cx="247650"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b"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30400" algn="l" defTabSz="914400" rtl="0" eaLnBrk="1" latinLnBrk="0" hangingPunct="1">
              <a:lnSpc>
                <a:spcPct val="100000"/>
              </a:lnSpc>
              <a:spcBef>
                <a:spcPts val="0"/>
              </a:spcBef>
              <a:spcAft>
                <a:spcPts val="300"/>
              </a:spcAft>
              <a:buSzPct val="110000"/>
              <a:buFont typeface="Wingdings" panose="05000000000000000000" pitchFamily="2" charset="2"/>
              <a:buChar char=""/>
              <a:defRPr lang="en-US" sz="1600" kern="1200" dirty="0">
                <a:solidFill>
                  <a:schemeClr val="tx1"/>
                </a:solidFill>
                <a:latin typeface="+mn-lt"/>
                <a:ea typeface="+mn-ea"/>
                <a:cs typeface="+mn-cs"/>
              </a:defRPr>
            </a:lvl2pPr>
            <a:lvl3pPr marL="439200" indent="-208800" algn="l" defTabSz="914400" rtl="0" eaLnBrk="1" latinLnBrk="0" hangingPunct="1">
              <a:lnSpc>
                <a:spcPct val="100000"/>
              </a:lnSpc>
              <a:spcBef>
                <a:spcPts val="0"/>
              </a:spcBef>
              <a:spcAft>
                <a:spcPts val="300"/>
              </a:spcAft>
              <a:buSzPct val="110000"/>
              <a:buFont typeface="Arial" panose="020B0604020202020204" pitchFamily="34" charset="0"/>
              <a:buChar char="‒"/>
              <a:defRPr lang="en-US" sz="1600" kern="1200" dirty="0">
                <a:solidFill>
                  <a:schemeClr val="tx1"/>
                </a:solidFill>
                <a:latin typeface="+mn-lt"/>
                <a:ea typeface="+mn-ea"/>
                <a:cs typeface="+mn-cs"/>
              </a:defRPr>
            </a:lvl3pPr>
            <a:lvl4pPr marL="604800" indent="-154800" algn="l" defTabSz="914400" rtl="0" eaLnBrk="1" latinLnBrk="0" hangingPunct="1">
              <a:lnSpc>
                <a:spcPct val="100000"/>
              </a:lnSpc>
              <a:spcBef>
                <a:spcPts val="0"/>
              </a:spcBef>
              <a:spcAft>
                <a:spcPts val="300"/>
              </a:spcAft>
              <a:buFont typeface="Arial" panose="020B0604020202020204" pitchFamily="34" charset="0"/>
              <a:buChar char="•"/>
              <a:defRPr lang="en-US" sz="1600" kern="1200" dirty="0">
                <a:solidFill>
                  <a:schemeClr val="tx1"/>
                </a:solidFill>
                <a:latin typeface="+mn-lt"/>
                <a:ea typeface="+mn-ea"/>
                <a:cs typeface="+mn-cs"/>
              </a:defRPr>
            </a:lvl4pPr>
            <a:lvl5pPr marL="813600" indent="-147600" algn="l" defTabSz="914400" rtl="0" eaLnBrk="1" latinLnBrk="0" hangingPunct="1">
              <a:lnSpc>
                <a:spcPct val="100000"/>
              </a:lnSpc>
              <a:spcBef>
                <a:spcPts val="0"/>
              </a:spcBef>
              <a:spcAft>
                <a:spcPts val="300"/>
              </a:spcAft>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E50D0CDA-1925-4A37-AB4E-D146B80E524D}" type="datetime'''''''''''7''''''''''7'''">
              <a:rPr lang="en-US" altLang="en-US" sz="1400" b="1" smtClean="0">
                <a:cs typeface="+mn-cs"/>
              </a:rPr>
              <a:pPr algn="ctr">
                <a:spcBef>
                  <a:spcPct val="0"/>
                </a:spcBef>
                <a:spcAft>
                  <a:spcPct val="0"/>
                </a:spcAft>
              </a:pPr>
              <a:t>77</a:t>
            </a:fld>
            <a:endParaRPr lang="en-US" sz="1400" b="1">
              <a:cs typeface="+mn-cs"/>
            </a:endParaRPr>
          </a:p>
        </p:txBody>
      </p:sp>
      <p:sp>
        <p:nvSpPr>
          <p:cNvPr id="46" name="Text Placeholder 4">
            <a:extLst>
              <a:ext uri="{FF2B5EF4-FFF2-40B4-BE49-F238E27FC236}">
                <a16:creationId xmlns:a16="http://schemas.microsoft.com/office/drawing/2014/main" id="{504AC882-9AA1-FF1B-7085-B849CBB08FAB}"/>
              </a:ext>
            </a:extLst>
          </p:cNvPr>
          <p:cNvSpPr>
            <a:spLocks noGrp="1"/>
          </p:cNvSpPr>
          <p:nvPr>
            <p:custDataLst>
              <p:tags r:id="rId46"/>
            </p:custDataLst>
          </p:nvPr>
        </p:nvSpPr>
        <p:spPr bwMode="gray">
          <a:xfrm>
            <a:off x="6859588" y="3582988"/>
            <a:ext cx="247650"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b"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30400" algn="l" defTabSz="914400" rtl="0" eaLnBrk="1" latinLnBrk="0" hangingPunct="1">
              <a:lnSpc>
                <a:spcPct val="100000"/>
              </a:lnSpc>
              <a:spcBef>
                <a:spcPts val="0"/>
              </a:spcBef>
              <a:spcAft>
                <a:spcPts val="300"/>
              </a:spcAft>
              <a:buSzPct val="110000"/>
              <a:buFont typeface="Wingdings" panose="05000000000000000000" pitchFamily="2" charset="2"/>
              <a:buChar char=""/>
              <a:defRPr lang="en-US" sz="1600" kern="1200" dirty="0">
                <a:solidFill>
                  <a:schemeClr val="tx1"/>
                </a:solidFill>
                <a:latin typeface="+mn-lt"/>
                <a:ea typeface="+mn-ea"/>
                <a:cs typeface="+mn-cs"/>
              </a:defRPr>
            </a:lvl2pPr>
            <a:lvl3pPr marL="439200" indent="-208800" algn="l" defTabSz="914400" rtl="0" eaLnBrk="1" latinLnBrk="0" hangingPunct="1">
              <a:lnSpc>
                <a:spcPct val="100000"/>
              </a:lnSpc>
              <a:spcBef>
                <a:spcPts val="0"/>
              </a:spcBef>
              <a:spcAft>
                <a:spcPts val="300"/>
              </a:spcAft>
              <a:buSzPct val="110000"/>
              <a:buFont typeface="Arial" panose="020B0604020202020204" pitchFamily="34" charset="0"/>
              <a:buChar char="‒"/>
              <a:defRPr lang="en-US" sz="1600" kern="1200" dirty="0">
                <a:solidFill>
                  <a:schemeClr val="tx1"/>
                </a:solidFill>
                <a:latin typeface="+mn-lt"/>
                <a:ea typeface="+mn-ea"/>
                <a:cs typeface="+mn-cs"/>
              </a:defRPr>
            </a:lvl3pPr>
            <a:lvl4pPr marL="604800" indent="-154800" algn="l" defTabSz="914400" rtl="0" eaLnBrk="1" latinLnBrk="0" hangingPunct="1">
              <a:lnSpc>
                <a:spcPct val="100000"/>
              </a:lnSpc>
              <a:spcBef>
                <a:spcPts val="0"/>
              </a:spcBef>
              <a:spcAft>
                <a:spcPts val="300"/>
              </a:spcAft>
              <a:buFont typeface="Arial" panose="020B0604020202020204" pitchFamily="34" charset="0"/>
              <a:buChar char="•"/>
              <a:defRPr lang="en-US" sz="1600" kern="1200" dirty="0">
                <a:solidFill>
                  <a:schemeClr val="tx1"/>
                </a:solidFill>
                <a:latin typeface="+mn-lt"/>
                <a:ea typeface="+mn-ea"/>
                <a:cs typeface="+mn-cs"/>
              </a:defRPr>
            </a:lvl4pPr>
            <a:lvl5pPr marL="813600" indent="-147600" algn="l" defTabSz="914400" rtl="0" eaLnBrk="1" latinLnBrk="0" hangingPunct="1">
              <a:lnSpc>
                <a:spcPct val="100000"/>
              </a:lnSpc>
              <a:spcBef>
                <a:spcPts val="0"/>
              </a:spcBef>
              <a:spcAft>
                <a:spcPts val="300"/>
              </a:spcAft>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E3998764-46A0-4F5C-B0DC-F3CEF4791825}" type="datetime'''''''''''''''''6''''''''''''6'''''''''''''''''''''''''''''">
              <a:rPr lang="en-US" altLang="en-US" sz="1400" b="1" smtClean="0">
                <a:cs typeface="+mn-cs"/>
              </a:rPr>
              <a:pPr algn="ctr">
                <a:spcBef>
                  <a:spcPct val="0"/>
                </a:spcBef>
                <a:spcAft>
                  <a:spcPct val="0"/>
                </a:spcAft>
              </a:pPr>
              <a:t>66</a:t>
            </a:fld>
            <a:endParaRPr lang="en-US" sz="1400" b="1">
              <a:cs typeface="+mn-cs"/>
            </a:endParaRPr>
          </a:p>
        </p:txBody>
      </p:sp>
      <p:sp>
        <p:nvSpPr>
          <p:cNvPr id="47" name="Text Placeholder 4">
            <a:extLst>
              <a:ext uri="{FF2B5EF4-FFF2-40B4-BE49-F238E27FC236}">
                <a16:creationId xmlns:a16="http://schemas.microsoft.com/office/drawing/2014/main" id="{F13DBF1C-DEE4-9AC0-04BE-30AE65016FAD}"/>
              </a:ext>
            </a:extLst>
          </p:cNvPr>
          <p:cNvSpPr>
            <a:spLocks noGrp="1"/>
          </p:cNvSpPr>
          <p:nvPr>
            <p:custDataLst>
              <p:tags r:id="rId47"/>
            </p:custDataLst>
          </p:nvPr>
        </p:nvSpPr>
        <p:spPr bwMode="gray">
          <a:xfrm>
            <a:off x="7146925" y="4894263"/>
            <a:ext cx="149225" cy="212725"/>
          </a:xfrm>
          <a:prstGeom prst="rect">
            <a:avLst/>
          </a:prstGeom>
          <a:solidFill>
            <a:schemeClr val="accent4"/>
          </a:solidFill>
          <a:ln>
            <a:noFill/>
          </a:ln>
          <a:effectLst/>
        </p:spPr>
        <p:txBody>
          <a:bodyPr vert="horz" wrap="none" lIns="25400" tIns="0" rIns="25400" bIns="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30400" algn="l" defTabSz="914400" rtl="0" eaLnBrk="1" latinLnBrk="0" hangingPunct="1">
              <a:lnSpc>
                <a:spcPct val="100000"/>
              </a:lnSpc>
              <a:spcBef>
                <a:spcPts val="0"/>
              </a:spcBef>
              <a:spcAft>
                <a:spcPts val="300"/>
              </a:spcAft>
              <a:buSzPct val="110000"/>
              <a:buFont typeface="Wingdings" panose="05000000000000000000" pitchFamily="2" charset="2"/>
              <a:buChar char=""/>
              <a:defRPr lang="en-US" sz="1600" kern="1200" dirty="0">
                <a:solidFill>
                  <a:schemeClr val="tx1"/>
                </a:solidFill>
                <a:latin typeface="+mn-lt"/>
                <a:ea typeface="+mn-ea"/>
                <a:cs typeface="+mn-cs"/>
              </a:defRPr>
            </a:lvl2pPr>
            <a:lvl3pPr marL="439200" indent="-208800" algn="l" defTabSz="914400" rtl="0" eaLnBrk="1" latinLnBrk="0" hangingPunct="1">
              <a:lnSpc>
                <a:spcPct val="100000"/>
              </a:lnSpc>
              <a:spcBef>
                <a:spcPts val="0"/>
              </a:spcBef>
              <a:spcAft>
                <a:spcPts val="300"/>
              </a:spcAft>
              <a:buSzPct val="110000"/>
              <a:buFont typeface="Arial" panose="020B0604020202020204" pitchFamily="34" charset="0"/>
              <a:buChar char="‒"/>
              <a:defRPr lang="en-US" sz="1600" kern="1200" dirty="0">
                <a:solidFill>
                  <a:schemeClr val="tx1"/>
                </a:solidFill>
                <a:latin typeface="+mn-lt"/>
                <a:ea typeface="+mn-ea"/>
                <a:cs typeface="+mn-cs"/>
              </a:defRPr>
            </a:lvl3pPr>
            <a:lvl4pPr marL="604800" indent="-154800" algn="l" defTabSz="914400" rtl="0" eaLnBrk="1" latinLnBrk="0" hangingPunct="1">
              <a:lnSpc>
                <a:spcPct val="100000"/>
              </a:lnSpc>
              <a:spcBef>
                <a:spcPts val="0"/>
              </a:spcBef>
              <a:spcAft>
                <a:spcPts val="300"/>
              </a:spcAft>
              <a:buFont typeface="Arial" panose="020B0604020202020204" pitchFamily="34" charset="0"/>
              <a:buChar char="•"/>
              <a:defRPr lang="en-US" sz="1600" kern="1200" dirty="0">
                <a:solidFill>
                  <a:schemeClr val="tx1"/>
                </a:solidFill>
                <a:latin typeface="+mn-lt"/>
                <a:ea typeface="+mn-ea"/>
                <a:cs typeface="+mn-cs"/>
              </a:defRPr>
            </a:lvl4pPr>
            <a:lvl5pPr marL="813600" indent="-147600" algn="l" defTabSz="914400" rtl="0" eaLnBrk="1" latinLnBrk="0" hangingPunct="1">
              <a:lnSpc>
                <a:spcPct val="100000"/>
              </a:lnSpc>
              <a:spcBef>
                <a:spcPts val="0"/>
              </a:spcBef>
              <a:spcAft>
                <a:spcPts val="300"/>
              </a:spcAft>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8A40A671-FCC2-4A07-85E0-8B1FB12069AD}" type="datetime'''''''''''''''''''''''''''''''''''''''''''''''''''''3'">
              <a:rPr lang="en-US" altLang="en-US" sz="1400" smtClean="0">
                <a:effectLst/>
                <a:cs typeface="+mn-cs"/>
              </a:rPr>
              <a:pPr algn="ctr">
                <a:spcBef>
                  <a:spcPct val="0"/>
                </a:spcBef>
                <a:spcAft>
                  <a:spcPct val="0"/>
                </a:spcAft>
              </a:pPr>
              <a:t>3</a:t>
            </a:fld>
            <a:endParaRPr lang="en-US" sz="1400">
              <a:cs typeface="+mn-cs"/>
            </a:endParaRPr>
          </a:p>
        </p:txBody>
      </p:sp>
      <p:sp>
        <p:nvSpPr>
          <p:cNvPr id="48" name="Rectangle 47">
            <a:extLst>
              <a:ext uri="{FF2B5EF4-FFF2-40B4-BE49-F238E27FC236}">
                <a16:creationId xmlns:a16="http://schemas.microsoft.com/office/drawing/2014/main" id="{A093F818-5079-1A6A-AB03-9FD89FCEC1E9}"/>
              </a:ext>
            </a:extLst>
          </p:cNvPr>
          <p:cNvSpPr/>
          <p:nvPr>
            <p:custDataLst>
              <p:tags r:id="rId48"/>
            </p:custDataLst>
          </p:nvPr>
        </p:nvSpPr>
        <p:spPr bwMode="auto">
          <a:xfrm>
            <a:off x="2398713" y="1528763"/>
            <a:ext cx="165100" cy="165100"/>
          </a:xfrm>
          <a:prstGeom prst="rect">
            <a:avLst/>
          </a:prstGeom>
          <a:solidFill>
            <a:schemeClr val="accent2"/>
          </a:solidFill>
          <a:ln w="9525" cap="sq" algn="ctr">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49" name="Rectangle 48">
            <a:extLst>
              <a:ext uri="{FF2B5EF4-FFF2-40B4-BE49-F238E27FC236}">
                <a16:creationId xmlns:a16="http://schemas.microsoft.com/office/drawing/2014/main" id="{38F53927-8F28-8992-6403-76D9B880304A}"/>
              </a:ext>
            </a:extLst>
          </p:cNvPr>
          <p:cNvSpPr/>
          <p:nvPr>
            <p:custDataLst>
              <p:tags r:id="rId49"/>
            </p:custDataLst>
          </p:nvPr>
        </p:nvSpPr>
        <p:spPr bwMode="auto">
          <a:xfrm>
            <a:off x="619125" y="1528763"/>
            <a:ext cx="165100" cy="165100"/>
          </a:xfrm>
          <a:prstGeom prst="rect">
            <a:avLst/>
          </a:prstGeom>
          <a:solidFill>
            <a:schemeClr val="accent1"/>
          </a:solidFill>
          <a:ln w="9525" cap="sq" algn="ctr">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50" name="Rectangle 49">
            <a:extLst>
              <a:ext uri="{FF2B5EF4-FFF2-40B4-BE49-F238E27FC236}">
                <a16:creationId xmlns:a16="http://schemas.microsoft.com/office/drawing/2014/main" id="{208FC537-77F1-0C4B-D60B-1D6D1DBE6347}"/>
              </a:ext>
            </a:extLst>
          </p:cNvPr>
          <p:cNvSpPr/>
          <p:nvPr>
            <p:custDataLst>
              <p:tags r:id="rId50"/>
            </p:custDataLst>
          </p:nvPr>
        </p:nvSpPr>
        <p:spPr bwMode="auto">
          <a:xfrm>
            <a:off x="5929313" y="1528763"/>
            <a:ext cx="165100" cy="165100"/>
          </a:xfrm>
          <a:prstGeom prst="rect">
            <a:avLst/>
          </a:prstGeom>
          <a:solidFill>
            <a:schemeClr val="accent4"/>
          </a:solidFill>
          <a:ln w="9525" cap="sq" algn="ctr">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52" name="Rectangle 51">
            <a:extLst>
              <a:ext uri="{FF2B5EF4-FFF2-40B4-BE49-F238E27FC236}">
                <a16:creationId xmlns:a16="http://schemas.microsoft.com/office/drawing/2014/main" id="{D0CEC6A5-55BD-7416-D9C9-BAFF5258537E}"/>
              </a:ext>
            </a:extLst>
          </p:cNvPr>
          <p:cNvSpPr/>
          <p:nvPr>
            <p:custDataLst>
              <p:tags r:id="rId51"/>
            </p:custDataLst>
          </p:nvPr>
        </p:nvSpPr>
        <p:spPr bwMode="auto">
          <a:xfrm>
            <a:off x="3373438" y="1528763"/>
            <a:ext cx="165100" cy="165100"/>
          </a:xfrm>
          <a:prstGeom prst="rect">
            <a:avLst/>
          </a:prstGeom>
          <a:solidFill>
            <a:schemeClr val="accent3"/>
          </a:solidFill>
          <a:ln w="9525" cap="sq" algn="ctr">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55" name="Rectangle 54">
            <a:extLst>
              <a:ext uri="{FF2B5EF4-FFF2-40B4-BE49-F238E27FC236}">
                <a16:creationId xmlns:a16="http://schemas.microsoft.com/office/drawing/2014/main" id="{376C7F15-A210-6689-995A-46A2089B229C}"/>
              </a:ext>
            </a:extLst>
          </p:cNvPr>
          <p:cNvSpPr/>
          <p:nvPr>
            <p:custDataLst>
              <p:tags r:id="rId52"/>
            </p:custDataLst>
          </p:nvPr>
        </p:nvSpPr>
        <p:spPr bwMode="auto">
          <a:xfrm>
            <a:off x="6483350" y="1528763"/>
            <a:ext cx="165100" cy="165100"/>
          </a:xfrm>
          <a:prstGeom prst="rect">
            <a:avLst/>
          </a:prstGeom>
          <a:solidFill>
            <a:schemeClr val="bg1"/>
          </a:solidFill>
          <a:ln w="9525" cap="sq" algn="ctr">
            <a:solidFill>
              <a:schemeClr val="tx1"/>
            </a:solidFill>
            <a:prstDash val="lgDash"/>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56" name="Text Placeholder 4">
            <a:extLst>
              <a:ext uri="{FF2B5EF4-FFF2-40B4-BE49-F238E27FC236}">
                <a16:creationId xmlns:a16="http://schemas.microsoft.com/office/drawing/2014/main" id="{4E9996B8-FDF7-1A18-64C7-C57886E5CB4B}"/>
              </a:ext>
            </a:extLst>
          </p:cNvPr>
          <p:cNvSpPr>
            <a:spLocks noGrp="1"/>
          </p:cNvSpPr>
          <p:nvPr>
            <p:custDataLst>
              <p:tags r:id="rId53"/>
            </p:custDataLst>
          </p:nvPr>
        </p:nvSpPr>
        <p:spPr bwMode="auto">
          <a:xfrm>
            <a:off x="6145213" y="1527175"/>
            <a:ext cx="23653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30400" algn="l" defTabSz="914400" rtl="0" eaLnBrk="1" latinLnBrk="0" hangingPunct="1">
              <a:lnSpc>
                <a:spcPct val="100000"/>
              </a:lnSpc>
              <a:spcBef>
                <a:spcPts val="0"/>
              </a:spcBef>
              <a:spcAft>
                <a:spcPts val="300"/>
              </a:spcAft>
              <a:buSzPct val="110000"/>
              <a:buFont typeface="Wingdings" panose="05000000000000000000" pitchFamily="2" charset="2"/>
              <a:buChar char=""/>
              <a:defRPr lang="en-US" sz="1600" kern="1200" dirty="0">
                <a:solidFill>
                  <a:schemeClr val="tx1"/>
                </a:solidFill>
                <a:latin typeface="+mn-lt"/>
                <a:ea typeface="+mn-ea"/>
                <a:cs typeface="+mn-cs"/>
              </a:defRPr>
            </a:lvl2pPr>
            <a:lvl3pPr marL="439200" indent="-208800" algn="l" defTabSz="914400" rtl="0" eaLnBrk="1" latinLnBrk="0" hangingPunct="1">
              <a:lnSpc>
                <a:spcPct val="100000"/>
              </a:lnSpc>
              <a:spcBef>
                <a:spcPts val="0"/>
              </a:spcBef>
              <a:spcAft>
                <a:spcPts val="300"/>
              </a:spcAft>
              <a:buSzPct val="110000"/>
              <a:buFont typeface="Arial" panose="020B0604020202020204" pitchFamily="34" charset="0"/>
              <a:buChar char="‒"/>
              <a:defRPr lang="en-US" sz="1600" kern="1200" dirty="0">
                <a:solidFill>
                  <a:schemeClr val="tx1"/>
                </a:solidFill>
                <a:latin typeface="+mn-lt"/>
                <a:ea typeface="+mn-ea"/>
                <a:cs typeface="+mn-cs"/>
              </a:defRPr>
            </a:lvl3pPr>
            <a:lvl4pPr marL="604800" indent="-154800" algn="l" defTabSz="914400" rtl="0" eaLnBrk="1" latinLnBrk="0" hangingPunct="1">
              <a:lnSpc>
                <a:spcPct val="100000"/>
              </a:lnSpc>
              <a:spcBef>
                <a:spcPts val="0"/>
              </a:spcBef>
              <a:spcAft>
                <a:spcPts val="300"/>
              </a:spcAft>
              <a:buFont typeface="Arial" panose="020B0604020202020204" pitchFamily="34" charset="0"/>
              <a:buChar char="•"/>
              <a:defRPr lang="en-US" sz="1600" kern="1200" dirty="0">
                <a:solidFill>
                  <a:schemeClr val="tx1"/>
                </a:solidFill>
                <a:latin typeface="+mn-lt"/>
                <a:ea typeface="+mn-ea"/>
                <a:cs typeface="+mn-cs"/>
              </a:defRPr>
            </a:lvl4pPr>
            <a:lvl5pPr marL="813600" indent="-147600" algn="l" defTabSz="914400" rtl="0" eaLnBrk="1" latinLnBrk="0" hangingPunct="1">
              <a:lnSpc>
                <a:spcPct val="100000"/>
              </a:lnSpc>
              <a:spcBef>
                <a:spcPts val="0"/>
              </a:spcBef>
              <a:spcAft>
                <a:spcPts val="300"/>
              </a:spcAft>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E916B2EC-1EAE-43C0-8663-275F0DB84605}" type="datetime'''''''''T''''''''''''''a''''''''''''''x'''''''''''''">
              <a:rPr lang="en-US" altLang="en-US" sz="1200" smtClean="0">
                <a:cs typeface="+mn-cs"/>
              </a:rPr>
              <a:pPr>
                <a:spcBef>
                  <a:spcPct val="0"/>
                </a:spcBef>
                <a:spcAft>
                  <a:spcPct val="0"/>
                </a:spcAft>
              </a:pPr>
              <a:t>Tax</a:t>
            </a:fld>
            <a:endParaRPr lang="en-US" sz="1200">
              <a:cs typeface="+mn-cs"/>
            </a:endParaRPr>
          </a:p>
        </p:txBody>
      </p:sp>
      <p:sp>
        <p:nvSpPr>
          <p:cNvPr id="57" name="Text Placeholder 4">
            <a:extLst>
              <a:ext uri="{FF2B5EF4-FFF2-40B4-BE49-F238E27FC236}">
                <a16:creationId xmlns:a16="http://schemas.microsoft.com/office/drawing/2014/main" id="{06016BD1-745B-6E05-0B23-3AB2B13BD786}"/>
              </a:ext>
            </a:extLst>
          </p:cNvPr>
          <p:cNvSpPr>
            <a:spLocks noGrp="1"/>
          </p:cNvSpPr>
          <p:nvPr>
            <p:custDataLst>
              <p:tags r:id="rId54"/>
            </p:custDataLst>
          </p:nvPr>
        </p:nvSpPr>
        <p:spPr bwMode="auto">
          <a:xfrm>
            <a:off x="835025" y="1527175"/>
            <a:ext cx="146208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30400" algn="l" defTabSz="914400" rtl="0" eaLnBrk="1" latinLnBrk="0" hangingPunct="1">
              <a:lnSpc>
                <a:spcPct val="100000"/>
              </a:lnSpc>
              <a:spcBef>
                <a:spcPts val="0"/>
              </a:spcBef>
              <a:spcAft>
                <a:spcPts val="300"/>
              </a:spcAft>
              <a:buSzPct val="110000"/>
              <a:buFont typeface="Wingdings" panose="05000000000000000000" pitchFamily="2" charset="2"/>
              <a:buChar char=""/>
              <a:defRPr lang="en-US" sz="1600" kern="1200" dirty="0">
                <a:solidFill>
                  <a:schemeClr val="tx1"/>
                </a:solidFill>
                <a:latin typeface="+mn-lt"/>
                <a:ea typeface="+mn-ea"/>
                <a:cs typeface="+mn-cs"/>
              </a:defRPr>
            </a:lvl2pPr>
            <a:lvl3pPr marL="439200" indent="-208800" algn="l" defTabSz="914400" rtl="0" eaLnBrk="1" latinLnBrk="0" hangingPunct="1">
              <a:lnSpc>
                <a:spcPct val="100000"/>
              </a:lnSpc>
              <a:spcBef>
                <a:spcPts val="0"/>
              </a:spcBef>
              <a:spcAft>
                <a:spcPts val="300"/>
              </a:spcAft>
              <a:buSzPct val="110000"/>
              <a:buFont typeface="Arial" panose="020B0604020202020204" pitchFamily="34" charset="0"/>
              <a:buChar char="‒"/>
              <a:defRPr lang="en-US" sz="1600" kern="1200" dirty="0">
                <a:solidFill>
                  <a:schemeClr val="tx1"/>
                </a:solidFill>
                <a:latin typeface="+mn-lt"/>
                <a:ea typeface="+mn-ea"/>
                <a:cs typeface="+mn-cs"/>
              </a:defRPr>
            </a:lvl3pPr>
            <a:lvl4pPr marL="604800" indent="-154800" algn="l" defTabSz="914400" rtl="0" eaLnBrk="1" latinLnBrk="0" hangingPunct="1">
              <a:lnSpc>
                <a:spcPct val="100000"/>
              </a:lnSpc>
              <a:spcBef>
                <a:spcPts val="0"/>
              </a:spcBef>
              <a:spcAft>
                <a:spcPts val="300"/>
              </a:spcAft>
              <a:buFont typeface="Arial" panose="020B0604020202020204" pitchFamily="34" charset="0"/>
              <a:buChar char="•"/>
              <a:defRPr lang="en-US" sz="1600" kern="1200" dirty="0">
                <a:solidFill>
                  <a:schemeClr val="tx1"/>
                </a:solidFill>
                <a:latin typeface="+mn-lt"/>
                <a:ea typeface="+mn-ea"/>
                <a:cs typeface="+mn-cs"/>
              </a:defRPr>
            </a:lvl4pPr>
            <a:lvl5pPr marL="813600" indent="-147600" algn="l" defTabSz="914400" rtl="0" eaLnBrk="1" latinLnBrk="0" hangingPunct="1">
              <a:lnSpc>
                <a:spcPct val="100000"/>
              </a:lnSpc>
              <a:spcBef>
                <a:spcPts val="0"/>
              </a:spcBef>
              <a:spcAft>
                <a:spcPts val="300"/>
              </a:spcAft>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3F4F8B78-18B0-4B71-A68C-76B374BBBB84}" type="datetime'Ov''e''r''nigh''t ca''pi''t''''al ''c''''o''''s''''''t'''''''">
              <a:rPr lang="en-US" altLang="en-US" sz="1200" smtClean="0">
                <a:cs typeface="+mn-cs"/>
              </a:rPr>
              <a:pPr>
                <a:spcBef>
                  <a:spcPct val="0"/>
                </a:spcBef>
                <a:spcAft>
                  <a:spcPct val="0"/>
                </a:spcAft>
              </a:pPr>
              <a:t>Overnight capital cost</a:t>
            </a:fld>
            <a:endParaRPr lang="en-US" sz="1200">
              <a:cs typeface="+mn-cs"/>
            </a:endParaRPr>
          </a:p>
        </p:txBody>
      </p:sp>
      <p:sp>
        <p:nvSpPr>
          <p:cNvPr id="59" name="Text Placeholder 4">
            <a:extLst>
              <a:ext uri="{FF2B5EF4-FFF2-40B4-BE49-F238E27FC236}">
                <a16:creationId xmlns:a16="http://schemas.microsoft.com/office/drawing/2014/main" id="{A58E176F-E9B5-F6CC-219D-A60542E4D116}"/>
              </a:ext>
            </a:extLst>
          </p:cNvPr>
          <p:cNvSpPr>
            <a:spLocks noGrp="1"/>
          </p:cNvSpPr>
          <p:nvPr>
            <p:custDataLst>
              <p:tags r:id="rId55"/>
            </p:custDataLst>
          </p:nvPr>
        </p:nvSpPr>
        <p:spPr bwMode="auto">
          <a:xfrm>
            <a:off x="3589338" y="1527175"/>
            <a:ext cx="223837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30400" algn="l" defTabSz="914400" rtl="0" eaLnBrk="1" latinLnBrk="0" hangingPunct="1">
              <a:lnSpc>
                <a:spcPct val="100000"/>
              </a:lnSpc>
              <a:spcBef>
                <a:spcPts val="0"/>
              </a:spcBef>
              <a:spcAft>
                <a:spcPts val="300"/>
              </a:spcAft>
              <a:buSzPct val="110000"/>
              <a:buFont typeface="Wingdings" panose="05000000000000000000" pitchFamily="2" charset="2"/>
              <a:buChar char=""/>
              <a:defRPr lang="en-US" sz="1600" kern="1200" dirty="0">
                <a:solidFill>
                  <a:schemeClr val="tx1"/>
                </a:solidFill>
                <a:latin typeface="+mn-lt"/>
                <a:ea typeface="+mn-ea"/>
                <a:cs typeface="+mn-cs"/>
              </a:defRPr>
            </a:lvl2pPr>
            <a:lvl3pPr marL="439200" indent="-208800" algn="l" defTabSz="914400" rtl="0" eaLnBrk="1" latinLnBrk="0" hangingPunct="1">
              <a:lnSpc>
                <a:spcPct val="100000"/>
              </a:lnSpc>
              <a:spcBef>
                <a:spcPts val="0"/>
              </a:spcBef>
              <a:spcAft>
                <a:spcPts val="300"/>
              </a:spcAft>
              <a:buSzPct val="110000"/>
              <a:buFont typeface="Arial" panose="020B0604020202020204" pitchFamily="34" charset="0"/>
              <a:buChar char="‒"/>
              <a:defRPr lang="en-US" sz="1600" kern="1200" dirty="0">
                <a:solidFill>
                  <a:schemeClr val="tx1"/>
                </a:solidFill>
                <a:latin typeface="+mn-lt"/>
                <a:ea typeface="+mn-ea"/>
                <a:cs typeface="+mn-cs"/>
              </a:defRPr>
            </a:lvl3pPr>
            <a:lvl4pPr marL="604800" indent="-154800" algn="l" defTabSz="914400" rtl="0" eaLnBrk="1" latinLnBrk="0" hangingPunct="1">
              <a:lnSpc>
                <a:spcPct val="100000"/>
              </a:lnSpc>
              <a:spcBef>
                <a:spcPts val="0"/>
              </a:spcBef>
              <a:spcAft>
                <a:spcPts val="300"/>
              </a:spcAft>
              <a:buFont typeface="Arial" panose="020B0604020202020204" pitchFamily="34" charset="0"/>
              <a:buChar char="•"/>
              <a:defRPr lang="en-US" sz="1600" kern="1200" dirty="0">
                <a:solidFill>
                  <a:schemeClr val="tx1"/>
                </a:solidFill>
                <a:latin typeface="+mn-lt"/>
                <a:ea typeface="+mn-ea"/>
                <a:cs typeface="+mn-cs"/>
              </a:defRPr>
            </a:lvl4pPr>
            <a:lvl5pPr marL="813600" indent="-147600" algn="l" defTabSz="914400" rtl="0" eaLnBrk="1" latinLnBrk="0" hangingPunct="1">
              <a:lnSpc>
                <a:spcPct val="100000"/>
              </a:lnSpc>
              <a:spcBef>
                <a:spcPts val="0"/>
              </a:spcBef>
              <a:spcAft>
                <a:spcPts val="300"/>
              </a:spcAft>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sz="1200" err="1">
                <a:cs typeface="+mn-cs"/>
              </a:rPr>
              <a:t>Opex</a:t>
            </a:r>
            <a:r>
              <a:rPr lang="en-US" altLang="en-US" sz="1200">
                <a:cs typeface="+mn-cs"/>
              </a:rPr>
              <a:t>, fuel, and sustaining capital</a:t>
            </a:r>
            <a:endParaRPr lang="en-US" sz="1200">
              <a:cs typeface="+mn-cs"/>
            </a:endParaRPr>
          </a:p>
        </p:txBody>
      </p:sp>
      <p:sp>
        <p:nvSpPr>
          <p:cNvPr id="60" name="Text Placeholder 4">
            <a:extLst>
              <a:ext uri="{FF2B5EF4-FFF2-40B4-BE49-F238E27FC236}">
                <a16:creationId xmlns:a16="http://schemas.microsoft.com/office/drawing/2014/main" id="{2B76DB21-F1A5-DC74-7932-B2846A0AD7DB}"/>
              </a:ext>
            </a:extLst>
          </p:cNvPr>
          <p:cNvSpPr>
            <a:spLocks noGrp="1"/>
          </p:cNvSpPr>
          <p:nvPr>
            <p:custDataLst>
              <p:tags r:id="rId56"/>
            </p:custDataLst>
          </p:nvPr>
        </p:nvSpPr>
        <p:spPr bwMode="auto">
          <a:xfrm>
            <a:off x="6699250" y="1527175"/>
            <a:ext cx="104140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30400" algn="l" defTabSz="914400" rtl="0" eaLnBrk="1" latinLnBrk="0" hangingPunct="1">
              <a:lnSpc>
                <a:spcPct val="100000"/>
              </a:lnSpc>
              <a:spcBef>
                <a:spcPts val="0"/>
              </a:spcBef>
              <a:spcAft>
                <a:spcPts val="300"/>
              </a:spcAft>
              <a:buSzPct val="110000"/>
              <a:buFont typeface="Wingdings" panose="05000000000000000000" pitchFamily="2" charset="2"/>
              <a:buChar char=""/>
              <a:defRPr lang="en-US" sz="1600" kern="1200" dirty="0">
                <a:solidFill>
                  <a:schemeClr val="tx1"/>
                </a:solidFill>
                <a:latin typeface="+mn-lt"/>
                <a:ea typeface="+mn-ea"/>
                <a:cs typeface="+mn-cs"/>
              </a:defRPr>
            </a:lvl2pPr>
            <a:lvl3pPr marL="439200" indent="-208800" algn="l" defTabSz="914400" rtl="0" eaLnBrk="1" latinLnBrk="0" hangingPunct="1">
              <a:lnSpc>
                <a:spcPct val="100000"/>
              </a:lnSpc>
              <a:spcBef>
                <a:spcPts val="0"/>
              </a:spcBef>
              <a:spcAft>
                <a:spcPts val="300"/>
              </a:spcAft>
              <a:buSzPct val="110000"/>
              <a:buFont typeface="Arial" panose="020B0604020202020204" pitchFamily="34" charset="0"/>
              <a:buChar char="‒"/>
              <a:defRPr lang="en-US" sz="1600" kern="1200" dirty="0">
                <a:solidFill>
                  <a:schemeClr val="tx1"/>
                </a:solidFill>
                <a:latin typeface="+mn-lt"/>
                <a:ea typeface="+mn-ea"/>
                <a:cs typeface="+mn-cs"/>
              </a:defRPr>
            </a:lvl3pPr>
            <a:lvl4pPr marL="604800" indent="-154800" algn="l" defTabSz="914400" rtl="0" eaLnBrk="1" latinLnBrk="0" hangingPunct="1">
              <a:lnSpc>
                <a:spcPct val="100000"/>
              </a:lnSpc>
              <a:spcBef>
                <a:spcPts val="0"/>
              </a:spcBef>
              <a:spcAft>
                <a:spcPts val="300"/>
              </a:spcAft>
              <a:buFont typeface="Arial" panose="020B0604020202020204" pitchFamily="34" charset="0"/>
              <a:buChar char="•"/>
              <a:defRPr lang="en-US" sz="1600" kern="1200" dirty="0">
                <a:solidFill>
                  <a:schemeClr val="tx1"/>
                </a:solidFill>
                <a:latin typeface="+mn-lt"/>
                <a:ea typeface="+mn-ea"/>
                <a:cs typeface="+mn-cs"/>
              </a:defRPr>
            </a:lvl4pPr>
            <a:lvl5pPr marL="813600" indent="-147600" algn="l" defTabSz="914400" rtl="0" eaLnBrk="1" latinLnBrk="0" hangingPunct="1">
              <a:lnSpc>
                <a:spcPct val="100000"/>
              </a:lnSpc>
              <a:spcBef>
                <a:spcPts val="0"/>
              </a:spcBef>
              <a:spcAft>
                <a:spcPts val="300"/>
              </a:spcAft>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27721E31-8F12-4DBC-B370-F364D2981942}" type="datetime'Tax c''r''e''''di''t'' (''''''''''ITC'''''''')'''''''''''">
              <a:rPr lang="en-US" altLang="en-US" sz="1200" smtClean="0">
                <a:cs typeface="+mn-cs"/>
              </a:rPr>
              <a:pPr>
                <a:spcBef>
                  <a:spcPct val="0"/>
                </a:spcBef>
                <a:spcAft>
                  <a:spcPct val="0"/>
                </a:spcAft>
              </a:pPr>
              <a:t>Tax credit (ITC)</a:t>
            </a:fld>
            <a:endParaRPr lang="en-US" sz="1200">
              <a:cs typeface="+mn-cs"/>
            </a:endParaRPr>
          </a:p>
        </p:txBody>
      </p:sp>
      <p:sp>
        <p:nvSpPr>
          <p:cNvPr id="61" name="Text Placeholder 4">
            <a:extLst>
              <a:ext uri="{FF2B5EF4-FFF2-40B4-BE49-F238E27FC236}">
                <a16:creationId xmlns:a16="http://schemas.microsoft.com/office/drawing/2014/main" id="{F5219EFF-FACE-32A9-F40B-FE0F7482E6B8}"/>
              </a:ext>
            </a:extLst>
          </p:cNvPr>
          <p:cNvSpPr>
            <a:spLocks noGrp="1"/>
          </p:cNvSpPr>
          <p:nvPr>
            <p:custDataLst>
              <p:tags r:id="rId57"/>
            </p:custDataLst>
          </p:nvPr>
        </p:nvSpPr>
        <p:spPr bwMode="auto">
          <a:xfrm>
            <a:off x="2614613" y="1527175"/>
            <a:ext cx="65722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30400" algn="l" defTabSz="914400" rtl="0" eaLnBrk="1" latinLnBrk="0" hangingPunct="1">
              <a:lnSpc>
                <a:spcPct val="100000"/>
              </a:lnSpc>
              <a:spcBef>
                <a:spcPts val="0"/>
              </a:spcBef>
              <a:spcAft>
                <a:spcPts val="300"/>
              </a:spcAft>
              <a:buSzPct val="110000"/>
              <a:buFont typeface="Wingdings" panose="05000000000000000000" pitchFamily="2" charset="2"/>
              <a:buChar char=""/>
              <a:defRPr lang="en-US" sz="1600" kern="1200" dirty="0">
                <a:solidFill>
                  <a:schemeClr val="tx1"/>
                </a:solidFill>
                <a:latin typeface="+mn-lt"/>
                <a:ea typeface="+mn-ea"/>
                <a:cs typeface="+mn-cs"/>
              </a:defRPr>
            </a:lvl2pPr>
            <a:lvl3pPr marL="439200" indent="-208800" algn="l" defTabSz="914400" rtl="0" eaLnBrk="1" latinLnBrk="0" hangingPunct="1">
              <a:lnSpc>
                <a:spcPct val="100000"/>
              </a:lnSpc>
              <a:spcBef>
                <a:spcPts val="0"/>
              </a:spcBef>
              <a:spcAft>
                <a:spcPts val="300"/>
              </a:spcAft>
              <a:buSzPct val="110000"/>
              <a:buFont typeface="Arial" panose="020B0604020202020204" pitchFamily="34" charset="0"/>
              <a:buChar char="‒"/>
              <a:defRPr lang="en-US" sz="1600" kern="1200" dirty="0">
                <a:solidFill>
                  <a:schemeClr val="tx1"/>
                </a:solidFill>
                <a:latin typeface="+mn-lt"/>
                <a:ea typeface="+mn-ea"/>
                <a:cs typeface="+mn-cs"/>
              </a:defRPr>
            </a:lvl3pPr>
            <a:lvl4pPr marL="604800" indent="-154800" algn="l" defTabSz="914400" rtl="0" eaLnBrk="1" latinLnBrk="0" hangingPunct="1">
              <a:lnSpc>
                <a:spcPct val="100000"/>
              </a:lnSpc>
              <a:spcBef>
                <a:spcPts val="0"/>
              </a:spcBef>
              <a:spcAft>
                <a:spcPts val="300"/>
              </a:spcAft>
              <a:buFont typeface="Arial" panose="020B0604020202020204" pitchFamily="34" charset="0"/>
              <a:buChar char="•"/>
              <a:defRPr lang="en-US" sz="1600" kern="1200" dirty="0">
                <a:solidFill>
                  <a:schemeClr val="tx1"/>
                </a:solidFill>
                <a:latin typeface="+mn-lt"/>
                <a:ea typeface="+mn-ea"/>
                <a:cs typeface="+mn-cs"/>
              </a:defRPr>
            </a:lvl4pPr>
            <a:lvl5pPr marL="813600" indent="-147600" algn="l" defTabSz="914400" rtl="0" eaLnBrk="1" latinLnBrk="0" hangingPunct="1">
              <a:lnSpc>
                <a:spcPct val="100000"/>
              </a:lnSpc>
              <a:spcBef>
                <a:spcPts val="0"/>
              </a:spcBef>
              <a:spcAft>
                <a:spcPts val="300"/>
              </a:spcAft>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67BDE17A-ACD1-4465-A139-5663887E448D}" type="datetime'''''''''''F''''i''''na''''n''''ci''''''''''ng'''''''''''">
              <a:rPr lang="en-US" altLang="en-US" sz="1200" smtClean="0">
                <a:cs typeface="+mn-cs"/>
              </a:rPr>
              <a:pPr>
                <a:spcBef>
                  <a:spcPct val="0"/>
                </a:spcBef>
                <a:spcAft>
                  <a:spcPct val="0"/>
                </a:spcAft>
              </a:pPr>
              <a:t>Financing</a:t>
            </a:fld>
            <a:endParaRPr lang="en-US" sz="1200">
              <a:cs typeface="+mn-cs"/>
            </a:endParaRPr>
          </a:p>
        </p:txBody>
      </p:sp>
      <p:sp>
        <p:nvSpPr>
          <p:cNvPr id="62" name="TextBox 61">
            <a:extLst>
              <a:ext uri="{FF2B5EF4-FFF2-40B4-BE49-F238E27FC236}">
                <a16:creationId xmlns:a16="http://schemas.microsoft.com/office/drawing/2014/main" id="{91B15825-6E04-3F5A-3F42-B14669AC606E}"/>
              </a:ext>
            </a:extLst>
          </p:cNvPr>
          <p:cNvSpPr txBox="1">
            <a:spLocks/>
          </p:cNvSpPr>
          <p:nvPr/>
        </p:nvSpPr>
        <p:spPr>
          <a:xfrm>
            <a:off x="558799" y="1159308"/>
            <a:ext cx="7092951" cy="261938"/>
          </a:xfrm>
          <a:prstGeom prst="rect">
            <a:avLst/>
          </a:prstGeom>
        </p:spPr>
        <p:txBody>
          <a:bodyPr vert="horz" wrap="square" lIns="0" tIns="0" rIns="0" bIns="0" rtlCol="0" anchor="ctr" anchorCtr="0">
            <a:no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228600" lvl="1" indent="-230400">
              <a:lnSpc>
                <a:spcPct val="100000"/>
              </a:lnSpc>
              <a:spcBef>
                <a:spcPts val="0"/>
              </a:spcBef>
              <a:spcAft>
                <a:spcPts val="300"/>
              </a:spcAft>
              <a:buSzPct val="110000"/>
              <a:buFont typeface="Wingdings" panose="05000000000000000000" pitchFamily="2" charset="2"/>
              <a:buChar char=""/>
              <a:defRPr lang="en-US" sz="1600" dirty="0"/>
            </a:lvl2pPr>
            <a:lvl3pPr marL="439200" lvl="2" indent="-208800">
              <a:lnSpc>
                <a:spcPct val="100000"/>
              </a:lnSpc>
              <a:spcBef>
                <a:spcPts val="0"/>
              </a:spcBef>
              <a:spcAft>
                <a:spcPts val="300"/>
              </a:spcAft>
              <a:buSzPct val="110000"/>
              <a:buFont typeface="Arial" panose="020B0604020202020204" pitchFamily="34" charset="0"/>
              <a:buChar char="‒"/>
              <a:defRPr lang="en-US" sz="1600" dirty="0"/>
            </a:lvl3pPr>
            <a:lvl4pPr marL="604800" lvl="3" indent="-154800">
              <a:lnSpc>
                <a:spcPct val="100000"/>
              </a:lnSpc>
              <a:spcBef>
                <a:spcPts val="0"/>
              </a:spcBef>
              <a:spcAft>
                <a:spcPts val="300"/>
              </a:spcAft>
              <a:buFont typeface="Arial" panose="020B0604020202020204" pitchFamily="34" charset="0"/>
              <a:buChar char="•"/>
              <a:defRPr lang="en-US" sz="1600" dirty="0"/>
            </a:lvl4pPr>
            <a:lvl5pPr marL="813600" lvl="4" indent="-147600">
              <a:lnSpc>
                <a:spcPct val="100000"/>
              </a:lnSpc>
              <a:spcBef>
                <a:spcPts val="0"/>
              </a:spcBef>
              <a:spcAft>
                <a:spcPts val="300"/>
              </a:spcAft>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Clr>
                <a:schemeClr val="tx1"/>
              </a:buClr>
            </a:pPr>
            <a:r>
              <a:rPr lang="en-US" b="1">
                <a:cs typeface="+mn-cs"/>
              </a:rPr>
              <a:t>LCOE of advanced nuclear given varying overnight capital costs, </a:t>
            </a:r>
            <a:r>
              <a:rPr lang="en-US">
                <a:cs typeface="+mn-cs"/>
              </a:rPr>
              <a:t>$/MWh</a:t>
            </a:r>
          </a:p>
        </p:txBody>
      </p:sp>
      <p:cxnSp>
        <p:nvCxnSpPr>
          <p:cNvPr id="63" name="Straight Connector 62">
            <a:extLst>
              <a:ext uri="{FF2B5EF4-FFF2-40B4-BE49-F238E27FC236}">
                <a16:creationId xmlns:a16="http://schemas.microsoft.com/office/drawing/2014/main" id="{F3EF12E8-EED7-D25E-F566-96623832B288}"/>
              </a:ext>
            </a:extLst>
          </p:cNvPr>
          <p:cNvCxnSpPr>
            <a:cxnSpLocks/>
          </p:cNvCxnSpPr>
          <p:nvPr/>
        </p:nvCxnSpPr>
        <p:spPr>
          <a:xfrm>
            <a:off x="554037" y="1449388"/>
            <a:ext cx="7186613" cy="0"/>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0973944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95CEAC-5659-0E16-FA0E-CF8F2C4E3B97}"/>
              </a:ext>
            </a:extLst>
          </p:cNvPr>
          <p:cNvSpPr>
            <a:spLocks noGrp="1"/>
          </p:cNvSpPr>
          <p:nvPr>
            <p:ph type="title"/>
          </p:nvPr>
        </p:nvSpPr>
        <p:spPr/>
        <p:txBody>
          <a:bodyPr/>
          <a:lstStyle/>
          <a:p>
            <a:r>
              <a:rPr lang="en-US"/>
              <a:t>Overview of today’s agenda</a:t>
            </a:r>
          </a:p>
        </p:txBody>
      </p:sp>
      <p:graphicFrame>
        <p:nvGraphicFramePr>
          <p:cNvPr id="7" name="Table 7">
            <a:extLst>
              <a:ext uri="{FF2B5EF4-FFF2-40B4-BE49-F238E27FC236}">
                <a16:creationId xmlns:a16="http://schemas.microsoft.com/office/drawing/2014/main" id="{DD755C4C-B5F9-9B5D-DEDD-63EBFB1CEBA8}"/>
              </a:ext>
            </a:extLst>
          </p:cNvPr>
          <p:cNvGraphicFramePr>
            <a:graphicFrameLocks noGrp="1"/>
          </p:cNvGraphicFramePr>
          <p:nvPr>
            <p:ph idx="1"/>
            <p:extLst>
              <p:ext uri="{D42A27DB-BD31-4B8C-83A1-F6EECF244321}">
                <p14:modId xmlns:p14="http://schemas.microsoft.com/office/powerpoint/2010/main" val="3431416061"/>
              </p:ext>
            </p:extLst>
          </p:nvPr>
        </p:nvGraphicFramePr>
        <p:xfrm>
          <a:off x="838201" y="1332210"/>
          <a:ext cx="10515599" cy="5120640"/>
        </p:xfrm>
        <a:graphic>
          <a:graphicData uri="http://schemas.openxmlformats.org/drawingml/2006/table">
            <a:tbl>
              <a:tblPr firstRow="1" bandRow="1">
                <a:tableStyleId>{5C22544A-7EE6-4342-B048-85BDC9FD1C3A}</a:tableStyleId>
              </a:tblPr>
              <a:tblGrid>
                <a:gridCol w="1873195">
                  <a:extLst>
                    <a:ext uri="{9D8B030D-6E8A-4147-A177-3AD203B41FA5}">
                      <a16:colId xmlns:a16="http://schemas.microsoft.com/office/drawing/2014/main" val="675780387"/>
                    </a:ext>
                  </a:extLst>
                </a:gridCol>
                <a:gridCol w="4639664">
                  <a:extLst>
                    <a:ext uri="{9D8B030D-6E8A-4147-A177-3AD203B41FA5}">
                      <a16:colId xmlns:a16="http://schemas.microsoft.com/office/drawing/2014/main" val="3743145616"/>
                    </a:ext>
                  </a:extLst>
                </a:gridCol>
                <a:gridCol w="4002740">
                  <a:extLst>
                    <a:ext uri="{9D8B030D-6E8A-4147-A177-3AD203B41FA5}">
                      <a16:colId xmlns:a16="http://schemas.microsoft.com/office/drawing/2014/main" val="939894831"/>
                    </a:ext>
                  </a:extLst>
                </a:gridCol>
              </a:tblGrid>
              <a:tr h="258136">
                <a:tc>
                  <a:txBody>
                    <a:bodyPr/>
                    <a:lstStyle/>
                    <a:p>
                      <a:r>
                        <a:rPr lang="en-US" sz="1200"/>
                        <a:t>Time</a:t>
                      </a:r>
                    </a:p>
                  </a:txBody>
                  <a:tcPr/>
                </a:tc>
                <a:tc>
                  <a:txBody>
                    <a:bodyPr/>
                    <a:lstStyle/>
                    <a:p>
                      <a:r>
                        <a:rPr lang="en-US" sz="1200"/>
                        <a:t>Topic</a:t>
                      </a:r>
                    </a:p>
                  </a:txBody>
                  <a:tcPr/>
                </a:tc>
                <a:tc>
                  <a:txBody>
                    <a:bodyPr/>
                    <a:lstStyle/>
                    <a:p>
                      <a:r>
                        <a:rPr lang="en-US" sz="1200"/>
                        <a:t>Presenter</a:t>
                      </a:r>
                    </a:p>
                  </a:txBody>
                  <a:tcPr/>
                </a:tc>
                <a:extLst>
                  <a:ext uri="{0D108BD9-81ED-4DB2-BD59-A6C34878D82A}">
                    <a16:rowId xmlns:a16="http://schemas.microsoft.com/office/drawing/2014/main" val="648170077"/>
                  </a:ext>
                </a:extLst>
              </a:tr>
              <a:tr h="438831">
                <a:tc>
                  <a:txBody>
                    <a:bodyPr/>
                    <a:lstStyle/>
                    <a:p>
                      <a:r>
                        <a:rPr lang="en-US" sz="1200"/>
                        <a:t>9:00 am</a:t>
                      </a:r>
                    </a:p>
                  </a:txBody>
                  <a:tcPr/>
                </a:tc>
                <a:tc>
                  <a:txBody>
                    <a:bodyPr/>
                    <a:lstStyle/>
                    <a:p>
                      <a:r>
                        <a:rPr lang="en-US" sz="1200"/>
                        <a:t>Welcome and Opening Remarks</a:t>
                      </a:r>
                    </a:p>
                  </a:txBody>
                  <a:tcPr/>
                </a:tc>
                <a:tc>
                  <a:txBody>
                    <a:bodyPr/>
                    <a:lstStyle/>
                    <a:p>
                      <a:r>
                        <a:rPr lang="en-US" sz="1200"/>
                        <a:t>William D. Magwood, Chair, NEAC</a:t>
                      </a:r>
                    </a:p>
                    <a:p>
                      <a:r>
                        <a:rPr lang="en-US" sz="1200"/>
                        <a:t>Dr. Kathryn Huff, Assistant Secretary</a:t>
                      </a:r>
                    </a:p>
                  </a:txBody>
                  <a:tcPr/>
                </a:tc>
                <a:extLst>
                  <a:ext uri="{0D108BD9-81ED-4DB2-BD59-A6C34878D82A}">
                    <a16:rowId xmlns:a16="http://schemas.microsoft.com/office/drawing/2014/main" val="2279736020"/>
                  </a:ext>
                </a:extLst>
              </a:tr>
              <a:tr h="258136">
                <a:tc>
                  <a:txBody>
                    <a:bodyPr/>
                    <a:lstStyle/>
                    <a:p>
                      <a:r>
                        <a:rPr lang="en-US" sz="1200"/>
                        <a:t>9:30 am</a:t>
                      </a:r>
                    </a:p>
                  </a:txBody>
                  <a:tcPr/>
                </a:tc>
                <a:tc>
                  <a:txBody>
                    <a:bodyPr/>
                    <a:lstStyle/>
                    <a:p>
                      <a:r>
                        <a:rPr lang="en-US" sz="1200"/>
                        <a:t>Office of Nuclear Energy Update</a:t>
                      </a:r>
                    </a:p>
                  </a:txBody>
                  <a:tcPr/>
                </a:tc>
                <a:tc>
                  <a:txBody>
                    <a:bodyPr/>
                    <a:lstStyle/>
                    <a:p>
                      <a:r>
                        <a:rPr lang="en-US" sz="1200"/>
                        <a:t>Dr. Kathryn Huff, Assistant Secretary</a:t>
                      </a:r>
                    </a:p>
                  </a:txBody>
                  <a:tcPr/>
                </a:tc>
                <a:extLst>
                  <a:ext uri="{0D108BD9-81ED-4DB2-BD59-A6C34878D82A}">
                    <a16:rowId xmlns:a16="http://schemas.microsoft.com/office/drawing/2014/main" val="2790947008"/>
                  </a:ext>
                </a:extLst>
              </a:tr>
              <a:tr h="258136">
                <a:tc>
                  <a:txBody>
                    <a:bodyPr/>
                    <a:lstStyle/>
                    <a:p>
                      <a:r>
                        <a:rPr lang="en-US" sz="1200"/>
                        <a:t>9:40 am</a:t>
                      </a:r>
                    </a:p>
                  </a:txBody>
                  <a:tcPr/>
                </a:tc>
                <a:tc>
                  <a:txBody>
                    <a:bodyPr/>
                    <a:lstStyle/>
                    <a:p>
                      <a:r>
                        <a:rPr lang="en-US" sz="1200"/>
                        <a:t>Briefing on Nuclear Energy Liftoff reports</a:t>
                      </a:r>
                    </a:p>
                  </a:txBody>
                  <a:tcPr/>
                </a:tc>
                <a:tc>
                  <a:txBody>
                    <a:bodyPr/>
                    <a:lstStyle/>
                    <a:p>
                      <a:r>
                        <a:rPr lang="en-US" sz="1200"/>
                        <a:t>Julie </a:t>
                      </a:r>
                      <a:r>
                        <a:rPr lang="en-US" sz="1200" err="1"/>
                        <a:t>Kozeracki</a:t>
                      </a:r>
                      <a:r>
                        <a:rPr lang="en-US" sz="1200"/>
                        <a:t>, Senior Advisor, LPO</a:t>
                      </a:r>
                    </a:p>
                  </a:txBody>
                  <a:tcPr/>
                </a:tc>
                <a:extLst>
                  <a:ext uri="{0D108BD9-81ED-4DB2-BD59-A6C34878D82A}">
                    <a16:rowId xmlns:a16="http://schemas.microsoft.com/office/drawing/2014/main" val="3036609475"/>
                  </a:ext>
                </a:extLst>
              </a:tr>
              <a:tr h="258136">
                <a:tc>
                  <a:txBody>
                    <a:bodyPr/>
                    <a:lstStyle/>
                    <a:p>
                      <a:r>
                        <a:rPr lang="en-US" sz="1200"/>
                        <a:t>10:15 am</a:t>
                      </a:r>
                    </a:p>
                  </a:txBody>
                  <a:tcPr/>
                </a:tc>
                <a:tc>
                  <a:txBody>
                    <a:bodyPr/>
                    <a:lstStyle/>
                    <a:p>
                      <a:r>
                        <a:rPr lang="en-US" sz="1200" i="1"/>
                        <a:t>Break</a:t>
                      </a:r>
                    </a:p>
                  </a:txBody>
                  <a:tcPr/>
                </a:tc>
                <a:tc>
                  <a:txBody>
                    <a:bodyPr/>
                    <a:lstStyle/>
                    <a:p>
                      <a:endParaRPr lang="en-US" sz="1200"/>
                    </a:p>
                  </a:txBody>
                  <a:tcPr/>
                </a:tc>
                <a:extLst>
                  <a:ext uri="{0D108BD9-81ED-4DB2-BD59-A6C34878D82A}">
                    <a16:rowId xmlns:a16="http://schemas.microsoft.com/office/drawing/2014/main" val="3921199463"/>
                  </a:ext>
                </a:extLst>
              </a:tr>
              <a:tr h="258136">
                <a:tc>
                  <a:txBody>
                    <a:bodyPr/>
                    <a:lstStyle/>
                    <a:p>
                      <a:r>
                        <a:rPr lang="en-US" sz="1200"/>
                        <a:t>10:25 am</a:t>
                      </a:r>
                    </a:p>
                  </a:txBody>
                  <a:tcPr/>
                </a:tc>
                <a:tc>
                  <a:txBody>
                    <a:bodyPr/>
                    <a:lstStyle/>
                    <a:p>
                      <a:r>
                        <a:rPr lang="en-US" sz="1200"/>
                        <a:t>Briefing on National Academies Advanced Reactor Report</a:t>
                      </a:r>
                    </a:p>
                  </a:txBody>
                  <a:tcPr/>
                </a:tc>
                <a:tc>
                  <a:txBody>
                    <a:bodyPr/>
                    <a:lstStyle/>
                    <a:p>
                      <a:r>
                        <a:rPr lang="en-US" sz="1200"/>
                        <a:t>Dr. Michael Ford, ALD for Engineering, PPPL</a:t>
                      </a:r>
                    </a:p>
                  </a:txBody>
                  <a:tcPr/>
                </a:tc>
                <a:extLst>
                  <a:ext uri="{0D108BD9-81ED-4DB2-BD59-A6C34878D82A}">
                    <a16:rowId xmlns:a16="http://schemas.microsoft.com/office/drawing/2014/main" val="596062294"/>
                  </a:ext>
                </a:extLst>
              </a:tr>
              <a:tr h="258136">
                <a:tc>
                  <a:txBody>
                    <a:bodyPr/>
                    <a:lstStyle/>
                    <a:p>
                      <a:r>
                        <a:rPr lang="en-US" sz="1200"/>
                        <a:t>10:55 am</a:t>
                      </a:r>
                    </a:p>
                  </a:txBody>
                  <a:tcPr/>
                </a:tc>
                <a:tc>
                  <a:txBody>
                    <a:bodyPr/>
                    <a:lstStyle/>
                    <a:p>
                      <a:r>
                        <a:rPr lang="en-US" sz="1200"/>
                        <a:t>Briefing on National Academies Fuel Cycle Report</a:t>
                      </a:r>
                    </a:p>
                  </a:txBody>
                  <a:tcPr/>
                </a:tc>
                <a:tc>
                  <a:txBody>
                    <a:bodyPr/>
                    <a:lstStyle/>
                    <a:p>
                      <a:r>
                        <a:rPr lang="en-US" sz="1200"/>
                        <a:t>Paul Dickman, Committee Member, National Academies</a:t>
                      </a:r>
                    </a:p>
                  </a:txBody>
                  <a:tcPr/>
                </a:tc>
                <a:extLst>
                  <a:ext uri="{0D108BD9-81ED-4DB2-BD59-A6C34878D82A}">
                    <a16:rowId xmlns:a16="http://schemas.microsoft.com/office/drawing/2014/main" val="3534255475"/>
                  </a:ext>
                </a:extLst>
              </a:tr>
              <a:tr h="258136">
                <a:tc>
                  <a:txBody>
                    <a:bodyPr/>
                    <a:lstStyle/>
                    <a:p>
                      <a:r>
                        <a:rPr lang="en-US" sz="1200"/>
                        <a:t>11:25 am</a:t>
                      </a:r>
                    </a:p>
                  </a:txBody>
                  <a:tcPr/>
                </a:tc>
                <a:tc>
                  <a:txBody>
                    <a:bodyPr/>
                    <a:lstStyle/>
                    <a:p>
                      <a:r>
                        <a:rPr lang="en-US" sz="1200" i="1"/>
                        <a:t>Break</a:t>
                      </a:r>
                    </a:p>
                  </a:txBody>
                  <a:tcPr/>
                </a:tc>
                <a:tc>
                  <a:txBody>
                    <a:bodyPr/>
                    <a:lstStyle/>
                    <a:p>
                      <a:endParaRPr lang="en-US" sz="1200"/>
                    </a:p>
                  </a:txBody>
                  <a:tcPr/>
                </a:tc>
                <a:extLst>
                  <a:ext uri="{0D108BD9-81ED-4DB2-BD59-A6C34878D82A}">
                    <a16:rowId xmlns:a16="http://schemas.microsoft.com/office/drawing/2014/main" val="2712253197"/>
                  </a:ext>
                </a:extLst>
              </a:tr>
              <a:tr h="258136">
                <a:tc>
                  <a:txBody>
                    <a:bodyPr/>
                    <a:lstStyle/>
                    <a:p>
                      <a:r>
                        <a:rPr lang="en-US" sz="1200"/>
                        <a:t>11:40 am</a:t>
                      </a:r>
                    </a:p>
                  </a:txBody>
                  <a:tcPr/>
                </a:tc>
                <a:tc>
                  <a:txBody>
                    <a:bodyPr/>
                    <a:lstStyle/>
                    <a:p>
                      <a:r>
                        <a:rPr lang="en-US" sz="1200"/>
                        <a:t>Physical Infrastructure Update</a:t>
                      </a:r>
                    </a:p>
                  </a:txBody>
                  <a:tcPr/>
                </a:tc>
                <a:tc>
                  <a:txBody>
                    <a:bodyPr/>
                    <a:lstStyle/>
                    <a:p>
                      <a:r>
                        <a:rPr lang="en-US" sz="1200"/>
                        <a:t>Physical Infrastructure Subcommittee</a:t>
                      </a:r>
                    </a:p>
                  </a:txBody>
                  <a:tcPr/>
                </a:tc>
                <a:extLst>
                  <a:ext uri="{0D108BD9-81ED-4DB2-BD59-A6C34878D82A}">
                    <a16:rowId xmlns:a16="http://schemas.microsoft.com/office/drawing/2014/main" val="3220762686"/>
                  </a:ext>
                </a:extLst>
              </a:tr>
              <a:tr h="258136">
                <a:tc>
                  <a:txBody>
                    <a:bodyPr/>
                    <a:lstStyle/>
                    <a:p>
                      <a:r>
                        <a:rPr lang="en-US" sz="1200"/>
                        <a:t>12:15 pm</a:t>
                      </a:r>
                    </a:p>
                  </a:txBody>
                  <a:tcPr/>
                </a:tc>
                <a:tc>
                  <a:txBody>
                    <a:bodyPr/>
                    <a:lstStyle/>
                    <a:p>
                      <a:r>
                        <a:rPr lang="en-US" sz="1200"/>
                        <a:t>Consent-based Siting Update</a:t>
                      </a:r>
                    </a:p>
                  </a:txBody>
                  <a:tcPr/>
                </a:tc>
                <a:tc>
                  <a:txBody>
                    <a:bodyPr/>
                    <a:lstStyle/>
                    <a:p>
                      <a:r>
                        <a:rPr lang="en-US" sz="1200"/>
                        <a:t>Consent-based Siting Subcommittee</a:t>
                      </a:r>
                    </a:p>
                  </a:txBody>
                  <a:tcPr/>
                </a:tc>
                <a:extLst>
                  <a:ext uri="{0D108BD9-81ED-4DB2-BD59-A6C34878D82A}">
                    <a16:rowId xmlns:a16="http://schemas.microsoft.com/office/drawing/2014/main" val="1736906778"/>
                  </a:ext>
                </a:extLst>
              </a:tr>
              <a:tr h="258136">
                <a:tc>
                  <a:txBody>
                    <a:bodyPr/>
                    <a:lstStyle/>
                    <a:p>
                      <a:r>
                        <a:rPr lang="en-US" sz="1200"/>
                        <a:t>12:50 pm</a:t>
                      </a:r>
                    </a:p>
                  </a:txBody>
                  <a:tcPr/>
                </a:tc>
                <a:tc>
                  <a:txBody>
                    <a:bodyPr/>
                    <a:lstStyle/>
                    <a:p>
                      <a:r>
                        <a:rPr lang="en-US" sz="1200" i="1"/>
                        <a:t>Lunch</a:t>
                      </a:r>
                    </a:p>
                  </a:txBody>
                  <a:tcPr/>
                </a:tc>
                <a:tc>
                  <a:txBody>
                    <a:bodyPr/>
                    <a:lstStyle/>
                    <a:p>
                      <a:endParaRPr lang="en-US" sz="1200"/>
                    </a:p>
                  </a:txBody>
                  <a:tcPr/>
                </a:tc>
                <a:extLst>
                  <a:ext uri="{0D108BD9-81ED-4DB2-BD59-A6C34878D82A}">
                    <a16:rowId xmlns:a16="http://schemas.microsoft.com/office/drawing/2014/main" val="4136636143"/>
                  </a:ext>
                </a:extLst>
              </a:tr>
              <a:tr h="258136">
                <a:tc>
                  <a:txBody>
                    <a:bodyPr/>
                    <a:lstStyle/>
                    <a:p>
                      <a:r>
                        <a:rPr lang="en-US" sz="1200"/>
                        <a:t>1:45 pm</a:t>
                      </a:r>
                    </a:p>
                  </a:txBody>
                  <a:tcPr/>
                </a:tc>
                <a:tc>
                  <a:txBody>
                    <a:bodyPr/>
                    <a:lstStyle/>
                    <a:p>
                      <a:r>
                        <a:rPr lang="en-US" sz="1200"/>
                        <a:t>Workforce of the Future Update</a:t>
                      </a:r>
                    </a:p>
                  </a:txBody>
                  <a:tcPr/>
                </a:tc>
                <a:tc>
                  <a:txBody>
                    <a:bodyPr/>
                    <a:lstStyle/>
                    <a:p>
                      <a:r>
                        <a:rPr lang="en-US" sz="1200"/>
                        <a:t>Workforce of the Future Subcommittee</a:t>
                      </a:r>
                    </a:p>
                  </a:txBody>
                  <a:tcPr/>
                </a:tc>
                <a:extLst>
                  <a:ext uri="{0D108BD9-81ED-4DB2-BD59-A6C34878D82A}">
                    <a16:rowId xmlns:a16="http://schemas.microsoft.com/office/drawing/2014/main" val="4094079508"/>
                  </a:ext>
                </a:extLst>
              </a:tr>
              <a:tr h="258136">
                <a:tc>
                  <a:txBody>
                    <a:bodyPr/>
                    <a:lstStyle/>
                    <a:p>
                      <a:r>
                        <a:rPr lang="en-US" sz="1200"/>
                        <a:t>2:20 pm</a:t>
                      </a:r>
                    </a:p>
                  </a:txBody>
                  <a:tcPr/>
                </a:tc>
                <a:tc>
                  <a:txBody>
                    <a:bodyPr/>
                    <a:lstStyle/>
                    <a:p>
                      <a:r>
                        <a:rPr lang="en-US" sz="1200" i="1"/>
                        <a:t>Break</a:t>
                      </a:r>
                    </a:p>
                  </a:txBody>
                  <a:tcPr/>
                </a:tc>
                <a:tc>
                  <a:txBody>
                    <a:bodyPr/>
                    <a:lstStyle/>
                    <a:p>
                      <a:endParaRPr lang="en-US" sz="1200"/>
                    </a:p>
                  </a:txBody>
                  <a:tcPr/>
                </a:tc>
                <a:extLst>
                  <a:ext uri="{0D108BD9-81ED-4DB2-BD59-A6C34878D82A}">
                    <a16:rowId xmlns:a16="http://schemas.microsoft.com/office/drawing/2014/main" val="1715252944"/>
                  </a:ext>
                </a:extLst>
              </a:tr>
              <a:tr h="258136">
                <a:tc>
                  <a:txBody>
                    <a:bodyPr/>
                    <a:lstStyle/>
                    <a:p>
                      <a:r>
                        <a:rPr lang="en-US" sz="1200"/>
                        <a:t>2:30 pm</a:t>
                      </a:r>
                    </a:p>
                  </a:txBody>
                  <a:tcPr/>
                </a:tc>
                <a:tc>
                  <a:txBody>
                    <a:bodyPr/>
                    <a:lstStyle/>
                    <a:p>
                      <a:r>
                        <a:rPr lang="en-US" sz="1200"/>
                        <a:t>International Engagement Update</a:t>
                      </a:r>
                    </a:p>
                  </a:txBody>
                  <a:tcPr/>
                </a:tc>
                <a:tc>
                  <a:txBody>
                    <a:bodyPr/>
                    <a:lstStyle/>
                    <a:p>
                      <a:r>
                        <a:rPr lang="en-US" sz="1200"/>
                        <a:t>International Engagement Subcommittee</a:t>
                      </a:r>
                    </a:p>
                  </a:txBody>
                  <a:tcPr/>
                </a:tc>
                <a:extLst>
                  <a:ext uri="{0D108BD9-81ED-4DB2-BD59-A6C34878D82A}">
                    <a16:rowId xmlns:a16="http://schemas.microsoft.com/office/drawing/2014/main" val="2888868488"/>
                  </a:ext>
                </a:extLst>
              </a:tr>
              <a:tr h="258136">
                <a:tc>
                  <a:txBody>
                    <a:bodyPr/>
                    <a:lstStyle/>
                    <a:p>
                      <a:r>
                        <a:rPr lang="en-US" sz="1200"/>
                        <a:t>3:05 pm</a:t>
                      </a:r>
                    </a:p>
                  </a:txBody>
                  <a:tcPr/>
                </a:tc>
                <a:tc>
                  <a:txBody>
                    <a:bodyPr/>
                    <a:lstStyle/>
                    <a:p>
                      <a:r>
                        <a:rPr lang="en-US" sz="1200" i="1"/>
                        <a:t>Break</a:t>
                      </a:r>
                    </a:p>
                  </a:txBody>
                  <a:tcPr/>
                </a:tc>
                <a:tc>
                  <a:txBody>
                    <a:bodyPr/>
                    <a:lstStyle/>
                    <a:p>
                      <a:endParaRPr lang="en-US" sz="1200"/>
                    </a:p>
                  </a:txBody>
                  <a:tcPr/>
                </a:tc>
                <a:extLst>
                  <a:ext uri="{0D108BD9-81ED-4DB2-BD59-A6C34878D82A}">
                    <a16:rowId xmlns:a16="http://schemas.microsoft.com/office/drawing/2014/main" val="3168821482"/>
                  </a:ext>
                </a:extLst>
              </a:tr>
              <a:tr h="258136">
                <a:tc>
                  <a:txBody>
                    <a:bodyPr/>
                    <a:lstStyle/>
                    <a:p>
                      <a:r>
                        <a:rPr lang="en-US" sz="1200"/>
                        <a:t>3:15 pm</a:t>
                      </a:r>
                    </a:p>
                  </a:txBody>
                  <a:tcPr/>
                </a:tc>
                <a:tc>
                  <a:txBody>
                    <a:bodyPr/>
                    <a:lstStyle/>
                    <a:p>
                      <a:r>
                        <a:rPr lang="en-US" sz="1200"/>
                        <a:t>Public Comment</a:t>
                      </a:r>
                    </a:p>
                  </a:txBody>
                  <a:tcPr/>
                </a:tc>
                <a:tc>
                  <a:txBody>
                    <a:bodyPr/>
                    <a:lstStyle/>
                    <a:p>
                      <a:r>
                        <a:rPr lang="en-US" sz="1200"/>
                        <a:t>Public Attendees</a:t>
                      </a:r>
                    </a:p>
                  </a:txBody>
                  <a:tcPr/>
                </a:tc>
                <a:extLst>
                  <a:ext uri="{0D108BD9-81ED-4DB2-BD59-A6C34878D82A}">
                    <a16:rowId xmlns:a16="http://schemas.microsoft.com/office/drawing/2014/main" val="3726737054"/>
                  </a:ext>
                </a:extLst>
              </a:tr>
              <a:tr h="258136">
                <a:tc>
                  <a:txBody>
                    <a:bodyPr/>
                    <a:lstStyle/>
                    <a:p>
                      <a:r>
                        <a:rPr lang="en-US" sz="1200"/>
                        <a:t>3:35 pm</a:t>
                      </a:r>
                    </a:p>
                  </a:txBody>
                  <a:tcPr/>
                </a:tc>
                <a:tc>
                  <a:txBody>
                    <a:bodyPr/>
                    <a:lstStyle/>
                    <a:p>
                      <a:r>
                        <a:rPr lang="en-US" sz="1200"/>
                        <a:t>Closing Remarks</a:t>
                      </a:r>
                    </a:p>
                  </a:txBody>
                  <a:tcPr/>
                </a:tc>
                <a:tc>
                  <a:txBody>
                    <a:bodyPr/>
                    <a:lstStyle/>
                    <a:p>
                      <a:r>
                        <a:rPr lang="en-US" sz="1200"/>
                        <a:t>Dr. Kathryn Huff</a:t>
                      </a:r>
                    </a:p>
                  </a:txBody>
                  <a:tcPr/>
                </a:tc>
                <a:extLst>
                  <a:ext uri="{0D108BD9-81ED-4DB2-BD59-A6C34878D82A}">
                    <a16:rowId xmlns:a16="http://schemas.microsoft.com/office/drawing/2014/main" val="2352085285"/>
                  </a:ext>
                </a:extLst>
              </a:tr>
              <a:tr h="258136">
                <a:tc>
                  <a:txBody>
                    <a:bodyPr/>
                    <a:lstStyle/>
                    <a:p>
                      <a:r>
                        <a:rPr lang="en-US" sz="1200"/>
                        <a:t>4:00 pm</a:t>
                      </a:r>
                    </a:p>
                  </a:txBody>
                  <a:tcPr/>
                </a:tc>
                <a:tc>
                  <a:txBody>
                    <a:bodyPr/>
                    <a:lstStyle/>
                    <a:p>
                      <a:r>
                        <a:rPr lang="en-US" sz="1200"/>
                        <a:t>Adjourn</a:t>
                      </a:r>
                    </a:p>
                  </a:txBody>
                  <a:tcPr/>
                </a:tc>
                <a:tc>
                  <a:txBody>
                    <a:bodyPr/>
                    <a:lstStyle/>
                    <a:p>
                      <a:endParaRPr lang="en-US" sz="1200"/>
                    </a:p>
                  </a:txBody>
                  <a:tcPr/>
                </a:tc>
                <a:extLst>
                  <a:ext uri="{0D108BD9-81ED-4DB2-BD59-A6C34878D82A}">
                    <a16:rowId xmlns:a16="http://schemas.microsoft.com/office/drawing/2014/main" val="1698930621"/>
                  </a:ext>
                </a:extLst>
              </a:tr>
            </a:tbl>
          </a:graphicData>
        </a:graphic>
      </p:graphicFrame>
      <p:sp>
        <p:nvSpPr>
          <p:cNvPr id="6" name="Slide Number Placeholder 5">
            <a:extLst>
              <a:ext uri="{FF2B5EF4-FFF2-40B4-BE49-F238E27FC236}">
                <a16:creationId xmlns:a16="http://schemas.microsoft.com/office/drawing/2014/main" id="{BBA3D5F8-AC6E-CDAC-395C-B81E435F4E73}"/>
              </a:ext>
            </a:extLst>
          </p:cNvPr>
          <p:cNvSpPr>
            <a:spLocks noGrp="1"/>
          </p:cNvSpPr>
          <p:nvPr>
            <p:ph type="sldNum" sz="quarter" idx="10"/>
          </p:nvPr>
        </p:nvSpPr>
        <p:spPr/>
        <p:txBody>
          <a:bodyPr/>
          <a:lstStyle/>
          <a:p>
            <a:pPr>
              <a:defRPr/>
            </a:pPr>
            <a:fld id="{3C280D7F-3732-47E6-86F4-6F2C48F875FA}" type="slidenum">
              <a:rPr lang="en-US" smtClean="0"/>
              <a:pPr>
                <a:defRPr/>
              </a:pPr>
              <a:t>2</a:t>
            </a:fld>
            <a:endParaRPr lang="en-US"/>
          </a:p>
        </p:txBody>
      </p:sp>
    </p:spTree>
    <p:extLst>
      <p:ext uri="{BB962C8B-B14F-4D97-AF65-F5344CB8AC3E}">
        <p14:creationId xmlns:p14="http://schemas.microsoft.com/office/powerpoint/2010/main" val="161761552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71DE96E-CE74-75B4-BC9E-5130DEE61620}"/>
              </a:ext>
            </a:extLst>
          </p:cNvPr>
          <p:cNvSpPr>
            <a:spLocks noGrp="1"/>
          </p:cNvSpPr>
          <p:nvPr>
            <p:ph type="title"/>
          </p:nvPr>
        </p:nvSpPr>
        <p:spPr/>
        <p:txBody>
          <a:bodyPr/>
          <a:lstStyle/>
          <a:p>
            <a:r>
              <a:rPr lang="en-US" sz="2400" b="1">
                <a:effectLst/>
                <a:latin typeface="Arial" panose="020B0604020202020204" pitchFamily="34" charset="0"/>
                <a:ea typeface="Times New Roman" panose="02020603050405020304" pitchFamily="18" charset="0"/>
                <a:cs typeface="Times New Roman" panose="02020603050405020304" pitchFamily="18" charset="0"/>
              </a:rPr>
              <a:t>The IRA provides a powerful boost to nuclear power economics, but may not be sufficient to accelerate commitments for deployment at scale</a:t>
            </a:r>
            <a:endParaRPr lang="en-US"/>
          </a:p>
        </p:txBody>
      </p:sp>
      <p:graphicFrame>
        <p:nvGraphicFramePr>
          <p:cNvPr id="4" name="Chart 3">
            <a:extLst>
              <a:ext uri="{FF2B5EF4-FFF2-40B4-BE49-F238E27FC236}">
                <a16:creationId xmlns:a16="http://schemas.microsoft.com/office/drawing/2014/main" id="{50A4C51A-BBF7-E9F2-E8EF-6B4716C21A61}"/>
              </a:ext>
            </a:extLst>
          </p:cNvPr>
          <p:cNvGraphicFramePr/>
          <p:nvPr>
            <p:custDataLst>
              <p:tags r:id="rId1"/>
            </p:custDataLst>
            <p:extLst>
              <p:ext uri="{D42A27DB-BD31-4B8C-83A1-F6EECF244321}">
                <p14:modId xmlns:p14="http://schemas.microsoft.com/office/powerpoint/2010/main" val="3453480264"/>
              </p:ext>
            </p:extLst>
          </p:nvPr>
        </p:nvGraphicFramePr>
        <p:xfrm>
          <a:off x="874713" y="2141003"/>
          <a:ext cx="9050337" cy="2811462"/>
        </p:xfrm>
        <a:graphic>
          <a:graphicData uri="http://schemas.openxmlformats.org/drawingml/2006/chart">
            <c:chart xmlns:c="http://schemas.openxmlformats.org/drawingml/2006/chart" xmlns:r="http://schemas.openxmlformats.org/officeDocument/2006/relationships" r:id="rId57"/>
          </a:graphicData>
        </a:graphic>
      </p:graphicFrame>
      <p:sp>
        <p:nvSpPr>
          <p:cNvPr id="5" name="Text Placeholder 4">
            <a:extLst>
              <a:ext uri="{FF2B5EF4-FFF2-40B4-BE49-F238E27FC236}">
                <a16:creationId xmlns:a16="http://schemas.microsoft.com/office/drawing/2014/main" id="{9329EB0F-8EBA-31EF-890A-63A135BF4CB4}"/>
              </a:ext>
            </a:extLst>
          </p:cNvPr>
          <p:cNvSpPr>
            <a:spLocks noGrp="1"/>
          </p:cNvSpPr>
          <p:nvPr>
            <p:custDataLst>
              <p:tags r:id="rId2"/>
            </p:custDataLst>
          </p:nvPr>
        </p:nvSpPr>
        <p:spPr bwMode="gray">
          <a:xfrm>
            <a:off x="642938" y="4392078"/>
            <a:ext cx="19685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30400" algn="l" defTabSz="914400" rtl="0" eaLnBrk="1" latinLnBrk="0" hangingPunct="1">
              <a:lnSpc>
                <a:spcPct val="100000"/>
              </a:lnSpc>
              <a:spcBef>
                <a:spcPts val="0"/>
              </a:spcBef>
              <a:spcAft>
                <a:spcPts val="300"/>
              </a:spcAft>
              <a:buSzPct val="110000"/>
              <a:buFont typeface="Wingdings" panose="05000000000000000000" pitchFamily="2" charset="2"/>
              <a:buChar char=""/>
              <a:defRPr lang="en-US" sz="1600" kern="1200" dirty="0">
                <a:solidFill>
                  <a:schemeClr val="tx1"/>
                </a:solidFill>
                <a:latin typeface="+mn-lt"/>
                <a:ea typeface="+mn-ea"/>
                <a:cs typeface="+mn-cs"/>
              </a:defRPr>
            </a:lvl2pPr>
            <a:lvl3pPr marL="439200" indent="-208800" algn="l" defTabSz="914400" rtl="0" eaLnBrk="1" latinLnBrk="0" hangingPunct="1">
              <a:lnSpc>
                <a:spcPct val="100000"/>
              </a:lnSpc>
              <a:spcBef>
                <a:spcPts val="0"/>
              </a:spcBef>
              <a:spcAft>
                <a:spcPts val="300"/>
              </a:spcAft>
              <a:buSzPct val="110000"/>
              <a:buFont typeface="Arial" panose="020B0604020202020204" pitchFamily="34" charset="0"/>
              <a:buChar char="‒"/>
              <a:defRPr lang="en-US" sz="1600" kern="1200" dirty="0">
                <a:solidFill>
                  <a:schemeClr val="tx1"/>
                </a:solidFill>
                <a:latin typeface="+mn-lt"/>
                <a:ea typeface="+mn-ea"/>
                <a:cs typeface="+mn-cs"/>
              </a:defRPr>
            </a:lvl3pPr>
            <a:lvl4pPr marL="604800" indent="-154800" algn="l" defTabSz="914400" rtl="0" eaLnBrk="1" latinLnBrk="0" hangingPunct="1">
              <a:lnSpc>
                <a:spcPct val="100000"/>
              </a:lnSpc>
              <a:spcBef>
                <a:spcPts val="0"/>
              </a:spcBef>
              <a:spcAft>
                <a:spcPts val="300"/>
              </a:spcAft>
              <a:buFont typeface="Arial" panose="020B0604020202020204" pitchFamily="34" charset="0"/>
              <a:buChar char="•"/>
              <a:defRPr lang="en-US" sz="1600" kern="1200" dirty="0">
                <a:solidFill>
                  <a:schemeClr val="tx1"/>
                </a:solidFill>
                <a:latin typeface="+mn-lt"/>
                <a:ea typeface="+mn-ea"/>
                <a:cs typeface="+mn-cs"/>
              </a:defRPr>
            </a:lvl4pPr>
            <a:lvl5pPr marL="813600" indent="-147600" algn="l" defTabSz="914400" rtl="0" eaLnBrk="1" latinLnBrk="0" hangingPunct="1">
              <a:lnSpc>
                <a:spcPct val="100000"/>
              </a:lnSpc>
              <a:spcBef>
                <a:spcPts val="0"/>
              </a:spcBef>
              <a:spcAft>
                <a:spcPts val="300"/>
              </a:spcAft>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spcBef>
                <a:spcPct val="0"/>
              </a:spcBef>
              <a:spcAft>
                <a:spcPct val="0"/>
              </a:spcAft>
            </a:pPr>
            <a:fld id="{CB1E70CA-9270-4C0C-BAE3-24732B0F672F}" type="datetime'''''''''''''''''''''''''''''''''''2''''''0'''''''''''''''">
              <a:rPr lang="en-US" altLang="en-US" sz="1400" smtClean="0">
                <a:effectLst/>
                <a:cs typeface="+mn-cs"/>
              </a:rPr>
              <a:pPr algn="r">
                <a:spcBef>
                  <a:spcPct val="0"/>
                </a:spcBef>
                <a:spcAft>
                  <a:spcPct val="0"/>
                </a:spcAft>
              </a:pPr>
              <a:t>20</a:t>
            </a:fld>
            <a:endParaRPr lang="en-US" sz="1400">
              <a:cs typeface="+mn-cs"/>
            </a:endParaRPr>
          </a:p>
        </p:txBody>
      </p:sp>
      <p:sp>
        <p:nvSpPr>
          <p:cNvPr id="6" name="Text Placeholder 4">
            <a:extLst>
              <a:ext uri="{FF2B5EF4-FFF2-40B4-BE49-F238E27FC236}">
                <a16:creationId xmlns:a16="http://schemas.microsoft.com/office/drawing/2014/main" id="{F2A9F25B-45EC-DC31-A765-235286108D74}"/>
              </a:ext>
            </a:extLst>
          </p:cNvPr>
          <p:cNvSpPr>
            <a:spLocks noGrp="1"/>
          </p:cNvSpPr>
          <p:nvPr>
            <p:custDataLst>
              <p:tags r:id="rId3"/>
            </p:custDataLst>
          </p:nvPr>
        </p:nvSpPr>
        <p:spPr bwMode="gray">
          <a:xfrm>
            <a:off x="544513" y="2536290"/>
            <a:ext cx="29527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30400" algn="l" defTabSz="914400" rtl="0" eaLnBrk="1" latinLnBrk="0" hangingPunct="1">
              <a:lnSpc>
                <a:spcPct val="100000"/>
              </a:lnSpc>
              <a:spcBef>
                <a:spcPts val="0"/>
              </a:spcBef>
              <a:spcAft>
                <a:spcPts val="300"/>
              </a:spcAft>
              <a:buSzPct val="110000"/>
              <a:buFont typeface="Wingdings" panose="05000000000000000000" pitchFamily="2" charset="2"/>
              <a:buChar char=""/>
              <a:defRPr lang="en-US" sz="1600" kern="1200" dirty="0">
                <a:solidFill>
                  <a:schemeClr val="tx1"/>
                </a:solidFill>
                <a:latin typeface="+mn-lt"/>
                <a:ea typeface="+mn-ea"/>
                <a:cs typeface="+mn-cs"/>
              </a:defRPr>
            </a:lvl2pPr>
            <a:lvl3pPr marL="439200" indent="-208800" algn="l" defTabSz="914400" rtl="0" eaLnBrk="1" latinLnBrk="0" hangingPunct="1">
              <a:lnSpc>
                <a:spcPct val="100000"/>
              </a:lnSpc>
              <a:spcBef>
                <a:spcPts val="0"/>
              </a:spcBef>
              <a:spcAft>
                <a:spcPts val="300"/>
              </a:spcAft>
              <a:buSzPct val="110000"/>
              <a:buFont typeface="Arial" panose="020B0604020202020204" pitchFamily="34" charset="0"/>
              <a:buChar char="‒"/>
              <a:defRPr lang="en-US" sz="1600" kern="1200" dirty="0">
                <a:solidFill>
                  <a:schemeClr val="tx1"/>
                </a:solidFill>
                <a:latin typeface="+mn-lt"/>
                <a:ea typeface="+mn-ea"/>
                <a:cs typeface="+mn-cs"/>
              </a:defRPr>
            </a:lvl3pPr>
            <a:lvl4pPr marL="604800" indent="-154800" algn="l" defTabSz="914400" rtl="0" eaLnBrk="1" latinLnBrk="0" hangingPunct="1">
              <a:lnSpc>
                <a:spcPct val="100000"/>
              </a:lnSpc>
              <a:spcBef>
                <a:spcPts val="0"/>
              </a:spcBef>
              <a:spcAft>
                <a:spcPts val="300"/>
              </a:spcAft>
              <a:buFont typeface="Arial" panose="020B0604020202020204" pitchFamily="34" charset="0"/>
              <a:buChar char="•"/>
              <a:defRPr lang="en-US" sz="1600" kern="1200" dirty="0">
                <a:solidFill>
                  <a:schemeClr val="tx1"/>
                </a:solidFill>
                <a:latin typeface="+mn-lt"/>
                <a:ea typeface="+mn-ea"/>
                <a:cs typeface="+mn-cs"/>
              </a:defRPr>
            </a:lvl4pPr>
            <a:lvl5pPr marL="813600" indent="-147600" algn="l" defTabSz="914400" rtl="0" eaLnBrk="1" latinLnBrk="0" hangingPunct="1">
              <a:lnSpc>
                <a:spcPct val="100000"/>
              </a:lnSpc>
              <a:spcBef>
                <a:spcPts val="0"/>
              </a:spcBef>
              <a:spcAft>
                <a:spcPts val="300"/>
              </a:spcAft>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spcBef>
                <a:spcPct val="0"/>
              </a:spcBef>
              <a:spcAft>
                <a:spcPct val="0"/>
              </a:spcAft>
            </a:pPr>
            <a:fld id="{0CE92CFF-78B1-4203-80EB-54BEB2EE5CD1}" type="datetime'''1''''''''''''''''''''''''''''''''''''''2''0'''''''''''''''''">
              <a:rPr lang="en-US" altLang="en-US" sz="1400" smtClean="0">
                <a:effectLst/>
                <a:cs typeface="+mn-cs"/>
              </a:rPr>
              <a:pPr algn="r">
                <a:spcBef>
                  <a:spcPct val="0"/>
                </a:spcBef>
                <a:spcAft>
                  <a:spcPct val="0"/>
                </a:spcAft>
              </a:pPr>
              <a:t>120</a:t>
            </a:fld>
            <a:endParaRPr lang="en-US" sz="1400">
              <a:cs typeface="+mn-cs"/>
            </a:endParaRPr>
          </a:p>
        </p:txBody>
      </p:sp>
      <p:sp>
        <p:nvSpPr>
          <p:cNvPr id="7" name="Text Placeholder 4">
            <a:extLst>
              <a:ext uri="{FF2B5EF4-FFF2-40B4-BE49-F238E27FC236}">
                <a16:creationId xmlns:a16="http://schemas.microsoft.com/office/drawing/2014/main" id="{4BFFB3C9-7648-81B1-83DA-5A0D602BDE75}"/>
              </a:ext>
            </a:extLst>
          </p:cNvPr>
          <p:cNvSpPr>
            <a:spLocks noGrp="1"/>
          </p:cNvSpPr>
          <p:nvPr>
            <p:custDataLst>
              <p:tags r:id="rId4"/>
            </p:custDataLst>
          </p:nvPr>
        </p:nvSpPr>
        <p:spPr bwMode="gray">
          <a:xfrm>
            <a:off x="544513" y="2907765"/>
            <a:ext cx="29527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30400" algn="l" defTabSz="914400" rtl="0" eaLnBrk="1" latinLnBrk="0" hangingPunct="1">
              <a:lnSpc>
                <a:spcPct val="100000"/>
              </a:lnSpc>
              <a:spcBef>
                <a:spcPts val="0"/>
              </a:spcBef>
              <a:spcAft>
                <a:spcPts val="300"/>
              </a:spcAft>
              <a:buSzPct val="110000"/>
              <a:buFont typeface="Wingdings" panose="05000000000000000000" pitchFamily="2" charset="2"/>
              <a:buChar char=""/>
              <a:defRPr lang="en-US" sz="1600" kern="1200" dirty="0">
                <a:solidFill>
                  <a:schemeClr val="tx1"/>
                </a:solidFill>
                <a:latin typeface="+mn-lt"/>
                <a:ea typeface="+mn-ea"/>
                <a:cs typeface="+mn-cs"/>
              </a:defRPr>
            </a:lvl2pPr>
            <a:lvl3pPr marL="439200" indent="-208800" algn="l" defTabSz="914400" rtl="0" eaLnBrk="1" latinLnBrk="0" hangingPunct="1">
              <a:lnSpc>
                <a:spcPct val="100000"/>
              </a:lnSpc>
              <a:spcBef>
                <a:spcPts val="0"/>
              </a:spcBef>
              <a:spcAft>
                <a:spcPts val="300"/>
              </a:spcAft>
              <a:buSzPct val="110000"/>
              <a:buFont typeface="Arial" panose="020B0604020202020204" pitchFamily="34" charset="0"/>
              <a:buChar char="‒"/>
              <a:defRPr lang="en-US" sz="1600" kern="1200" dirty="0">
                <a:solidFill>
                  <a:schemeClr val="tx1"/>
                </a:solidFill>
                <a:latin typeface="+mn-lt"/>
                <a:ea typeface="+mn-ea"/>
                <a:cs typeface="+mn-cs"/>
              </a:defRPr>
            </a:lvl3pPr>
            <a:lvl4pPr marL="604800" indent="-154800" algn="l" defTabSz="914400" rtl="0" eaLnBrk="1" latinLnBrk="0" hangingPunct="1">
              <a:lnSpc>
                <a:spcPct val="100000"/>
              </a:lnSpc>
              <a:spcBef>
                <a:spcPts val="0"/>
              </a:spcBef>
              <a:spcAft>
                <a:spcPts val="300"/>
              </a:spcAft>
              <a:buFont typeface="Arial" panose="020B0604020202020204" pitchFamily="34" charset="0"/>
              <a:buChar char="•"/>
              <a:defRPr lang="en-US" sz="1600" kern="1200" dirty="0">
                <a:solidFill>
                  <a:schemeClr val="tx1"/>
                </a:solidFill>
                <a:latin typeface="+mn-lt"/>
                <a:ea typeface="+mn-ea"/>
                <a:cs typeface="+mn-cs"/>
              </a:defRPr>
            </a:lvl4pPr>
            <a:lvl5pPr marL="813600" indent="-147600" algn="l" defTabSz="914400" rtl="0" eaLnBrk="1" latinLnBrk="0" hangingPunct="1">
              <a:lnSpc>
                <a:spcPct val="100000"/>
              </a:lnSpc>
              <a:spcBef>
                <a:spcPts val="0"/>
              </a:spcBef>
              <a:spcAft>
                <a:spcPts val="300"/>
              </a:spcAft>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spcBef>
                <a:spcPct val="0"/>
              </a:spcBef>
              <a:spcAft>
                <a:spcPct val="0"/>
              </a:spcAft>
            </a:pPr>
            <a:fld id="{AA4B76F4-F37B-4A62-97B9-414DAC9D14BE}" type="datetime'10''''''''''''''''''''0'''''''''''''">
              <a:rPr lang="en-US" altLang="en-US" sz="1400" smtClean="0">
                <a:effectLst/>
                <a:cs typeface="+mn-cs"/>
              </a:rPr>
              <a:pPr algn="r">
                <a:spcBef>
                  <a:spcPct val="0"/>
                </a:spcBef>
                <a:spcAft>
                  <a:spcPct val="0"/>
                </a:spcAft>
              </a:pPr>
              <a:t>100</a:t>
            </a:fld>
            <a:endParaRPr lang="en-US" sz="1400">
              <a:cs typeface="+mn-cs"/>
            </a:endParaRPr>
          </a:p>
        </p:txBody>
      </p:sp>
      <p:sp>
        <p:nvSpPr>
          <p:cNvPr id="8" name="Text Placeholder 4">
            <a:extLst>
              <a:ext uri="{FF2B5EF4-FFF2-40B4-BE49-F238E27FC236}">
                <a16:creationId xmlns:a16="http://schemas.microsoft.com/office/drawing/2014/main" id="{E567477F-CDE8-449A-CABF-F2AF38EA18B6}"/>
              </a:ext>
            </a:extLst>
          </p:cNvPr>
          <p:cNvSpPr>
            <a:spLocks noGrp="1"/>
          </p:cNvSpPr>
          <p:nvPr>
            <p:custDataLst>
              <p:tags r:id="rId5"/>
            </p:custDataLst>
          </p:nvPr>
        </p:nvSpPr>
        <p:spPr bwMode="gray">
          <a:xfrm>
            <a:off x="642938" y="3279240"/>
            <a:ext cx="19685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30400" algn="l" defTabSz="914400" rtl="0" eaLnBrk="1" latinLnBrk="0" hangingPunct="1">
              <a:lnSpc>
                <a:spcPct val="100000"/>
              </a:lnSpc>
              <a:spcBef>
                <a:spcPts val="0"/>
              </a:spcBef>
              <a:spcAft>
                <a:spcPts val="300"/>
              </a:spcAft>
              <a:buSzPct val="110000"/>
              <a:buFont typeface="Wingdings" panose="05000000000000000000" pitchFamily="2" charset="2"/>
              <a:buChar char=""/>
              <a:defRPr lang="en-US" sz="1600" kern="1200" dirty="0">
                <a:solidFill>
                  <a:schemeClr val="tx1"/>
                </a:solidFill>
                <a:latin typeface="+mn-lt"/>
                <a:ea typeface="+mn-ea"/>
                <a:cs typeface="+mn-cs"/>
              </a:defRPr>
            </a:lvl2pPr>
            <a:lvl3pPr marL="439200" indent="-208800" algn="l" defTabSz="914400" rtl="0" eaLnBrk="1" latinLnBrk="0" hangingPunct="1">
              <a:lnSpc>
                <a:spcPct val="100000"/>
              </a:lnSpc>
              <a:spcBef>
                <a:spcPts val="0"/>
              </a:spcBef>
              <a:spcAft>
                <a:spcPts val="300"/>
              </a:spcAft>
              <a:buSzPct val="110000"/>
              <a:buFont typeface="Arial" panose="020B0604020202020204" pitchFamily="34" charset="0"/>
              <a:buChar char="‒"/>
              <a:defRPr lang="en-US" sz="1600" kern="1200" dirty="0">
                <a:solidFill>
                  <a:schemeClr val="tx1"/>
                </a:solidFill>
                <a:latin typeface="+mn-lt"/>
                <a:ea typeface="+mn-ea"/>
                <a:cs typeface="+mn-cs"/>
              </a:defRPr>
            </a:lvl3pPr>
            <a:lvl4pPr marL="604800" indent="-154800" algn="l" defTabSz="914400" rtl="0" eaLnBrk="1" latinLnBrk="0" hangingPunct="1">
              <a:lnSpc>
                <a:spcPct val="100000"/>
              </a:lnSpc>
              <a:spcBef>
                <a:spcPts val="0"/>
              </a:spcBef>
              <a:spcAft>
                <a:spcPts val="300"/>
              </a:spcAft>
              <a:buFont typeface="Arial" panose="020B0604020202020204" pitchFamily="34" charset="0"/>
              <a:buChar char="•"/>
              <a:defRPr lang="en-US" sz="1600" kern="1200" dirty="0">
                <a:solidFill>
                  <a:schemeClr val="tx1"/>
                </a:solidFill>
                <a:latin typeface="+mn-lt"/>
                <a:ea typeface="+mn-ea"/>
                <a:cs typeface="+mn-cs"/>
              </a:defRPr>
            </a:lvl4pPr>
            <a:lvl5pPr marL="813600" indent="-147600" algn="l" defTabSz="914400" rtl="0" eaLnBrk="1" latinLnBrk="0" hangingPunct="1">
              <a:lnSpc>
                <a:spcPct val="100000"/>
              </a:lnSpc>
              <a:spcBef>
                <a:spcPts val="0"/>
              </a:spcBef>
              <a:spcAft>
                <a:spcPts val="300"/>
              </a:spcAft>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spcBef>
                <a:spcPct val="0"/>
              </a:spcBef>
              <a:spcAft>
                <a:spcPct val="0"/>
              </a:spcAft>
            </a:pPr>
            <a:fld id="{7BA366E5-2122-4BE8-97CF-271E8E93D0DD}" type="datetime'''''''''''''''''''''''''''''''''''''''8''''''''''0'''''''">
              <a:rPr lang="en-US" altLang="en-US" sz="1400" smtClean="0">
                <a:effectLst/>
                <a:cs typeface="+mn-cs"/>
              </a:rPr>
              <a:pPr algn="r">
                <a:spcBef>
                  <a:spcPct val="0"/>
                </a:spcBef>
                <a:spcAft>
                  <a:spcPct val="0"/>
                </a:spcAft>
              </a:pPr>
              <a:t>80</a:t>
            </a:fld>
            <a:endParaRPr lang="en-US" sz="1400">
              <a:cs typeface="+mn-cs"/>
            </a:endParaRPr>
          </a:p>
        </p:txBody>
      </p:sp>
      <p:sp>
        <p:nvSpPr>
          <p:cNvPr id="9" name="Text Placeholder 4">
            <a:extLst>
              <a:ext uri="{FF2B5EF4-FFF2-40B4-BE49-F238E27FC236}">
                <a16:creationId xmlns:a16="http://schemas.microsoft.com/office/drawing/2014/main" id="{B95266C3-4599-F79F-BF78-5FA4841DDED9}"/>
              </a:ext>
            </a:extLst>
          </p:cNvPr>
          <p:cNvSpPr>
            <a:spLocks noGrp="1"/>
          </p:cNvSpPr>
          <p:nvPr>
            <p:custDataLst>
              <p:tags r:id="rId6"/>
            </p:custDataLst>
          </p:nvPr>
        </p:nvSpPr>
        <p:spPr bwMode="gray">
          <a:xfrm>
            <a:off x="741363" y="4763553"/>
            <a:ext cx="9842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30400" algn="l" defTabSz="914400" rtl="0" eaLnBrk="1" latinLnBrk="0" hangingPunct="1">
              <a:lnSpc>
                <a:spcPct val="100000"/>
              </a:lnSpc>
              <a:spcBef>
                <a:spcPts val="0"/>
              </a:spcBef>
              <a:spcAft>
                <a:spcPts val="300"/>
              </a:spcAft>
              <a:buSzPct val="110000"/>
              <a:buFont typeface="Wingdings" panose="05000000000000000000" pitchFamily="2" charset="2"/>
              <a:buChar char=""/>
              <a:defRPr lang="en-US" sz="1600" kern="1200" dirty="0">
                <a:solidFill>
                  <a:schemeClr val="tx1"/>
                </a:solidFill>
                <a:latin typeface="+mn-lt"/>
                <a:ea typeface="+mn-ea"/>
                <a:cs typeface="+mn-cs"/>
              </a:defRPr>
            </a:lvl2pPr>
            <a:lvl3pPr marL="439200" indent="-208800" algn="l" defTabSz="914400" rtl="0" eaLnBrk="1" latinLnBrk="0" hangingPunct="1">
              <a:lnSpc>
                <a:spcPct val="100000"/>
              </a:lnSpc>
              <a:spcBef>
                <a:spcPts val="0"/>
              </a:spcBef>
              <a:spcAft>
                <a:spcPts val="300"/>
              </a:spcAft>
              <a:buSzPct val="110000"/>
              <a:buFont typeface="Arial" panose="020B0604020202020204" pitchFamily="34" charset="0"/>
              <a:buChar char="‒"/>
              <a:defRPr lang="en-US" sz="1600" kern="1200" dirty="0">
                <a:solidFill>
                  <a:schemeClr val="tx1"/>
                </a:solidFill>
                <a:latin typeface="+mn-lt"/>
                <a:ea typeface="+mn-ea"/>
                <a:cs typeface="+mn-cs"/>
              </a:defRPr>
            </a:lvl3pPr>
            <a:lvl4pPr marL="604800" indent="-154800" algn="l" defTabSz="914400" rtl="0" eaLnBrk="1" latinLnBrk="0" hangingPunct="1">
              <a:lnSpc>
                <a:spcPct val="100000"/>
              </a:lnSpc>
              <a:spcBef>
                <a:spcPts val="0"/>
              </a:spcBef>
              <a:spcAft>
                <a:spcPts val="300"/>
              </a:spcAft>
              <a:buFont typeface="Arial" panose="020B0604020202020204" pitchFamily="34" charset="0"/>
              <a:buChar char="•"/>
              <a:defRPr lang="en-US" sz="1600" kern="1200" dirty="0">
                <a:solidFill>
                  <a:schemeClr val="tx1"/>
                </a:solidFill>
                <a:latin typeface="+mn-lt"/>
                <a:ea typeface="+mn-ea"/>
                <a:cs typeface="+mn-cs"/>
              </a:defRPr>
            </a:lvl4pPr>
            <a:lvl5pPr marL="813600" indent="-147600" algn="l" defTabSz="914400" rtl="0" eaLnBrk="1" latinLnBrk="0" hangingPunct="1">
              <a:lnSpc>
                <a:spcPct val="100000"/>
              </a:lnSpc>
              <a:spcBef>
                <a:spcPts val="0"/>
              </a:spcBef>
              <a:spcAft>
                <a:spcPts val="300"/>
              </a:spcAft>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spcBef>
                <a:spcPct val="0"/>
              </a:spcBef>
              <a:spcAft>
                <a:spcPct val="0"/>
              </a:spcAft>
            </a:pPr>
            <a:fld id="{B3C935B1-EE23-4736-B2FA-2322E3FEB0C6}" type="datetime'''''''''''''''''''''''''''''''''''''''''''''''''0'''''''''''">
              <a:rPr lang="en-US" altLang="en-US" sz="1400" smtClean="0">
                <a:effectLst/>
                <a:cs typeface="+mn-cs"/>
              </a:rPr>
              <a:pPr algn="r">
                <a:spcBef>
                  <a:spcPct val="0"/>
                </a:spcBef>
                <a:spcAft>
                  <a:spcPct val="0"/>
                </a:spcAft>
              </a:pPr>
              <a:t>0</a:t>
            </a:fld>
            <a:endParaRPr lang="en-US" sz="1400">
              <a:cs typeface="+mn-cs"/>
            </a:endParaRPr>
          </a:p>
        </p:txBody>
      </p:sp>
      <p:sp>
        <p:nvSpPr>
          <p:cNvPr id="10" name="Text Placeholder 4">
            <a:extLst>
              <a:ext uri="{FF2B5EF4-FFF2-40B4-BE49-F238E27FC236}">
                <a16:creationId xmlns:a16="http://schemas.microsoft.com/office/drawing/2014/main" id="{373F9010-5148-0E07-BDD1-335354E2D860}"/>
              </a:ext>
            </a:extLst>
          </p:cNvPr>
          <p:cNvSpPr>
            <a:spLocks noGrp="1"/>
          </p:cNvSpPr>
          <p:nvPr>
            <p:custDataLst>
              <p:tags r:id="rId7"/>
            </p:custDataLst>
          </p:nvPr>
        </p:nvSpPr>
        <p:spPr bwMode="gray">
          <a:xfrm>
            <a:off x="642938" y="4020603"/>
            <a:ext cx="19685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30400" algn="l" defTabSz="914400" rtl="0" eaLnBrk="1" latinLnBrk="0" hangingPunct="1">
              <a:lnSpc>
                <a:spcPct val="100000"/>
              </a:lnSpc>
              <a:spcBef>
                <a:spcPts val="0"/>
              </a:spcBef>
              <a:spcAft>
                <a:spcPts val="300"/>
              </a:spcAft>
              <a:buSzPct val="110000"/>
              <a:buFont typeface="Wingdings" panose="05000000000000000000" pitchFamily="2" charset="2"/>
              <a:buChar char=""/>
              <a:defRPr lang="en-US" sz="1600" kern="1200" dirty="0">
                <a:solidFill>
                  <a:schemeClr val="tx1"/>
                </a:solidFill>
                <a:latin typeface="+mn-lt"/>
                <a:ea typeface="+mn-ea"/>
                <a:cs typeface="+mn-cs"/>
              </a:defRPr>
            </a:lvl2pPr>
            <a:lvl3pPr marL="439200" indent="-208800" algn="l" defTabSz="914400" rtl="0" eaLnBrk="1" latinLnBrk="0" hangingPunct="1">
              <a:lnSpc>
                <a:spcPct val="100000"/>
              </a:lnSpc>
              <a:spcBef>
                <a:spcPts val="0"/>
              </a:spcBef>
              <a:spcAft>
                <a:spcPts val="300"/>
              </a:spcAft>
              <a:buSzPct val="110000"/>
              <a:buFont typeface="Arial" panose="020B0604020202020204" pitchFamily="34" charset="0"/>
              <a:buChar char="‒"/>
              <a:defRPr lang="en-US" sz="1600" kern="1200" dirty="0">
                <a:solidFill>
                  <a:schemeClr val="tx1"/>
                </a:solidFill>
                <a:latin typeface="+mn-lt"/>
                <a:ea typeface="+mn-ea"/>
                <a:cs typeface="+mn-cs"/>
              </a:defRPr>
            </a:lvl3pPr>
            <a:lvl4pPr marL="604800" indent="-154800" algn="l" defTabSz="914400" rtl="0" eaLnBrk="1" latinLnBrk="0" hangingPunct="1">
              <a:lnSpc>
                <a:spcPct val="100000"/>
              </a:lnSpc>
              <a:spcBef>
                <a:spcPts val="0"/>
              </a:spcBef>
              <a:spcAft>
                <a:spcPts val="300"/>
              </a:spcAft>
              <a:buFont typeface="Arial" panose="020B0604020202020204" pitchFamily="34" charset="0"/>
              <a:buChar char="•"/>
              <a:defRPr lang="en-US" sz="1600" kern="1200" dirty="0">
                <a:solidFill>
                  <a:schemeClr val="tx1"/>
                </a:solidFill>
                <a:latin typeface="+mn-lt"/>
                <a:ea typeface="+mn-ea"/>
                <a:cs typeface="+mn-cs"/>
              </a:defRPr>
            </a:lvl4pPr>
            <a:lvl5pPr marL="813600" indent="-147600" algn="l" defTabSz="914400" rtl="0" eaLnBrk="1" latinLnBrk="0" hangingPunct="1">
              <a:lnSpc>
                <a:spcPct val="100000"/>
              </a:lnSpc>
              <a:spcBef>
                <a:spcPts val="0"/>
              </a:spcBef>
              <a:spcAft>
                <a:spcPts val="300"/>
              </a:spcAft>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spcBef>
                <a:spcPct val="0"/>
              </a:spcBef>
              <a:spcAft>
                <a:spcPct val="0"/>
              </a:spcAft>
            </a:pPr>
            <a:fld id="{A0AE2F20-68E0-4D12-93E8-B1B421E82C49}" type="datetime'''''''4''''''''''''''''''0'''''''''''''">
              <a:rPr lang="en-US" altLang="en-US" sz="1400" smtClean="0">
                <a:effectLst/>
                <a:cs typeface="+mn-cs"/>
              </a:rPr>
              <a:pPr algn="r">
                <a:spcBef>
                  <a:spcPct val="0"/>
                </a:spcBef>
                <a:spcAft>
                  <a:spcPct val="0"/>
                </a:spcAft>
              </a:pPr>
              <a:t>40</a:t>
            </a:fld>
            <a:endParaRPr lang="en-US" sz="1400">
              <a:cs typeface="+mn-cs"/>
            </a:endParaRPr>
          </a:p>
        </p:txBody>
      </p:sp>
      <p:sp>
        <p:nvSpPr>
          <p:cNvPr id="11" name="Text Placeholder 4">
            <a:extLst>
              <a:ext uri="{FF2B5EF4-FFF2-40B4-BE49-F238E27FC236}">
                <a16:creationId xmlns:a16="http://schemas.microsoft.com/office/drawing/2014/main" id="{915B1CE6-2352-26F5-5E32-914CC92BF75B}"/>
              </a:ext>
            </a:extLst>
          </p:cNvPr>
          <p:cNvSpPr>
            <a:spLocks noGrp="1"/>
          </p:cNvSpPr>
          <p:nvPr>
            <p:custDataLst>
              <p:tags r:id="rId8"/>
            </p:custDataLst>
          </p:nvPr>
        </p:nvSpPr>
        <p:spPr bwMode="gray">
          <a:xfrm>
            <a:off x="642938" y="3649128"/>
            <a:ext cx="19685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30400" algn="l" defTabSz="914400" rtl="0" eaLnBrk="1" latinLnBrk="0" hangingPunct="1">
              <a:lnSpc>
                <a:spcPct val="100000"/>
              </a:lnSpc>
              <a:spcBef>
                <a:spcPts val="0"/>
              </a:spcBef>
              <a:spcAft>
                <a:spcPts val="300"/>
              </a:spcAft>
              <a:buSzPct val="110000"/>
              <a:buFont typeface="Wingdings" panose="05000000000000000000" pitchFamily="2" charset="2"/>
              <a:buChar char=""/>
              <a:defRPr lang="en-US" sz="1600" kern="1200" dirty="0">
                <a:solidFill>
                  <a:schemeClr val="tx1"/>
                </a:solidFill>
                <a:latin typeface="+mn-lt"/>
                <a:ea typeface="+mn-ea"/>
                <a:cs typeface="+mn-cs"/>
              </a:defRPr>
            </a:lvl2pPr>
            <a:lvl3pPr marL="439200" indent="-208800" algn="l" defTabSz="914400" rtl="0" eaLnBrk="1" latinLnBrk="0" hangingPunct="1">
              <a:lnSpc>
                <a:spcPct val="100000"/>
              </a:lnSpc>
              <a:spcBef>
                <a:spcPts val="0"/>
              </a:spcBef>
              <a:spcAft>
                <a:spcPts val="300"/>
              </a:spcAft>
              <a:buSzPct val="110000"/>
              <a:buFont typeface="Arial" panose="020B0604020202020204" pitchFamily="34" charset="0"/>
              <a:buChar char="‒"/>
              <a:defRPr lang="en-US" sz="1600" kern="1200" dirty="0">
                <a:solidFill>
                  <a:schemeClr val="tx1"/>
                </a:solidFill>
                <a:latin typeface="+mn-lt"/>
                <a:ea typeface="+mn-ea"/>
                <a:cs typeface="+mn-cs"/>
              </a:defRPr>
            </a:lvl3pPr>
            <a:lvl4pPr marL="604800" indent="-154800" algn="l" defTabSz="914400" rtl="0" eaLnBrk="1" latinLnBrk="0" hangingPunct="1">
              <a:lnSpc>
                <a:spcPct val="100000"/>
              </a:lnSpc>
              <a:spcBef>
                <a:spcPts val="0"/>
              </a:spcBef>
              <a:spcAft>
                <a:spcPts val="300"/>
              </a:spcAft>
              <a:buFont typeface="Arial" panose="020B0604020202020204" pitchFamily="34" charset="0"/>
              <a:buChar char="•"/>
              <a:defRPr lang="en-US" sz="1600" kern="1200" dirty="0">
                <a:solidFill>
                  <a:schemeClr val="tx1"/>
                </a:solidFill>
                <a:latin typeface="+mn-lt"/>
                <a:ea typeface="+mn-ea"/>
                <a:cs typeface="+mn-cs"/>
              </a:defRPr>
            </a:lvl4pPr>
            <a:lvl5pPr marL="813600" indent="-147600" algn="l" defTabSz="914400" rtl="0" eaLnBrk="1" latinLnBrk="0" hangingPunct="1">
              <a:lnSpc>
                <a:spcPct val="100000"/>
              </a:lnSpc>
              <a:spcBef>
                <a:spcPts val="0"/>
              </a:spcBef>
              <a:spcAft>
                <a:spcPts val="300"/>
              </a:spcAft>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spcBef>
                <a:spcPct val="0"/>
              </a:spcBef>
              <a:spcAft>
                <a:spcPct val="0"/>
              </a:spcAft>
            </a:pPr>
            <a:fld id="{03B8FAAD-9B6B-46F0-8BF2-F5947B626842}" type="datetime'''6''''''''''''''''''''''''''0'''''''''''">
              <a:rPr lang="en-US" altLang="en-US" sz="1400" smtClean="0">
                <a:effectLst/>
                <a:cs typeface="+mn-cs"/>
              </a:rPr>
              <a:pPr algn="r">
                <a:spcBef>
                  <a:spcPct val="0"/>
                </a:spcBef>
                <a:spcAft>
                  <a:spcPct val="0"/>
                </a:spcAft>
              </a:pPr>
              <a:t>60</a:t>
            </a:fld>
            <a:endParaRPr lang="en-US" sz="1400">
              <a:cs typeface="+mn-cs"/>
            </a:endParaRPr>
          </a:p>
        </p:txBody>
      </p:sp>
      <p:sp>
        <p:nvSpPr>
          <p:cNvPr id="12" name="Text Placeholder 4">
            <a:extLst>
              <a:ext uri="{FF2B5EF4-FFF2-40B4-BE49-F238E27FC236}">
                <a16:creationId xmlns:a16="http://schemas.microsoft.com/office/drawing/2014/main" id="{2B7612DC-B45E-70FD-5227-412FA31A944E}"/>
              </a:ext>
            </a:extLst>
          </p:cNvPr>
          <p:cNvSpPr>
            <a:spLocks noGrp="1"/>
          </p:cNvSpPr>
          <p:nvPr>
            <p:custDataLst>
              <p:tags r:id="rId9"/>
            </p:custDataLst>
          </p:nvPr>
        </p:nvSpPr>
        <p:spPr bwMode="gray">
          <a:xfrm>
            <a:off x="544513" y="2164815"/>
            <a:ext cx="29527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30400" algn="l" defTabSz="914400" rtl="0" eaLnBrk="1" latinLnBrk="0" hangingPunct="1">
              <a:lnSpc>
                <a:spcPct val="100000"/>
              </a:lnSpc>
              <a:spcBef>
                <a:spcPts val="0"/>
              </a:spcBef>
              <a:spcAft>
                <a:spcPts val="300"/>
              </a:spcAft>
              <a:buSzPct val="110000"/>
              <a:buFont typeface="Wingdings" panose="05000000000000000000" pitchFamily="2" charset="2"/>
              <a:buChar char=""/>
              <a:defRPr lang="en-US" sz="1600" kern="1200" dirty="0">
                <a:solidFill>
                  <a:schemeClr val="tx1"/>
                </a:solidFill>
                <a:latin typeface="+mn-lt"/>
                <a:ea typeface="+mn-ea"/>
                <a:cs typeface="+mn-cs"/>
              </a:defRPr>
            </a:lvl2pPr>
            <a:lvl3pPr marL="439200" indent="-208800" algn="l" defTabSz="914400" rtl="0" eaLnBrk="1" latinLnBrk="0" hangingPunct="1">
              <a:lnSpc>
                <a:spcPct val="100000"/>
              </a:lnSpc>
              <a:spcBef>
                <a:spcPts val="0"/>
              </a:spcBef>
              <a:spcAft>
                <a:spcPts val="300"/>
              </a:spcAft>
              <a:buSzPct val="110000"/>
              <a:buFont typeface="Arial" panose="020B0604020202020204" pitchFamily="34" charset="0"/>
              <a:buChar char="‒"/>
              <a:defRPr lang="en-US" sz="1600" kern="1200" dirty="0">
                <a:solidFill>
                  <a:schemeClr val="tx1"/>
                </a:solidFill>
                <a:latin typeface="+mn-lt"/>
                <a:ea typeface="+mn-ea"/>
                <a:cs typeface="+mn-cs"/>
              </a:defRPr>
            </a:lvl3pPr>
            <a:lvl4pPr marL="604800" indent="-154800" algn="l" defTabSz="914400" rtl="0" eaLnBrk="1" latinLnBrk="0" hangingPunct="1">
              <a:lnSpc>
                <a:spcPct val="100000"/>
              </a:lnSpc>
              <a:spcBef>
                <a:spcPts val="0"/>
              </a:spcBef>
              <a:spcAft>
                <a:spcPts val="300"/>
              </a:spcAft>
              <a:buFont typeface="Arial" panose="020B0604020202020204" pitchFamily="34" charset="0"/>
              <a:buChar char="•"/>
              <a:defRPr lang="en-US" sz="1600" kern="1200" dirty="0">
                <a:solidFill>
                  <a:schemeClr val="tx1"/>
                </a:solidFill>
                <a:latin typeface="+mn-lt"/>
                <a:ea typeface="+mn-ea"/>
                <a:cs typeface="+mn-cs"/>
              </a:defRPr>
            </a:lvl4pPr>
            <a:lvl5pPr marL="813600" indent="-147600" algn="l" defTabSz="914400" rtl="0" eaLnBrk="1" latinLnBrk="0" hangingPunct="1">
              <a:lnSpc>
                <a:spcPct val="100000"/>
              </a:lnSpc>
              <a:spcBef>
                <a:spcPts val="0"/>
              </a:spcBef>
              <a:spcAft>
                <a:spcPts val="300"/>
              </a:spcAft>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spcBef>
                <a:spcPct val="0"/>
              </a:spcBef>
              <a:spcAft>
                <a:spcPct val="0"/>
              </a:spcAft>
            </a:pPr>
            <a:fld id="{C0D7F465-1240-4BE3-8C0C-A02D44E46A11}" type="datetime'''14''''''''''''''''0'">
              <a:rPr lang="en-US" altLang="en-US" sz="1400" smtClean="0">
                <a:effectLst/>
                <a:cs typeface="+mn-cs"/>
              </a:rPr>
              <a:pPr algn="r">
                <a:spcBef>
                  <a:spcPct val="0"/>
                </a:spcBef>
                <a:spcAft>
                  <a:spcPct val="0"/>
                </a:spcAft>
              </a:pPr>
              <a:t>140</a:t>
            </a:fld>
            <a:endParaRPr lang="en-US" sz="1400">
              <a:cs typeface="+mn-cs"/>
            </a:endParaRPr>
          </a:p>
        </p:txBody>
      </p:sp>
      <p:cxnSp>
        <p:nvCxnSpPr>
          <p:cNvPr id="13" name="Straight Connector 12">
            <a:extLst>
              <a:ext uri="{FF2B5EF4-FFF2-40B4-BE49-F238E27FC236}">
                <a16:creationId xmlns:a16="http://schemas.microsoft.com/office/drawing/2014/main" id="{74D6951D-3F46-D604-1114-15B4FA53024C}"/>
              </a:ext>
            </a:extLst>
          </p:cNvPr>
          <p:cNvCxnSpPr/>
          <p:nvPr>
            <p:custDataLst>
              <p:tags r:id="rId10"/>
            </p:custDataLst>
          </p:nvPr>
        </p:nvCxnSpPr>
        <p:spPr bwMode="gray">
          <a:xfrm>
            <a:off x="9070975" y="3644365"/>
            <a:ext cx="0" cy="111125"/>
          </a:xfrm>
          <a:prstGeom prst="line">
            <a:avLst/>
          </a:prstGeom>
          <a:ln w="9525" cap="flat" cmpd="sng" algn="ctr">
            <a:solidFill>
              <a:schemeClr val="accent2"/>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 name="Straight Connector 13">
            <a:extLst>
              <a:ext uri="{FF2B5EF4-FFF2-40B4-BE49-F238E27FC236}">
                <a16:creationId xmlns:a16="http://schemas.microsoft.com/office/drawing/2014/main" id="{B1B70A50-89E7-2D88-D8C5-DA2E4E1A2826}"/>
              </a:ext>
            </a:extLst>
          </p:cNvPr>
          <p:cNvCxnSpPr/>
          <p:nvPr>
            <p:custDataLst>
              <p:tags r:id="rId11"/>
            </p:custDataLst>
          </p:nvPr>
        </p:nvCxnSpPr>
        <p:spPr bwMode="gray">
          <a:xfrm>
            <a:off x="9070975" y="3644365"/>
            <a:ext cx="735013" cy="0"/>
          </a:xfrm>
          <a:prstGeom prst="line">
            <a:avLst/>
          </a:prstGeom>
          <a:ln w="9525" cap="flat" cmpd="sng" algn="ctr">
            <a:solidFill>
              <a:schemeClr val="accent2"/>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5" name="Straight Connector 14">
            <a:extLst>
              <a:ext uri="{FF2B5EF4-FFF2-40B4-BE49-F238E27FC236}">
                <a16:creationId xmlns:a16="http://schemas.microsoft.com/office/drawing/2014/main" id="{67002B9C-E4FE-44D6-01F5-0E933885145D}"/>
              </a:ext>
            </a:extLst>
          </p:cNvPr>
          <p:cNvCxnSpPr/>
          <p:nvPr>
            <p:custDataLst>
              <p:tags r:id="rId12"/>
            </p:custDataLst>
          </p:nvPr>
        </p:nvCxnSpPr>
        <p:spPr bwMode="gray">
          <a:xfrm>
            <a:off x="9805988" y="3644365"/>
            <a:ext cx="0" cy="111125"/>
          </a:xfrm>
          <a:prstGeom prst="line">
            <a:avLst/>
          </a:prstGeom>
          <a:ln w="9525" cap="flat" cmpd="sng" algn="ctr">
            <a:solidFill>
              <a:schemeClr val="accent2"/>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 name="Straight Connector 15">
            <a:extLst>
              <a:ext uri="{FF2B5EF4-FFF2-40B4-BE49-F238E27FC236}">
                <a16:creationId xmlns:a16="http://schemas.microsoft.com/office/drawing/2014/main" id="{A5C3D276-7526-C7A0-6CB6-5172B4C3B259}"/>
              </a:ext>
            </a:extLst>
          </p:cNvPr>
          <p:cNvCxnSpPr/>
          <p:nvPr>
            <p:custDataLst>
              <p:tags r:id="rId13"/>
            </p:custDataLst>
          </p:nvPr>
        </p:nvCxnSpPr>
        <p:spPr bwMode="white">
          <a:xfrm>
            <a:off x="8262938" y="3812640"/>
            <a:ext cx="735012" cy="0"/>
          </a:xfrm>
          <a:prstGeom prst="line">
            <a:avLst/>
          </a:prstGeom>
          <a:ln w="9525" cap="flat" cmpd="sng" algn="ctr">
            <a:solidFill>
              <a:schemeClr val="bg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 name="Straight Connector 16">
            <a:extLst>
              <a:ext uri="{FF2B5EF4-FFF2-40B4-BE49-F238E27FC236}">
                <a16:creationId xmlns:a16="http://schemas.microsoft.com/office/drawing/2014/main" id="{3D52E1A7-0B93-7B04-72F5-5D9C20F9EB8B}"/>
              </a:ext>
            </a:extLst>
          </p:cNvPr>
          <p:cNvCxnSpPr/>
          <p:nvPr>
            <p:custDataLst>
              <p:tags r:id="rId14"/>
            </p:custDataLst>
          </p:nvPr>
        </p:nvCxnSpPr>
        <p:spPr bwMode="gray">
          <a:xfrm>
            <a:off x="8997950" y="3755490"/>
            <a:ext cx="0" cy="57150"/>
          </a:xfrm>
          <a:prstGeom prst="line">
            <a:avLst/>
          </a:prstGeom>
          <a:ln w="9525" cap="flat" cmpd="sng" algn="ctr">
            <a:solidFill>
              <a:schemeClr val="accent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9621E4EC-CE74-5DD3-D194-C1109B8FF52B}"/>
              </a:ext>
            </a:extLst>
          </p:cNvPr>
          <p:cNvCxnSpPr/>
          <p:nvPr>
            <p:custDataLst>
              <p:tags r:id="rId15"/>
            </p:custDataLst>
          </p:nvPr>
        </p:nvCxnSpPr>
        <p:spPr bwMode="gray">
          <a:xfrm>
            <a:off x="8262938" y="3755490"/>
            <a:ext cx="0" cy="57150"/>
          </a:xfrm>
          <a:prstGeom prst="line">
            <a:avLst/>
          </a:prstGeom>
          <a:ln w="9525" cap="flat" cmpd="sng" algn="ctr">
            <a:solidFill>
              <a:schemeClr val="accent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76819F46-A6AC-B53B-D246-0EDF416E3B36}"/>
              </a:ext>
            </a:extLst>
          </p:cNvPr>
          <p:cNvCxnSpPr/>
          <p:nvPr>
            <p:custDataLst>
              <p:tags r:id="rId16"/>
            </p:custDataLst>
          </p:nvPr>
        </p:nvCxnSpPr>
        <p:spPr bwMode="gray">
          <a:xfrm>
            <a:off x="8262938" y="3755490"/>
            <a:ext cx="735012" cy="0"/>
          </a:xfrm>
          <a:prstGeom prst="line">
            <a:avLst/>
          </a:prstGeom>
          <a:ln w="9525" cap="flat" cmpd="sng" algn="ctr">
            <a:solidFill>
              <a:schemeClr val="accent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 name="Straight Connector 19">
            <a:extLst>
              <a:ext uri="{FF2B5EF4-FFF2-40B4-BE49-F238E27FC236}">
                <a16:creationId xmlns:a16="http://schemas.microsoft.com/office/drawing/2014/main" id="{19F660D5-76F5-286D-C12C-8BDB5283A389}"/>
              </a:ext>
            </a:extLst>
          </p:cNvPr>
          <p:cNvCxnSpPr/>
          <p:nvPr>
            <p:custDataLst>
              <p:tags r:id="rId17"/>
            </p:custDataLst>
          </p:nvPr>
        </p:nvCxnSpPr>
        <p:spPr bwMode="gray">
          <a:xfrm>
            <a:off x="7456488" y="3458628"/>
            <a:ext cx="733425" cy="0"/>
          </a:xfrm>
          <a:prstGeom prst="line">
            <a:avLst/>
          </a:prstGeom>
          <a:ln w="9525" cap="flat" cmpd="sng" algn="ctr">
            <a:solidFill>
              <a:srgbClr val="7F7F7F"/>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 name="Straight Connector 20">
            <a:extLst>
              <a:ext uri="{FF2B5EF4-FFF2-40B4-BE49-F238E27FC236}">
                <a16:creationId xmlns:a16="http://schemas.microsoft.com/office/drawing/2014/main" id="{AA012CE5-BA06-27F2-FBA7-717FA88C6BB1}"/>
              </a:ext>
            </a:extLst>
          </p:cNvPr>
          <p:cNvCxnSpPr/>
          <p:nvPr>
            <p:custDataLst>
              <p:tags r:id="rId18"/>
            </p:custDataLst>
          </p:nvPr>
        </p:nvCxnSpPr>
        <p:spPr bwMode="gray">
          <a:xfrm>
            <a:off x="7456488" y="3458628"/>
            <a:ext cx="0" cy="1406525"/>
          </a:xfrm>
          <a:prstGeom prst="line">
            <a:avLst/>
          </a:prstGeom>
          <a:ln w="9525" cap="flat" cmpd="sng" algn="ctr">
            <a:solidFill>
              <a:srgbClr val="7F7F7F"/>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 name="Straight Connector 21">
            <a:extLst>
              <a:ext uri="{FF2B5EF4-FFF2-40B4-BE49-F238E27FC236}">
                <a16:creationId xmlns:a16="http://schemas.microsoft.com/office/drawing/2014/main" id="{4ED3A050-E416-10A8-D428-D4E8EEB65445}"/>
              </a:ext>
            </a:extLst>
          </p:cNvPr>
          <p:cNvCxnSpPr/>
          <p:nvPr>
            <p:custDataLst>
              <p:tags r:id="rId19"/>
            </p:custDataLst>
          </p:nvPr>
        </p:nvCxnSpPr>
        <p:spPr bwMode="gray">
          <a:xfrm>
            <a:off x="8189913" y="3458628"/>
            <a:ext cx="0" cy="1406525"/>
          </a:xfrm>
          <a:prstGeom prst="line">
            <a:avLst/>
          </a:prstGeom>
          <a:ln w="9525" cap="flat" cmpd="sng" algn="ctr">
            <a:solidFill>
              <a:srgbClr val="7F7F7F"/>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3" name="Straight Connector 22">
            <a:extLst>
              <a:ext uri="{FF2B5EF4-FFF2-40B4-BE49-F238E27FC236}">
                <a16:creationId xmlns:a16="http://schemas.microsoft.com/office/drawing/2014/main" id="{4F4DF047-25E4-4886-26B3-ED9AA99015BD}"/>
              </a:ext>
            </a:extLst>
          </p:cNvPr>
          <p:cNvCxnSpPr/>
          <p:nvPr>
            <p:custDataLst>
              <p:tags r:id="rId20"/>
            </p:custDataLst>
          </p:nvPr>
        </p:nvCxnSpPr>
        <p:spPr bwMode="gray">
          <a:xfrm>
            <a:off x="5840413" y="3255428"/>
            <a:ext cx="735012" cy="0"/>
          </a:xfrm>
          <a:prstGeom prst="line">
            <a:avLst/>
          </a:prstGeom>
          <a:ln w="9525" cap="flat" cmpd="sng" algn="ctr">
            <a:solidFill>
              <a:schemeClr val="accent2"/>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 name="Straight Connector 23">
            <a:extLst>
              <a:ext uri="{FF2B5EF4-FFF2-40B4-BE49-F238E27FC236}">
                <a16:creationId xmlns:a16="http://schemas.microsoft.com/office/drawing/2014/main" id="{AF3CDF00-5105-AB05-2D0D-3961A91D763C}"/>
              </a:ext>
            </a:extLst>
          </p:cNvPr>
          <p:cNvCxnSpPr/>
          <p:nvPr>
            <p:custDataLst>
              <p:tags r:id="rId21"/>
            </p:custDataLst>
          </p:nvPr>
        </p:nvCxnSpPr>
        <p:spPr bwMode="gray">
          <a:xfrm>
            <a:off x="6575425" y="3255428"/>
            <a:ext cx="0" cy="222250"/>
          </a:xfrm>
          <a:prstGeom prst="line">
            <a:avLst/>
          </a:prstGeom>
          <a:ln w="9525" cap="flat" cmpd="sng" algn="ctr">
            <a:solidFill>
              <a:schemeClr val="accent2"/>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 name="Straight Connector 24">
            <a:extLst>
              <a:ext uri="{FF2B5EF4-FFF2-40B4-BE49-F238E27FC236}">
                <a16:creationId xmlns:a16="http://schemas.microsoft.com/office/drawing/2014/main" id="{51C19AF9-31AE-478E-33C6-9CE6A9975D6E}"/>
              </a:ext>
            </a:extLst>
          </p:cNvPr>
          <p:cNvCxnSpPr/>
          <p:nvPr>
            <p:custDataLst>
              <p:tags r:id="rId22"/>
            </p:custDataLst>
          </p:nvPr>
        </p:nvCxnSpPr>
        <p:spPr bwMode="gray">
          <a:xfrm>
            <a:off x="5840413" y="3255428"/>
            <a:ext cx="0" cy="222250"/>
          </a:xfrm>
          <a:prstGeom prst="line">
            <a:avLst/>
          </a:prstGeom>
          <a:ln w="9525" cap="flat" cmpd="sng" algn="ctr">
            <a:solidFill>
              <a:schemeClr val="accent2"/>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6" name="Straight Connector 25">
            <a:extLst>
              <a:ext uri="{FF2B5EF4-FFF2-40B4-BE49-F238E27FC236}">
                <a16:creationId xmlns:a16="http://schemas.microsoft.com/office/drawing/2014/main" id="{13AAAC85-C8F3-E144-444E-0B96419122A6}"/>
              </a:ext>
            </a:extLst>
          </p:cNvPr>
          <p:cNvCxnSpPr/>
          <p:nvPr>
            <p:custDataLst>
              <p:tags r:id="rId23"/>
            </p:custDataLst>
          </p:nvPr>
        </p:nvCxnSpPr>
        <p:spPr bwMode="gray">
          <a:xfrm>
            <a:off x="5032375" y="3236378"/>
            <a:ext cx="735013" cy="0"/>
          </a:xfrm>
          <a:prstGeom prst="line">
            <a:avLst/>
          </a:prstGeom>
          <a:ln w="9525" cap="flat" cmpd="sng" algn="ctr">
            <a:solidFill>
              <a:schemeClr val="accent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 name="Straight Connector 26">
            <a:extLst>
              <a:ext uri="{FF2B5EF4-FFF2-40B4-BE49-F238E27FC236}">
                <a16:creationId xmlns:a16="http://schemas.microsoft.com/office/drawing/2014/main" id="{6ABA49E5-4105-28FC-811D-55C01E2F942F}"/>
              </a:ext>
            </a:extLst>
          </p:cNvPr>
          <p:cNvCxnSpPr/>
          <p:nvPr>
            <p:custDataLst>
              <p:tags r:id="rId24"/>
            </p:custDataLst>
          </p:nvPr>
        </p:nvCxnSpPr>
        <p:spPr bwMode="gray">
          <a:xfrm>
            <a:off x="5767388" y="3236378"/>
            <a:ext cx="0" cy="55562"/>
          </a:xfrm>
          <a:prstGeom prst="line">
            <a:avLst/>
          </a:prstGeom>
          <a:ln w="9525" cap="flat" cmpd="sng" algn="ctr">
            <a:solidFill>
              <a:schemeClr val="accent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 name="Straight Connector 27">
            <a:extLst>
              <a:ext uri="{FF2B5EF4-FFF2-40B4-BE49-F238E27FC236}">
                <a16:creationId xmlns:a16="http://schemas.microsoft.com/office/drawing/2014/main" id="{CAE8CAD6-DEAE-ECF0-A0BF-0A8634885458}"/>
              </a:ext>
            </a:extLst>
          </p:cNvPr>
          <p:cNvCxnSpPr/>
          <p:nvPr>
            <p:custDataLst>
              <p:tags r:id="rId25"/>
            </p:custDataLst>
          </p:nvPr>
        </p:nvCxnSpPr>
        <p:spPr bwMode="gray">
          <a:xfrm>
            <a:off x="5032375" y="3236378"/>
            <a:ext cx="0" cy="55562"/>
          </a:xfrm>
          <a:prstGeom prst="line">
            <a:avLst/>
          </a:prstGeom>
          <a:ln w="9525" cap="flat" cmpd="sng" algn="ctr">
            <a:solidFill>
              <a:schemeClr val="accent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9" name="Straight Connector 28">
            <a:extLst>
              <a:ext uri="{FF2B5EF4-FFF2-40B4-BE49-F238E27FC236}">
                <a16:creationId xmlns:a16="http://schemas.microsoft.com/office/drawing/2014/main" id="{7C7A101B-2B74-0A76-29B9-393FE2C27EB6}"/>
              </a:ext>
            </a:extLst>
          </p:cNvPr>
          <p:cNvCxnSpPr/>
          <p:nvPr>
            <p:custDataLst>
              <p:tags r:id="rId26"/>
            </p:custDataLst>
          </p:nvPr>
        </p:nvCxnSpPr>
        <p:spPr bwMode="gray">
          <a:xfrm>
            <a:off x="4224338" y="2939515"/>
            <a:ext cx="735012" cy="0"/>
          </a:xfrm>
          <a:prstGeom prst="line">
            <a:avLst/>
          </a:prstGeom>
          <a:ln w="9525" cap="flat" cmpd="sng" algn="ctr">
            <a:solidFill>
              <a:srgbClr val="7F7F7F"/>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0" name="Straight Connector 29">
            <a:extLst>
              <a:ext uri="{FF2B5EF4-FFF2-40B4-BE49-F238E27FC236}">
                <a16:creationId xmlns:a16="http://schemas.microsoft.com/office/drawing/2014/main" id="{D9B84556-8D5A-BD46-0A54-F72D2CEB4F1D}"/>
              </a:ext>
            </a:extLst>
          </p:cNvPr>
          <p:cNvCxnSpPr/>
          <p:nvPr>
            <p:custDataLst>
              <p:tags r:id="rId27"/>
            </p:custDataLst>
          </p:nvPr>
        </p:nvCxnSpPr>
        <p:spPr bwMode="gray">
          <a:xfrm>
            <a:off x="4224338" y="2939515"/>
            <a:ext cx="0" cy="1925638"/>
          </a:xfrm>
          <a:prstGeom prst="line">
            <a:avLst/>
          </a:prstGeom>
          <a:ln w="9525" cap="flat" cmpd="sng" algn="ctr">
            <a:solidFill>
              <a:srgbClr val="7F7F7F"/>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1" name="Straight Connector 30">
            <a:extLst>
              <a:ext uri="{FF2B5EF4-FFF2-40B4-BE49-F238E27FC236}">
                <a16:creationId xmlns:a16="http://schemas.microsoft.com/office/drawing/2014/main" id="{C49B2F2A-1499-7076-65AD-81AAE4CE10B6}"/>
              </a:ext>
            </a:extLst>
          </p:cNvPr>
          <p:cNvCxnSpPr/>
          <p:nvPr>
            <p:custDataLst>
              <p:tags r:id="rId28"/>
            </p:custDataLst>
          </p:nvPr>
        </p:nvCxnSpPr>
        <p:spPr bwMode="gray">
          <a:xfrm>
            <a:off x="4959350" y="2939515"/>
            <a:ext cx="0" cy="1925638"/>
          </a:xfrm>
          <a:prstGeom prst="line">
            <a:avLst/>
          </a:prstGeom>
          <a:ln w="9525" cap="flat" cmpd="sng" algn="ctr">
            <a:solidFill>
              <a:srgbClr val="7F7F7F"/>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2" name="Straight Connector 31">
            <a:extLst>
              <a:ext uri="{FF2B5EF4-FFF2-40B4-BE49-F238E27FC236}">
                <a16:creationId xmlns:a16="http://schemas.microsoft.com/office/drawing/2014/main" id="{ABFE1FC1-9547-253B-714D-90E0460E6FA6}"/>
              </a:ext>
            </a:extLst>
          </p:cNvPr>
          <p:cNvCxnSpPr/>
          <p:nvPr>
            <p:custDataLst>
              <p:tags r:id="rId29"/>
            </p:custDataLst>
          </p:nvPr>
        </p:nvCxnSpPr>
        <p:spPr bwMode="gray">
          <a:xfrm>
            <a:off x="2609850" y="3161765"/>
            <a:ext cx="733425" cy="0"/>
          </a:xfrm>
          <a:prstGeom prst="line">
            <a:avLst/>
          </a:prstGeom>
          <a:ln w="19050" cap="flat" cmpd="sng" algn="ctr">
            <a:solidFill>
              <a:schemeClr val="accent2"/>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3" name="Straight Connector 32">
            <a:extLst>
              <a:ext uri="{FF2B5EF4-FFF2-40B4-BE49-F238E27FC236}">
                <a16:creationId xmlns:a16="http://schemas.microsoft.com/office/drawing/2014/main" id="{F3AE2977-BE15-9916-E096-277C93958885}"/>
              </a:ext>
            </a:extLst>
          </p:cNvPr>
          <p:cNvCxnSpPr/>
          <p:nvPr>
            <p:custDataLst>
              <p:tags r:id="rId30"/>
            </p:custDataLst>
          </p:nvPr>
        </p:nvCxnSpPr>
        <p:spPr bwMode="gray">
          <a:xfrm>
            <a:off x="2609850" y="2845854"/>
            <a:ext cx="0" cy="315913"/>
          </a:xfrm>
          <a:prstGeom prst="line">
            <a:avLst/>
          </a:prstGeom>
          <a:ln w="9525" cap="flat" cmpd="sng" algn="ctr">
            <a:solidFill>
              <a:schemeClr val="accent2"/>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4" name="Straight Connector 33">
            <a:extLst>
              <a:ext uri="{FF2B5EF4-FFF2-40B4-BE49-F238E27FC236}">
                <a16:creationId xmlns:a16="http://schemas.microsoft.com/office/drawing/2014/main" id="{0E134190-38FA-59BF-1A30-03039EE72B80}"/>
              </a:ext>
            </a:extLst>
          </p:cNvPr>
          <p:cNvCxnSpPr/>
          <p:nvPr>
            <p:custDataLst>
              <p:tags r:id="rId31"/>
            </p:custDataLst>
          </p:nvPr>
        </p:nvCxnSpPr>
        <p:spPr bwMode="gray">
          <a:xfrm>
            <a:off x="3343275" y="2845854"/>
            <a:ext cx="0" cy="315913"/>
          </a:xfrm>
          <a:prstGeom prst="line">
            <a:avLst/>
          </a:prstGeom>
          <a:ln w="9525" cap="flat" cmpd="sng" algn="ctr">
            <a:solidFill>
              <a:schemeClr val="accent2"/>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5" name="Straight Connector 34">
            <a:extLst>
              <a:ext uri="{FF2B5EF4-FFF2-40B4-BE49-F238E27FC236}">
                <a16:creationId xmlns:a16="http://schemas.microsoft.com/office/drawing/2014/main" id="{25FCBF2C-3292-4A8E-EC65-B002A626FAFC}"/>
              </a:ext>
            </a:extLst>
          </p:cNvPr>
          <p:cNvCxnSpPr/>
          <p:nvPr>
            <p:custDataLst>
              <p:tags r:id="rId32"/>
            </p:custDataLst>
          </p:nvPr>
        </p:nvCxnSpPr>
        <p:spPr bwMode="gray">
          <a:xfrm>
            <a:off x="2609850" y="2845853"/>
            <a:ext cx="733425" cy="0"/>
          </a:xfrm>
          <a:prstGeom prst="line">
            <a:avLst/>
          </a:prstGeom>
          <a:ln w="9525" cap="flat" cmpd="sng" algn="ctr">
            <a:solidFill>
              <a:schemeClr val="accent2"/>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6" name="Straight Connector 35">
            <a:extLst>
              <a:ext uri="{FF2B5EF4-FFF2-40B4-BE49-F238E27FC236}">
                <a16:creationId xmlns:a16="http://schemas.microsoft.com/office/drawing/2014/main" id="{5824FEA3-1DE1-A8F5-8BAA-4831082AEF2D}"/>
              </a:ext>
            </a:extLst>
          </p:cNvPr>
          <p:cNvCxnSpPr/>
          <p:nvPr>
            <p:custDataLst>
              <p:tags r:id="rId33"/>
            </p:custDataLst>
          </p:nvPr>
        </p:nvCxnSpPr>
        <p:spPr bwMode="gray">
          <a:xfrm>
            <a:off x="1801813" y="2753778"/>
            <a:ext cx="735012" cy="0"/>
          </a:xfrm>
          <a:prstGeom prst="line">
            <a:avLst/>
          </a:prstGeom>
          <a:ln w="19050" cap="flat" cmpd="sng" algn="ctr">
            <a:solidFill>
              <a:schemeClr val="accent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7" name="Straight Connector 36">
            <a:extLst>
              <a:ext uri="{FF2B5EF4-FFF2-40B4-BE49-F238E27FC236}">
                <a16:creationId xmlns:a16="http://schemas.microsoft.com/office/drawing/2014/main" id="{FCA615B0-994E-A441-5168-3B445CBFE84A}"/>
              </a:ext>
            </a:extLst>
          </p:cNvPr>
          <p:cNvCxnSpPr/>
          <p:nvPr>
            <p:custDataLst>
              <p:tags r:id="rId34"/>
            </p:custDataLst>
          </p:nvPr>
        </p:nvCxnSpPr>
        <p:spPr bwMode="gray">
          <a:xfrm>
            <a:off x="2536825" y="2679165"/>
            <a:ext cx="0" cy="74613"/>
          </a:xfrm>
          <a:prstGeom prst="line">
            <a:avLst/>
          </a:prstGeom>
          <a:ln w="9525" cap="flat" cmpd="sng" algn="ctr">
            <a:solidFill>
              <a:schemeClr val="accent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8" name="Straight Connector 37">
            <a:extLst>
              <a:ext uri="{FF2B5EF4-FFF2-40B4-BE49-F238E27FC236}">
                <a16:creationId xmlns:a16="http://schemas.microsoft.com/office/drawing/2014/main" id="{44F8B645-40BF-ACAC-C9FD-90C9A2E5D1C2}"/>
              </a:ext>
            </a:extLst>
          </p:cNvPr>
          <p:cNvCxnSpPr/>
          <p:nvPr>
            <p:custDataLst>
              <p:tags r:id="rId35"/>
            </p:custDataLst>
          </p:nvPr>
        </p:nvCxnSpPr>
        <p:spPr bwMode="gray">
          <a:xfrm>
            <a:off x="1801813" y="2679165"/>
            <a:ext cx="0" cy="74613"/>
          </a:xfrm>
          <a:prstGeom prst="line">
            <a:avLst/>
          </a:prstGeom>
          <a:ln w="9525" cap="flat" cmpd="sng" algn="ctr">
            <a:solidFill>
              <a:schemeClr val="accent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9" name="Straight Connector 38">
            <a:extLst>
              <a:ext uri="{FF2B5EF4-FFF2-40B4-BE49-F238E27FC236}">
                <a16:creationId xmlns:a16="http://schemas.microsoft.com/office/drawing/2014/main" id="{44CA818C-99CB-EC2F-8D19-16FA1CEB69F1}"/>
              </a:ext>
            </a:extLst>
          </p:cNvPr>
          <p:cNvCxnSpPr/>
          <p:nvPr>
            <p:custDataLst>
              <p:tags r:id="rId36"/>
            </p:custDataLst>
          </p:nvPr>
        </p:nvCxnSpPr>
        <p:spPr bwMode="gray">
          <a:xfrm>
            <a:off x="1801813" y="2679165"/>
            <a:ext cx="735012" cy="0"/>
          </a:xfrm>
          <a:prstGeom prst="line">
            <a:avLst/>
          </a:prstGeom>
          <a:ln w="9525" cap="flat" cmpd="sng" algn="ctr">
            <a:solidFill>
              <a:schemeClr val="accent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0" name="Straight Connector 39">
            <a:extLst>
              <a:ext uri="{FF2B5EF4-FFF2-40B4-BE49-F238E27FC236}">
                <a16:creationId xmlns:a16="http://schemas.microsoft.com/office/drawing/2014/main" id="{52627BB3-0144-8A9F-C3B5-9921CDA4E768}"/>
              </a:ext>
            </a:extLst>
          </p:cNvPr>
          <p:cNvCxnSpPr/>
          <p:nvPr>
            <p:custDataLst>
              <p:tags r:id="rId37"/>
            </p:custDataLst>
          </p:nvPr>
        </p:nvCxnSpPr>
        <p:spPr bwMode="gray">
          <a:xfrm>
            <a:off x="1728788" y="2401353"/>
            <a:ext cx="0" cy="2463800"/>
          </a:xfrm>
          <a:prstGeom prst="line">
            <a:avLst/>
          </a:prstGeom>
          <a:ln w="9525" cap="flat" cmpd="sng" algn="ctr">
            <a:solidFill>
              <a:srgbClr val="7F7F7F"/>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1" name="Straight Connector 40">
            <a:extLst>
              <a:ext uri="{FF2B5EF4-FFF2-40B4-BE49-F238E27FC236}">
                <a16:creationId xmlns:a16="http://schemas.microsoft.com/office/drawing/2014/main" id="{296A10D8-E7C3-3736-A1AB-029EE0DD1BF2}"/>
              </a:ext>
            </a:extLst>
          </p:cNvPr>
          <p:cNvCxnSpPr/>
          <p:nvPr>
            <p:custDataLst>
              <p:tags r:id="rId38"/>
            </p:custDataLst>
          </p:nvPr>
        </p:nvCxnSpPr>
        <p:spPr bwMode="gray">
          <a:xfrm>
            <a:off x="993775" y="2401353"/>
            <a:ext cx="0" cy="2463800"/>
          </a:xfrm>
          <a:prstGeom prst="line">
            <a:avLst/>
          </a:prstGeom>
          <a:ln w="9525" cap="flat" cmpd="sng" algn="ctr">
            <a:solidFill>
              <a:srgbClr val="7F7F7F"/>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2" name="Straight Connector 41">
            <a:extLst>
              <a:ext uri="{FF2B5EF4-FFF2-40B4-BE49-F238E27FC236}">
                <a16:creationId xmlns:a16="http://schemas.microsoft.com/office/drawing/2014/main" id="{BC0E1279-64DD-4919-F342-6790AF3846B7}"/>
              </a:ext>
            </a:extLst>
          </p:cNvPr>
          <p:cNvCxnSpPr/>
          <p:nvPr>
            <p:custDataLst>
              <p:tags r:id="rId39"/>
            </p:custDataLst>
          </p:nvPr>
        </p:nvCxnSpPr>
        <p:spPr bwMode="gray">
          <a:xfrm>
            <a:off x="993775" y="2401353"/>
            <a:ext cx="735013" cy="0"/>
          </a:xfrm>
          <a:prstGeom prst="line">
            <a:avLst/>
          </a:prstGeom>
          <a:ln w="9525" cap="flat" cmpd="sng" algn="ctr">
            <a:solidFill>
              <a:srgbClr val="7F7F7F"/>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43" name="Text Placeholder 4">
            <a:extLst>
              <a:ext uri="{FF2B5EF4-FFF2-40B4-BE49-F238E27FC236}">
                <a16:creationId xmlns:a16="http://schemas.microsoft.com/office/drawing/2014/main" id="{22B87CCC-073A-803B-A20F-D25B9AF495A2}"/>
              </a:ext>
            </a:extLst>
          </p:cNvPr>
          <p:cNvSpPr>
            <a:spLocks noGrp="1"/>
          </p:cNvSpPr>
          <p:nvPr>
            <p:custDataLst>
              <p:tags r:id="rId40"/>
            </p:custDataLst>
          </p:nvPr>
        </p:nvSpPr>
        <p:spPr bwMode="auto">
          <a:xfrm>
            <a:off x="4298950" y="4928653"/>
            <a:ext cx="585788"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30400" algn="l" defTabSz="914400" rtl="0" eaLnBrk="1" latinLnBrk="0" hangingPunct="1">
              <a:lnSpc>
                <a:spcPct val="100000"/>
              </a:lnSpc>
              <a:spcBef>
                <a:spcPts val="0"/>
              </a:spcBef>
              <a:spcAft>
                <a:spcPts val="300"/>
              </a:spcAft>
              <a:buSzPct val="110000"/>
              <a:buFont typeface="Wingdings" panose="05000000000000000000" pitchFamily="2" charset="2"/>
              <a:buChar char=""/>
              <a:defRPr lang="en-US" sz="1600" kern="1200" dirty="0">
                <a:solidFill>
                  <a:schemeClr val="tx1"/>
                </a:solidFill>
                <a:latin typeface="+mn-lt"/>
                <a:ea typeface="+mn-ea"/>
                <a:cs typeface="+mn-cs"/>
              </a:defRPr>
            </a:lvl2pPr>
            <a:lvl3pPr marL="439200" indent="-208800" algn="l" defTabSz="914400" rtl="0" eaLnBrk="1" latinLnBrk="0" hangingPunct="1">
              <a:lnSpc>
                <a:spcPct val="100000"/>
              </a:lnSpc>
              <a:spcBef>
                <a:spcPts val="0"/>
              </a:spcBef>
              <a:spcAft>
                <a:spcPts val="300"/>
              </a:spcAft>
              <a:buSzPct val="110000"/>
              <a:buFont typeface="Arial" panose="020B0604020202020204" pitchFamily="34" charset="0"/>
              <a:buChar char="‒"/>
              <a:defRPr lang="en-US" sz="1600" kern="1200" dirty="0">
                <a:solidFill>
                  <a:schemeClr val="tx1"/>
                </a:solidFill>
                <a:latin typeface="+mn-lt"/>
                <a:ea typeface="+mn-ea"/>
                <a:cs typeface="+mn-cs"/>
              </a:defRPr>
            </a:lvl3pPr>
            <a:lvl4pPr marL="604800" indent="-154800" algn="l" defTabSz="914400" rtl="0" eaLnBrk="1" latinLnBrk="0" hangingPunct="1">
              <a:lnSpc>
                <a:spcPct val="100000"/>
              </a:lnSpc>
              <a:spcBef>
                <a:spcPts val="0"/>
              </a:spcBef>
              <a:spcAft>
                <a:spcPts val="300"/>
              </a:spcAft>
              <a:buFont typeface="Arial" panose="020B0604020202020204" pitchFamily="34" charset="0"/>
              <a:buChar char="•"/>
              <a:defRPr lang="en-US" sz="1600" kern="1200" dirty="0">
                <a:solidFill>
                  <a:schemeClr val="tx1"/>
                </a:solidFill>
                <a:latin typeface="+mn-lt"/>
                <a:ea typeface="+mn-ea"/>
                <a:cs typeface="+mn-cs"/>
              </a:defRPr>
            </a:lvl4pPr>
            <a:lvl5pPr marL="813600" indent="-147600" algn="l" defTabSz="914400" rtl="0" eaLnBrk="1" latinLnBrk="0" hangingPunct="1">
              <a:lnSpc>
                <a:spcPct val="100000"/>
              </a:lnSpc>
              <a:spcBef>
                <a:spcPts val="0"/>
              </a:spcBef>
              <a:spcAft>
                <a:spcPts val="300"/>
              </a:spcAft>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DC900758-A149-4415-B439-10CE2CF6001A}" type="datetime'''''''N''''''''''''o'''''''''''''''' ''I''''''R''''''''''A'''">
              <a:rPr lang="en-US" altLang="en-US" sz="1400" smtClean="0">
                <a:cs typeface="+mn-cs"/>
              </a:rPr>
              <a:pPr algn="ctr">
                <a:spcBef>
                  <a:spcPct val="0"/>
                </a:spcBef>
                <a:spcAft>
                  <a:spcPct val="0"/>
                </a:spcAft>
              </a:pPr>
              <a:t>No IRA</a:t>
            </a:fld>
            <a:endParaRPr lang="en-US" sz="1400">
              <a:cs typeface="+mn-cs"/>
            </a:endParaRPr>
          </a:p>
        </p:txBody>
      </p:sp>
      <p:sp>
        <p:nvSpPr>
          <p:cNvPr id="44" name="Text Placeholder 4">
            <a:extLst>
              <a:ext uri="{FF2B5EF4-FFF2-40B4-BE49-F238E27FC236}">
                <a16:creationId xmlns:a16="http://schemas.microsoft.com/office/drawing/2014/main" id="{9EFDFFFE-19CF-174D-BC1C-2AAB5D6F7A7E}"/>
              </a:ext>
            </a:extLst>
          </p:cNvPr>
          <p:cNvSpPr>
            <a:spLocks noGrp="1"/>
          </p:cNvSpPr>
          <p:nvPr>
            <p:custDataLst>
              <p:tags r:id="rId41"/>
            </p:custDataLst>
          </p:nvPr>
        </p:nvSpPr>
        <p:spPr bwMode="auto">
          <a:xfrm>
            <a:off x="5214938" y="4928653"/>
            <a:ext cx="36830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30400" algn="l" defTabSz="914400" rtl="0" eaLnBrk="1" latinLnBrk="0" hangingPunct="1">
              <a:lnSpc>
                <a:spcPct val="100000"/>
              </a:lnSpc>
              <a:spcBef>
                <a:spcPts val="0"/>
              </a:spcBef>
              <a:spcAft>
                <a:spcPts val="300"/>
              </a:spcAft>
              <a:buSzPct val="110000"/>
              <a:buFont typeface="Wingdings" panose="05000000000000000000" pitchFamily="2" charset="2"/>
              <a:buChar char=""/>
              <a:defRPr lang="en-US" sz="1600" kern="1200" dirty="0">
                <a:solidFill>
                  <a:schemeClr val="tx1"/>
                </a:solidFill>
                <a:latin typeface="+mn-lt"/>
                <a:ea typeface="+mn-ea"/>
                <a:cs typeface="+mn-cs"/>
              </a:defRPr>
            </a:lvl2pPr>
            <a:lvl3pPr marL="439200" indent="-208800" algn="l" defTabSz="914400" rtl="0" eaLnBrk="1" latinLnBrk="0" hangingPunct="1">
              <a:lnSpc>
                <a:spcPct val="100000"/>
              </a:lnSpc>
              <a:spcBef>
                <a:spcPts val="0"/>
              </a:spcBef>
              <a:spcAft>
                <a:spcPts val="300"/>
              </a:spcAft>
              <a:buSzPct val="110000"/>
              <a:buFont typeface="Arial" panose="020B0604020202020204" pitchFamily="34" charset="0"/>
              <a:buChar char="‒"/>
              <a:defRPr lang="en-US" sz="1600" kern="1200" dirty="0">
                <a:solidFill>
                  <a:schemeClr val="tx1"/>
                </a:solidFill>
                <a:latin typeface="+mn-lt"/>
                <a:ea typeface="+mn-ea"/>
                <a:cs typeface="+mn-cs"/>
              </a:defRPr>
            </a:lvl3pPr>
            <a:lvl4pPr marL="604800" indent="-154800" algn="l" defTabSz="914400" rtl="0" eaLnBrk="1" latinLnBrk="0" hangingPunct="1">
              <a:lnSpc>
                <a:spcPct val="100000"/>
              </a:lnSpc>
              <a:spcBef>
                <a:spcPts val="0"/>
              </a:spcBef>
              <a:spcAft>
                <a:spcPts val="300"/>
              </a:spcAft>
              <a:buFont typeface="Arial" panose="020B0604020202020204" pitchFamily="34" charset="0"/>
              <a:buChar char="•"/>
              <a:defRPr lang="en-US" sz="1600" kern="1200" dirty="0">
                <a:solidFill>
                  <a:schemeClr val="tx1"/>
                </a:solidFill>
                <a:latin typeface="+mn-lt"/>
                <a:ea typeface="+mn-ea"/>
                <a:cs typeface="+mn-cs"/>
              </a:defRPr>
            </a:lvl4pPr>
            <a:lvl5pPr marL="813600" indent="-147600" algn="l" defTabSz="914400" rtl="0" eaLnBrk="1" latinLnBrk="0" hangingPunct="1">
              <a:lnSpc>
                <a:spcPct val="100000"/>
              </a:lnSpc>
              <a:spcBef>
                <a:spcPts val="0"/>
              </a:spcBef>
              <a:spcAft>
                <a:spcPts val="300"/>
              </a:spcAft>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38F49A05-33E5-48D6-A4EE-DD9F7452F72A}" type="datetime'P''''''''T''''''''C'''''''">
              <a:rPr lang="en-US" altLang="en-US" sz="1400" smtClean="0">
                <a:cs typeface="+mn-cs"/>
              </a:rPr>
              <a:pPr algn="ctr">
                <a:spcBef>
                  <a:spcPct val="0"/>
                </a:spcBef>
                <a:spcAft>
                  <a:spcPct val="0"/>
                </a:spcAft>
              </a:pPr>
              <a:t>PTC</a:t>
            </a:fld>
            <a:endParaRPr lang="en-US" sz="1400">
              <a:cs typeface="+mn-cs"/>
            </a:endParaRPr>
          </a:p>
        </p:txBody>
      </p:sp>
      <p:sp>
        <p:nvSpPr>
          <p:cNvPr id="45" name="Text Placeholder 4">
            <a:extLst>
              <a:ext uri="{FF2B5EF4-FFF2-40B4-BE49-F238E27FC236}">
                <a16:creationId xmlns:a16="http://schemas.microsoft.com/office/drawing/2014/main" id="{E45D99B1-0A07-31B9-BDF0-817CBE172F10}"/>
              </a:ext>
            </a:extLst>
          </p:cNvPr>
          <p:cNvSpPr>
            <a:spLocks noGrp="1"/>
          </p:cNvSpPr>
          <p:nvPr>
            <p:custDataLst>
              <p:tags r:id="rId42"/>
            </p:custDataLst>
          </p:nvPr>
        </p:nvSpPr>
        <p:spPr bwMode="auto">
          <a:xfrm>
            <a:off x="1984375" y="4928653"/>
            <a:ext cx="36830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30400" algn="l" defTabSz="914400" rtl="0" eaLnBrk="1" latinLnBrk="0" hangingPunct="1">
              <a:lnSpc>
                <a:spcPct val="100000"/>
              </a:lnSpc>
              <a:spcBef>
                <a:spcPts val="0"/>
              </a:spcBef>
              <a:spcAft>
                <a:spcPts val="300"/>
              </a:spcAft>
              <a:buSzPct val="110000"/>
              <a:buFont typeface="Wingdings" panose="05000000000000000000" pitchFamily="2" charset="2"/>
              <a:buChar char=""/>
              <a:defRPr lang="en-US" sz="1600" kern="1200" dirty="0">
                <a:solidFill>
                  <a:schemeClr val="tx1"/>
                </a:solidFill>
                <a:latin typeface="+mn-lt"/>
                <a:ea typeface="+mn-ea"/>
                <a:cs typeface="+mn-cs"/>
              </a:defRPr>
            </a:lvl2pPr>
            <a:lvl3pPr marL="439200" indent="-208800" algn="l" defTabSz="914400" rtl="0" eaLnBrk="1" latinLnBrk="0" hangingPunct="1">
              <a:lnSpc>
                <a:spcPct val="100000"/>
              </a:lnSpc>
              <a:spcBef>
                <a:spcPts val="0"/>
              </a:spcBef>
              <a:spcAft>
                <a:spcPts val="300"/>
              </a:spcAft>
              <a:buSzPct val="110000"/>
              <a:buFont typeface="Arial" panose="020B0604020202020204" pitchFamily="34" charset="0"/>
              <a:buChar char="‒"/>
              <a:defRPr lang="en-US" sz="1600" kern="1200" dirty="0">
                <a:solidFill>
                  <a:schemeClr val="tx1"/>
                </a:solidFill>
                <a:latin typeface="+mn-lt"/>
                <a:ea typeface="+mn-ea"/>
                <a:cs typeface="+mn-cs"/>
              </a:defRPr>
            </a:lvl3pPr>
            <a:lvl4pPr marL="604800" indent="-154800" algn="l" defTabSz="914400" rtl="0" eaLnBrk="1" latinLnBrk="0" hangingPunct="1">
              <a:lnSpc>
                <a:spcPct val="100000"/>
              </a:lnSpc>
              <a:spcBef>
                <a:spcPts val="0"/>
              </a:spcBef>
              <a:spcAft>
                <a:spcPts val="300"/>
              </a:spcAft>
              <a:buFont typeface="Arial" panose="020B0604020202020204" pitchFamily="34" charset="0"/>
              <a:buChar char="•"/>
              <a:defRPr lang="en-US" sz="1600" kern="1200" dirty="0">
                <a:solidFill>
                  <a:schemeClr val="tx1"/>
                </a:solidFill>
                <a:latin typeface="+mn-lt"/>
                <a:ea typeface="+mn-ea"/>
                <a:cs typeface="+mn-cs"/>
              </a:defRPr>
            </a:lvl4pPr>
            <a:lvl5pPr marL="813600" indent="-147600" algn="l" defTabSz="914400" rtl="0" eaLnBrk="1" latinLnBrk="0" hangingPunct="1">
              <a:lnSpc>
                <a:spcPct val="100000"/>
              </a:lnSpc>
              <a:spcBef>
                <a:spcPts val="0"/>
              </a:spcBef>
              <a:spcAft>
                <a:spcPts val="300"/>
              </a:spcAft>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942ACB5B-D01C-4AB4-A6F8-4779FDFE3C3C}" type="datetime'''''''''''''''''''P''''''''''''T''C'">
              <a:rPr lang="en-US" altLang="en-US" sz="1400" smtClean="0">
                <a:cs typeface="+mn-cs"/>
              </a:rPr>
              <a:pPr algn="ctr">
                <a:spcBef>
                  <a:spcPct val="0"/>
                </a:spcBef>
                <a:spcAft>
                  <a:spcPct val="0"/>
                </a:spcAft>
              </a:pPr>
              <a:t>PTC</a:t>
            </a:fld>
            <a:endParaRPr lang="en-US" sz="1400">
              <a:cs typeface="+mn-cs"/>
            </a:endParaRPr>
          </a:p>
        </p:txBody>
      </p:sp>
      <p:sp>
        <p:nvSpPr>
          <p:cNvPr id="46" name="Text Placeholder 4">
            <a:extLst>
              <a:ext uri="{FF2B5EF4-FFF2-40B4-BE49-F238E27FC236}">
                <a16:creationId xmlns:a16="http://schemas.microsoft.com/office/drawing/2014/main" id="{471EDDF3-8D2F-54EE-94FA-0C794A79FCF5}"/>
              </a:ext>
            </a:extLst>
          </p:cNvPr>
          <p:cNvSpPr>
            <a:spLocks noGrp="1"/>
          </p:cNvSpPr>
          <p:nvPr>
            <p:custDataLst>
              <p:tags r:id="rId43"/>
            </p:custDataLst>
          </p:nvPr>
        </p:nvSpPr>
        <p:spPr bwMode="gray">
          <a:xfrm>
            <a:off x="5275263" y="2998253"/>
            <a:ext cx="24765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numCol="1" spcCol="0" rtlCol="0" anchor="b"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30400" algn="l" defTabSz="914400" rtl="0" eaLnBrk="1" latinLnBrk="0" hangingPunct="1">
              <a:lnSpc>
                <a:spcPct val="100000"/>
              </a:lnSpc>
              <a:spcBef>
                <a:spcPts val="0"/>
              </a:spcBef>
              <a:spcAft>
                <a:spcPts val="300"/>
              </a:spcAft>
              <a:buSzPct val="110000"/>
              <a:buFont typeface="Wingdings" panose="05000000000000000000" pitchFamily="2" charset="2"/>
              <a:buChar char=""/>
              <a:defRPr lang="en-US" sz="1600" kern="1200" dirty="0">
                <a:solidFill>
                  <a:schemeClr val="tx1"/>
                </a:solidFill>
                <a:latin typeface="+mn-lt"/>
                <a:ea typeface="+mn-ea"/>
                <a:cs typeface="+mn-cs"/>
              </a:defRPr>
            </a:lvl2pPr>
            <a:lvl3pPr marL="439200" indent="-208800" algn="l" defTabSz="914400" rtl="0" eaLnBrk="1" latinLnBrk="0" hangingPunct="1">
              <a:lnSpc>
                <a:spcPct val="100000"/>
              </a:lnSpc>
              <a:spcBef>
                <a:spcPts val="0"/>
              </a:spcBef>
              <a:spcAft>
                <a:spcPts val="300"/>
              </a:spcAft>
              <a:buSzPct val="110000"/>
              <a:buFont typeface="Arial" panose="020B0604020202020204" pitchFamily="34" charset="0"/>
              <a:buChar char="‒"/>
              <a:defRPr lang="en-US" sz="1600" kern="1200" dirty="0">
                <a:solidFill>
                  <a:schemeClr val="tx1"/>
                </a:solidFill>
                <a:latin typeface="+mn-lt"/>
                <a:ea typeface="+mn-ea"/>
                <a:cs typeface="+mn-cs"/>
              </a:defRPr>
            </a:lvl3pPr>
            <a:lvl4pPr marL="604800" indent="-154800" algn="l" defTabSz="914400" rtl="0" eaLnBrk="1" latinLnBrk="0" hangingPunct="1">
              <a:lnSpc>
                <a:spcPct val="100000"/>
              </a:lnSpc>
              <a:spcBef>
                <a:spcPts val="0"/>
              </a:spcBef>
              <a:spcAft>
                <a:spcPts val="300"/>
              </a:spcAft>
              <a:buFont typeface="Arial" panose="020B0604020202020204" pitchFamily="34" charset="0"/>
              <a:buChar char="•"/>
              <a:defRPr lang="en-US" sz="1600" kern="1200" dirty="0">
                <a:solidFill>
                  <a:schemeClr val="tx1"/>
                </a:solidFill>
                <a:latin typeface="+mn-lt"/>
                <a:ea typeface="+mn-ea"/>
                <a:cs typeface="+mn-cs"/>
              </a:defRPr>
            </a:lvl4pPr>
            <a:lvl5pPr marL="813600" indent="-147600" algn="l" defTabSz="914400" rtl="0" eaLnBrk="1" latinLnBrk="0" hangingPunct="1">
              <a:lnSpc>
                <a:spcPct val="100000"/>
              </a:lnSpc>
              <a:spcBef>
                <a:spcPts val="0"/>
              </a:spcBef>
              <a:spcAft>
                <a:spcPts val="300"/>
              </a:spcAft>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10B5784E-E068-4A9E-AD04-FC1B813B6FC6}" type="datetime'''''''''''''''8''''''''''''''''''''8'">
              <a:rPr lang="en-US" altLang="en-US" sz="1400" smtClean="0">
                <a:effectLst/>
                <a:cs typeface="+mn-cs"/>
              </a:rPr>
              <a:pPr algn="ctr">
                <a:spcBef>
                  <a:spcPct val="0"/>
                </a:spcBef>
                <a:spcAft>
                  <a:spcPct val="0"/>
                </a:spcAft>
              </a:pPr>
              <a:t>88</a:t>
            </a:fld>
            <a:endParaRPr lang="en-US" sz="1400">
              <a:cs typeface="+mn-cs"/>
            </a:endParaRPr>
          </a:p>
        </p:txBody>
      </p:sp>
      <p:sp>
        <p:nvSpPr>
          <p:cNvPr id="47" name="Text Placeholder 4">
            <a:extLst>
              <a:ext uri="{FF2B5EF4-FFF2-40B4-BE49-F238E27FC236}">
                <a16:creationId xmlns:a16="http://schemas.microsoft.com/office/drawing/2014/main" id="{C70C674C-AE81-D462-5B0C-82A4D463A14F}"/>
              </a:ext>
            </a:extLst>
          </p:cNvPr>
          <p:cNvSpPr>
            <a:spLocks noGrp="1"/>
          </p:cNvSpPr>
          <p:nvPr>
            <p:custDataLst>
              <p:tags r:id="rId44"/>
            </p:custDataLst>
          </p:nvPr>
        </p:nvSpPr>
        <p:spPr bwMode="auto">
          <a:xfrm>
            <a:off x="7531100" y="4928653"/>
            <a:ext cx="585788"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30400" algn="l" defTabSz="914400" rtl="0" eaLnBrk="1" latinLnBrk="0" hangingPunct="1">
              <a:lnSpc>
                <a:spcPct val="100000"/>
              </a:lnSpc>
              <a:spcBef>
                <a:spcPts val="0"/>
              </a:spcBef>
              <a:spcAft>
                <a:spcPts val="300"/>
              </a:spcAft>
              <a:buSzPct val="110000"/>
              <a:buFont typeface="Wingdings" panose="05000000000000000000" pitchFamily="2" charset="2"/>
              <a:buChar char=""/>
              <a:defRPr lang="en-US" sz="1600" kern="1200" dirty="0">
                <a:solidFill>
                  <a:schemeClr val="tx1"/>
                </a:solidFill>
                <a:latin typeface="+mn-lt"/>
                <a:ea typeface="+mn-ea"/>
                <a:cs typeface="+mn-cs"/>
              </a:defRPr>
            </a:lvl2pPr>
            <a:lvl3pPr marL="439200" indent="-208800" algn="l" defTabSz="914400" rtl="0" eaLnBrk="1" latinLnBrk="0" hangingPunct="1">
              <a:lnSpc>
                <a:spcPct val="100000"/>
              </a:lnSpc>
              <a:spcBef>
                <a:spcPts val="0"/>
              </a:spcBef>
              <a:spcAft>
                <a:spcPts val="300"/>
              </a:spcAft>
              <a:buSzPct val="110000"/>
              <a:buFont typeface="Arial" panose="020B0604020202020204" pitchFamily="34" charset="0"/>
              <a:buChar char="‒"/>
              <a:defRPr lang="en-US" sz="1600" kern="1200" dirty="0">
                <a:solidFill>
                  <a:schemeClr val="tx1"/>
                </a:solidFill>
                <a:latin typeface="+mn-lt"/>
                <a:ea typeface="+mn-ea"/>
                <a:cs typeface="+mn-cs"/>
              </a:defRPr>
            </a:lvl3pPr>
            <a:lvl4pPr marL="604800" indent="-154800" algn="l" defTabSz="914400" rtl="0" eaLnBrk="1" latinLnBrk="0" hangingPunct="1">
              <a:lnSpc>
                <a:spcPct val="100000"/>
              </a:lnSpc>
              <a:spcBef>
                <a:spcPts val="0"/>
              </a:spcBef>
              <a:spcAft>
                <a:spcPts val="300"/>
              </a:spcAft>
              <a:buFont typeface="Arial" panose="020B0604020202020204" pitchFamily="34" charset="0"/>
              <a:buChar char="•"/>
              <a:defRPr lang="en-US" sz="1600" kern="1200" dirty="0">
                <a:solidFill>
                  <a:schemeClr val="tx1"/>
                </a:solidFill>
                <a:latin typeface="+mn-lt"/>
                <a:ea typeface="+mn-ea"/>
                <a:cs typeface="+mn-cs"/>
              </a:defRPr>
            </a:lvl4pPr>
            <a:lvl5pPr marL="813600" indent="-147600" algn="l" defTabSz="914400" rtl="0" eaLnBrk="1" latinLnBrk="0" hangingPunct="1">
              <a:lnSpc>
                <a:spcPct val="100000"/>
              </a:lnSpc>
              <a:spcBef>
                <a:spcPts val="0"/>
              </a:spcBef>
              <a:spcAft>
                <a:spcPts val="300"/>
              </a:spcAft>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D0A7831B-7AF0-4F11-8A31-8B501C01FDFC}" type="datetime'''''''''''''''''N''o'' ''''''''I''''''''''''''R''''''A'">
              <a:rPr lang="en-US" altLang="en-US" sz="1400" smtClean="0">
                <a:cs typeface="+mn-cs"/>
              </a:rPr>
              <a:pPr algn="ctr">
                <a:spcBef>
                  <a:spcPct val="0"/>
                </a:spcBef>
                <a:spcAft>
                  <a:spcPct val="0"/>
                </a:spcAft>
              </a:pPr>
              <a:t>No IRA</a:t>
            </a:fld>
            <a:endParaRPr lang="en-US" sz="1400">
              <a:cs typeface="+mn-cs"/>
            </a:endParaRPr>
          </a:p>
        </p:txBody>
      </p:sp>
      <p:sp>
        <p:nvSpPr>
          <p:cNvPr id="48" name="Text Placeholder 4">
            <a:extLst>
              <a:ext uri="{FF2B5EF4-FFF2-40B4-BE49-F238E27FC236}">
                <a16:creationId xmlns:a16="http://schemas.microsoft.com/office/drawing/2014/main" id="{37C8DCFB-42D6-44C9-2346-1A1486DE3D50}"/>
              </a:ext>
            </a:extLst>
          </p:cNvPr>
          <p:cNvSpPr>
            <a:spLocks noGrp="1"/>
          </p:cNvSpPr>
          <p:nvPr>
            <p:custDataLst>
              <p:tags r:id="rId45"/>
            </p:custDataLst>
          </p:nvPr>
        </p:nvSpPr>
        <p:spPr bwMode="auto">
          <a:xfrm>
            <a:off x="6057900" y="4928653"/>
            <a:ext cx="29845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30400" algn="l" defTabSz="914400" rtl="0" eaLnBrk="1" latinLnBrk="0" hangingPunct="1">
              <a:lnSpc>
                <a:spcPct val="100000"/>
              </a:lnSpc>
              <a:spcBef>
                <a:spcPts val="0"/>
              </a:spcBef>
              <a:spcAft>
                <a:spcPts val="300"/>
              </a:spcAft>
              <a:buSzPct val="110000"/>
              <a:buFont typeface="Wingdings" panose="05000000000000000000" pitchFamily="2" charset="2"/>
              <a:buChar char=""/>
              <a:defRPr lang="en-US" sz="1600" kern="1200" dirty="0">
                <a:solidFill>
                  <a:schemeClr val="tx1"/>
                </a:solidFill>
                <a:latin typeface="+mn-lt"/>
                <a:ea typeface="+mn-ea"/>
                <a:cs typeface="+mn-cs"/>
              </a:defRPr>
            </a:lvl2pPr>
            <a:lvl3pPr marL="439200" indent="-208800" algn="l" defTabSz="914400" rtl="0" eaLnBrk="1" latinLnBrk="0" hangingPunct="1">
              <a:lnSpc>
                <a:spcPct val="100000"/>
              </a:lnSpc>
              <a:spcBef>
                <a:spcPts val="0"/>
              </a:spcBef>
              <a:spcAft>
                <a:spcPts val="300"/>
              </a:spcAft>
              <a:buSzPct val="110000"/>
              <a:buFont typeface="Arial" panose="020B0604020202020204" pitchFamily="34" charset="0"/>
              <a:buChar char="‒"/>
              <a:defRPr lang="en-US" sz="1600" kern="1200" dirty="0">
                <a:solidFill>
                  <a:schemeClr val="tx1"/>
                </a:solidFill>
                <a:latin typeface="+mn-lt"/>
                <a:ea typeface="+mn-ea"/>
                <a:cs typeface="+mn-cs"/>
              </a:defRPr>
            </a:lvl3pPr>
            <a:lvl4pPr marL="604800" indent="-154800" algn="l" defTabSz="914400" rtl="0" eaLnBrk="1" latinLnBrk="0" hangingPunct="1">
              <a:lnSpc>
                <a:spcPct val="100000"/>
              </a:lnSpc>
              <a:spcBef>
                <a:spcPts val="0"/>
              </a:spcBef>
              <a:spcAft>
                <a:spcPts val="300"/>
              </a:spcAft>
              <a:buFont typeface="Arial" panose="020B0604020202020204" pitchFamily="34" charset="0"/>
              <a:buChar char="•"/>
              <a:defRPr lang="en-US" sz="1600" kern="1200" dirty="0">
                <a:solidFill>
                  <a:schemeClr val="tx1"/>
                </a:solidFill>
                <a:latin typeface="+mn-lt"/>
                <a:ea typeface="+mn-ea"/>
                <a:cs typeface="+mn-cs"/>
              </a:defRPr>
            </a:lvl4pPr>
            <a:lvl5pPr marL="813600" indent="-147600" algn="l" defTabSz="914400" rtl="0" eaLnBrk="1" latinLnBrk="0" hangingPunct="1">
              <a:lnSpc>
                <a:spcPct val="100000"/>
              </a:lnSpc>
              <a:spcBef>
                <a:spcPts val="0"/>
              </a:spcBef>
              <a:spcAft>
                <a:spcPts val="300"/>
              </a:spcAft>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D8A9AE01-35AC-4C8B-83FE-5F800CA67F30}" type="datetime'''''''''''''''''I''T''''''''''''C'''''''''''''''''''''''">
              <a:rPr lang="en-US" altLang="en-US" sz="1400" smtClean="0">
                <a:cs typeface="+mn-cs"/>
              </a:rPr>
              <a:pPr algn="ctr">
                <a:spcBef>
                  <a:spcPct val="0"/>
                </a:spcBef>
                <a:spcAft>
                  <a:spcPct val="0"/>
                </a:spcAft>
              </a:pPr>
              <a:t>ITC</a:t>
            </a:fld>
            <a:endParaRPr lang="en-US" sz="1400">
              <a:cs typeface="+mn-cs"/>
            </a:endParaRPr>
          </a:p>
        </p:txBody>
      </p:sp>
      <p:sp>
        <p:nvSpPr>
          <p:cNvPr id="49" name="Text Placeholder 4">
            <a:extLst>
              <a:ext uri="{FF2B5EF4-FFF2-40B4-BE49-F238E27FC236}">
                <a16:creationId xmlns:a16="http://schemas.microsoft.com/office/drawing/2014/main" id="{5B099214-44B9-9A5F-A912-999889CF618E}"/>
              </a:ext>
            </a:extLst>
          </p:cNvPr>
          <p:cNvSpPr>
            <a:spLocks noGrp="1"/>
          </p:cNvSpPr>
          <p:nvPr>
            <p:custDataLst>
              <p:tags r:id="rId46"/>
            </p:custDataLst>
          </p:nvPr>
        </p:nvSpPr>
        <p:spPr bwMode="auto">
          <a:xfrm>
            <a:off x="8445500" y="4928653"/>
            <a:ext cx="36830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30400" algn="l" defTabSz="914400" rtl="0" eaLnBrk="1" latinLnBrk="0" hangingPunct="1">
              <a:lnSpc>
                <a:spcPct val="100000"/>
              </a:lnSpc>
              <a:spcBef>
                <a:spcPts val="0"/>
              </a:spcBef>
              <a:spcAft>
                <a:spcPts val="300"/>
              </a:spcAft>
              <a:buSzPct val="110000"/>
              <a:buFont typeface="Wingdings" panose="05000000000000000000" pitchFamily="2" charset="2"/>
              <a:buChar char=""/>
              <a:defRPr lang="en-US" sz="1600" kern="1200" dirty="0">
                <a:solidFill>
                  <a:schemeClr val="tx1"/>
                </a:solidFill>
                <a:latin typeface="+mn-lt"/>
                <a:ea typeface="+mn-ea"/>
                <a:cs typeface="+mn-cs"/>
              </a:defRPr>
            </a:lvl2pPr>
            <a:lvl3pPr marL="439200" indent="-208800" algn="l" defTabSz="914400" rtl="0" eaLnBrk="1" latinLnBrk="0" hangingPunct="1">
              <a:lnSpc>
                <a:spcPct val="100000"/>
              </a:lnSpc>
              <a:spcBef>
                <a:spcPts val="0"/>
              </a:spcBef>
              <a:spcAft>
                <a:spcPts val="300"/>
              </a:spcAft>
              <a:buSzPct val="110000"/>
              <a:buFont typeface="Arial" panose="020B0604020202020204" pitchFamily="34" charset="0"/>
              <a:buChar char="‒"/>
              <a:defRPr lang="en-US" sz="1600" kern="1200" dirty="0">
                <a:solidFill>
                  <a:schemeClr val="tx1"/>
                </a:solidFill>
                <a:latin typeface="+mn-lt"/>
                <a:ea typeface="+mn-ea"/>
                <a:cs typeface="+mn-cs"/>
              </a:defRPr>
            </a:lvl3pPr>
            <a:lvl4pPr marL="604800" indent="-154800" algn="l" defTabSz="914400" rtl="0" eaLnBrk="1" latinLnBrk="0" hangingPunct="1">
              <a:lnSpc>
                <a:spcPct val="100000"/>
              </a:lnSpc>
              <a:spcBef>
                <a:spcPts val="0"/>
              </a:spcBef>
              <a:spcAft>
                <a:spcPts val="300"/>
              </a:spcAft>
              <a:buFont typeface="Arial" panose="020B0604020202020204" pitchFamily="34" charset="0"/>
              <a:buChar char="•"/>
              <a:defRPr lang="en-US" sz="1600" kern="1200" dirty="0">
                <a:solidFill>
                  <a:schemeClr val="tx1"/>
                </a:solidFill>
                <a:latin typeface="+mn-lt"/>
                <a:ea typeface="+mn-ea"/>
                <a:cs typeface="+mn-cs"/>
              </a:defRPr>
            </a:lvl4pPr>
            <a:lvl5pPr marL="813600" indent="-147600" algn="l" defTabSz="914400" rtl="0" eaLnBrk="1" latinLnBrk="0" hangingPunct="1">
              <a:lnSpc>
                <a:spcPct val="100000"/>
              </a:lnSpc>
              <a:spcBef>
                <a:spcPts val="0"/>
              </a:spcBef>
              <a:spcAft>
                <a:spcPts val="300"/>
              </a:spcAft>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A997DD87-2082-4EF5-93E6-D7B63569963D}" type="datetime'P''''''''''''''TC'''''''''''''''''''''''''''''">
              <a:rPr lang="en-US" altLang="en-US" sz="1400" smtClean="0">
                <a:cs typeface="+mn-cs"/>
              </a:rPr>
              <a:pPr algn="ctr">
                <a:spcBef>
                  <a:spcPct val="0"/>
                </a:spcBef>
                <a:spcAft>
                  <a:spcPct val="0"/>
                </a:spcAft>
              </a:pPr>
              <a:t>PTC</a:t>
            </a:fld>
            <a:endParaRPr lang="en-US" sz="1400">
              <a:cs typeface="+mn-cs"/>
            </a:endParaRPr>
          </a:p>
        </p:txBody>
      </p:sp>
      <p:sp>
        <p:nvSpPr>
          <p:cNvPr id="50" name="Text Placeholder 4">
            <a:extLst>
              <a:ext uri="{FF2B5EF4-FFF2-40B4-BE49-F238E27FC236}">
                <a16:creationId xmlns:a16="http://schemas.microsoft.com/office/drawing/2014/main" id="{4796E286-69FE-31FF-D3C1-1D6CDD0A15D6}"/>
              </a:ext>
            </a:extLst>
          </p:cNvPr>
          <p:cNvSpPr>
            <a:spLocks noGrp="1"/>
          </p:cNvSpPr>
          <p:nvPr>
            <p:custDataLst>
              <p:tags r:id="rId47"/>
            </p:custDataLst>
          </p:nvPr>
        </p:nvSpPr>
        <p:spPr bwMode="auto">
          <a:xfrm>
            <a:off x="1068388" y="4928653"/>
            <a:ext cx="585788"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30400" algn="l" defTabSz="914400" rtl="0" eaLnBrk="1" latinLnBrk="0" hangingPunct="1">
              <a:lnSpc>
                <a:spcPct val="100000"/>
              </a:lnSpc>
              <a:spcBef>
                <a:spcPts val="0"/>
              </a:spcBef>
              <a:spcAft>
                <a:spcPts val="300"/>
              </a:spcAft>
              <a:buSzPct val="110000"/>
              <a:buFont typeface="Wingdings" panose="05000000000000000000" pitchFamily="2" charset="2"/>
              <a:buChar char=""/>
              <a:defRPr lang="en-US" sz="1600" kern="1200" dirty="0">
                <a:solidFill>
                  <a:schemeClr val="tx1"/>
                </a:solidFill>
                <a:latin typeface="+mn-lt"/>
                <a:ea typeface="+mn-ea"/>
                <a:cs typeface="+mn-cs"/>
              </a:defRPr>
            </a:lvl2pPr>
            <a:lvl3pPr marL="439200" indent="-208800" algn="l" defTabSz="914400" rtl="0" eaLnBrk="1" latinLnBrk="0" hangingPunct="1">
              <a:lnSpc>
                <a:spcPct val="100000"/>
              </a:lnSpc>
              <a:spcBef>
                <a:spcPts val="0"/>
              </a:spcBef>
              <a:spcAft>
                <a:spcPts val="300"/>
              </a:spcAft>
              <a:buSzPct val="110000"/>
              <a:buFont typeface="Arial" panose="020B0604020202020204" pitchFamily="34" charset="0"/>
              <a:buChar char="‒"/>
              <a:defRPr lang="en-US" sz="1600" kern="1200" dirty="0">
                <a:solidFill>
                  <a:schemeClr val="tx1"/>
                </a:solidFill>
                <a:latin typeface="+mn-lt"/>
                <a:ea typeface="+mn-ea"/>
                <a:cs typeface="+mn-cs"/>
              </a:defRPr>
            </a:lvl3pPr>
            <a:lvl4pPr marL="604800" indent="-154800" algn="l" defTabSz="914400" rtl="0" eaLnBrk="1" latinLnBrk="0" hangingPunct="1">
              <a:lnSpc>
                <a:spcPct val="100000"/>
              </a:lnSpc>
              <a:spcBef>
                <a:spcPts val="0"/>
              </a:spcBef>
              <a:spcAft>
                <a:spcPts val="300"/>
              </a:spcAft>
              <a:buFont typeface="Arial" panose="020B0604020202020204" pitchFamily="34" charset="0"/>
              <a:buChar char="•"/>
              <a:defRPr lang="en-US" sz="1600" kern="1200" dirty="0">
                <a:solidFill>
                  <a:schemeClr val="tx1"/>
                </a:solidFill>
                <a:latin typeface="+mn-lt"/>
                <a:ea typeface="+mn-ea"/>
                <a:cs typeface="+mn-cs"/>
              </a:defRPr>
            </a:lvl4pPr>
            <a:lvl5pPr marL="813600" indent="-147600" algn="l" defTabSz="914400" rtl="0" eaLnBrk="1" latinLnBrk="0" hangingPunct="1">
              <a:lnSpc>
                <a:spcPct val="100000"/>
              </a:lnSpc>
              <a:spcBef>
                <a:spcPts val="0"/>
              </a:spcBef>
              <a:spcAft>
                <a:spcPts val="300"/>
              </a:spcAft>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7CC1E0CB-5BA2-4F8B-AA7E-CA1BC86B9C5B}" type="datetime'''N''''''''''''''o'''''''''''''''''''''' ''''''''IR''A'">
              <a:rPr lang="en-US" altLang="en-US" sz="1400" smtClean="0">
                <a:cs typeface="+mn-cs"/>
              </a:rPr>
              <a:pPr algn="ctr">
                <a:spcBef>
                  <a:spcPct val="0"/>
                </a:spcBef>
                <a:spcAft>
                  <a:spcPct val="0"/>
                </a:spcAft>
              </a:pPr>
              <a:t>No IRA</a:t>
            </a:fld>
            <a:endParaRPr lang="en-US" sz="1400">
              <a:cs typeface="+mn-cs"/>
            </a:endParaRPr>
          </a:p>
        </p:txBody>
      </p:sp>
      <p:sp>
        <p:nvSpPr>
          <p:cNvPr id="51" name="Text Placeholder 4">
            <a:extLst>
              <a:ext uri="{FF2B5EF4-FFF2-40B4-BE49-F238E27FC236}">
                <a16:creationId xmlns:a16="http://schemas.microsoft.com/office/drawing/2014/main" id="{82DD7946-892A-AC4B-18B6-673F23824E39}"/>
              </a:ext>
            </a:extLst>
          </p:cNvPr>
          <p:cNvSpPr>
            <a:spLocks noGrp="1"/>
          </p:cNvSpPr>
          <p:nvPr>
            <p:custDataLst>
              <p:tags r:id="rId48"/>
            </p:custDataLst>
          </p:nvPr>
        </p:nvSpPr>
        <p:spPr bwMode="gray">
          <a:xfrm>
            <a:off x="6083300" y="3017303"/>
            <a:ext cx="24765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numCol="1" spcCol="0" rtlCol="0" anchor="b"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30400" algn="l" defTabSz="914400" rtl="0" eaLnBrk="1" latinLnBrk="0" hangingPunct="1">
              <a:lnSpc>
                <a:spcPct val="100000"/>
              </a:lnSpc>
              <a:spcBef>
                <a:spcPts val="0"/>
              </a:spcBef>
              <a:spcAft>
                <a:spcPts val="300"/>
              </a:spcAft>
              <a:buSzPct val="110000"/>
              <a:buFont typeface="Wingdings" panose="05000000000000000000" pitchFamily="2" charset="2"/>
              <a:buChar char=""/>
              <a:defRPr lang="en-US" sz="1600" kern="1200" dirty="0">
                <a:solidFill>
                  <a:schemeClr val="tx1"/>
                </a:solidFill>
                <a:latin typeface="+mn-lt"/>
                <a:ea typeface="+mn-ea"/>
                <a:cs typeface="+mn-cs"/>
              </a:defRPr>
            </a:lvl2pPr>
            <a:lvl3pPr marL="439200" indent="-208800" algn="l" defTabSz="914400" rtl="0" eaLnBrk="1" latinLnBrk="0" hangingPunct="1">
              <a:lnSpc>
                <a:spcPct val="100000"/>
              </a:lnSpc>
              <a:spcBef>
                <a:spcPts val="0"/>
              </a:spcBef>
              <a:spcAft>
                <a:spcPts val="300"/>
              </a:spcAft>
              <a:buSzPct val="110000"/>
              <a:buFont typeface="Arial" panose="020B0604020202020204" pitchFamily="34" charset="0"/>
              <a:buChar char="‒"/>
              <a:defRPr lang="en-US" sz="1600" kern="1200" dirty="0">
                <a:solidFill>
                  <a:schemeClr val="tx1"/>
                </a:solidFill>
                <a:latin typeface="+mn-lt"/>
                <a:ea typeface="+mn-ea"/>
                <a:cs typeface="+mn-cs"/>
              </a:defRPr>
            </a:lvl3pPr>
            <a:lvl4pPr marL="604800" indent="-154800" algn="l" defTabSz="914400" rtl="0" eaLnBrk="1" latinLnBrk="0" hangingPunct="1">
              <a:lnSpc>
                <a:spcPct val="100000"/>
              </a:lnSpc>
              <a:spcBef>
                <a:spcPts val="0"/>
              </a:spcBef>
              <a:spcAft>
                <a:spcPts val="300"/>
              </a:spcAft>
              <a:buFont typeface="Arial" panose="020B0604020202020204" pitchFamily="34" charset="0"/>
              <a:buChar char="•"/>
              <a:defRPr lang="en-US" sz="1600" kern="1200" dirty="0">
                <a:solidFill>
                  <a:schemeClr val="tx1"/>
                </a:solidFill>
                <a:latin typeface="+mn-lt"/>
                <a:ea typeface="+mn-ea"/>
                <a:cs typeface="+mn-cs"/>
              </a:defRPr>
            </a:lvl4pPr>
            <a:lvl5pPr marL="813600" indent="-147600" algn="l" defTabSz="914400" rtl="0" eaLnBrk="1" latinLnBrk="0" hangingPunct="1">
              <a:lnSpc>
                <a:spcPct val="100000"/>
              </a:lnSpc>
              <a:spcBef>
                <a:spcPts val="0"/>
              </a:spcBef>
              <a:spcAft>
                <a:spcPts val="300"/>
              </a:spcAft>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E9DA285B-65ED-4489-BEC8-E1ECA65693C6}" type="datetime'''''''''''8''''''''''''''''7'''">
              <a:rPr lang="en-US" altLang="en-US" sz="1400" smtClean="0">
                <a:effectLst/>
                <a:cs typeface="+mn-cs"/>
              </a:rPr>
              <a:pPr algn="ctr">
                <a:spcBef>
                  <a:spcPct val="0"/>
                </a:spcBef>
                <a:spcAft>
                  <a:spcPct val="0"/>
                </a:spcAft>
              </a:pPr>
              <a:t>87</a:t>
            </a:fld>
            <a:endParaRPr lang="en-US" sz="1400">
              <a:cs typeface="+mn-cs"/>
            </a:endParaRPr>
          </a:p>
        </p:txBody>
      </p:sp>
      <p:sp>
        <p:nvSpPr>
          <p:cNvPr id="52" name="Text Placeholder 4">
            <a:extLst>
              <a:ext uri="{FF2B5EF4-FFF2-40B4-BE49-F238E27FC236}">
                <a16:creationId xmlns:a16="http://schemas.microsoft.com/office/drawing/2014/main" id="{D5B610B4-D995-2905-78C5-6FAC687A4826}"/>
              </a:ext>
            </a:extLst>
          </p:cNvPr>
          <p:cNvSpPr>
            <a:spLocks noGrp="1"/>
          </p:cNvSpPr>
          <p:nvPr>
            <p:custDataLst>
              <p:tags r:id="rId49"/>
            </p:custDataLst>
          </p:nvPr>
        </p:nvSpPr>
        <p:spPr bwMode="auto">
          <a:xfrm>
            <a:off x="2827338" y="4928653"/>
            <a:ext cx="29845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30400" algn="l" defTabSz="914400" rtl="0" eaLnBrk="1" latinLnBrk="0" hangingPunct="1">
              <a:lnSpc>
                <a:spcPct val="100000"/>
              </a:lnSpc>
              <a:spcBef>
                <a:spcPts val="0"/>
              </a:spcBef>
              <a:spcAft>
                <a:spcPts val="300"/>
              </a:spcAft>
              <a:buSzPct val="110000"/>
              <a:buFont typeface="Wingdings" panose="05000000000000000000" pitchFamily="2" charset="2"/>
              <a:buChar char=""/>
              <a:defRPr lang="en-US" sz="1600" kern="1200" dirty="0">
                <a:solidFill>
                  <a:schemeClr val="tx1"/>
                </a:solidFill>
                <a:latin typeface="+mn-lt"/>
                <a:ea typeface="+mn-ea"/>
                <a:cs typeface="+mn-cs"/>
              </a:defRPr>
            </a:lvl2pPr>
            <a:lvl3pPr marL="439200" indent="-208800" algn="l" defTabSz="914400" rtl="0" eaLnBrk="1" latinLnBrk="0" hangingPunct="1">
              <a:lnSpc>
                <a:spcPct val="100000"/>
              </a:lnSpc>
              <a:spcBef>
                <a:spcPts val="0"/>
              </a:spcBef>
              <a:spcAft>
                <a:spcPts val="300"/>
              </a:spcAft>
              <a:buSzPct val="110000"/>
              <a:buFont typeface="Arial" panose="020B0604020202020204" pitchFamily="34" charset="0"/>
              <a:buChar char="‒"/>
              <a:defRPr lang="en-US" sz="1600" kern="1200" dirty="0">
                <a:solidFill>
                  <a:schemeClr val="tx1"/>
                </a:solidFill>
                <a:latin typeface="+mn-lt"/>
                <a:ea typeface="+mn-ea"/>
                <a:cs typeface="+mn-cs"/>
              </a:defRPr>
            </a:lvl3pPr>
            <a:lvl4pPr marL="604800" indent="-154800" algn="l" defTabSz="914400" rtl="0" eaLnBrk="1" latinLnBrk="0" hangingPunct="1">
              <a:lnSpc>
                <a:spcPct val="100000"/>
              </a:lnSpc>
              <a:spcBef>
                <a:spcPts val="0"/>
              </a:spcBef>
              <a:spcAft>
                <a:spcPts val="300"/>
              </a:spcAft>
              <a:buFont typeface="Arial" panose="020B0604020202020204" pitchFamily="34" charset="0"/>
              <a:buChar char="•"/>
              <a:defRPr lang="en-US" sz="1600" kern="1200" dirty="0">
                <a:solidFill>
                  <a:schemeClr val="tx1"/>
                </a:solidFill>
                <a:latin typeface="+mn-lt"/>
                <a:ea typeface="+mn-ea"/>
                <a:cs typeface="+mn-cs"/>
              </a:defRPr>
            </a:lvl4pPr>
            <a:lvl5pPr marL="813600" indent="-147600" algn="l" defTabSz="914400" rtl="0" eaLnBrk="1" latinLnBrk="0" hangingPunct="1">
              <a:lnSpc>
                <a:spcPct val="100000"/>
              </a:lnSpc>
              <a:spcBef>
                <a:spcPts val="0"/>
              </a:spcBef>
              <a:spcAft>
                <a:spcPts val="300"/>
              </a:spcAft>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EBCB7336-26D6-4B09-8508-AAAE2EB1CF39}" type="datetime'I''''''''''''''''''''T''''C'''''''''''''''''''''">
              <a:rPr lang="en-US" altLang="en-US" sz="1400" smtClean="0">
                <a:cs typeface="+mn-cs"/>
              </a:rPr>
              <a:pPr algn="ctr">
                <a:spcBef>
                  <a:spcPct val="0"/>
                </a:spcBef>
                <a:spcAft>
                  <a:spcPct val="0"/>
                </a:spcAft>
              </a:pPr>
              <a:t>ITC</a:t>
            </a:fld>
            <a:endParaRPr lang="en-US" sz="1400">
              <a:cs typeface="+mn-cs"/>
            </a:endParaRPr>
          </a:p>
        </p:txBody>
      </p:sp>
      <p:sp>
        <p:nvSpPr>
          <p:cNvPr id="53" name="Text Placeholder 4">
            <a:extLst>
              <a:ext uri="{FF2B5EF4-FFF2-40B4-BE49-F238E27FC236}">
                <a16:creationId xmlns:a16="http://schemas.microsoft.com/office/drawing/2014/main" id="{597F34A1-2208-5FB6-D6A0-02793B40B309}"/>
              </a:ext>
            </a:extLst>
          </p:cNvPr>
          <p:cNvSpPr>
            <a:spLocks noGrp="1"/>
          </p:cNvSpPr>
          <p:nvPr>
            <p:custDataLst>
              <p:tags r:id="rId50"/>
            </p:custDataLst>
          </p:nvPr>
        </p:nvSpPr>
        <p:spPr bwMode="auto">
          <a:xfrm>
            <a:off x="9288463" y="4928653"/>
            <a:ext cx="29845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30400" algn="l" defTabSz="914400" rtl="0" eaLnBrk="1" latinLnBrk="0" hangingPunct="1">
              <a:lnSpc>
                <a:spcPct val="100000"/>
              </a:lnSpc>
              <a:spcBef>
                <a:spcPts val="0"/>
              </a:spcBef>
              <a:spcAft>
                <a:spcPts val="300"/>
              </a:spcAft>
              <a:buSzPct val="110000"/>
              <a:buFont typeface="Wingdings" panose="05000000000000000000" pitchFamily="2" charset="2"/>
              <a:buChar char=""/>
              <a:defRPr lang="en-US" sz="1600" kern="1200" dirty="0">
                <a:solidFill>
                  <a:schemeClr val="tx1"/>
                </a:solidFill>
                <a:latin typeface="+mn-lt"/>
                <a:ea typeface="+mn-ea"/>
                <a:cs typeface="+mn-cs"/>
              </a:defRPr>
            </a:lvl2pPr>
            <a:lvl3pPr marL="439200" indent="-208800" algn="l" defTabSz="914400" rtl="0" eaLnBrk="1" latinLnBrk="0" hangingPunct="1">
              <a:lnSpc>
                <a:spcPct val="100000"/>
              </a:lnSpc>
              <a:spcBef>
                <a:spcPts val="0"/>
              </a:spcBef>
              <a:spcAft>
                <a:spcPts val="300"/>
              </a:spcAft>
              <a:buSzPct val="110000"/>
              <a:buFont typeface="Arial" panose="020B0604020202020204" pitchFamily="34" charset="0"/>
              <a:buChar char="‒"/>
              <a:defRPr lang="en-US" sz="1600" kern="1200" dirty="0">
                <a:solidFill>
                  <a:schemeClr val="tx1"/>
                </a:solidFill>
                <a:latin typeface="+mn-lt"/>
                <a:ea typeface="+mn-ea"/>
                <a:cs typeface="+mn-cs"/>
              </a:defRPr>
            </a:lvl3pPr>
            <a:lvl4pPr marL="604800" indent="-154800" algn="l" defTabSz="914400" rtl="0" eaLnBrk="1" latinLnBrk="0" hangingPunct="1">
              <a:lnSpc>
                <a:spcPct val="100000"/>
              </a:lnSpc>
              <a:spcBef>
                <a:spcPts val="0"/>
              </a:spcBef>
              <a:spcAft>
                <a:spcPts val="300"/>
              </a:spcAft>
              <a:buFont typeface="Arial" panose="020B0604020202020204" pitchFamily="34" charset="0"/>
              <a:buChar char="•"/>
              <a:defRPr lang="en-US" sz="1600" kern="1200" dirty="0">
                <a:solidFill>
                  <a:schemeClr val="tx1"/>
                </a:solidFill>
                <a:latin typeface="+mn-lt"/>
                <a:ea typeface="+mn-ea"/>
                <a:cs typeface="+mn-cs"/>
              </a:defRPr>
            </a:lvl4pPr>
            <a:lvl5pPr marL="813600" indent="-147600" algn="l" defTabSz="914400" rtl="0" eaLnBrk="1" latinLnBrk="0" hangingPunct="1">
              <a:lnSpc>
                <a:spcPct val="100000"/>
              </a:lnSpc>
              <a:spcBef>
                <a:spcPts val="0"/>
              </a:spcBef>
              <a:spcAft>
                <a:spcPts val="300"/>
              </a:spcAft>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A689B5F6-6DBC-414C-9CD7-F3DBEA03AB26}" type="datetime'''''''''IT''''''''''''''''''''''''''''''''''''''''''''C'''''''">
              <a:rPr lang="en-US" altLang="en-US" sz="1400" smtClean="0">
                <a:cs typeface="+mn-cs"/>
              </a:rPr>
              <a:pPr algn="ctr">
                <a:spcBef>
                  <a:spcPct val="0"/>
                </a:spcBef>
                <a:spcAft>
                  <a:spcPct val="0"/>
                </a:spcAft>
              </a:pPr>
              <a:t>ITC</a:t>
            </a:fld>
            <a:endParaRPr lang="en-US" sz="1400">
              <a:cs typeface="+mn-cs"/>
            </a:endParaRPr>
          </a:p>
        </p:txBody>
      </p:sp>
      <p:sp>
        <p:nvSpPr>
          <p:cNvPr id="54" name="Text Placeholder 4">
            <a:extLst>
              <a:ext uri="{FF2B5EF4-FFF2-40B4-BE49-F238E27FC236}">
                <a16:creationId xmlns:a16="http://schemas.microsoft.com/office/drawing/2014/main" id="{C0CA5A89-319F-6704-BC4D-DCAC565BD91A}"/>
              </a:ext>
            </a:extLst>
          </p:cNvPr>
          <p:cNvSpPr>
            <a:spLocks noGrp="1"/>
          </p:cNvSpPr>
          <p:nvPr>
            <p:custDataLst>
              <p:tags r:id="rId51"/>
            </p:custDataLst>
          </p:nvPr>
        </p:nvSpPr>
        <p:spPr bwMode="gray">
          <a:xfrm>
            <a:off x="2001838" y="2441040"/>
            <a:ext cx="33337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numCol="1" spcCol="0" rtlCol="0" anchor="b"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30400" algn="l" defTabSz="914400" rtl="0" eaLnBrk="1" latinLnBrk="0" hangingPunct="1">
              <a:lnSpc>
                <a:spcPct val="100000"/>
              </a:lnSpc>
              <a:spcBef>
                <a:spcPts val="0"/>
              </a:spcBef>
              <a:spcAft>
                <a:spcPts val="300"/>
              </a:spcAft>
              <a:buSzPct val="110000"/>
              <a:buFont typeface="Wingdings" panose="05000000000000000000" pitchFamily="2" charset="2"/>
              <a:buChar char=""/>
              <a:defRPr lang="en-US" sz="1600" kern="1200" dirty="0">
                <a:solidFill>
                  <a:schemeClr val="tx1"/>
                </a:solidFill>
                <a:latin typeface="+mn-lt"/>
                <a:ea typeface="+mn-ea"/>
                <a:cs typeface="+mn-cs"/>
              </a:defRPr>
            </a:lvl2pPr>
            <a:lvl3pPr marL="439200" indent="-208800" algn="l" defTabSz="914400" rtl="0" eaLnBrk="1" latinLnBrk="0" hangingPunct="1">
              <a:lnSpc>
                <a:spcPct val="100000"/>
              </a:lnSpc>
              <a:spcBef>
                <a:spcPts val="0"/>
              </a:spcBef>
              <a:spcAft>
                <a:spcPts val="300"/>
              </a:spcAft>
              <a:buSzPct val="110000"/>
              <a:buFont typeface="Arial" panose="020B0604020202020204" pitchFamily="34" charset="0"/>
              <a:buChar char="‒"/>
              <a:defRPr lang="en-US" sz="1600" kern="1200" dirty="0">
                <a:solidFill>
                  <a:schemeClr val="tx1"/>
                </a:solidFill>
                <a:latin typeface="+mn-lt"/>
                <a:ea typeface="+mn-ea"/>
                <a:cs typeface="+mn-cs"/>
              </a:defRPr>
            </a:lvl3pPr>
            <a:lvl4pPr marL="604800" indent="-154800" algn="l" defTabSz="914400" rtl="0" eaLnBrk="1" latinLnBrk="0" hangingPunct="1">
              <a:lnSpc>
                <a:spcPct val="100000"/>
              </a:lnSpc>
              <a:spcBef>
                <a:spcPts val="0"/>
              </a:spcBef>
              <a:spcAft>
                <a:spcPts val="300"/>
              </a:spcAft>
              <a:buFont typeface="Arial" panose="020B0604020202020204" pitchFamily="34" charset="0"/>
              <a:buChar char="•"/>
              <a:defRPr lang="en-US" sz="1600" kern="1200" dirty="0">
                <a:solidFill>
                  <a:schemeClr val="tx1"/>
                </a:solidFill>
                <a:latin typeface="+mn-lt"/>
                <a:ea typeface="+mn-ea"/>
                <a:cs typeface="+mn-cs"/>
              </a:defRPr>
            </a:lvl4pPr>
            <a:lvl5pPr marL="813600" indent="-147600" algn="l" defTabSz="914400" rtl="0" eaLnBrk="1" latinLnBrk="0" hangingPunct="1">
              <a:lnSpc>
                <a:spcPct val="100000"/>
              </a:lnSpc>
              <a:spcBef>
                <a:spcPts val="0"/>
              </a:spcBef>
              <a:spcAft>
                <a:spcPts val="300"/>
              </a:spcAft>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FB7CD4C5-E2D8-4A0E-8190-01D6079042A5}" type="datetime'''''''''''''''''''1''''''''''''''''''''''''1''''''''''8'''">
              <a:rPr lang="en-US" altLang="en-US" sz="1400" smtClean="0">
                <a:effectLst/>
                <a:cs typeface="+mn-cs"/>
              </a:rPr>
              <a:pPr algn="ctr">
                <a:spcBef>
                  <a:spcPct val="0"/>
                </a:spcBef>
                <a:spcAft>
                  <a:spcPct val="0"/>
                </a:spcAft>
              </a:pPr>
              <a:t>118</a:t>
            </a:fld>
            <a:endParaRPr lang="en-US" sz="1400">
              <a:cs typeface="+mn-cs"/>
            </a:endParaRPr>
          </a:p>
        </p:txBody>
      </p:sp>
      <p:sp>
        <p:nvSpPr>
          <p:cNvPr id="55" name="Text Placeholder 4">
            <a:extLst>
              <a:ext uri="{FF2B5EF4-FFF2-40B4-BE49-F238E27FC236}">
                <a16:creationId xmlns:a16="http://schemas.microsoft.com/office/drawing/2014/main" id="{957C7B26-8539-1BEE-23E3-50EA4D881C77}"/>
              </a:ext>
            </a:extLst>
          </p:cNvPr>
          <p:cNvSpPr>
            <a:spLocks noGrp="1"/>
          </p:cNvSpPr>
          <p:nvPr>
            <p:custDataLst>
              <p:tags r:id="rId52"/>
            </p:custDataLst>
          </p:nvPr>
        </p:nvSpPr>
        <p:spPr bwMode="gray">
          <a:xfrm>
            <a:off x="2803525" y="2607728"/>
            <a:ext cx="34607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numCol="1" spcCol="0" rtlCol="0" anchor="b"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30400" algn="l" defTabSz="914400" rtl="0" eaLnBrk="1" latinLnBrk="0" hangingPunct="1">
              <a:lnSpc>
                <a:spcPct val="100000"/>
              </a:lnSpc>
              <a:spcBef>
                <a:spcPts val="0"/>
              </a:spcBef>
              <a:spcAft>
                <a:spcPts val="300"/>
              </a:spcAft>
              <a:buSzPct val="110000"/>
              <a:buFont typeface="Wingdings" panose="05000000000000000000" pitchFamily="2" charset="2"/>
              <a:buChar char=""/>
              <a:defRPr lang="en-US" sz="1600" kern="1200" dirty="0">
                <a:solidFill>
                  <a:schemeClr val="tx1"/>
                </a:solidFill>
                <a:latin typeface="+mn-lt"/>
                <a:ea typeface="+mn-ea"/>
                <a:cs typeface="+mn-cs"/>
              </a:defRPr>
            </a:lvl2pPr>
            <a:lvl3pPr marL="439200" indent="-208800" algn="l" defTabSz="914400" rtl="0" eaLnBrk="1" latinLnBrk="0" hangingPunct="1">
              <a:lnSpc>
                <a:spcPct val="100000"/>
              </a:lnSpc>
              <a:spcBef>
                <a:spcPts val="0"/>
              </a:spcBef>
              <a:spcAft>
                <a:spcPts val="300"/>
              </a:spcAft>
              <a:buSzPct val="110000"/>
              <a:buFont typeface="Arial" panose="020B0604020202020204" pitchFamily="34" charset="0"/>
              <a:buChar char="‒"/>
              <a:defRPr lang="en-US" sz="1600" kern="1200" dirty="0">
                <a:solidFill>
                  <a:schemeClr val="tx1"/>
                </a:solidFill>
                <a:latin typeface="+mn-lt"/>
                <a:ea typeface="+mn-ea"/>
                <a:cs typeface="+mn-cs"/>
              </a:defRPr>
            </a:lvl3pPr>
            <a:lvl4pPr marL="604800" indent="-154800" algn="l" defTabSz="914400" rtl="0" eaLnBrk="1" latinLnBrk="0" hangingPunct="1">
              <a:lnSpc>
                <a:spcPct val="100000"/>
              </a:lnSpc>
              <a:spcBef>
                <a:spcPts val="0"/>
              </a:spcBef>
              <a:spcAft>
                <a:spcPts val="300"/>
              </a:spcAft>
              <a:buFont typeface="Arial" panose="020B0604020202020204" pitchFamily="34" charset="0"/>
              <a:buChar char="•"/>
              <a:defRPr lang="en-US" sz="1600" kern="1200" dirty="0">
                <a:solidFill>
                  <a:schemeClr val="tx1"/>
                </a:solidFill>
                <a:latin typeface="+mn-lt"/>
                <a:ea typeface="+mn-ea"/>
                <a:cs typeface="+mn-cs"/>
              </a:defRPr>
            </a:lvl4pPr>
            <a:lvl5pPr marL="813600" indent="-147600" algn="l" defTabSz="914400" rtl="0" eaLnBrk="1" latinLnBrk="0" hangingPunct="1">
              <a:lnSpc>
                <a:spcPct val="100000"/>
              </a:lnSpc>
              <a:spcBef>
                <a:spcPts val="0"/>
              </a:spcBef>
              <a:spcAft>
                <a:spcPts val="300"/>
              </a:spcAft>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4A40EAFA-E4B8-46A1-8B99-CCFE323B0A2F}" type="datetime'''1''''0''''''''''''''''''''''''''''''''9'''">
              <a:rPr lang="en-US" altLang="en-US" sz="1400" smtClean="0">
                <a:cs typeface="+mn-cs"/>
              </a:rPr>
              <a:pPr algn="ctr">
                <a:spcBef>
                  <a:spcPct val="0"/>
                </a:spcBef>
                <a:spcAft>
                  <a:spcPct val="0"/>
                </a:spcAft>
              </a:pPr>
              <a:t>109</a:t>
            </a:fld>
            <a:endParaRPr lang="en-US" sz="1400">
              <a:cs typeface="+mn-cs"/>
            </a:endParaRPr>
          </a:p>
        </p:txBody>
      </p:sp>
      <p:sp>
        <p:nvSpPr>
          <p:cNvPr id="56" name="Text Placeholder 4">
            <a:extLst>
              <a:ext uri="{FF2B5EF4-FFF2-40B4-BE49-F238E27FC236}">
                <a16:creationId xmlns:a16="http://schemas.microsoft.com/office/drawing/2014/main" id="{BE2B91DC-F60E-0739-9785-6CFCC4F9A723}"/>
              </a:ext>
            </a:extLst>
          </p:cNvPr>
          <p:cNvSpPr>
            <a:spLocks noGrp="1"/>
          </p:cNvSpPr>
          <p:nvPr>
            <p:custDataLst>
              <p:tags r:id="rId53"/>
            </p:custDataLst>
          </p:nvPr>
        </p:nvSpPr>
        <p:spPr bwMode="gray">
          <a:xfrm>
            <a:off x="8505825" y="3517365"/>
            <a:ext cx="24765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numCol="1" spcCol="0" rtlCol="0" anchor="b"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30400" algn="l" defTabSz="914400" rtl="0" eaLnBrk="1" latinLnBrk="0" hangingPunct="1">
              <a:lnSpc>
                <a:spcPct val="100000"/>
              </a:lnSpc>
              <a:spcBef>
                <a:spcPts val="0"/>
              </a:spcBef>
              <a:spcAft>
                <a:spcPts val="300"/>
              </a:spcAft>
              <a:buSzPct val="110000"/>
              <a:buFont typeface="Wingdings" panose="05000000000000000000" pitchFamily="2" charset="2"/>
              <a:buChar char=""/>
              <a:defRPr lang="en-US" sz="1600" kern="1200" dirty="0">
                <a:solidFill>
                  <a:schemeClr val="tx1"/>
                </a:solidFill>
                <a:latin typeface="+mn-lt"/>
                <a:ea typeface="+mn-ea"/>
                <a:cs typeface="+mn-cs"/>
              </a:defRPr>
            </a:lvl2pPr>
            <a:lvl3pPr marL="439200" indent="-208800" algn="l" defTabSz="914400" rtl="0" eaLnBrk="1" latinLnBrk="0" hangingPunct="1">
              <a:lnSpc>
                <a:spcPct val="100000"/>
              </a:lnSpc>
              <a:spcBef>
                <a:spcPts val="0"/>
              </a:spcBef>
              <a:spcAft>
                <a:spcPts val="300"/>
              </a:spcAft>
              <a:buSzPct val="110000"/>
              <a:buFont typeface="Arial" panose="020B0604020202020204" pitchFamily="34" charset="0"/>
              <a:buChar char="‒"/>
              <a:defRPr lang="en-US" sz="1600" kern="1200" dirty="0">
                <a:solidFill>
                  <a:schemeClr val="tx1"/>
                </a:solidFill>
                <a:latin typeface="+mn-lt"/>
                <a:ea typeface="+mn-ea"/>
                <a:cs typeface="+mn-cs"/>
              </a:defRPr>
            </a:lvl3pPr>
            <a:lvl4pPr marL="604800" indent="-154800" algn="l" defTabSz="914400" rtl="0" eaLnBrk="1" latinLnBrk="0" hangingPunct="1">
              <a:lnSpc>
                <a:spcPct val="100000"/>
              </a:lnSpc>
              <a:spcBef>
                <a:spcPts val="0"/>
              </a:spcBef>
              <a:spcAft>
                <a:spcPts val="300"/>
              </a:spcAft>
              <a:buFont typeface="Arial" panose="020B0604020202020204" pitchFamily="34" charset="0"/>
              <a:buChar char="•"/>
              <a:defRPr lang="en-US" sz="1600" kern="1200" dirty="0">
                <a:solidFill>
                  <a:schemeClr val="tx1"/>
                </a:solidFill>
                <a:latin typeface="+mn-lt"/>
                <a:ea typeface="+mn-ea"/>
                <a:cs typeface="+mn-cs"/>
              </a:defRPr>
            </a:lvl4pPr>
            <a:lvl5pPr marL="813600" indent="-147600" algn="l" defTabSz="914400" rtl="0" eaLnBrk="1" latinLnBrk="0" hangingPunct="1">
              <a:lnSpc>
                <a:spcPct val="100000"/>
              </a:lnSpc>
              <a:spcBef>
                <a:spcPts val="0"/>
              </a:spcBef>
              <a:spcAft>
                <a:spcPts val="300"/>
              </a:spcAft>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26E7437A-6634-49A3-8D8D-362DF793A579}" type="datetime'''''6''''''''''''''''''''''''''0'''''''''">
              <a:rPr lang="en-US" altLang="en-US" sz="1400" smtClean="0">
                <a:cs typeface="+mn-cs"/>
              </a:rPr>
              <a:pPr algn="ctr">
                <a:spcBef>
                  <a:spcPct val="0"/>
                </a:spcBef>
                <a:spcAft>
                  <a:spcPct val="0"/>
                </a:spcAft>
              </a:pPr>
              <a:t>60</a:t>
            </a:fld>
            <a:endParaRPr lang="en-US" sz="1400">
              <a:cs typeface="+mn-cs"/>
            </a:endParaRPr>
          </a:p>
        </p:txBody>
      </p:sp>
      <p:sp>
        <p:nvSpPr>
          <p:cNvPr id="57" name="Text Placeholder 4">
            <a:extLst>
              <a:ext uri="{FF2B5EF4-FFF2-40B4-BE49-F238E27FC236}">
                <a16:creationId xmlns:a16="http://schemas.microsoft.com/office/drawing/2014/main" id="{546CA1DF-C3BD-F3C5-BECC-6AB7ED262E8D}"/>
              </a:ext>
            </a:extLst>
          </p:cNvPr>
          <p:cNvSpPr>
            <a:spLocks noGrp="1"/>
          </p:cNvSpPr>
          <p:nvPr>
            <p:custDataLst>
              <p:tags r:id="rId54"/>
            </p:custDataLst>
          </p:nvPr>
        </p:nvSpPr>
        <p:spPr bwMode="gray">
          <a:xfrm>
            <a:off x="9313863" y="3406240"/>
            <a:ext cx="24765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numCol="1" spcCol="0" rtlCol="0" anchor="b"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30400" algn="l" defTabSz="914400" rtl="0" eaLnBrk="1" latinLnBrk="0" hangingPunct="1">
              <a:lnSpc>
                <a:spcPct val="100000"/>
              </a:lnSpc>
              <a:spcBef>
                <a:spcPts val="0"/>
              </a:spcBef>
              <a:spcAft>
                <a:spcPts val="300"/>
              </a:spcAft>
              <a:buSzPct val="110000"/>
              <a:buFont typeface="Wingdings" panose="05000000000000000000" pitchFamily="2" charset="2"/>
              <a:buChar char=""/>
              <a:defRPr lang="en-US" sz="1600" kern="1200" dirty="0">
                <a:solidFill>
                  <a:schemeClr val="tx1"/>
                </a:solidFill>
                <a:latin typeface="+mn-lt"/>
                <a:ea typeface="+mn-ea"/>
                <a:cs typeface="+mn-cs"/>
              </a:defRPr>
            </a:lvl2pPr>
            <a:lvl3pPr marL="439200" indent="-208800" algn="l" defTabSz="914400" rtl="0" eaLnBrk="1" latinLnBrk="0" hangingPunct="1">
              <a:lnSpc>
                <a:spcPct val="100000"/>
              </a:lnSpc>
              <a:spcBef>
                <a:spcPts val="0"/>
              </a:spcBef>
              <a:spcAft>
                <a:spcPts val="300"/>
              </a:spcAft>
              <a:buSzPct val="110000"/>
              <a:buFont typeface="Arial" panose="020B0604020202020204" pitchFamily="34" charset="0"/>
              <a:buChar char="‒"/>
              <a:defRPr lang="en-US" sz="1600" kern="1200" dirty="0">
                <a:solidFill>
                  <a:schemeClr val="tx1"/>
                </a:solidFill>
                <a:latin typeface="+mn-lt"/>
                <a:ea typeface="+mn-ea"/>
                <a:cs typeface="+mn-cs"/>
              </a:defRPr>
            </a:lvl3pPr>
            <a:lvl4pPr marL="604800" indent="-154800" algn="l" defTabSz="914400" rtl="0" eaLnBrk="1" latinLnBrk="0" hangingPunct="1">
              <a:lnSpc>
                <a:spcPct val="100000"/>
              </a:lnSpc>
              <a:spcBef>
                <a:spcPts val="0"/>
              </a:spcBef>
              <a:spcAft>
                <a:spcPts val="300"/>
              </a:spcAft>
              <a:buFont typeface="Arial" panose="020B0604020202020204" pitchFamily="34" charset="0"/>
              <a:buChar char="•"/>
              <a:defRPr lang="en-US" sz="1600" kern="1200" dirty="0">
                <a:solidFill>
                  <a:schemeClr val="tx1"/>
                </a:solidFill>
                <a:latin typeface="+mn-lt"/>
                <a:ea typeface="+mn-ea"/>
                <a:cs typeface="+mn-cs"/>
              </a:defRPr>
            </a:lvl4pPr>
            <a:lvl5pPr marL="813600" indent="-147600" algn="l" defTabSz="914400" rtl="0" eaLnBrk="1" latinLnBrk="0" hangingPunct="1">
              <a:lnSpc>
                <a:spcPct val="100000"/>
              </a:lnSpc>
              <a:spcBef>
                <a:spcPts val="0"/>
              </a:spcBef>
              <a:spcAft>
                <a:spcPts val="300"/>
              </a:spcAft>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E9908FF5-136B-49CC-9578-379BCAA56A4F}" type="datetime'''''''''''''''6''''''''''''''''''''''''''''''6'''''''">
              <a:rPr lang="en-US" altLang="en-US" sz="1400" smtClean="0">
                <a:effectLst/>
                <a:cs typeface="+mn-cs"/>
              </a:rPr>
              <a:pPr algn="ctr">
                <a:spcBef>
                  <a:spcPct val="0"/>
                </a:spcBef>
                <a:spcAft>
                  <a:spcPct val="0"/>
                </a:spcAft>
              </a:pPr>
              <a:t>66</a:t>
            </a:fld>
            <a:endParaRPr lang="en-US" sz="1400">
              <a:cs typeface="+mn-cs"/>
            </a:endParaRPr>
          </a:p>
        </p:txBody>
      </p:sp>
      <p:sp>
        <p:nvSpPr>
          <p:cNvPr id="58" name="TextBox 57">
            <a:extLst>
              <a:ext uri="{FF2B5EF4-FFF2-40B4-BE49-F238E27FC236}">
                <a16:creationId xmlns:a16="http://schemas.microsoft.com/office/drawing/2014/main" id="{7F688499-8120-8F64-8787-A36FDDADC669}"/>
              </a:ext>
            </a:extLst>
          </p:cNvPr>
          <p:cNvSpPr txBox="1"/>
          <p:nvPr/>
        </p:nvSpPr>
        <p:spPr>
          <a:xfrm>
            <a:off x="1297577" y="5203143"/>
            <a:ext cx="1741895" cy="507831"/>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228600" lvl="1" indent="-230400">
              <a:lnSpc>
                <a:spcPct val="100000"/>
              </a:lnSpc>
              <a:spcBef>
                <a:spcPts val="0"/>
              </a:spcBef>
              <a:spcAft>
                <a:spcPts val="300"/>
              </a:spcAft>
              <a:buSzPct val="110000"/>
              <a:buFont typeface="Wingdings" panose="05000000000000000000" pitchFamily="2" charset="2"/>
              <a:buChar char=""/>
              <a:defRPr lang="en-US" sz="1600" dirty="0"/>
            </a:lvl2pPr>
            <a:lvl3pPr marL="439200" lvl="2" indent="-208800">
              <a:lnSpc>
                <a:spcPct val="100000"/>
              </a:lnSpc>
              <a:spcBef>
                <a:spcPts val="0"/>
              </a:spcBef>
              <a:spcAft>
                <a:spcPts val="300"/>
              </a:spcAft>
              <a:buSzPct val="110000"/>
              <a:buFont typeface="Arial" panose="020B0604020202020204" pitchFamily="34" charset="0"/>
              <a:buChar char="‒"/>
              <a:defRPr lang="en-US" sz="1600" dirty="0"/>
            </a:lvl3pPr>
            <a:lvl4pPr marL="604800" lvl="3" indent="-154800">
              <a:lnSpc>
                <a:spcPct val="100000"/>
              </a:lnSpc>
              <a:spcBef>
                <a:spcPts val="0"/>
              </a:spcBef>
              <a:spcAft>
                <a:spcPts val="300"/>
              </a:spcAft>
              <a:buFont typeface="Arial" panose="020B0604020202020204" pitchFamily="34" charset="0"/>
              <a:buChar char="•"/>
              <a:defRPr lang="en-US" sz="1600" dirty="0"/>
            </a:lvl4pPr>
            <a:lvl5pPr marL="813600" lvl="4" indent="-147600">
              <a:lnSpc>
                <a:spcPct val="100000"/>
              </a:lnSpc>
              <a:spcBef>
                <a:spcPts val="0"/>
              </a:spcBef>
              <a:spcAft>
                <a:spcPts val="300"/>
              </a:spcAft>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en-US" sz="1400"/>
              <a:t>High end FOAK</a:t>
            </a:r>
          </a:p>
          <a:p>
            <a:pPr algn="ctr"/>
            <a:r>
              <a:rPr lang="en-US" sz="1400"/>
              <a:t>$9,000/kW</a:t>
            </a:r>
          </a:p>
        </p:txBody>
      </p:sp>
      <p:sp>
        <p:nvSpPr>
          <p:cNvPr id="59" name="TextBox 58">
            <a:extLst>
              <a:ext uri="{FF2B5EF4-FFF2-40B4-BE49-F238E27FC236}">
                <a16:creationId xmlns:a16="http://schemas.microsoft.com/office/drawing/2014/main" id="{0BA0C3B3-A4FF-E8DF-787F-67E753215F31}"/>
              </a:ext>
            </a:extLst>
          </p:cNvPr>
          <p:cNvSpPr txBox="1"/>
          <p:nvPr/>
        </p:nvSpPr>
        <p:spPr>
          <a:xfrm>
            <a:off x="7758702" y="5203143"/>
            <a:ext cx="1741895" cy="507831"/>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228600" lvl="1" indent="-230400">
              <a:lnSpc>
                <a:spcPct val="100000"/>
              </a:lnSpc>
              <a:spcBef>
                <a:spcPts val="0"/>
              </a:spcBef>
              <a:spcAft>
                <a:spcPts val="300"/>
              </a:spcAft>
              <a:buSzPct val="110000"/>
              <a:buFont typeface="Wingdings" panose="05000000000000000000" pitchFamily="2" charset="2"/>
              <a:buChar char=""/>
              <a:defRPr lang="en-US" sz="1600" dirty="0"/>
            </a:lvl2pPr>
            <a:lvl3pPr marL="439200" lvl="2" indent="-208800">
              <a:lnSpc>
                <a:spcPct val="100000"/>
              </a:lnSpc>
              <a:spcBef>
                <a:spcPts val="0"/>
              </a:spcBef>
              <a:spcAft>
                <a:spcPts val="300"/>
              </a:spcAft>
              <a:buSzPct val="110000"/>
              <a:buFont typeface="Arial" panose="020B0604020202020204" pitchFamily="34" charset="0"/>
              <a:buChar char="‒"/>
              <a:defRPr lang="en-US" sz="1600" dirty="0"/>
            </a:lvl3pPr>
            <a:lvl4pPr marL="604800" lvl="3" indent="-154800">
              <a:lnSpc>
                <a:spcPct val="100000"/>
              </a:lnSpc>
              <a:spcBef>
                <a:spcPts val="0"/>
              </a:spcBef>
              <a:spcAft>
                <a:spcPts val="300"/>
              </a:spcAft>
              <a:buFont typeface="Arial" panose="020B0604020202020204" pitchFamily="34" charset="0"/>
              <a:buChar char="•"/>
              <a:defRPr lang="en-US" sz="1600" dirty="0"/>
            </a:lvl4pPr>
            <a:lvl5pPr marL="813600" lvl="4" indent="-147600">
              <a:lnSpc>
                <a:spcPct val="100000"/>
              </a:lnSpc>
              <a:spcBef>
                <a:spcPts val="0"/>
              </a:spcBef>
              <a:spcAft>
                <a:spcPts val="300"/>
              </a:spcAft>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en-US" sz="1400"/>
              <a:t>NOAK</a:t>
            </a:r>
          </a:p>
          <a:p>
            <a:pPr algn="ctr"/>
            <a:r>
              <a:rPr lang="en-US" sz="1400"/>
              <a:t>$3,600/kW</a:t>
            </a:r>
          </a:p>
        </p:txBody>
      </p:sp>
      <p:sp>
        <p:nvSpPr>
          <p:cNvPr id="60" name="TextBox 59">
            <a:extLst>
              <a:ext uri="{FF2B5EF4-FFF2-40B4-BE49-F238E27FC236}">
                <a16:creationId xmlns:a16="http://schemas.microsoft.com/office/drawing/2014/main" id="{3602E374-6414-5AB4-5A06-5C0D347360AE}"/>
              </a:ext>
            </a:extLst>
          </p:cNvPr>
          <p:cNvSpPr txBox="1"/>
          <p:nvPr/>
        </p:nvSpPr>
        <p:spPr>
          <a:xfrm>
            <a:off x="554735" y="1607800"/>
            <a:ext cx="11082528" cy="246988"/>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228600" lvl="1" indent="-230400">
              <a:lnSpc>
                <a:spcPct val="100000"/>
              </a:lnSpc>
              <a:spcBef>
                <a:spcPts val="0"/>
              </a:spcBef>
              <a:spcAft>
                <a:spcPts val="300"/>
              </a:spcAft>
              <a:buSzPct val="110000"/>
              <a:buFont typeface="Wingdings" panose="05000000000000000000" pitchFamily="2" charset="2"/>
              <a:buChar char=""/>
              <a:defRPr lang="en-US" sz="1600" dirty="0"/>
            </a:lvl2pPr>
            <a:lvl3pPr marL="439200" lvl="2" indent="-208800">
              <a:lnSpc>
                <a:spcPct val="100000"/>
              </a:lnSpc>
              <a:spcBef>
                <a:spcPts val="0"/>
              </a:spcBef>
              <a:spcAft>
                <a:spcPts val="300"/>
              </a:spcAft>
              <a:buSzPct val="110000"/>
              <a:buFont typeface="Arial" panose="020B0604020202020204" pitchFamily="34" charset="0"/>
              <a:buChar char="‒"/>
              <a:defRPr lang="en-US" sz="1600" dirty="0"/>
            </a:lvl3pPr>
            <a:lvl4pPr marL="604800" lvl="3" indent="-154800">
              <a:lnSpc>
                <a:spcPct val="100000"/>
              </a:lnSpc>
              <a:spcBef>
                <a:spcPts val="0"/>
              </a:spcBef>
              <a:spcAft>
                <a:spcPts val="300"/>
              </a:spcAft>
              <a:buFont typeface="Arial" panose="020B0604020202020204" pitchFamily="34" charset="0"/>
              <a:buChar char="•"/>
              <a:defRPr lang="en-US" sz="1600" dirty="0"/>
            </a:lvl4pPr>
            <a:lvl5pPr marL="813600" lvl="4" indent="-147600">
              <a:lnSpc>
                <a:spcPct val="100000"/>
              </a:lnSpc>
              <a:spcBef>
                <a:spcPts val="0"/>
              </a:spcBef>
              <a:spcAft>
                <a:spcPts val="300"/>
              </a:spcAft>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b="1"/>
              <a:t>Advanced nuclear FOAK LCOE before and after IRA impact, </a:t>
            </a:r>
            <a:r>
              <a:rPr lang="en-US"/>
              <a:t>$/MWh</a:t>
            </a:r>
          </a:p>
        </p:txBody>
      </p:sp>
      <p:cxnSp>
        <p:nvCxnSpPr>
          <p:cNvPr id="61" name="Straight Connector 60">
            <a:extLst>
              <a:ext uri="{FF2B5EF4-FFF2-40B4-BE49-F238E27FC236}">
                <a16:creationId xmlns:a16="http://schemas.microsoft.com/office/drawing/2014/main" id="{5B86E5D0-2B92-A1E9-38E9-A0D1A2F15D89}"/>
              </a:ext>
            </a:extLst>
          </p:cNvPr>
          <p:cNvCxnSpPr>
            <a:cxnSpLocks/>
          </p:cNvCxnSpPr>
          <p:nvPr/>
        </p:nvCxnSpPr>
        <p:spPr>
          <a:xfrm>
            <a:off x="553494" y="1854021"/>
            <a:ext cx="9489974" cy="0"/>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62" name="TextBox 61">
            <a:extLst>
              <a:ext uri="{FF2B5EF4-FFF2-40B4-BE49-F238E27FC236}">
                <a16:creationId xmlns:a16="http://schemas.microsoft.com/office/drawing/2014/main" id="{B8814E7D-550C-BDF9-A47F-A69250E55B38}"/>
              </a:ext>
            </a:extLst>
          </p:cNvPr>
          <p:cNvSpPr txBox="1"/>
          <p:nvPr/>
        </p:nvSpPr>
        <p:spPr>
          <a:xfrm>
            <a:off x="4528140" y="5203143"/>
            <a:ext cx="1741895" cy="507831"/>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228600" lvl="1" indent="-230400">
              <a:lnSpc>
                <a:spcPct val="100000"/>
              </a:lnSpc>
              <a:spcBef>
                <a:spcPts val="0"/>
              </a:spcBef>
              <a:spcAft>
                <a:spcPts val="300"/>
              </a:spcAft>
              <a:buSzPct val="110000"/>
              <a:buFont typeface="Wingdings" panose="05000000000000000000" pitchFamily="2" charset="2"/>
              <a:buChar char=""/>
              <a:defRPr lang="en-US" sz="1600" dirty="0"/>
            </a:lvl2pPr>
            <a:lvl3pPr marL="439200" lvl="2" indent="-208800">
              <a:lnSpc>
                <a:spcPct val="100000"/>
              </a:lnSpc>
              <a:spcBef>
                <a:spcPts val="0"/>
              </a:spcBef>
              <a:spcAft>
                <a:spcPts val="300"/>
              </a:spcAft>
              <a:buSzPct val="110000"/>
              <a:buFont typeface="Arial" panose="020B0604020202020204" pitchFamily="34" charset="0"/>
              <a:buChar char="‒"/>
              <a:defRPr lang="en-US" sz="1600" dirty="0"/>
            </a:lvl3pPr>
            <a:lvl4pPr marL="604800" lvl="3" indent="-154800">
              <a:lnSpc>
                <a:spcPct val="100000"/>
              </a:lnSpc>
              <a:spcBef>
                <a:spcPts val="0"/>
              </a:spcBef>
              <a:spcAft>
                <a:spcPts val="300"/>
              </a:spcAft>
              <a:buFont typeface="Arial" panose="020B0604020202020204" pitchFamily="34" charset="0"/>
              <a:buChar char="•"/>
              <a:defRPr lang="en-US" sz="1600" dirty="0"/>
            </a:lvl4pPr>
            <a:lvl5pPr marL="813600" lvl="4" indent="-147600">
              <a:lnSpc>
                <a:spcPct val="100000"/>
              </a:lnSpc>
              <a:spcBef>
                <a:spcPts val="0"/>
              </a:spcBef>
              <a:spcAft>
                <a:spcPts val="300"/>
              </a:spcAft>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en-US" sz="1400"/>
              <a:t>Best practice FOAK</a:t>
            </a:r>
          </a:p>
          <a:p>
            <a:pPr algn="ctr"/>
            <a:r>
              <a:rPr lang="en-US" sz="1400"/>
              <a:t>$6,200/kW</a:t>
            </a:r>
          </a:p>
        </p:txBody>
      </p:sp>
      <p:sp>
        <p:nvSpPr>
          <p:cNvPr id="63" name="5. Source">
            <a:extLst>
              <a:ext uri="{FF2B5EF4-FFF2-40B4-BE49-F238E27FC236}">
                <a16:creationId xmlns:a16="http://schemas.microsoft.com/office/drawing/2014/main" id="{39960DC3-A6C8-6CDC-3BFA-409B7A4257BE}"/>
              </a:ext>
            </a:extLst>
          </p:cNvPr>
          <p:cNvSpPr txBox="1"/>
          <p:nvPr>
            <p:custDataLst>
              <p:tags r:id="rId55"/>
            </p:custDataLst>
          </p:nvPr>
        </p:nvSpPr>
        <p:spPr>
          <a:xfrm>
            <a:off x="554735" y="5938706"/>
            <a:ext cx="10143744"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300"/>
              </a:spcBef>
              <a:spcAft>
                <a:spcPts val="300"/>
              </a:spcAft>
            </a:pPr>
            <a:r>
              <a:rPr lang="en-US" sz="800">
                <a:solidFill>
                  <a:srgbClr val="000000"/>
                </a:solidFill>
              </a:rPr>
              <a:t>1. “Both adders” represents the ITC / PTC with the addition of both 10% adders for energy communities and domestic content</a:t>
            </a:r>
          </a:p>
        </p:txBody>
      </p:sp>
      <p:cxnSp>
        <p:nvCxnSpPr>
          <p:cNvPr id="64" name="Straight Connector 63">
            <a:extLst>
              <a:ext uri="{FF2B5EF4-FFF2-40B4-BE49-F238E27FC236}">
                <a16:creationId xmlns:a16="http://schemas.microsoft.com/office/drawing/2014/main" id="{BD52DC8B-8BA6-092E-0C96-860CFA546FF7}"/>
              </a:ext>
            </a:extLst>
          </p:cNvPr>
          <p:cNvCxnSpPr>
            <a:cxnSpLocks/>
          </p:cNvCxnSpPr>
          <p:nvPr/>
        </p:nvCxnSpPr>
        <p:spPr>
          <a:xfrm>
            <a:off x="7662501" y="2113454"/>
            <a:ext cx="182880" cy="0"/>
          </a:xfrm>
          <a:prstGeom prst="line">
            <a:avLst/>
          </a:prstGeom>
          <a:ln w="190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87ACDE5B-55DF-9057-7FBB-EB264202D250}"/>
              </a:ext>
            </a:extLst>
          </p:cNvPr>
          <p:cNvCxnSpPr>
            <a:cxnSpLocks/>
          </p:cNvCxnSpPr>
          <p:nvPr/>
        </p:nvCxnSpPr>
        <p:spPr>
          <a:xfrm>
            <a:off x="8930853" y="2113454"/>
            <a:ext cx="182880" cy="0"/>
          </a:xfrm>
          <a:prstGeom prst="line">
            <a:avLst/>
          </a:prstGeom>
          <a:ln w="19050" cap="flat">
            <a:solidFill>
              <a:schemeClr val="tx1"/>
            </a:solidFill>
            <a:prstDash val="dash"/>
            <a:miter lim="800000"/>
            <a:tailEnd type="none"/>
          </a:ln>
        </p:spPr>
        <p:style>
          <a:lnRef idx="1">
            <a:schemeClr val="accent1"/>
          </a:lnRef>
          <a:fillRef idx="0">
            <a:schemeClr val="accent1"/>
          </a:fillRef>
          <a:effectRef idx="0">
            <a:schemeClr val="accent1"/>
          </a:effectRef>
          <a:fontRef idx="minor">
            <a:schemeClr val="tx1"/>
          </a:fontRef>
        </p:style>
      </p:cxnSp>
      <p:sp>
        <p:nvSpPr>
          <p:cNvPr id="66" name="TextBox 65">
            <a:extLst>
              <a:ext uri="{FF2B5EF4-FFF2-40B4-BE49-F238E27FC236}">
                <a16:creationId xmlns:a16="http://schemas.microsoft.com/office/drawing/2014/main" id="{BE9A8D66-E5C1-B6F8-B809-853CB39250DB}"/>
              </a:ext>
            </a:extLst>
          </p:cNvPr>
          <p:cNvSpPr txBox="1">
            <a:spLocks/>
          </p:cNvSpPr>
          <p:nvPr/>
        </p:nvSpPr>
        <p:spPr>
          <a:xfrm>
            <a:off x="5366912" y="2022014"/>
            <a:ext cx="182880" cy="182880"/>
          </a:xfrm>
          <a:prstGeom prst="rect">
            <a:avLst/>
          </a:prstGeom>
          <a:solidFill>
            <a:schemeClr val="bg1">
              <a:lumMod val="85000"/>
            </a:schemeClr>
          </a:solidFill>
        </p:spPr>
        <p:txBody>
          <a:bodyPr vert="horz" wrap="none" lIns="274320" tIns="0" rIns="0" bIns="0" rtlCol="0" anchor="ctr">
            <a:no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228600" lvl="1" indent="-230400">
              <a:lnSpc>
                <a:spcPct val="100000"/>
              </a:lnSpc>
              <a:spcBef>
                <a:spcPts val="0"/>
              </a:spcBef>
              <a:spcAft>
                <a:spcPts val="300"/>
              </a:spcAft>
              <a:buSzPct val="110000"/>
              <a:buFont typeface="Wingdings" panose="05000000000000000000" pitchFamily="2" charset="2"/>
              <a:buChar char=""/>
              <a:defRPr lang="en-US" sz="1600" dirty="0"/>
            </a:lvl2pPr>
            <a:lvl3pPr marL="439200" lvl="2" indent="-208800">
              <a:lnSpc>
                <a:spcPct val="100000"/>
              </a:lnSpc>
              <a:spcBef>
                <a:spcPts val="0"/>
              </a:spcBef>
              <a:spcAft>
                <a:spcPts val="300"/>
              </a:spcAft>
              <a:buSzPct val="110000"/>
              <a:buFont typeface="Arial" panose="020B0604020202020204" pitchFamily="34" charset="0"/>
              <a:buChar char="‒"/>
              <a:defRPr lang="en-US" sz="1600" dirty="0"/>
            </a:lvl3pPr>
            <a:lvl4pPr marL="604800" lvl="3" indent="-154800">
              <a:lnSpc>
                <a:spcPct val="100000"/>
              </a:lnSpc>
              <a:spcBef>
                <a:spcPts val="0"/>
              </a:spcBef>
              <a:spcAft>
                <a:spcPts val="300"/>
              </a:spcAft>
              <a:buFont typeface="Arial" panose="020B0604020202020204" pitchFamily="34" charset="0"/>
              <a:buChar char="•"/>
              <a:defRPr lang="en-US" sz="1600" dirty="0"/>
            </a:lvl4pPr>
            <a:lvl5pPr marL="813600" lvl="4" indent="-147600">
              <a:lnSpc>
                <a:spcPct val="100000"/>
              </a:lnSpc>
              <a:spcBef>
                <a:spcPts val="0"/>
              </a:spcBef>
              <a:spcAft>
                <a:spcPts val="300"/>
              </a:spcAft>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4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No IRA</a:t>
            </a:r>
          </a:p>
        </p:txBody>
      </p:sp>
      <p:sp>
        <p:nvSpPr>
          <p:cNvPr id="67" name="TextBox 66">
            <a:extLst>
              <a:ext uri="{FF2B5EF4-FFF2-40B4-BE49-F238E27FC236}">
                <a16:creationId xmlns:a16="http://schemas.microsoft.com/office/drawing/2014/main" id="{BD7E69BF-8F62-4C6A-6D74-DD72908FC1CC}"/>
              </a:ext>
            </a:extLst>
          </p:cNvPr>
          <p:cNvSpPr txBox="1">
            <a:spLocks/>
          </p:cNvSpPr>
          <p:nvPr/>
        </p:nvSpPr>
        <p:spPr>
          <a:xfrm>
            <a:off x="6324809" y="2022014"/>
            <a:ext cx="182880" cy="182880"/>
          </a:xfrm>
          <a:prstGeom prst="rect">
            <a:avLst/>
          </a:prstGeom>
          <a:solidFill>
            <a:schemeClr val="accent1"/>
          </a:solidFill>
        </p:spPr>
        <p:txBody>
          <a:bodyPr vert="horz" wrap="none" lIns="274320" tIns="0" rIns="0" bIns="0" rtlCol="0" anchor="ctr">
            <a:no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228600" lvl="1" indent="-230400">
              <a:lnSpc>
                <a:spcPct val="100000"/>
              </a:lnSpc>
              <a:spcBef>
                <a:spcPts val="0"/>
              </a:spcBef>
              <a:spcAft>
                <a:spcPts val="300"/>
              </a:spcAft>
              <a:buSzPct val="110000"/>
              <a:buFont typeface="Wingdings" panose="05000000000000000000" pitchFamily="2" charset="2"/>
              <a:buChar char=""/>
              <a:defRPr lang="en-US" sz="1600" dirty="0"/>
            </a:lvl2pPr>
            <a:lvl3pPr marL="439200" lvl="2" indent="-208800">
              <a:lnSpc>
                <a:spcPct val="100000"/>
              </a:lnSpc>
              <a:spcBef>
                <a:spcPts val="0"/>
              </a:spcBef>
              <a:spcAft>
                <a:spcPts val="300"/>
              </a:spcAft>
              <a:buSzPct val="110000"/>
              <a:buFont typeface="Arial" panose="020B0604020202020204" pitchFamily="34" charset="0"/>
              <a:buChar char="‒"/>
              <a:defRPr lang="en-US" sz="1600" dirty="0"/>
            </a:lvl3pPr>
            <a:lvl4pPr marL="604800" lvl="3" indent="-154800">
              <a:lnSpc>
                <a:spcPct val="100000"/>
              </a:lnSpc>
              <a:spcBef>
                <a:spcPts val="0"/>
              </a:spcBef>
              <a:spcAft>
                <a:spcPts val="300"/>
              </a:spcAft>
              <a:buFont typeface="Arial" panose="020B0604020202020204" pitchFamily="34" charset="0"/>
              <a:buChar char="•"/>
              <a:defRPr lang="en-US" sz="1600" dirty="0"/>
            </a:lvl4pPr>
            <a:lvl5pPr marL="813600" lvl="4" indent="-147600">
              <a:lnSpc>
                <a:spcPct val="100000"/>
              </a:lnSpc>
              <a:spcBef>
                <a:spcPts val="0"/>
              </a:spcBef>
              <a:spcAft>
                <a:spcPts val="300"/>
              </a:spcAft>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4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PTC</a:t>
            </a:r>
          </a:p>
        </p:txBody>
      </p:sp>
      <p:sp>
        <p:nvSpPr>
          <p:cNvPr id="68" name="TextBox 67">
            <a:extLst>
              <a:ext uri="{FF2B5EF4-FFF2-40B4-BE49-F238E27FC236}">
                <a16:creationId xmlns:a16="http://schemas.microsoft.com/office/drawing/2014/main" id="{93528712-3922-7EDC-15FA-1EA5005A281A}"/>
              </a:ext>
            </a:extLst>
          </p:cNvPr>
          <p:cNvSpPr txBox="1">
            <a:spLocks/>
          </p:cNvSpPr>
          <p:nvPr/>
        </p:nvSpPr>
        <p:spPr>
          <a:xfrm>
            <a:off x="7039375" y="2022014"/>
            <a:ext cx="182880" cy="182880"/>
          </a:xfrm>
          <a:prstGeom prst="rect">
            <a:avLst/>
          </a:prstGeom>
          <a:solidFill>
            <a:srgbClr val="7CC110"/>
          </a:solidFill>
        </p:spPr>
        <p:txBody>
          <a:bodyPr vert="horz" wrap="none" lIns="274320" tIns="0" rIns="0" bIns="0" rtlCol="0" anchor="ctr">
            <a:no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228600" lvl="1" indent="-230400">
              <a:lnSpc>
                <a:spcPct val="100000"/>
              </a:lnSpc>
              <a:spcBef>
                <a:spcPts val="0"/>
              </a:spcBef>
              <a:spcAft>
                <a:spcPts val="300"/>
              </a:spcAft>
              <a:buSzPct val="110000"/>
              <a:buFont typeface="Wingdings" panose="05000000000000000000" pitchFamily="2" charset="2"/>
              <a:buChar char=""/>
              <a:defRPr lang="en-US" sz="1600" dirty="0"/>
            </a:lvl2pPr>
            <a:lvl3pPr marL="439200" lvl="2" indent="-208800">
              <a:lnSpc>
                <a:spcPct val="100000"/>
              </a:lnSpc>
              <a:spcBef>
                <a:spcPts val="0"/>
              </a:spcBef>
              <a:spcAft>
                <a:spcPts val="300"/>
              </a:spcAft>
              <a:buSzPct val="110000"/>
              <a:buFont typeface="Arial" panose="020B0604020202020204" pitchFamily="34" charset="0"/>
              <a:buChar char="‒"/>
              <a:defRPr lang="en-US" sz="1600" dirty="0"/>
            </a:lvl3pPr>
            <a:lvl4pPr marL="604800" lvl="3" indent="-154800">
              <a:lnSpc>
                <a:spcPct val="100000"/>
              </a:lnSpc>
              <a:spcBef>
                <a:spcPts val="0"/>
              </a:spcBef>
              <a:spcAft>
                <a:spcPts val="300"/>
              </a:spcAft>
              <a:buFont typeface="Arial" panose="020B0604020202020204" pitchFamily="34" charset="0"/>
              <a:buChar char="•"/>
              <a:defRPr lang="en-US" sz="1600" dirty="0"/>
            </a:lvl4pPr>
            <a:lvl5pPr marL="813600" lvl="4" indent="-147600">
              <a:lnSpc>
                <a:spcPct val="100000"/>
              </a:lnSpc>
              <a:spcBef>
                <a:spcPts val="0"/>
              </a:spcBef>
              <a:spcAft>
                <a:spcPts val="300"/>
              </a:spcAft>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lang="en-US" sz="1400">
                <a:solidFill>
                  <a:srgbClr val="000000"/>
                </a:solidFill>
                <a:latin typeface="Arial"/>
              </a:rPr>
              <a:t>I</a:t>
            </a:r>
            <a:r>
              <a:rPr kumimoji="0" lang="en-US" sz="14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TC</a:t>
            </a:r>
          </a:p>
        </p:txBody>
      </p:sp>
      <p:sp>
        <p:nvSpPr>
          <p:cNvPr id="69" name="TextBox 68">
            <a:extLst>
              <a:ext uri="{FF2B5EF4-FFF2-40B4-BE49-F238E27FC236}">
                <a16:creationId xmlns:a16="http://schemas.microsoft.com/office/drawing/2014/main" id="{D4DD61F3-20D1-31AE-F955-8C4EB6839EAA}"/>
              </a:ext>
            </a:extLst>
          </p:cNvPr>
          <p:cNvSpPr txBox="1">
            <a:spLocks/>
          </p:cNvSpPr>
          <p:nvPr/>
        </p:nvSpPr>
        <p:spPr>
          <a:xfrm>
            <a:off x="7662501" y="2022014"/>
            <a:ext cx="182880" cy="182880"/>
          </a:xfrm>
          <a:prstGeom prst="rect">
            <a:avLst/>
          </a:prstGeom>
          <a:noFill/>
        </p:spPr>
        <p:txBody>
          <a:bodyPr vert="horz" wrap="none" lIns="274320" tIns="0" rIns="0" bIns="0" rtlCol="0" anchor="ctr">
            <a:no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228600" lvl="1" indent="-230400">
              <a:lnSpc>
                <a:spcPct val="100000"/>
              </a:lnSpc>
              <a:spcBef>
                <a:spcPts val="0"/>
              </a:spcBef>
              <a:spcAft>
                <a:spcPts val="300"/>
              </a:spcAft>
              <a:buSzPct val="110000"/>
              <a:buFont typeface="Wingdings" panose="05000000000000000000" pitchFamily="2" charset="2"/>
              <a:buChar char=""/>
              <a:defRPr lang="en-US" sz="1600" dirty="0"/>
            </a:lvl2pPr>
            <a:lvl3pPr marL="439200" lvl="2" indent="-208800">
              <a:lnSpc>
                <a:spcPct val="100000"/>
              </a:lnSpc>
              <a:spcBef>
                <a:spcPts val="0"/>
              </a:spcBef>
              <a:spcAft>
                <a:spcPts val="300"/>
              </a:spcAft>
              <a:buSzPct val="110000"/>
              <a:buFont typeface="Arial" panose="020B0604020202020204" pitchFamily="34" charset="0"/>
              <a:buChar char="‒"/>
              <a:defRPr lang="en-US" sz="1600" dirty="0"/>
            </a:lvl3pPr>
            <a:lvl4pPr marL="604800" lvl="3" indent="-154800">
              <a:lnSpc>
                <a:spcPct val="100000"/>
              </a:lnSpc>
              <a:spcBef>
                <a:spcPts val="0"/>
              </a:spcBef>
              <a:spcAft>
                <a:spcPts val="300"/>
              </a:spcAft>
              <a:buFont typeface="Arial" panose="020B0604020202020204" pitchFamily="34" charset="0"/>
              <a:buChar char="•"/>
              <a:defRPr lang="en-US" sz="1600" dirty="0"/>
            </a:lvl4pPr>
            <a:lvl5pPr marL="813600" lvl="4" indent="-147600">
              <a:lnSpc>
                <a:spcPct val="100000"/>
              </a:lnSpc>
              <a:spcBef>
                <a:spcPts val="0"/>
              </a:spcBef>
              <a:spcAft>
                <a:spcPts val="300"/>
              </a:spcAft>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4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Both adders</a:t>
            </a:r>
          </a:p>
        </p:txBody>
      </p:sp>
      <p:sp>
        <p:nvSpPr>
          <p:cNvPr id="70" name="TextBox 69">
            <a:extLst>
              <a:ext uri="{FF2B5EF4-FFF2-40B4-BE49-F238E27FC236}">
                <a16:creationId xmlns:a16="http://schemas.microsoft.com/office/drawing/2014/main" id="{C70056AE-88FB-88A5-013F-0601B268816F}"/>
              </a:ext>
            </a:extLst>
          </p:cNvPr>
          <p:cNvSpPr txBox="1">
            <a:spLocks/>
          </p:cNvSpPr>
          <p:nvPr/>
        </p:nvSpPr>
        <p:spPr>
          <a:xfrm>
            <a:off x="8930853" y="2022014"/>
            <a:ext cx="182880" cy="182880"/>
          </a:xfrm>
          <a:prstGeom prst="rect">
            <a:avLst/>
          </a:prstGeom>
          <a:noFill/>
        </p:spPr>
        <p:txBody>
          <a:bodyPr vert="horz" wrap="none" lIns="274320" tIns="0" rIns="0" bIns="0" rtlCol="0" anchor="ctr">
            <a:no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228600" lvl="1" indent="-230400">
              <a:lnSpc>
                <a:spcPct val="100000"/>
              </a:lnSpc>
              <a:spcBef>
                <a:spcPts val="0"/>
              </a:spcBef>
              <a:spcAft>
                <a:spcPts val="300"/>
              </a:spcAft>
              <a:buSzPct val="110000"/>
              <a:buFont typeface="Wingdings" panose="05000000000000000000" pitchFamily="2" charset="2"/>
              <a:buChar char=""/>
              <a:defRPr lang="en-US" sz="1600" dirty="0"/>
            </a:lvl2pPr>
            <a:lvl3pPr marL="439200" lvl="2" indent="-208800">
              <a:lnSpc>
                <a:spcPct val="100000"/>
              </a:lnSpc>
              <a:spcBef>
                <a:spcPts val="0"/>
              </a:spcBef>
              <a:spcAft>
                <a:spcPts val="300"/>
              </a:spcAft>
              <a:buSzPct val="110000"/>
              <a:buFont typeface="Arial" panose="020B0604020202020204" pitchFamily="34" charset="0"/>
              <a:buChar char="‒"/>
              <a:defRPr lang="en-US" sz="1600" dirty="0"/>
            </a:lvl3pPr>
            <a:lvl4pPr marL="604800" lvl="3" indent="-154800">
              <a:lnSpc>
                <a:spcPct val="100000"/>
              </a:lnSpc>
              <a:spcBef>
                <a:spcPts val="0"/>
              </a:spcBef>
              <a:spcAft>
                <a:spcPts val="300"/>
              </a:spcAft>
              <a:buFont typeface="Arial" panose="020B0604020202020204" pitchFamily="34" charset="0"/>
              <a:buChar char="•"/>
              <a:defRPr lang="en-US" sz="1600" dirty="0"/>
            </a:lvl4pPr>
            <a:lvl5pPr marL="813600" lvl="4" indent="-147600">
              <a:lnSpc>
                <a:spcPct val="100000"/>
              </a:lnSpc>
              <a:spcBef>
                <a:spcPts val="0"/>
              </a:spcBef>
              <a:spcAft>
                <a:spcPts val="300"/>
              </a:spcAft>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4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No adders</a:t>
            </a:r>
          </a:p>
        </p:txBody>
      </p:sp>
    </p:spTree>
    <p:extLst>
      <p:ext uri="{BB962C8B-B14F-4D97-AF65-F5344CB8AC3E}">
        <p14:creationId xmlns:p14="http://schemas.microsoft.com/office/powerpoint/2010/main" val="32976787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31C79ED-1A4D-CFD8-337E-9B9E07486932}"/>
              </a:ext>
            </a:extLst>
          </p:cNvPr>
          <p:cNvSpPr>
            <a:spLocks noGrp="1"/>
          </p:cNvSpPr>
          <p:nvPr>
            <p:ph type="title"/>
          </p:nvPr>
        </p:nvSpPr>
        <p:spPr/>
        <p:txBody>
          <a:bodyPr/>
          <a:lstStyle/>
          <a:p>
            <a:r>
              <a:rPr lang="en-US" sz="2400"/>
              <a:t>Small modular reactors can provide more certainty of hitting a predicted cost target</a:t>
            </a:r>
            <a:endParaRPr lang="en-US"/>
          </a:p>
        </p:txBody>
      </p:sp>
      <p:cxnSp>
        <p:nvCxnSpPr>
          <p:cNvPr id="4" name="Straight Connector 3">
            <a:extLst>
              <a:ext uri="{FF2B5EF4-FFF2-40B4-BE49-F238E27FC236}">
                <a16:creationId xmlns:a16="http://schemas.microsoft.com/office/drawing/2014/main" id="{A3A1A217-E963-921C-A022-FB3A02A683C7}"/>
              </a:ext>
            </a:extLst>
          </p:cNvPr>
          <p:cNvCxnSpPr>
            <a:cxnSpLocks/>
          </p:cNvCxnSpPr>
          <p:nvPr/>
        </p:nvCxnSpPr>
        <p:spPr>
          <a:xfrm>
            <a:off x="2667000" y="2286000"/>
            <a:ext cx="0" cy="2971800"/>
          </a:xfrm>
          <a:prstGeom prst="line">
            <a:avLst/>
          </a:prstGeom>
          <a:ln w="19050" cap="flat">
            <a:solidFill>
              <a:srgbClr val="00652E"/>
            </a:solidFill>
            <a:miter lim="800000"/>
            <a:tailEnd type="none"/>
          </a:ln>
        </p:spPr>
        <p:style>
          <a:lnRef idx="1">
            <a:schemeClr val="accent1"/>
          </a:lnRef>
          <a:fillRef idx="0">
            <a:schemeClr val="accent1"/>
          </a:fillRef>
          <a:effectRef idx="0">
            <a:schemeClr val="accent1"/>
          </a:effectRef>
          <a:fontRef idx="minor">
            <a:schemeClr val="tx1"/>
          </a:fontRef>
        </p:style>
      </p:cxnSp>
      <p:sp>
        <p:nvSpPr>
          <p:cNvPr id="5" name="Rectangle 4">
            <a:extLst>
              <a:ext uri="{FF2B5EF4-FFF2-40B4-BE49-F238E27FC236}">
                <a16:creationId xmlns:a16="http://schemas.microsoft.com/office/drawing/2014/main" id="{D4C6BE51-2FF3-3A61-437B-7AC9092F9CE3}"/>
              </a:ext>
            </a:extLst>
          </p:cNvPr>
          <p:cNvSpPr/>
          <p:nvPr>
            <p:custDataLst>
              <p:tags r:id="rId1"/>
            </p:custDataLst>
          </p:nvPr>
        </p:nvSpPr>
        <p:spPr bwMode="auto">
          <a:xfrm>
            <a:off x="5187950" y="5202238"/>
            <a:ext cx="184150" cy="55563"/>
          </a:xfrm>
          <a:prstGeom prst="rect">
            <a:avLst/>
          </a:prstGeom>
          <a:solidFill>
            <a:schemeClr val="accent1"/>
          </a:solidFill>
          <a:ln w="9525" cap="sq"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SG" sz="1600" err="1">
              <a:solidFill>
                <a:schemeClr val="bg1"/>
              </a:solidFill>
            </a:endParaRPr>
          </a:p>
        </p:txBody>
      </p:sp>
      <p:sp>
        <p:nvSpPr>
          <p:cNvPr id="6" name="Rectangle 5">
            <a:extLst>
              <a:ext uri="{FF2B5EF4-FFF2-40B4-BE49-F238E27FC236}">
                <a16:creationId xmlns:a16="http://schemas.microsoft.com/office/drawing/2014/main" id="{74BDAE7B-8660-F8B0-8412-B2B149CA89B2}"/>
              </a:ext>
            </a:extLst>
          </p:cNvPr>
          <p:cNvSpPr/>
          <p:nvPr>
            <p:custDataLst>
              <p:tags r:id="rId2"/>
            </p:custDataLst>
          </p:nvPr>
        </p:nvSpPr>
        <p:spPr bwMode="auto">
          <a:xfrm>
            <a:off x="4818063" y="5137149"/>
            <a:ext cx="184150" cy="120650"/>
          </a:xfrm>
          <a:prstGeom prst="rect">
            <a:avLst/>
          </a:prstGeom>
          <a:solidFill>
            <a:schemeClr val="accent1"/>
          </a:solidFill>
          <a:ln w="9525" cap="sq"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SG" sz="1600" err="1">
              <a:solidFill>
                <a:schemeClr val="bg1"/>
              </a:solidFill>
            </a:endParaRPr>
          </a:p>
        </p:txBody>
      </p:sp>
      <p:sp>
        <p:nvSpPr>
          <p:cNvPr id="7" name="Rectangle 6">
            <a:extLst>
              <a:ext uri="{FF2B5EF4-FFF2-40B4-BE49-F238E27FC236}">
                <a16:creationId xmlns:a16="http://schemas.microsoft.com/office/drawing/2014/main" id="{3AE7C17C-95C2-C5F9-CBEE-8E59AE910DAA}"/>
              </a:ext>
            </a:extLst>
          </p:cNvPr>
          <p:cNvSpPr/>
          <p:nvPr>
            <p:custDataLst>
              <p:tags r:id="rId3"/>
            </p:custDataLst>
          </p:nvPr>
        </p:nvSpPr>
        <p:spPr bwMode="auto">
          <a:xfrm>
            <a:off x="4633913" y="5148263"/>
            <a:ext cx="184150" cy="109538"/>
          </a:xfrm>
          <a:prstGeom prst="rect">
            <a:avLst/>
          </a:prstGeom>
          <a:solidFill>
            <a:schemeClr val="accent1"/>
          </a:solidFill>
          <a:ln w="9525" cap="sq"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SG" sz="1600" err="1">
              <a:solidFill>
                <a:schemeClr val="bg1"/>
              </a:solidFill>
            </a:endParaRPr>
          </a:p>
        </p:txBody>
      </p:sp>
      <p:sp>
        <p:nvSpPr>
          <p:cNvPr id="8" name="Rectangle 7">
            <a:extLst>
              <a:ext uri="{FF2B5EF4-FFF2-40B4-BE49-F238E27FC236}">
                <a16:creationId xmlns:a16="http://schemas.microsoft.com/office/drawing/2014/main" id="{9CF76DC9-2CE6-378C-57D3-7C603E6A2085}"/>
              </a:ext>
            </a:extLst>
          </p:cNvPr>
          <p:cNvSpPr/>
          <p:nvPr>
            <p:custDataLst>
              <p:tags r:id="rId4"/>
            </p:custDataLst>
          </p:nvPr>
        </p:nvSpPr>
        <p:spPr bwMode="auto">
          <a:xfrm>
            <a:off x="4448175" y="5202238"/>
            <a:ext cx="185738" cy="55563"/>
          </a:xfrm>
          <a:prstGeom prst="rect">
            <a:avLst/>
          </a:prstGeom>
          <a:solidFill>
            <a:schemeClr val="accent1"/>
          </a:solidFill>
          <a:ln w="9525" cap="sq"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SG" sz="1600" err="1">
              <a:solidFill>
                <a:schemeClr val="bg1"/>
              </a:solidFill>
            </a:endParaRPr>
          </a:p>
        </p:txBody>
      </p:sp>
      <p:sp>
        <p:nvSpPr>
          <p:cNvPr id="9" name="Rectangle 8">
            <a:extLst>
              <a:ext uri="{FF2B5EF4-FFF2-40B4-BE49-F238E27FC236}">
                <a16:creationId xmlns:a16="http://schemas.microsoft.com/office/drawing/2014/main" id="{835A1E18-C3CA-F8AF-89AE-39D708D34498}"/>
              </a:ext>
            </a:extLst>
          </p:cNvPr>
          <p:cNvSpPr/>
          <p:nvPr>
            <p:custDataLst>
              <p:tags r:id="rId5"/>
            </p:custDataLst>
          </p:nvPr>
        </p:nvSpPr>
        <p:spPr bwMode="auto">
          <a:xfrm>
            <a:off x="4264025" y="5092699"/>
            <a:ext cx="184150" cy="165100"/>
          </a:xfrm>
          <a:prstGeom prst="rect">
            <a:avLst/>
          </a:prstGeom>
          <a:solidFill>
            <a:schemeClr val="accent1"/>
          </a:solidFill>
          <a:ln w="9525" cap="sq"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SG" sz="1600" err="1">
              <a:solidFill>
                <a:schemeClr val="bg1"/>
              </a:solidFill>
            </a:endParaRPr>
          </a:p>
        </p:txBody>
      </p:sp>
      <p:sp>
        <p:nvSpPr>
          <p:cNvPr id="10" name="Rectangle 9">
            <a:extLst>
              <a:ext uri="{FF2B5EF4-FFF2-40B4-BE49-F238E27FC236}">
                <a16:creationId xmlns:a16="http://schemas.microsoft.com/office/drawing/2014/main" id="{90462A95-B723-6CEB-D78E-2298510BEABD}"/>
              </a:ext>
            </a:extLst>
          </p:cNvPr>
          <p:cNvSpPr/>
          <p:nvPr>
            <p:custDataLst>
              <p:tags r:id="rId6"/>
            </p:custDataLst>
          </p:nvPr>
        </p:nvSpPr>
        <p:spPr bwMode="auto">
          <a:xfrm>
            <a:off x="4079875" y="5092699"/>
            <a:ext cx="184150" cy="165100"/>
          </a:xfrm>
          <a:prstGeom prst="rect">
            <a:avLst/>
          </a:prstGeom>
          <a:solidFill>
            <a:schemeClr val="accent1"/>
          </a:solidFill>
          <a:ln w="9525" cap="sq"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SG" sz="1600" err="1">
              <a:solidFill>
                <a:schemeClr val="bg1"/>
              </a:solidFill>
            </a:endParaRPr>
          </a:p>
        </p:txBody>
      </p:sp>
      <p:sp>
        <p:nvSpPr>
          <p:cNvPr id="11" name="Rectangle 10">
            <a:extLst>
              <a:ext uri="{FF2B5EF4-FFF2-40B4-BE49-F238E27FC236}">
                <a16:creationId xmlns:a16="http://schemas.microsoft.com/office/drawing/2014/main" id="{BFA0AAE3-B9C3-7B6A-FF02-38E3C52C4678}"/>
              </a:ext>
            </a:extLst>
          </p:cNvPr>
          <p:cNvSpPr/>
          <p:nvPr>
            <p:custDataLst>
              <p:tags r:id="rId7"/>
            </p:custDataLst>
          </p:nvPr>
        </p:nvSpPr>
        <p:spPr bwMode="auto">
          <a:xfrm>
            <a:off x="3894138" y="5038725"/>
            <a:ext cx="185738" cy="219075"/>
          </a:xfrm>
          <a:prstGeom prst="rect">
            <a:avLst/>
          </a:prstGeom>
          <a:solidFill>
            <a:schemeClr val="accent1"/>
          </a:solidFill>
          <a:ln w="9525" cap="sq"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SG" sz="1600" err="1">
              <a:solidFill>
                <a:schemeClr val="bg1"/>
              </a:solidFill>
            </a:endParaRPr>
          </a:p>
        </p:txBody>
      </p:sp>
      <p:sp>
        <p:nvSpPr>
          <p:cNvPr id="12" name="Rectangle 11">
            <a:extLst>
              <a:ext uri="{FF2B5EF4-FFF2-40B4-BE49-F238E27FC236}">
                <a16:creationId xmlns:a16="http://schemas.microsoft.com/office/drawing/2014/main" id="{84332555-D68C-3914-C5C3-819DDD741671}"/>
              </a:ext>
            </a:extLst>
          </p:cNvPr>
          <p:cNvSpPr/>
          <p:nvPr>
            <p:custDataLst>
              <p:tags r:id="rId8"/>
            </p:custDataLst>
          </p:nvPr>
        </p:nvSpPr>
        <p:spPr bwMode="auto">
          <a:xfrm>
            <a:off x="3709988" y="4972050"/>
            <a:ext cx="184150" cy="285750"/>
          </a:xfrm>
          <a:prstGeom prst="rect">
            <a:avLst/>
          </a:prstGeom>
          <a:solidFill>
            <a:schemeClr val="accent1"/>
          </a:solidFill>
          <a:ln w="9525" cap="sq"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SG" sz="1600" err="1">
              <a:solidFill>
                <a:schemeClr val="bg1"/>
              </a:solidFill>
            </a:endParaRPr>
          </a:p>
        </p:txBody>
      </p:sp>
      <p:sp>
        <p:nvSpPr>
          <p:cNvPr id="13" name="Rectangle 12">
            <a:extLst>
              <a:ext uri="{FF2B5EF4-FFF2-40B4-BE49-F238E27FC236}">
                <a16:creationId xmlns:a16="http://schemas.microsoft.com/office/drawing/2014/main" id="{4985D68C-D657-FFB4-17E9-6C57ABE6BD62}"/>
              </a:ext>
            </a:extLst>
          </p:cNvPr>
          <p:cNvSpPr/>
          <p:nvPr>
            <p:custDataLst>
              <p:tags r:id="rId9"/>
            </p:custDataLst>
          </p:nvPr>
        </p:nvSpPr>
        <p:spPr bwMode="auto">
          <a:xfrm>
            <a:off x="3525838" y="4927600"/>
            <a:ext cx="184150" cy="330200"/>
          </a:xfrm>
          <a:prstGeom prst="rect">
            <a:avLst/>
          </a:prstGeom>
          <a:solidFill>
            <a:schemeClr val="accent1"/>
          </a:solidFill>
          <a:ln w="9525" cap="sq"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SG" sz="1600" err="1">
              <a:solidFill>
                <a:schemeClr val="bg1"/>
              </a:solidFill>
            </a:endParaRPr>
          </a:p>
        </p:txBody>
      </p:sp>
      <p:sp>
        <p:nvSpPr>
          <p:cNvPr id="14" name="Rectangle 13">
            <a:extLst>
              <a:ext uri="{FF2B5EF4-FFF2-40B4-BE49-F238E27FC236}">
                <a16:creationId xmlns:a16="http://schemas.microsoft.com/office/drawing/2014/main" id="{CE70DF2F-D048-9A64-EFB7-3141BF8DA450}"/>
              </a:ext>
            </a:extLst>
          </p:cNvPr>
          <p:cNvSpPr/>
          <p:nvPr>
            <p:custDataLst>
              <p:tags r:id="rId10"/>
            </p:custDataLst>
          </p:nvPr>
        </p:nvSpPr>
        <p:spPr bwMode="auto">
          <a:xfrm>
            <a:off x="3340100" y="4708525"/>
            <a:ext cx="185738" cy="549275"/>
          </a:xfrm>
          <a:prstGeom prst="rect">
            <a:avLst/>
          </a:prstGeom>
          <a:solidFill>
            <a:schemeClr val="accent1"/>
          </a:solidFill>
          <a:ln w="9525" cap="sq"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SG" sz="1600" err="1">
              <a:solidFill>
                <a:schemeClr val="bg1"/>
              </a:solidFill>
            </a:endParaRPr>
          </a:p>
        </p:txBody>
      </p:sp>
      <p:sp>
        <p:nvSpPr>
          <p:cNvPr id="15" name="Rectangle 14">
            <a:extLst>
              <a:ext uri="{FF2B5EF4-FFF2-40B4-BE49-F238E27FC236}">
                <a16:creationId xmlns:a16="http://schemas.microsoft.com/office/drawing/2014/main" id="{8A2E0171-7B3E-C5D6-3D9D-9BA1542AE479}"/>
              </a:ext>
            </a:extLst>
          </p:cNvPr>
          <p:cNvSpPr/>
          <p:nvPr>
            <p:custDataLst>
              <p:tags r:id="rId11"/>
            </p:custDataLst>
          </p:nvPr>
        </p:nvSpPr>
        <p:spPr bwMode="auto">
          <a:xfrm>
            <a:off x="3155950" y="4652962"/>
            <a:ext cx="184150" cy="604838"/>
          </a:xfrm>
          <a:prstGeom prst="rect">
            <a:avLst/>
          </a:prstGeom>
          <a:solidFill>
            <a:schemeClr val="accent1"/>
          </a:solidFill>
          <a:ln w="9525" cap="sq"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SG" sz="1600" err="1">
              <a:solidFill>
                <a:schemeClr val="bg1"/>
              </a:solidFill>
            </a:endParaRPr>
          </a:p>
        </p:txBody>
      </p:sp>
      <p:sp>
        <p:nvSpPr>
          <p:cNvPr id="16" name="Rectangle 15">
            <a:extLst>
              <a:ext uri="{FF2B5EF4-FFF2-40B4-BE49-F238E27FC236}">
                <a16:creationId xmlns:a16="http://schemas.microsoft.com/office/drawing/2014/main" id="{0DC23494-1364-8D63-F0A0-9963957E474E}"/>
              </a:ext>
            </a:extLst>
          </p:cNvPr>
          <p:cNvSpPr/>
          <p:nvPr>
            <p:custDataLst>
              <p:tags r:id="rId12"/>
            </p:custDataLst>
          </p:nvPr>
        </p:nvSpPr>
        <p:spPr bwMode="auto">
          <a:xfrm>
            <a:off x="2971800" y="4246563"/>
            <a:ext cx="184150" cy="1011238"/>
          </a:xfrm>
          <a:prstGeom prst="rect">
            <a:avLst/>
          </a:prstGeom>
          <a:solidFill>
            <a:schemeClr val="accent1"/>
          </a:solidFill>
          <a:ln w="9525" cap="sq"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SG" sz="1600" err="1">
              <a:solidFill>
                <a:schemeClr val="bg1"/>
              </a:solidFill>
            </a:endParaRPr>
          </a:p>
        </p:txBody>
      </p:sp>
      <p:sp>
        <p:nvSpPr>
          <p:cNvPr id="17" name="Rectangle 16">
            <a:extLst>
              <a:ext uri="{FF2B5EF4-FFF2-40B4-BE49-F238E27FC236}">
                <a16:creationId xmlns:a16="http://schemas.microsoft.com/office/drawing/2014/main" id="{745ED195-7123-3966-B254-B4DB32EE017D}"/>
              </a:ext>
            </a:extLst>
          </p:cNvPr>
          <p:cNvSpPr/>
          <p:nvPr>
            <p:custDataLst>
              <p:tags r:id="rId13"/>
            </p:custDataLst>
          </p:nvPr>
        </p:nvSpPr>
        <p:spPr bwMode="auto">
          <a:xfrm>
            <a:off x="2786063" y="3938588"/>
            <a:ext cx="185738" cy="1319213"/>
          </a:xfrm>
          <a:prstGeom prst="rect">
            <a:avLst/>
          </a:prstGeom>
          <a:solidFill>
            <a:schemeClr val="accent1"/>
          </a:solidFill>
          <a:ln w="9525" cap="sq"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SG" sz="1600" err="1">
              <a:solidFill>
                <a:schemeClr val="bg1"/>
              </a:solidFill>
            </a:endParaRPr>
          </a:p>
        </p:txBody>
      </p:sp>
      <p:sp>
        <p:nvSpPr>
          <p:cNvPr id="18" name="Rectangle 17">
            <a:extLst>
              <a:ext uri="{FF2B5EF4-FFF2-40B4-BE49-F238E27FC236}">
                <a16:creationId xmlns:a16="http://schemas.microsoft.com/office/drawing/2014/main" id="{03918B28-DFBA-FA8D-8D7C-B83A7EDEAF9C}"/>
              </a:ext>
            </a:extLst>
          </p:cNvPr>
          <p:cNvSpPr/>
          <p:nvPr>
            <p:custDataLst>
              <p:tags r:id="rId14"/>
            </p:custDataLst>
          </p:nvPr>
        </p:nvSpPr>
        <p:spPr bwMode="auto">
          <a:xfrm>
            <a:off x="2601913" y="3630613"/>
            <a:ext cx="184150" cy="1627188"/>
          </a:xfrm>
          <a:prstGeom prst="rect">
            <a:avLst/>
          </a:prstGeom>
          <a:solidFill>
            <a:schemeClr val="accent1"/>
          </a:solidFill>
          <a:ln w="9525" cap="sq"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SG" sz="1600" err="1">
              <a:solidFill>
                <a:schemeClr val="bg1"/>
              </a:solidFill>
            </a:endParaRPr>
          </a:p>
        </p:txBody>
      </p:sp>
      <p:sp>
        <p:nvSpPr>
          <p:cNvPr id="19" name="Rectangle 18">
            <a:extLst>
              <a:ext uri="{FF2B5EF4-FFF2-40B4-BE49-F238E27FC236}">
                <a16:creationId xmlns:a16="http://schemas.microsoft.com/office/drawing/2014/main" id="{EA694E05-76B0-AA3E-3DC9-CBD00CCD8C57}"/>
              </a:ext>
            </a:extLst>
          </p:cNvPr>
          <p:cNvSpPr/>
          <p:nvPr>
            <p:custDataLst>
              <p:tags r:id="rId15"/>
            </p:custDataLst>
          </p:nvPr>
        </p:nvSpPr>
        <p:spPr bwMode="auto">
          <a:xfrm>
            <a:off x="2417763" y="3829050"/>
            <a:ext cx="184150" cy="1428750"/>
          </a:xfrm>
          <a:prstGeom prst="rect">
            <a:avLst/>
          </a:prstGeom>
          <a:solidFill>
            <a:schemeClr val="accent1"/>
          </a:solidFill>
          <a:ln w="9525" cap="sq"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SG" sz="1600" err="1">
              <a:solidFill>
                <a:schemeClr val="bg1"/>
              </a:solidFill>
            </a:endParaRPr>
          </a:p>
        </p:txBody>
      </p:sp>
      <p:sp>
        <p:nvSpPr>
          <p:cNvPr id="20" name="Rectangle 19">
            <a:extLst>
              <a:ext uri="{FF2B5EF4-FFF2-40B4-BE49-F238E27FC236}">
                <a16:creationId xmlns:a16="http://schemas.microsoft.com/office/drawing/2014/main" id="{B847FCBD-E017-6901-E4A5-FD0E279673E4}"/>
              </a:ext>
            </a:extLst>
          </p:cNvPr>
          <p:cNvSpPr/>
          <p:nvPr>
            <p:custDataLst>
              <p:tags r:id="rId16"/>
            </p:custDataLst>
          </p:nvPr>
        </p:nvSpPr>
        <p:spPr bwMode="auto">
          <a:xfrm>
            <a:off x="2232025" y="3773488"/>
            <a:ext cx="185738" cy="1484313"/>
          </a:xfrm>
          <a:prstGeom prst="rect">
            <a:avLst/>
          </a:prstGeom>
          <a:solidFill>
            <a:schemeClr val="accent1"/>
          </a:solidFill>
          <a:ln w="9525" cap="sq"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SG" sz="1600" err="1">
              <a:solidFill>
                <a:schemeClr val="bg1"/>
              </a:solidFill>
            </a:endParaRPr>
          </a:p>
        </p:txBody>
      </p:sp>
      <p:sp>
        <p:nvSpPr>
          <p:cNvPr id="21" name="Rectangle 20">
            <a:extLst>
              <a:ext uri="{FF2B5EF4-FFF2-40B4-BE49-F238E27FC236}">
                <a16:creationId xmlns:a16="http://schemas.microsoft.com/office/drawing/2014/main" id="{90290C32-D353-40D5-2C65-D2AF3BF6B371}"/>
              </a:ext>
            </a:extLst>
          </p:cNvPr>
          <p:cNvSpPr/>
          <p:nvPr>
            <p:custDataLst>
              <p:tags r:id="rId17"/>
            </p:custDataLst>
          </p:nvPr>
        </p:nvSpPr>
        <p:spPr bwMode="auto">
          <a:xfrm>
            <a:off x="2047875" y="4268788"/>
            <a:ext cx="184150" cy="989013"/>
          </a:xfrm>
          <a:prstGeom prst="rect">
            <a:avLst/>
          </a:prstGeom>
          <a:solidFill>
            <a:schemeClr val="accent1"/>
          </a:solidFill>
          <a:ln w="9525" cap="sq"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SG" sz="1600" err="1">
              <a:solidFill>
                <a:schemeClr val="bg1"/>
              </a:solidFill>
            </a:endParaRPr>
          </a:p>
        </p:txBody>
      </p:sp>
      <p:sp>
        <p:nvSpPr>
          <p:cNvPr id="22" name="Rectangle 21">
            <a:extLst>
              <a:ext uri="{FF2B5EF4-FFF2-40B4-BE49-F238E27FC236}">
                <a16:creationId xmlns:a16="http://schemas.microsoft.com/office/drawing/2014/main" id="{D48FFF4B-AD46-742F-99D5-79733581DDF2}"/>
              </a:ext>
            </a:extLst>
          </p:cNvPr>
          <p:cNvSpPr/>
          <p:nvPr>
            <p:custDataLst>
              <p:tags r:id="rId18"/>
            </p:custDataLst>
          </p:nvPr>
        </p:nvSpPr>
        <p:spPr bwMode="auto">
          <a:xfrm>
            <a:off x="1863725" y="4598988"/>
            <a:ext cx="184150" cy="658813"/>
          </a:xfrm>
          <a:prstGeom prst="rect">
            <a:avLst/>
          </a:prstGeom>
          <a:solidFill>
            <a:schemeClr val="accent1"/>
          </a:solidFill>
          <a:ln w="9525" cap="sq"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SG" sz="1600" err="1">
              <a:solidFill>
                <a:schemeClr val="bg1"/>
              </a:solidFill>
            </a:endParaRPr>
          </a:p>
        </p:txBody>
      </p:sp>
      <p:sp>
        <p:nvSpPr>
          <p:cNvPr id="23" name="Rectangle 22">
            <a:extLst>
              <a:ext uri="{FF2B5EF4-FFF2-40B4-BE49-F238E27FC236}">
                <a16:creationId xmlns:a16="http://schemas.microsoft.com/office/drawing/2014/main" id="{5D8FCA4F-BB83-7DDF-0C60-7E079F289B82}"/>
              </a:ext>
            </a:extLst>
          </p:cNvPr>
          <p:cNvSpPr/>
          <p:nvPr>
            <p:custDataLst>
              <p:tags r:id="rId19"/>
            </p:custDataLst>
          </p:nvPr>
        </p:nvSpPr>
        <p:spPr bwMode="auto">
          <a:xfrm>
            <a:off x="1677988" y="5038725"/>
            <a:ext cx="185738" cy="219075"/>
          </a:xfrm>
          <a:prstGeom prst="rect">
            <a:avLst/>
          </a:prstGeom>
          <a:solidFill>
            <a:schemeClr val="accent1"/>
          </a:solidFill>
          <a:ln w="9525" cap="sq"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SG" sz="1600" err="1">
              <a:solidFill>
                <a:schemeClr val="bg1"/>
              </a:solidFill>
            </a:endParaRPr>
          </a:p>
        </p:txBody>
      </p:sp>
      <p:sp>
        <p:nvSpPr>
          <p:cNvPr id="24" name="Rectangle 23">
            <a:extLst>
              <a:ext uri="{FF2B5EF4-FFF2-40B4-BE49-F238E27FC236}">
                <a16:creationId xmlns:a16="http://schemas.microsoft.com/office/drawing/2014/main" id="{BC1D3CA9-8FC7-907C-AF0F-979F2046B4E5}"/>
              </a:ext>
            </a:extLst>
          </p:cNvPr>
          <p:cNvSpPr/>
          <p:nvPr>
            <p:custDataLst>
              <p:tags r:id="rId20"/>
            </p:custDataLst>
          </p:nvPr>
        </p:nvSpPr>
        <p:spPr bwMode="auto">
          <a:xfrm>
            <a:off x="1493838" y="5092699"/>
            <a:ext cx="184150" cy="165100"/>
          </a:xfrm>
          <a:prstGeom prst="rect">
            <a:avLst/>
          </a:prstGeom>
          <a:solidFill>
            <a:schemeClr val="accent1"/>
          </a:solidFill>
          <a:ln w="9525" cap="sq"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SG" sz="1600" err="1">
              <a:solidFill>
                <a:schemeClr val="bg1"/>
              </a:solidFill>
            </a:endParaRPr>
          </a:p>
        </p:txBody>
      </p:sp>
      <p:cxnSp>
        <p:nvCxnSpPr>
          <p:cNvPr id="25" name="Straight Connector 24">
            <a:extLst>
              <a:ext uri="{FF2B5EF4-FFF2-40B4-BE49-F238E27FC236}">
                <a16:creationId xmlns:a16="http://schemas.microsoft.com/office/drawing/2014/main" id="{CCF9A7AF-ADA0-4922-7808-21FB11B778AD}"/>
              </a:ext>
            </a:extLst>
          </p:cNvPr>
          <p:cNvCxnSpPr/>
          <p:nvPr>
            <p:custDataLst>
              <p:tags r:id="rId21"/>
            </p:custDataLst>
          </p:nvPr>
        </p:nvCxnSpPr>
        <p:spPr bwMode="auto">
          <a:xfrm>
            <a:off x="1489075" y="5257800"/>
            <a:ext cx="3887788" cy="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6" name="Rectangle 25">
            <a:extLst>
              <a:ext uri="{FF2B5EF4-FFF2-40B4-BE49-F238E27FC236}">
                <a16:creationId xmlns:a16="http://schemas.microsoft.com/office/drawing/2014/main" id="{89896279-0284-3738-26AE-92DF9F166988}"/>
              </a:ext>
            </a:extLst>
          </p:cNvPr>
          <p:cNvSpPr/>
          <p:nvPr>
            <p:custDataLst>
              <p:tags r:id="rId22"/>
            </p:custDataLst>
          </p:nvPr>
        </p:nvSpPr>
        <p:spPr bwMode="auto">
          <a:xfrm>
            <a:off x="3340100" y="5148263"/>
            <a:ext cx="185738" cy="109538"/>
          </a:xfrm>
          <a:prstGeom prst="rect">
            <a:avLst/>
          </a:prstGeom>
          <a:noFill/>
          <a:ln w="9525" cap="sq" cmpd="sng" algn="ctr">
            <a:noFill/>
            <a:prstDash val="solid"/>
            <a:miter lim="800000"/>
          </a:ln>
          <a:effectLst/>
          <a:extLst>
            <a:ext uri="{909E8E84-426E-40DD-AFC4-6F175D3DCCD1}">
              <a14:hiddenFill xmlns:a14="http://schemas.microsoft.com/office/drawing/2010/main">
                <a:solidFill>
                  <a:srgbClr val="E5546C"/>
                </a:solidFill>
              </a14:hiddenFill>
            </a:ext>
            <a:ext uri="{91240B29-F687-4F45-9708-019B960494DF}">
              <a14:hiddenLine xmlns:a14="http://schemas.microsoft.com/office/drawing/2010/main" w="9525" cap="sq" cmpd="sng" algn="ctr">
                <a:solidFill>
                  <a:schemeClr val="bg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SG" sz="1600" err="1">
              <a:solidFill>
                <a:schemeClr val="bg1"/>
              </a:solidFill>
            </a:endParaRPr>
          </a:p>
        </p:txBody>
      </p:sp>
      <p:sp>
        <p:nvSpPr>
          <p:cNvPr id="27" name="Rectangle 26">
            <a:extLst>
              <a:ext uri="{FF2B5EF4-FFF2-40B4-BE49-F238E27FC236}">
                <a16:creationId xmlns:a16="http://schemas.microsoft.com/office/drawing/2014/main" id="{B1F91E83-7513-243E-8ECE-BA334DBB1E26}"/>
              </a:ext>
            </a:extLst>
          </p:cNvPr>
          <p:cNvSpPr/>
          <p:nvPr>
            <p:custDataLst>
              <p:tags r:id="rId23"/>
            </p:custDataLst>
          </p:nvPr>
        </p:nvSpPr>
        <p:spPr bwMode="auto">
          <a:xfrm>
            <a:off x="3155950" y="4927600"/>
            <a:ext cx="184150" cy="330200"/>
          </a:xfrm>
          <a:prstGeom prst="rect">
            <a:avLst/>
          </a:prstGeom>
          <a:noFill/>
          <a:ln w="9525" cap="sq" cmpd="sng" algn="ctr">
            <a:noFill/>
            <a:prstDash val="solid"/>
            <a:miter lim="800000"/>
          </a:ln>
          <a:effectLst/>
          <a:extLst>
            <a:ext uri="{909E8E84-426E-40DD-AFC4-6F175D3DCCD1}">
              <a14:hiddenFill xmlns:a14="http://schemas.microsoft.com/office/drawing/2010/main">
                <a:solidFill>
                  <a:srgbClr val="E5546C"/>
                </a:solidFill>
              </a14:hiddenFill>
            </a:ext>
            <a:ext uri="{91240B29-F687-4F45-9708-019B960494DF}">
              <a14:hiddenLine xmlns:a14="http://schemas.microsoft.com/office/drawing/2010/main" w="9525" cap="sq" cmpd="sng" algn="ctr">
                <a:solidFill>
                  <a:schemeClr val="bg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SG" sz="1600" err="1">
              <a:solidFill>
                <a:schemeClr val="bg1"/>
              </a:solidFill>
            </a:endParaRPr>
          </a:p>
        </p:txBody>
      </p:sp>
      <p:sp>
        <p:nvSpPr>
          <p:cNvPr id="28" name="Rectangle 27">
            <a:extLst>
              <a:ext uri="{FF2B5EF4-FFF2-40B4-BE49-F238E27FC236}">
                <a16:creationId xmlns:a16="http://schemas.microsoft.com/office/drawing/2014/main" id="{47A5A729-4193-F4B5-F581-174001E30DC3}"/>
              </a:ext>
            </a:extLst>
          </p:cNvPr>
          <p:cNvSpPr/>
          <p:nvPr>
            <p:custDataLst>
              <p:tags r:id="rId24"/>
            </p:custDataLst>
          </p:nvPr>
        </p:nvSpPr>
        <p:spPr bwMode="auto">
          <a:xfrm>
            <a:off x="2971800" y="4159250"/>
            <a:ext cx="184150" cy="1098550"/>
          </a:xfrm>
          <a:prstGeom prst="rect">
            <a:avLst/>
          </a:prstGeom>
          <a:noFill/>
          <a:ln w="9525" cap="sq" cmpd="sng" algn="ctr">
            <a:noFill/>
            <a:prstDash val="solid"/>
            <a:miter lim="800000"/>
          </a:ln>
          <a:effectLst/>
          <a:extLst>
            <a:ext uri="{909E8E84-426E-40DD-AFC4-6F175D3DCCD1}">
              <a14:hiddenFill xmlns:a14="http://schemas.microsoft.com/office/drawing/2010/main">
                <a:solidFill>
                  <a:srgbClr val="E5546C"/>
                </a:solidFill>
              </a14:hiddenFill>
            </a:ext>
            <a:ext uri="{91240B29-F687-4F45-9708-019B960494DF}">
              <a14:hiddenLine xmlns:a14="http://schemas.microsoft.com/office/drawing/2010/main" w="9525" cap="sq" cmpd="sng" algn="ctr">
                <a:solidFill>
                  <a:schemeClr val="bg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SG" sz="1600" err="1">
              <a:solidFill>
                <a:schemeClr val="bg1"/>
              </a:solidFill>
            </a:endParaRPr>
          </a:p>
        </p:txBody>
      </p:sp>
      <p:sp>
        <p:nvSpPr>
          <p:cNvPr id="29" name="Rectangle 28">
            <a:extLst>
              <a:ext uri="{FF2B5EF4-FFF2-40B4-BE49-F238E27FC236}">
                <a16:creationId xmlns:a16="http://schemas.microsoft.com/office/drawing/2014/main" id="{E48E006C-EF9C-1B05-ACC6-F32267E7F511}"/>
              </a:ext>
            </a:extLst>
          </p:cNvPr>
          <p:cNvSpPr/>
          <p:nvPr>
            <p:custDataLst>
              <p:tags r:id="rId25"/>
            </p:custDataLst>
          </p:nvPr>
        </p:nvSpPr>
        <p:spPr bwMode="auto">
          <a:xfrm>
            <a:off x="2786063" y="3498850"/>
            <a:ext cx="185738" cy="1758950"/>
          </a:xfrm>
          <a:prstGeom prst="rect">
            <a:avLst/>
          </a:prstGeom>
          <a:noFill/>
          <a:ln w="9525" cap="sq" cmpd="sng" algn="ctr">
            <a:noFill/>
            <a:prstDash val="solid"/>
            <a:miter lim="800000"/>
          </a:ln>
          <a:effectLst/>
          <a:extLst>
            <a:ext uri="{909E8E84-426E-40DD-AFC4-6F175D3DCCD1}">
              <a14:hiddenFill xmlns:a14="http://schemas.microsoft.com/office/drawing/2010/main">
                <a:solidFill>
                  <a:srgbClr val="E5546C"/>
                </a:solidFill>
              </a14:hiddenFill>
            </a:ext>
            <a:ext uri="{91240B29-F687-4F45-9708-019B960494DF}">
              <a14:hiddenLine xmlns:a14="http://schemas.microsoft.com/office/drawing/2010/main" w="9525" cap="sq" cmpd="sng" algn="ctr">
                <a:solidFill>
                  <a:schemeClr val="bg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SG" sz="1600" err="1">
              <a:solidFill>
                <a:schemeClr val="bg1"/>
              </a:solidFill>
            </a:endParaRPr>
          </a:p>
        </p:txBody>
      </p:sp>
      <p:sp>
        <p:nvSpPr>
          <p:cNvPr id="30" name="Rectangle 29">
            <a:extLst>
              <a:ext uri="{FF2B5EF4-FFF2-40B4-BE49-F238E27FC236}">
                <a16:creationId xmlns:a16="http://schemas.microsoft.com/office/drawing/2014/main" id="{7DE7D34B-7311-755B-DD8B-CF82E25992C5}"/>
              </a:ext>
            </a:extLst>
          </p:cNvPr>
          <p:cNvSpPr/>
          <p:nvPr>
            <p:custDataLst>
              <p:tags r:id="rId26"/>
            </p:custDataLst>
          </p:nvPr>
        </p:nvSpPr>
        <p:spPr bwMode="auto">
          <a:xfrm>
            <a:off x="2601913" y="2400300"/>
            <a:ext cx="184150" cy="2857500"/>
          </a:xfrm>
          <a:prstGeom prst="rect">
            <a:avLst/>
          </a:prstGeom>
          <a:noFill/>
          <a:ln w="9525" cap="sq" cmpd="sng" algn="ctr">
            <a:noFill/>
            <a:prstDash val="solid"/>
            <a:miter lim="800000"/>
          </a:ln>
          <a:effectLst/>
          <a:extLst>
            <a:ext uri="{909E8E84-426E-40DD-AFC4-6F175D3DCCD1}">
              <a14:hiddenFill xmlns:a14="http://schemas.microsoft.com/office/drawing/2010/main">
                <a:solidFill>
                  <a:srgbClr val="E5546C"/>
                </a:solidFill>
              </a14:hiddenFill>
            </a:ext>
            <a:ext uri="{91240B29-F687-4F45-9708-019B960494DF}">
              <a14:hiddenLine xmlns:a14="http://schemas.microsoft.com/office/drawing/2010/main" w="9525" cap="sq" cmpd="sng" algn="ctr">
                <a:solidFill>
                  <a:schemeClr val="bg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SG" sz="1600" err="1">
              <a:solidFill>
                <a:schemeClr val="bg1"/>
              </a:solidFill>
            </a:endParaRPr>
          </a:p>
        </p:txBody>
      </p:sp>
      <p:sp>
        <p:nvSpPr>
          <p:cNvPr id="31" name="Rectangle 30">
            <a:extLst>
              <a:ext uri="{FF2B5EF4-FFF2-40B4-BE49-F238E27FC236}">
                <a16:creationId xmlns:a16="http://schemas.microsoft.com/office/drawing/2014/main" id="{5D68B1F4-470A-A2E7-2CD3-0C39CB90CAD4}"/>
              </a:ext>
            </a:extLst>
          </p:cNvPr>
          <p:cNvSpPr/>
          <p:nvPr>
            <p:custDataLst>
              <p:tags r:id="rId27"/>
            </p:custDataLst>
          </p:nvPr>
        </p:nvSpPr>
        <p:spPr bwMode="auto">
          <a:xfrm>
            <a:off x="2417763" y="2784475"/>
            <a:ext cx="184150" cy="2473325"/>
          </a:xfrm>
          <a:prstGeom prst="rect">
            <a:avLst/>
          </a:prstGeom>
          <a:noFill/>
          <a:ln w="9525" cap="sq" cmpd="sng" algn="ctr">
            <a:noFill/>
            <a:prstDash val="solid"/>
            <a:miter lim="800000"/>
          </a:ln>
          <a:effectLst/>
          <a:extLst>
            <a:ext uri="{909E8E84-426E-40DD-AFC4-6F175D3DCCD1}">
              <a14:hiddenFill xmlns:a14="http://schemas.microsoft.com/office/drawing/2010/main">
                <a:solidFill>
                  <a:srgbClr val="E5546C"/>
                </a:solidFill>
              </a14:hiddenFill>
            </a:ext>
            <a:ext uri="{91240B29-F687-4F45-9708-019B960494DF}">
              <a14:hiddenLine xmlns:a14="http://schemas.microsoft.com/office/drawing/2010/main" w="9525" cap="sq" cmpd="sng" algn="ctr">
                <a:solidFill>
                  <a:schemeClr val="bg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SG" sz="1600" err="1">
              <a:solidFill>
                <a:schemeClr val="bg1"/>
              </a:solidFill>
            </a:endParaRPr>
          </a:p>
        </p:txBody>
      </p:sp>
      <p:sp>
        <p:nvSpPr>
          <p:cNvPr id="32" name="Rectangle 31">
            <a:extLst>
              <a:ext uri="{FF2B5EF4-FFF2-40B4-BE49-F238E27FC236}">
                <a16:creationId xmlns:a16="http://schemas.microsoft.com/office/drawing/2014/main" id="{72C01A5F-C4A6-68AA-CA5C-47CCF9332FA1}"/>
              </a:ext>
            </a:extLst>
          </p:cNvPr>
          <p:cNvSpPr/>
          <p:nvPr>
            <p:custDataLst>
              <p:tags r:id="rId28"/>
            </p:custDataLst>
          </p:nvPr>
        </p:nvSpPr>
        <p:spPr bwMode="auto">
          <a:xfrm>
            <a:off x="2232025" y="3938588"/>
            <a:ext cx="185738" cy="1319213"/>
          </a:xfrm>
          <a:prstGeom prst="rect">
            <a:avLst/>
          </a:prstGeom>
          <a:noFill/>
          <a:ln w="9525" cap="sq" cmpd="sng" algn="ctr">
            <a:noFill/>
            <a:prstDash val="solid"/>
            <a:miter lim="800000"/>
          </a:ln>
          <a:effectLst/>
          <a:extLst>
            <a:ext uri="{909E8E84-426E-40DD-AFC4-6F175D3DCCD1}">
              <a14:hiddenFill xmlns:a14="http://schemas.microsoft.com/office/drawing/2010/main">
                <a:solidFill>
                  <a:srgbClr val="E5546C"/>
                </a:solidFill>
              </a14:hiddenFill>
            </a:ext>
            <a:ext uri="{91240B29-F687-4F45-9708-019B960494DF}">
              <a14:hiddenLine xmlns:a14="http://schemas.microsoft.com/office/drawing/2010/main" w="9525" cap="sq" cmpd="sng" algn="ctr">
                <a:solidFill>
                  <a:schemeClr val="bg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SG" sz="1600" err="1">
              <a:solidFill>
                <a:schemeClr val="bg1"/>
              </a:solidFill>
            </a:endParaRPr>
          </a:p>
        </p:txBody>
      </p:sp>
      <p:sp>
        <p:nvSpPr>
          <p:cNvPr id="33" name="Rectangle 32">
            <a:extLst>
              <a:ext uri="{FF2B5EF4-FFF2-40B4-BE49-F238E27FC236}">
                <a16:creationId xmlns:a16="http://schemas.microsoft.com/office/drawing/2014/main" id="{A368C243-276E-D0D6-E0C6-985204B1A68D}"/>
              </a:ext>
            </a:extLst>
          </p:cNvPr>
          <p:cNvSpPr/>
          <p:nvPr>
            <p:custDataLst>
              <p:tags r:id="rId29"/>
            </p:custDataLst>
          </p:nvPr>
        </p:nvSpPr>
        <p:spPr bwMode="auto">
          <a:xfrm>
            <a:off x="2047875" y="4762499"/>
            <a:ext cx="184150" cy="495300"/>
          </a:xfrm>
          <a:prstGeom prst="rect">
            <a:avLst/>
          </a:prstGeom>
          <a:noFill/>
          <a:ln w="9525" cap="sq" cmpd="sng" algn="ctr">
            <a:noFill/>
            <a:prstDash val="solid"/>
            <a:miter lim="800000"/>
          </a:ln>
          <a:effectLst/>
          <a:extLst>
            <a:ext uri="{909E8E84-426E-40DD-AFC4-6F175D3DCCD1}">
              <a14:hiddenFill xmlns:a14="http://schemas.microsoft.com/office/drawing/2010/main">
                <a:solidFill>
                  <a:srgbClr val="E5546C"/>
                </a:solidFill>
              </a14:hiddenFill>
            </a:ext>
            <a:ext uri="{91240B29-F687-4F45-9708-019B960494DF}">
              <a14:hiddenLine xmlns:a14="http://schemas.microsoft.com/office/drawing/2010/main" w="9525" cap="sq" cmpd="sng" algn="ctr">
                <a:solidFill>
                  <a:schemeClr val="bg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SG" sz="1600" err="1">
              <a:solidFill>
                <a:schemeClr val="bg1"/>
              </a:solidFill>
            </a:endParaRPr>
          </a:p>
        </p:txBody>
      </p:sp>
      <p:sp>
        <p:nvSpPr>
          <p:cNvPr id="34" name="Rectangle 33">
            <a:extLst>
              <a:ext uri="{FF2B5EF4-FFF2-40B4-BE49-F238E27FC236}">
                <a16:creationId xmlns:a16="http://schemas.microsoft.com/office/drawing/2014/main" id="{EE0929BA-9300-9C38-8BD5-B460D15EE8EF}"/>
              </a:ext>
            </a:extLst>
          </p:cNvPr>
          <p:cNvSpPr/>
          <p:nvPr>
            <p:custDataLst>
              <p:tags r:id="rId30"/>
            </p:custDataLst>
          </p:nvPr>
        </p:nvSpPr>
        <p:spPr bwMode="auto">
          <a:xfrm>
            <a:off x="1863725" y="5202238"/>
            <a:ext cx="184150" cy="55563"/>
          </a:xfrm>
          <a:prstGeom prst="rect">
            <a:avLst/>
          </a:prstGeom>
          <a:noFill/>
          <a:ln w="9525" cap="sq" cmpd="sng" algn="ctr">
            <a:noFill/>
            <a:prstDash val="solid"/>
            <a:miter lim="800000"/>
          </a:ln>
          <a:effectLst/>
          <a:extLst>
            <a:ext uri="{909E8E84-426E-40DD-AFC4-6F175D3DCCD1}">
              <a14:hiddenFill xmlns:a14="http://schemas.microsoft.com/office/drawing/2010/main">
                <a:solidFill>
                  <a:srgbClr val="E5546C"/>
                </a:solidFill>
              </a14:hiddenFill>
            </a:ext>
            <a:ext uri="{91240B29-F687-4F45-9708-019B960494DF}">
              <a14:hiddenLine xmlns:a14="http://schemas.microsoft.com/office/drawing/2010/main" w="9525" cap="sq" cmpd="sng" algn="ctr">
                <a:solidFill>
                  <a:schemeClr val="bg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SG" sz="1600" err="1">
              <a:solidFill>
                <a:schemeClr val="bg1"/>
              </a:solidFill>
            </a:endParaRPr>
          </a:p>
        </p:txBody>
      </p:sp>
      <p:cxnSp>
        <p:nvCxnSpPr>
          <p:cNvPr id="35" name="Straight Connector 34">
            <a:extLst>
              <a:ext uri="{FF2B5EF4-FFF2-40B4-BE49-F238E27FC236}">
                <a16:creationId xmlns:a16="http://schemas.microsoft.com/office/drawing/2014/main" id="{E50E4693-C2D7-DDCC-DEEC-BC86D811762B}"/>
              </a:ext>
            </a:extLst>
          </p:cNvPr>
          <p:cNvCxnSpPr/>
          <p:nvPr>
            <p:custDataLst>
              <p:tags r:id="rId31"/>
            </p:custDataLst>
          </p:nvPr>
        </p:nvCxnSpPr>
        <p:spPr bwMode="auto">
          <a:xfrm>
            <a:off x="1489075" y="5257800"/>
            <a:ext cx="3887788" cy="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6" name="Straight Connector 35">
            <a:extLst>
              <a:ext uri="{FF2B5EF4-FFF2-40B4-BE49-F238E27FC236}">
                <a16:creationId xmlns:a16="http://schemas.microsoft.com/office/drawing/2014/main" id="{C8D38D38-EDE6-ACD7-AF8D-48D98421B0FD}"/>
              </a:ext>
            </a:extLst>
          </p:cNvPr>
          <p:cNvCxnSpPr/>
          <p:nvPr>
            <p:custDataLst>
              <p:tags r:id="rId32"/>
            </p:custDataLst>
          </p:nvPr>
        </p:nvCxnSpPr>
        <p:spPr bwMode="gray">
          <a:xfrm>
            <a:off x="3894138" y="5257800"/>
            <a:ext cx="185738" cy="0"/>
          </a:xfrm>
          <a:prstGeom prst="line">
            <a:avLst/>
          </a:prstGeom>
          <a:ln w="25400" cap="flat" cmpd="sng" algn="ctr">
            <a:solidFill>
              <a:schemeClr val="accent2"/>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7" name="Straight Connector 36">
            <a:extLst>
              <a:ext uri="{FF2B5EF4-FFF2-40B4-BE49-F238E27FC236}">
                <a16:creationId xmlns:a16="http://schemas.microsoft.com/office/drawing/2014/main" id="{10B7D2ED-F209-9AF1-CC0F-53455A7B2FDA}"/>
              </a:ext>
            </a:extLst>
          </p:cNvPr>
          <p:cNvCxnSpPr/>
          <p:nvPr>
            <p:custDataLst>
              <p:tags r:id="rId33"/>
            </p:custDataLst>
          </p:nvPr>
        </p:nvCxnSpPr>
        <p:spPr bwMode="gray">
          <a:xfrm>
            <a:off x="4079875" y="5257800"/>
            <a:ext cx="184150" cy="0"/>
          </a:xfrm>
          <a:prstGeom prst="line">
            <a:avLst/>
          </a:prstGeom>
          <a:ln w="25400" cap="flat" cmpd="sng" algn="ctr">
            <a:solidFill>
              <a:schemeClr val="accent2"/>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8" name="Straight Connector 37">
            <a:extLst>
              <a:ext uri="{FF2B5EF4-FFF2-40B4-BE49-F238E27FC236}">
                <a16:creationId xmlns:a16="http://schemas.microsoft.com/office/drawing/2014/main" id="{7B2810A8-934D-AD3D-979A-B3C96944CACF}"/>
              </a:ext>
            </a:extLst>
          </p:cNvPr>
          <p:cNvCxnSpPr/>
          <p:nvPr>
            <p:custDataLst>
              <p:tags r:id="rId34"/>
            </p:custDataLst>
          </p:nvPr>
        </p:nvCxnSpPr>
        <p:spPr bwMode="gray">
          <a:xfrm>
            <a:off x="2232025" y="3938588"/>
            <a:ext cx="185738" cy="0"/>
          </a:xfrm>
          <a:prstGeom prst="line">
            <a:avLst/>
          </a:prstGeom>
          <a:ln w="25400" cap="flat" cmpd="sng" algn="ctr">
            <a:solidFill>
              <a:schemeClr val="accent2"/>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9" name="Straight Connector 38">
            <a:extLst>
              <a:ext uri="{FF2B5EF4-FFF2-40B4-BE49-F238E27FC236}">
                <a16:creationId xmlns:a16="http://schemas.microsoft.com/office/drawing/2014/main" id="{C4406076-7AC1-114D-0032-0E3517996096}"/>
              </a:ext>
            </a:extLst>
          </p:cNvPr>
          <p:cNvCxnSpPr/>
          <p:nvPr>
            <p:custDataLst>
              <p:tags r:id="rId35"/>
            </p:custDataLst>
          </p:nvPr>
        </p:nvCxnSpPr>
        <p:spPr bwMode="gray">
          <a:xfrm>
            <a:off x="3525838" y="5257800"/>
            <a:ext cx="184150" cy="0"/>
          </a:xfrm>
          <a:prstGeom prst="line">
            <a:avLst/>
          </a:prstGeom>
          <a:ln w="25400" cap="flat" cmpd="sng" algn="ctr">
            <a:solidFill>
              <a:schemeClr val="accent2"/>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0" name="Straight Connector 39">
            <a:extLst>
              <a:ext uri="{FF2B5EF4-FFF2-40B4-BE49-F238E27FC236}">
                <a16:creationId xmlns:a16="http://schemas.microsoft.com/office/drawing/2014/main" id="{8BF3E520-BA80-0987-DBF3-187D1CCDE8B5}"/>
              </a:ext>
            </a:extLst>
          </p:cNvPr>
          <p:cNvCxnSpPr/>
          <p:nvPr>
            <p:custDataLst>
              <p:tags r:id="rId36"/>
            </p:custDataLst>
          </p:nvPr>
        </p:nvCxnSpPr>
        <p:spPr bwMode="gray">
          <a:xfrm>
            <a:off x="1489075" y="5257800"/>
            <a:ext cx="188913" cy="0"/>
          </a:xfrm>
          <a:prstGeom prst="line">
            <a:avLst/>
          </a:prstGeom>
          <a:ln w="25400" cap="flat" cmpd="sng" algn="ctr">
            <a:solidFill>
              <a:schemeClr val="accent2"/>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1" name="Straight Connector 40">
            <a:extLst>
              <a:ext uri="{FF2B5EF4-FFF2-40B4-BE49-F238E27FC236}">
                <a16:creationId xmlns:a16="http://schemas.microsoft.com/office/drawing/2014/main" id="{8C22C793-05F1-F4FD-A843-77D362E6447D}"/>
              </a:ext>
            </a:extLst>
          </p:cNvPr>
          <p:cNvCxnSpPr/>
          <p:nvPr>
            <p:custDataLst>
              <p:tags r:id="rId37"/>
            </p:custDataLst>
          </p:nvPr>
        </p:nvCxnSpPr>
        <p:spPr bwMode="gray">
          <a:xfrm>
            <a:off x="1677988" y="5257800"/>
            <a:ext cx="185738" cy="0"/>
          </a:xfrm>
          <a:prstGeom prst="line">
            <a:avLst/>
          </a:prstGeom>
          <a:ln w="25400" cap="flat" cmpd="sng" algn="ctr">
            <a:solidFill>
              <a:schemeClr val="accent2"/>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2" name="Straight Connector 41">
            <a:extLst>
              <a:ext uri="{FF2B5EF4-FFF2-40B4-BE49-F238E27FC236}">
                <a16:creationId xmlns:a16="http://schemas.microsoft.com/office/drawing/2014/main" id="{CA8C7F1A-F9A4-B593-8BA1-D83E447B80AE}"/>
              </a:ext>
            </a:extLst>
          </p:cNvPr>
          <p:cNvCxnSpPr/>
          <p:nvPr>
            <p:custDataLst>
              <p:tags r:id="rId38"/>
            </p:custDataLst>
          </p:nvPr>
        </p:nvCxnSpPr>
        <p:spPr bwMode="gray">
          <a:xfrm flipV="1">
            <a:off x="1863725" y="5189538"/>
            <a:ext cx="0" cy="80963"/>
          </a:xfrm>
          <a:prstGeom prst="line">
            <a:avLst/>
          </a:prstGeom>
          <a:ln w="25400" cap="flat" cmpd="sng" algn="ctr">
            <a:solidFill>
              <a:schemeClr val="accent2"/>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3" name="Straight Connector 42">
            <a:extLst>
              <a:ext uri="{FF2B5EF4-FFF2-40B4-BE49-F238E27FC236}">
                <a16:creationId xmlns:a16="http://schemas.microsoft.com/office/drawing/2014/main" id="{C2E49962-3405-73DA-2470-39D722936F62}"/>
              </a:ext>
            </a:extLst>
          </p:cNvPr>
          <p:cNvCxnSpPr/>
          <p:nvPr>
            <p:custDataLst>
              <p:tags r:id="rId39"/>
            </p:custDataLst>
          </p:nvPr>
        </p:nvCxnSpPr>
        <p:spPr bwMode="gray">
          <a:xfrm>
            <a:off x="1863725" y="5202238"/>
            <a:ext cx="184150" cy="0"/>
          </a:xfrm>
          <a:prstGeom prst="line">
            <a:avLst/>
          </a:prstGeom>
          <a:ln w="25400" cap="flat" cmpd="sng" algn="ctr">
            <a:solidFill>
              <a:schemeClr val="accent2"/>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4" name="Straight Connector 43">
            <a:extLst>
              <a:ext uri="{FF2B5EF4-FFF2-40B4-BE49-F238E27FC236}">
                <a16:creationId xmlns:a16="http://schemas.microsoft.com/office/drawing/2014/main" id="{58B0387F-607A-D53A-56BF-054AF94A271D}"/>
              </a:ext>
            </a:extLst>
          </p:cNvPr>
          <p:cNvCxnSpPr/>
          <p:nvPr>
            <p:custDataLst>
              <p:tags r:id="rId40"/>
            </p:custDataLst>
          </p:nvPr>
        </p:nvCxnSpPr>
        <p:spPr bwMode="gray">
          <a:xfrm flipV="1">
            <a:off x="2047875" y="4749800"/>
            <a:ext cx="0" cy="465138"/>
          </a:xfrm>
          <a:prstGeom prst="line">
            <a:avLst/>
          </a:prstGeom>
          <a:ln w="25400" cap="flat" cmpd="sng" algn="ctr">
            <a:solidFill>
              <a:schemeClr val="accent2"/>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5" name="Straight Connector 44">
            <a:extLst>
              <a:ext uri="{FF2B5EF4-FFF2-40B4-BE49-F238E27FC236}">
                <a16:creationId xmlns:a16="http://schemas.microsoft.com/office/drawing/2014/main" id="{581BB556-150A-06D5-73E7-076A6E4A225F}"/>
              </a:ext>
            </a:extLst>
          </p:cNvPr>
          <p:cNvCxnSpPr/>
          <p:nvPr>
            <p:custDataLst>
              <p:tags r:id="rId41"/>
            </p:custDataLst>
          </p:nvPr>
        </p:nvCxnSpPr>
        <p:spPr bwMode="gray">
          <a:xfrm>
            <a:off x="2047875" y="4762500"/>
            <a:ext cx="184150" cy="0"/>
          </a:xfrm>
          <a:prstGeom prst="line">
            <a:avLst/>
          </a:prstGeom>
          <a:ln w="25400" cap="flat" cmpd="sng" algn="ctr">
            <a:solidFill>
              <a:schemeClr val="accent2"/>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6" name="Straight Connector 45">
            <a:extLst>
              <a:ext uri="{FF2B5EF4-FFF2-40B4-BE49-F238E27FC236}">
                <a16:creationId xmlns:a16="http://schemas.microsoft.com/office/drawing/2014/main" id="{76506F93-ED92-B0F6-832D-D1B151E9A581}"/>
              </a:ext>
            </a:extLst>
          </p:cNvPr>
          <p:cNvCxnSpPr/>
          <p:nvPr>
            <p:custDataLst>
              <p:tags r:id="rId42"/>
            </p:custDataLst>
          </p:nvPr>
        </p:nvCxnSpPr>
        <p:spPr bwMode="gray">
          <a:xfrm flipV="1">
            <a:off x="2232025" y="3925888"/>
            <a:ext cx="0" cy="849313"/>
          </a:xfrm>
          <a:prstGeom prst="line">
            <a:avLst/>
          </a:prstGeom>
          <a:ln w="25400" cap="flat" cmpd="sng" algn="ctr">
            <a:solidFill>
              <a:schemeClr val="accent2"/>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7" name="Straight Connector 46">
            <a:extLst>
              <a:ext uri="{FF2B5EF4-FFF2-40B4-BE49-F238E27FC236}">
                <a16:creationId xmlns:a16="http://schemas.microsoft.com/office/drawing/2014/main" id="{26B52412-0840-18DB-35C2-CCE85446C323}"/>
              </a:ext>
            </a:extLst>
          </p:cNvPr>
          <p:cNvCxnSpPr/>
          <p:nvPr>
            <p:custDataLst>
              <p:tags r:id="rId43"/>
            </p:custDataLst>
          </p:nvPr>
        </p:nvCxnSpPr>
        <p:spPr bwMode="gray">
          <a:xfrm>
            <a:off x="2786063" y="2387600"/>
            <a:ext cx="0" cy="1123950"/>
          </a:xfrm>
          <a:prstGeom prst="line">
            <a:avLst/>
          </a:prstGeom>
          <a:ln w="25400" cap="flat" cmpd="sng" algn="ctr">
            <a:solidFill>
              <a:schemeClr val="accent2"/>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8" name="Straight Connector 47">
            <a:extLst>
              <a:ext uri="{FF2B5EF4-FFF2-40B4-BE49-F238E27FC236}">
                <a16:creationId xmlns:a16="http://schemas.microsoft.com/office/drawing/2014/main" id="{5EABB15F-C5DF-9389-8C76-7418E8D3FEF0}"/>
              </a:ext>
            </a:extLst>
          </p:cNvPr>
          <p:cNvCxnSpPr/>
          <p:nvPr>
            <p:custDataLst>
              <p:tags r:id="rId44"/>
            </p:custDataLst>
          </p:nvPr>
        </p:nvCxnSpPr>
        <p:spPr bwMode="gray">
          <a:xfrm flipV="1">
            <a:off x="2417763" y="2771775"/>
            <a:ext cx="0" cy="1179513"/>
          </a:xfrm>
          <a:prstGeom prst="line">
            <a:avLst/>
          </a:prstGeom>
          <a:ln w="25400" cap="flat" cmpd="sng" algn="ctr">
            <a:solidFill>
              <a:schemeClr val="accent2"/>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9" name="Straight Connector 48">
            <a:extLst>
              <a:ext uri="{FF2B5EF4-FFF2-40B4-BE49-F238E27FC236}">
                <a16:creationId xmlns:a16="http://schemas.microsoft.com/office/drawing/2014/main" id="{DC8AF529-C22A-687E-CF9A-6E78A1B97493}"/>
              </a:ext>
            </a:extLst>
          </p:cNvPr>
          <p:cNvCxnSpPr/>
          <p:nvPr>
            <p:custDataLst>
              <p:tags r:id="rId45"/>
            </p:custDataLst>
          </p:nvPr>
        </p:nvCxnSpPr>
        <p:spPr bwMode="gray">
          <a:xfrm>
            <a:off x="2417763" y="2784475"/>
            <a:ext cx="184150" cy="0"/>
          </a:xfrm>
          <a:prstGeom prst="line">
            <a:avLst/>
          </a:prstGeom>
          <a:ln w="25400" cap="flat" cmpd="sng" algn="ctr">
            <a:solidFill>
              <a:schemeClr val="accent2"/>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0" name="Straight Connector 49">
            <a:extLst>
              <a:ext uri="{FF2B5EF4-FFF2-40B4-BE49-F238E27FC236}">
                <a16:creationId xmlns:a16="http://schemas.microsoft.com/office/drawing/2014/main" id="{61A0A3A9-E8FB-EC1A-04EA-8F9813EAA8B0}"/>
              </a:ext>
            </a:extLst>
          </p:cNvPr>
          <p:cNvCxnSpPr/>
          <p:nvPr>
            <p:custDataLst>
              <p:tags r:id="rId46"/>
            </p:custDataLst>
          </p:nvPr>
        </p:nvCxnSpPr>
        <p:spPr bwMode="gray">
          <a:xfrm flipV="1">
            <a:off x="2601913" y="2387600"/>
            <a:ext cx="0" cy="409575"/>
          </a:xfrm>
          <a:prstGeom prst="line">
            <a:avLst/>
          </a:prstGeom>
          <a:ln w="25400" cap="flat" cmpd="sng" algn="ctr">
            <a:solidFill>
              <a:schemeClr val="accent2"/>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1" name="Straight Connector 50">
            <a:extLst>
              <a:ext uri="{FF2B5EF4-FFF2-40B4-BE49-F238E27FC236}">
                <a16:creationId xmlns:a16="http://schemas.microsoft.com/office/drawing/2014/main" id="{31904FE8-A293-B685-68E6-52C137CD8D3C}"/>
              </a:ext>
            </a:extLst>
          </p:cNvPr>
          <p:cNvCxnSpPr/>
          <p:nvPr>
            <p:custDataLst>
              <p:tags r:id="rId47"/>
            </p:custDataLst>
          </p:nvPr>
        </p:nvCxnSpPr>
        <p:spPr bwMode="gray">
          <a:xfrm>
            <a:off x="3709988" y="5257800"/>
            <a:ext cx="184150" cy="0"/>
          </a:xfrm>
          <a:prstGeom prst="line">
            <a:avLst/>
          </a:prstGeom>
          <a:ln w="25400" cap="flat" cmpd="sng" algn="ctr">
            <a:solidFill>
              <a:schemeClr val="accent2"/>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2" name="Straight Connector 51">
            <a:extLst>
              <a:ext uri="{FF2B5EF4-FFF2-40B4-BE49-F238E27FC236}">
                <a16:creationId xmlns:a16="http://schemas.microsoft.com/office/drawing/2014/main" id="{ACE38C12-149F-F906-BB15-7595DBA9D514}"/>
              </a:ext>
            </a:extLst>
          </p:cNvPr>
          <p:cNvCxnSpPr/>
          <p:nvPr>
            <p:custDataLst>
              <p:tags r:id="rId48"/>
            </p:custDataLst>
          </p:nvPr>
        </p:nvCxnSpPr>
        <p:spPr bwMode="gray">
          <a:xfrm>
            <a:off x="2601913" y="2400300"/>
            <a:ext cx="184150" cy="0"/>
          </a:xfrm>
          <a:prstGeom prst="line">
            <a:avLst/>
          </a:prstGeom>
          <a:ln w="25400" cap="flat" cmpd="sng" algn="ctr">
            <a:solidFill>
              <a:schemeClr val="accent2"/>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3" name="Straight Connector 52">
            <a:extLst>
              <a:ext uri="{FF2B5EF4-FFF2-40B4-BE49-F238E27FC236}">
                <a16:creationId xmlns:a16="http://schemas.microsoft.com/office/drawing/2014/main" id="{5124C927-0C1B-FBEB-952A-D210057A7FFB}"/>
              </a:ext>
            </a:extLst>
          </p:cNvPr>
          <p:cNvCxnSpPr/>
          <p:nvPr>
            <p:custDataLst>
              <p:tags r:id="rId49"/>
            </p:custDataLst>
          </p:nvPr>
        </p:nvCxnSpPr>
        <p:spPr bwMode="gray">
          <a:xfrm>
            <a:off x="4448175" y="5257800"/>
            <a:ext cx="185738" cy="0"/>
          </a:xfrm>
          <a:prstGeom prst="line">
            <a:avLst/>
          </a:prstGeom>
          <a:ln w="25400" cap="flat" cmpd="sng" algn="ctr">
            <a:solidFill>
              <a:schemeClr val="accent2"/>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4" name="Straight Connector 53">
            <a:extLst>
              <a:ext uri="{FF2B5EF4-FFF2-40B4-BE49-F238E27FC236}">
                <a16:creationId xmlns:a16="http://schemas.microsoft.com/office/drawing/2014/main" id="{49CD999A-6B3E-F398-E25C-848A85ADD0EF}"/>
              </a:ext>
            </a:extLst>
          </p:cNvPr>
          <p:cNvCxnSpPr/>
          <p:nvPr>
            <p:custDataLst>
              <p:tags r:id="rId50"/>
            </p:custDataLst>
          </p:nvPr>
        </p:nvCxnSpPr>
        <p:spPr bwMode="gray">
          <a:xfrm>
            <a:off x="2786063" y="3498850"/>
            <a:ext cx="185738" cy="0"/>
          </a:xfrm>
          <a:prstGeom prst="line">
            <a:avLst/>
          </a:prstGeom>
          <a:ln w="25400" cap="flat" cmpd="sng" algn="ctr">
            <a:solidFill>
              <a:schemeClr val="accent2"/>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5" name="Straight Connector 54">
            <a:extLst>
              <a:ext uri="{FF2B5EF4-FFF2-40B4-BE49-F238E27FC236}">
                <a16:creationId xmlns:a16="http://schemas.microsoft.com/office/drawing/2014/main" id="{2EA9F328-E67D-CE97-7EA5-F09E9E09B904}"/>
              </a:ext>
            </a:extLst>
          </p:cNvPr>
          <p:cNvCxnSpPr/>
          <p:nvPr>
            <p:custDataLst>
              <p:tags r:id="rId51"/>
            </p:custDataLst>
          </p:nvPr>
        </p:nvCxnSpPr>
        <p:spPr bwMode="gray">
          <a:xfrm>
            <a:off x="2971800" y="3486150"/>
            <a:ext cx="0" cy="685800"/>
          </a:xfrm>
          <a:prstGeom prst="line">
            <a:avLst/>
          </a:prstGeom>
          <a:ln w="25400" cap="flat" cmpd="sng" algn="ctr">
            <a:solidFill>
              <a:schemeClr val="accent2"/>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6" name="Straight Connector 55">
            <a:extLst>
              <a:ext uri="{FF2B5EF4-FFF2-40B4-BE49-F238E27FC236}">
                <a16:creationId xmlns:a16="http://schemas.microsoft.com/office/drawing/2014/main" id="{21290A53-C2A3-23FE-49A4-407A6681F748}"/>
              </a:ext>
            </a:extLst>
          </p:cNvPr>
          <p:cNvCxnSpPr/>
          <p:nvPr>
            <p:custDataLst>
              <p:tags r:id="rId52"/>
            </p:custDataLst>
          </p:nvPr>
        </p:nvCxnSpPr>
        <p:spPr bwMode="gray">
          <a:xfrm>
            <a:off x="3340100" y="4914900"/>
            <a:ext cx="0" cy="246063"/>
          </a:xfrm>
          <a:prstGeom prst="line">
            <a:avLst/>
          </a:prstGeom>
          <a:ln w="25400" cap="flat" cmpd="sng" algn="ctr">
            <a:solidFill>
              <a:schemeClr val="accent2"/>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7" name="Straight Connector 56">
            <a:extLst>
              <a:ext uri="{FF2B5EF4-FFF2-40B4-BE49-F238E27FC236}">
                <a16:creationId xmlns:a16="http://schemas.microsoft.com/office/drawing/2014/main" id="{C7A91D25-730E-E975-512F-CEA3E43DD088}"/>
              </a:ext>
            </a:extLst>
          </p:cNvPr>
          <p:cNvCxnSpPr/>
          <p:nvPr>
            <p:custDataLst>
              <p:tags r:id="rId53"/>
            </p:custDataLst>
          </p:nvPr>
        </p:nvCxnSpPr>
        <p:spPr bwMode="gray">
          <a:xfrm>
            <a:off x="3155950" y="4927600"/>
            <a:ext cx="184150" cy="0"/>
          </a:xfrm>
          <a:prstGeom prst="line">
            <a:avLst/>
          </a:prstGeom>
          <a:ln w="25400" cap="flat" cmpd="sng" algn="ctr">
            <a:solidFill>
              <a:schemeClr val="accent2"/>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8" name="Straight Connector 57">
            <a:extLst>
              <a:ext uri="{FF2B5EF4-FFF2-40B4-BE49-F238E27FC236}">
                <a16:creationId xmlns:a16="http://schemas.microsoft.com/office/drawing/2014/main" id="{B8689387-FEC0-A521-3B5B-FA1830F2D2C1}"/>
              </a:ext>
            </a:extLst>
          </p:cNvPr>
          <p:cNvCxnSpPr/>
          <p:nvPr>
            <p:custDataLst>
              <p:tags r:id="rId54"/>
            </p:custDataLst>
          </p:nvPr>
        </p:nvCxnSpPr>
        <p:spPr bwMode="gray">
          <a:xfrm>
            <a:off x="2971800" y="4159250"/>
            <a:ext cx="184150" cy="0"/>
          </a:xfrm>
          <a:prstGeom prst="line">
            <a:avLst/>
          </a:prstGeom>
          <a:ln w="25400" cap="flat" cmpd="sng" algn="ctr">
            <a:solidFill>
              <a:schemeClr val="accent2"/>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9" name="Straight Connector 58">
            <a:extLst>
              <a:ext uri="{FF2B5EF4-FFF2-40B4-BE49-F238E27FC236}">
                <a16:creationId xmlns:a16="http://schemas.microsoft.com/office/drawing/2014/main" id="{064B66CF-8F49-D462-1BC2-03F491E1414C}"/>
              </a:ext>
            </a:extLst>
          </p:cNvPr>
          <p:cNvCxnSpPr/>
          <p:nvPr>
            <p:custDataLst>
              <p:tags r:id="rId55"/>
            </p:custDataLst>
          </p:nvPr>
        </p:nvCxnSpPr>
        <p:spPr bwMode="gray">
          <a:xfrm>
            <a:off x="3525838" y="5135563"/>
            <a:ext cx="0" cy="134938"/>
          </a:xfrm>
          <a:prstGeom prst="line">
            <a:avLst/>
          </a:prstGeom>
          <a:ln w="25400" cap="flat" cmpd="sng" algn="ctr">
            <a:solidFill>
              <a:schemeClr val="accent2"/>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0" name="Straight Connector 59">
            <a:extLst>
              <a:ext uri="{FF2B5EF4-FFF2-40B4-BE49-F238E27FC236}">
                <a16:creationId xmlns:a16="http://schemas.microsoft.com/office/drawing/2014/main" id="{C2AD15B8-3DB8-89A6-14CB-90125ADCB596}"/>
              </a:ext>
            </a:extLst>
          </p:cNvPr>
          <p:cNvCxnSpPr/>
          <p:nvPr>
            <p:custDataLst>
              <p:tags r:id="rId56"/>
            </p:custDataLst>
          </p:nvPr>
        </p:nvCxnSpPr>
        <p:spPr bwMode="gray">
          <a:xfrm>
            <a:off x="3155950" y="4146550"/>
            <a:ext cx="0" cy="793750"/>
          </a:xfrm>
          <a:prstGeom prst="line">
            <a:avLst/>
          </a:prstGeom>
          <a:ln w="25400" cap="flat" cmpd="sng" algn="ctr">
            <a:solidFill>
              <a:schemeClr val="accent2"/>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1" name="Straight Connector 60">
            <a:extLst>
              <a:ext uri="{FF2B5EF4-FFF2-40B4-BE49-F238E27FC236}">
                <a16:creationId xmlns:a16="http://schemas.microsoft.com/office/drawing/2014/main" id="{48BE02F2-DACC-70BC-EF0B-6503DADFD24E}"/>
              </a:ext>
            </a:extLst>
          </p:cNvPr>
          <p:cNvCxnSpPr/>
          <p:nvPr>
            <p:custDataLst>
              <p:tags r:id="rId57"/>
            </p:custDataLst>
          </p:nvPr>
        </p:nvCxnSpPr>
        <p:spPr bwMode="gray">
          <a:xfrm>
            <a:off x="3340100" y="5148263"/>
            <a:ext cx="185738" cy="0"/>
          </a:xfrm>
          <a:prstGeom prst="line">
            <a:avLst/>
          </a:prstGeom>
          <a:ln w="25400" cap="flat" cmpd="sng" algn="ctr">
            <a:solidFill>
              <a:schemeClr val="accent2"/>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2" name="Straight Connector 61">
            <a:extLst>
              <a:ext uri="{FF2B5EF4-FFF2-40B4-BE49-F238E27FC236}">
                <a16:creationId xmlns:a16="http://schemas.microsoft.com/office/drawing/2014/main" id="{73EBBDD0-31A0-3CE9-4B4A-A07E3EB152A2}"/>
              </a:ext>
            </a:extLst>
          </p:cNvPr>
          <p:cNvCxnSpPr/>
          <p:nvPr>
            <p:custDataLst>
              <p:tags r:id="rId58"/>
            </p:custDataLst>
          </p:nvPr>
        </p:nvCxnSpPr>
        <p:spPr bwMode="gray">
          <a:xfrm>
            <a:off x="4264025" y="5257800"/>
            <a:ext cx="184150" cy="0"/>
          </a:xfrm>
          <a:prstGeom prst="line">
            <a:avLst/>
          </a:prstGeom>
          <a:ln w="25400" cap="flat" cmpd="sng" algn="ctr">
            <a:solidFill>
              <a:schemeClr val="accent2"/>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3" name="Straight Connector 62">
            <a:extLst>
              <a:ext uri="{FF2B5EF4-FFF2-40B4-BE49-F238E27FC236}">
                <a16:creationId xmlns:a16="http://schemas.microsoft.com/office/drawing/2014/main" id="{B0F4D474-EEAE-FAC7-3BA2-6DE2928DEB87}"/>
              </a:ext>
            </a:extLst>
          </p:cNvPr>
          <p:cNvCxnSpPr/>
          <p:nvPr>
            <p:custDataLst>
              <p:tags r:id="rId59"/>
            </p:custDataLst>
          </p:nvPr>
        </p:nvCxnSpPr>
        <p:spPr bwMode="gray">
          <a:xfrm>
            <a:off x="4633913" y="5257800"/>
            <a:ext cx="184150" cy="0"/>
          </a:xfrm>
          <a:prstGeom prst="line">
            <a:avLst/>
          </a:prstGeom>
          <a:ln w="25400" cap="flat" cmpd="sng" algn="ctr">
            <a:solidFill>
              <a:schemeClr val="accent2"/>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4" name="Straight Connector 63">
            <a:extLst>
              <a:ext uri="{FF2B5EF4-FFF2-40B4-BE49-F238E27FC236}">
                <a16:creationId xmlns:a16="http://schemas.microsoft.com/office/drawing/2014/main" id="{B3983812-51F8-1249-DD22-9E253A4B6952}"/>
              </a:ext>
            </a:extLst>
          </p:cNvPr>
          <p:cNvCxnSpPr/>
          <p:nvPr>
            <p:custDataLst>
              <p:tags r:id="rId60"/>
            </p:custDataLst>
          </p:nvPr>
        </p:nvCxnSpPr>
        <p:spPr bwMode="gray">
          <a:xfrm>
            <a:off x="4818063" y="5257800"/>
            <a:ext cx="184150" cy="0"/>
          </a:xfrm>
          <a:prstGeom prst="line">
            <a:avLst/>
          </a:prstGeom>
          <a:ln w="25400" cap="flat" cmpd="sng" algn="ctr">
            <a:solidFill>
              <a:schemeClr val="accent2"/>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5" name="Straight Connector 64">
            <a:extLst>
              <a:ext uri="{FF2B5EF4-FFF2-40B4-BE49-F238E27FC236}">
                <a16:creationId xmlns:a16="http://schemas.microsoft.com/office/drawing/2014/main" id="{9F4A70C6-7541-0925-445A-A58BC45575FC}"/>
              </a:ext>
            </a:extLst>
          </p:cNvPr>
          <p:cNvCxnSpPr/>
          <p:nvPr>
            <p:custDataLst>
              <p:tags r:id="rId61"/>
            </p:custDataLst>
          </p:nvPr>
        </p:nvCxnSpPr>
        <p:spPr bwMode="gray">
          <a:xfrm>
            <a:off x="5002213" y="5257800"/>
            <a:ext cx="185738" cy="0"/>
          </a:xfrm>
          <a:prstGeom prst="line">
            <a:avLst/>
          </a:prstGeom>
          <a:ln w="25400" cap="flat" cmpd="sng" algn="ctr">
            <a:solidFill>
              <a:schemeClr val="accent2"/>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6" name="Straight Connector 65">
            <a:extLst>
              <a:ext uri="{FF2B5EF4-FFF2-40B4-BE49-F238E27FC236}">
                <a16:creationId xmlns:a16="http://schemas.microsoft.com/office/drawing/2014/main" id="{49C08B00-3DA5-AA5C-FD00-CE3E3F1B0BCE}"/>
              </a:ext>
            </a:extLst>
          </p:cNvPr>
          <p:cNvCxnSpPr/>
          <p:nvPr>
            <p:custDataLst>
              <p:tags r:id="rId62"/>
            </p:custDataLst>
          </p:nvPr>
        </p:nvCxnSpPr>
        <p:spPr bwMode="gray">
          <a:xfrm>
            <a:off x="5187950" y="5257800"/>
            <a:ext cx="188913" cy="0"/>
          </a:xfrm>
          <a:prstGeom prst="line">
            <a:avLst/>
          </a:prstGeom>
          <a:ln w="25400" cap="flat" cmpd="sng" algn="ctr">
            <a:solidFill>
              <a:schemeClr val="accent2"/>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7" name="Straight Connector 66">
            <a:extLst>
              <a:ext uri="{FF2B5EF4-FFF2-40B4-BE49-F238E27FC236}">
                <a16:creationId xmlns:a16="http://schemas.microsoft.com/office/drawing/2014/main" id="{3F4C7519-F644-3BD5-5247-2D050B20AC64}"/>
              </a:ext>
            </a:extLst>
          </p:cNvPr>
          <p:cNvCxnSpPr>
            <a:cxnSpLocks/>
          </p:cNvCxnSpPr>
          <p:nvPr/>
        </p:nvCxnSpPr>
        <p:spPr>
          <a:xfrm>
            <a:off x="1066800" y="5257800"/>
            <a:ext cx="4876800" cy="0"/>
          </a:xfrm>
          <a:prstGeom prst="line">
            <a:avLst/>
          </a:prstGeom>
          <a:ln w="28575"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68" name="TextBox 67">
            <a:extLst>
              <a:ext uri="{FF2B5EF4-FFF2-40B4-BE49-F238E27FC236}">
                <a16:creationId xmlns:a16="http://schemas.microsoft.com/office/drawing/2014/main" id="{E69F6D28-21E7-DD9D-6C55-B9D00DF6A05C}"/>
              </a:ext>
            </a:extLst>
          </p:cNvPr>
          <p:cNvSpPr txBox="1">
            <a:spLocks/>
          </p:cNvSpPr>
          <p:nvPr/>
        </p:nvSpPr>
        <p:spPr>
          <a:xfrm>
            <a:off x="1143000" y="5334000"/>
            <a:ext cx="496931" cy="215444"/>
          </a:xfrm>
          <a:prstGeom prst="rect">
            <a:avLst/>
          </a:prstGeom>
        </p:spPr>
        <p:txBody>
          <a:bodyPr vert="horz" wrap="none" lIns="0" tIns="0" rIns="0" bIns="0" rtlCol="0">
            <a:no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228600" lvl="1" indent="-230400">
              <a:lnSpc>
                <a:spcPct val="100000"/>
              </a:lnSpc>
              <a:spcBef>
                <a:spcPts val="0"/>
              </a:spcBef>
              <a:spcAft>
                <a:spcPts val="300"/>
              </a:spcAft>
              <a:buSzPct val="110000"/>
              <a:buFont typeface="Wingdings" panose="05000000000000000000" pitchFamily="2" charset="2"/>
              <a:buChar char=""/>
              <a:defRPr lang="en-US" sz="1600" dirty="0"/>
            </a:lvl2pPr>
            <a:lvl3pPr marL="439200" lvl="2" indent="-208800">
              <a:lnSpc>
                <a:spcPct val="100000"/>
              </a:lnSpc>
              <a:spcBef>
                <a:spcPts val="0"/>
              </a:spcBef>
              <a:spcAft>
                <a:spcPts val="300"/>
              </a:spcAft>
              <a:buSzPct val="110000"/>
              <a:buFont typeface="Arial" panose="020B0604020202020204" pitchFamily="34" charset="0"/>
              <a:buChar char="‒"/>
              <a:defRPr lang="en-US" sz="1600" dirty="0"/>
            </a:lvl3pPr>
            <a:lvl4pPr marL="604800" lvl="3" indent="-154800">
              <a:lnSpc>
                <a:spcPct val="100000"/>
              </a:lnSpc>
              <a:spcBef>
                <a:spcPts val="0"/>
              </a:spcBef>
              <a:spcAft>
                <a:spcPts val="300"/>
              </a:spcAft>
              <a:buFont typeface="Arial" panose="020B0604020202020204" pitchFamily="34" charset="0"/>
              <a:buChar char="•"/>
              <a:defRPr lang="en-US" sz="1600" dirty="0"/>
            </a:lvl4pPr>
            <a:lvl5pPr marL="813600" lvl="4" indent="-147600">
              <a:lnSpc>
                <a:spcPct val="100000"/>
              </a:lnSpc>
              <a:spcBef>
                <a:spcPts val="0"/>
              </a:spcBef>
              <a:spcAft>
                <a:spcPts val="300"/>
              </a:spcAft>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en-US" sz="1400"/>
              <a:t>4,000</a:t>
            </a:r>
          </a:p>
        </p:txBody>
      </p:sp>
      <p:sp>
        <p:nvSpPr>
          <p:cNvPr id="69" name="TextBox 68">
            <a:extLst>
              <a:ext uri="{FF2B5EF4-FFF2-40B4-BE49-F238E27FC236}">
                <a16:creationId xmlns:a16="http://schemas.microsoft.com/office/drawing/2014/main" id="{DAD7FE58-D5D2-2CE3-404B-611C7EAB2ECD}"/>
              </a:ext>
            </a:extLst>
          </p:cNvPr>
          <p:cNvSpPr txBox="1"/>
          <p:nvPr/>
        </p:nvSpPr>
        <p:spPr>
          <a:xfrm>
            <a:off x="533400" y="5791200"/>
            <a:ext cx="5388864" cy="246221"/>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228600" lvl="1" indent="-230400">
              <a:lnSpc>
                <a:spcPct val="100000"/>
              </a:lnSpc>
              <a:spcBef>
                <a:spcPts val="0"/>
              </a:spcBef>
              <a:spcAft>
                <a:spcPts val="300"/>
              </a:spcAft>
              <a:buSzPct val="110000"/>
              <a:buFont typeface="Wingdings" panose="05000000000000000000" pitchFamily="2" charset="2"/>
              <a:buChar char=""/>
              <a:defRPr lang="en-US" sz="1600" dirty="0"/>
            </a:lvl2pPr>
            <a:lvl3pPr marL="439200" lvl="2" indent="-208800">
              <a:lnSpc>
                <a:spcPct val="100000"/>
              </a:lnSpc>
              <a:spcBef>
                <a:spcPts val="0"/>
              </a:spcBef>
              <a:spcAft>
                <a:spcPts val="300"/>
              </a:spcAft>
              <a:buSzPct val="110000"/>
              <a:buFont typeface="Arial" panose="020B0604020202020204" pitchFamily="34" charset="0"/>
              <a:buChar char="‒"/>
              <a:defRPr lang="en-US" sz="1600" dirty="0"/>
            </a:lvl3pPr>
            <a:lvl4pPr marL="604800" lvl="3" indent="-154800">
              <a:lnSpc>
                <a:spcPct val="100000"/>
              </a:lnSpc>
              <a:spcBef>
                <a:spcPts val="0"/>
              </a:spcBef>
              <a:spcAft>
                <a:spcPts val="300"/>
              </a:spcAft>
              <a:buFont typeface="Arial" panose="020B0604020202020204" pitchFamily="34" charset="0"/>
              <a:buChar char="•"/>
              <a:defRPr lang="en-US" sz="1600" dirty="0"/>
            </a:lvl4pPr>
            <a:lvl5pPr marL="813600" lvl="4" indent="-147600">
              <a:lnSpc>
                <a:spcPct val="100000"/>
              </a:lnSpc>
              <a:spcBef>
                <a:spcPts val="0"/>
              </a:spcBef>
              <a:spcAft>
                <a:spcPts val="300"/>
              </a:spcAft>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en-US" b="1"/>
              <a:t>Total installed cost </a:t>
            </a:r>
            <a:r>
              <a:rPr lang="en-US"/>
              <a:t>($/kW)</a:t>
            </a:r>
          </a:p>
        </p:txBody>
      </p:sp>
      <p:sp>
        <p:nvSpPr>
          <p:cNvPr id="70" name="TextBox 69">
            <a:extLst>
              <a:ext uri="{FF2B5EF4-FFF2-40B4-BE49-F238E27FC236}">
                <a16:creationId xmlns:a16="http://schemas.microsoft.com/office/drawing/2014/main" id="{76B2C0A1-C61B-377E-49B5-9949DC77C106}"/>
              </a:ext>
            </a:extLst>
          </p:cNvPr>
          <p:cNvSpPr txBox="1">
            <a:spLocks/>
          </p:cNvSpPr>
          <p:nvPr/>
        </p:nvSpPr>
        <p:spPr>
          <a:xfrm>
            <a:off x="5446669" y="5334000"/>
            <a:ext cx="496931" cy="215444"/>
          </a:xfrm>
          <a:prstGeom prst="rect">
            <a:avLst/>
          </a:prstGeom>
        </p:spPr>
        <p:txBody>
          <a:bodyPr vert="horz" wrap="none" lIns="0" tIns="0" rIns="0" bIns="0" rtlCol="0">
            <a:no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228600" lvl="1" indent="-230400">
              <a:lnSpc>
                <a:spcPct val="100000"/>
              </a:lnSpc>
              <a:spcBef>
                <a:spcPts val="0"/>
              </a:spcBef>
              <a:spcAft>
                <a:spcPts val="300"/>
              </a:spcAft>
              <a:buSzPct val="110000"/>
              <a:buFont typeface="Wingdings" panose="05000000000000000000" pitchFamily="2" charset="2"/>
              <a:buChar char=""/>
              <a:defRPr lang="en-US" sz="1600" dirty="0"/>
            </a:lvl2pPr>
            <a:lvl3pPr marL="439200" lvl="2" indent="-208800">
              <a:lnSpc>
                <a:spcPct val="100000"/>
              </a:lnSpc>
              <a:spcBef>
                <a:spcPts val="0"/>
              </a:spcBef>
              <a:spcAft>
                <a:spcPts val="300"/>
              </a:spcAft>
              <a:buSzPct val="110000"/>
              <a:buFont typeface="Arial" panose="020B0604020202020204" pitchFamily="34" charset="0"/>
              <a:buChar char="‒"/>
              <a:defRPr lang="en-US" sz="1600" dirty="0"/>
            </a:lvl3pPr>
            <a:lvl4pPr marL="604800" lvl="3" indent="-154800">
              <a:lnSpc>
                <a:spcPct val="100000"/>
              </a:lnSpc>
              <a:spcBef>
                <a:spcPts val="0"/>
              </a:spcBef>
              <a:spcAft>
                <a:spcPts val="300"/>
              </a:spcAft>
              <a:buFont typeface="Arial" panose="020B0604020202020204" pitchFamily="34" charset="0"/>
              <a:buChar char="•"/>
              <a:defRPr lang="en-US" sz="1600" dirty="0"/>
            </a:lvl4pPr>
            <a:lvl5pPr marL="813600" lvl="4" indent="-147600">
              <a:lnSpc>
                <a:spcPct val="100000"/>
              </a:lnSpc>
              <a:spcBef>
                <a:spcPts val="0"/>
              </a:spcBef>
              <a:spcAft>
                <a:spcPts val="300"/>
              </a:spcAft>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en-US" sz="1400"/>
              <a:t>14,000</a:t>
            </a:r>
          </a:p>
        </p:txBody>
      </p:sp>
      <p:sp>
        <p:nvSpPr>
          <p:cNvPr id="71" name="TextBox 70">
            <a:extLst>
              <a:ext uri="{FF2B5EF4-FFF2-40B4-BE49-F238E27FC236}">
                <a16:creationId xmlns:a16="http://schemas.microsoft.com/office/drawing/2014/main" id="{7956F890-59AB-D63F-667A-829876795933}"/>
              </a:ext>
            </a:extLst>
          </p:cNvPr>
          <p:cNvSpPr txBox="1">
            <a:spLocks/>
          </p:cNvSpPr>
          <p:nvPr/>
        </p:nvSpPr>
        <p:spPr>
          <a:xfrm>
            <a:off x="2003734" y="5334000"/>
            <a:ext cx="496931" cy="215444"/>
          </a:xfrm>
          <a:prstGeom prst="rect">
            <a:avLst/>
          </a:prstGeom>
        </p:spPr>
        <p:txBody>
          <a:bodyPr vert="horz" wrap="none" lIns="0" tIns="0" rIns="0" bIns="0" rtlCol="0">
            <a:no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228600" lvl="1" indent="-230400">
              <a:lnSpc>
                <a:spcPct val="100000"/>
              </a:lnSpc>
              <a:spcBef>
                <a:spcPts val="0"/>
              </a:spcBef>
              <a:spcAft>
                <a:spcPts val="300"/>
              </a:spcAft>
              <a:buSzPct val="110000"/>
              <a:buFont typeface="Wingdings" panose="05000000000000000000" pitchFamily="2" charset="2"/>
              <a:buChar char=""/>
              <a:defRPr lang="en-US" sz="1600" dirty="0"/>
            </a:lvl2pPr>
            <a:lvl3pPr marL="439200" lvl="2" indent="-208800">
              <a:lnSpc>
                <a:spcPct val="100000"/>
              </a:lnSpc>
              <a:spcBef>
                <a:spcPts val="0"/>
              </a:spcBef>
              <a:spcAft>
                <a:spcPts val="300"/>
              </a:spcAft>
              <a:buSzPct val="110000"/>
              <a:buFont typeface="Arial" panose="020B0604020202020204" pitchFamily="34" charset="0"/>
              <a:buChar char="‒"/>
              <a:defRPr lang="en-US" sz="1600" dirty="0"/>
            </a:lvl3pPr>
            <a:lvl4pPr marL="604800" lvl="3" indent="-154800">
              <a:lnSpc>
                <a:spcPct val="100000"/>
              </a:lnSpc>
              <a:spcBef>
                <a:spcPts val="0"/>
              </a:spcBef>
              <a:spcAft>
                <a:spcPts val="300"/>
              </a:spcAft>
              <a:buFont typeface="Arial" panose="020B0604020202020204" pitchFamily="34" charset="0"/>
              <a:buChar char="•"/>
              <a:defRPr lang="en-US" sz="1600" dirty="0"/>
            </a:lvl4pPr>
            <a:lvl5pPr marL="813600" lvl="4" indent="-147600">
              <a:lnSpc>
                <a:spcPct val="100000"/>
              </a:lnSpc>
              <a:spcBef>
                <a:spcPts val="0"/>
              </a:spcBef>
              <a:spcAft>
                <a:spcPts val="300"/>
              </a:spcAft>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en-US" sz="1400"/>
              <a:t>6,000</a:t>
            </a:r>
          </a:p>
        </p:txBody>
      </p:sp>
      <p:sp>
        <p:nvSpPr>
          <p:cNvPr id="72" name="TextBox 71">
            <a:extLst>
              <a:ext uri="{FF2B5EF4-FFF2-40B4-BE49-F238E27FC236}">
                <a16:creationId xmlns:a16="http://schemas.microsoft.com/office/drawing/2014/main" id="{822C028D-5FC2-3E48-9F2C-E40F448FFA5A}"/>
              </a:ext>
            </a:extLst>
          </p:cNvPr>
          <p:cNvSpPr txBox="1">
            <a:spLocks/>
          </p:cNvSpPr>
          <p:nvPr/>
        </p:nvSpPr>
        <p:spPr>
          <a:xfrm>
            <a:off x="2864468" y="5334000"/>
            <a:ext cx="496931" cy="215444"/>
          </a:xfrm>
          <a:prstGeom prst="rect">
            <a:avLst/>
          </a:prstGeom>
        </p:spPr>
        <p:txBody>
          <a:bodyPr vert="horz" wrap="none" lIns="0" tIns="0" rIns="0" bIns="0" rtlCol="0">
            <a:no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228600" lvl="1" indent="-230400">
              <a:lnSpc>
                <a:spcPct val="100000"/>
              </a:lnSpc>
              <a:spcBef>
                <a:spcPts val="0"/>
              </a:spcBef>
              <a:spcAft>
                <a:spcPts val="300"/>
              </a:spcAft>
              <a:buSzPct val="110000"/>
              <a:buFont typeface="Wingdings" panose="05000000000000000000" pitchFamily="2" charset="2"/>
              <a:buChar char=""/>
              <a:defRPr lang="en-US" sz="1600" dirty="0"/>
            </a:lvl2pPr>
            <a:lvl3pPr marL="439200" lvl="2" indent="-208800">
              <a:lnSpc>
                <a:spcPct val="100000"/>
              </a:lnSpc>
              <a:spcBef>
                <a:spcPts val="0"/>
              </a:spcBef>
              <a:spcAft>
                <a:spcPts val="300"/>
              </a:spcAft>
              <a:buSzPct val="110000"/>
              <a:buFont typeface="Arial" panose="020B0604020202020204" pitchFamily="34" charset="0"/>
              <a:buChar char="‒"/>
              <a:defRPr lang="en-US" sz="1600" dirty="0"/>
            </a:lvl3pPr>
            <a:lvl4pPr marL="604800" lvl="3" indent="-154800">
              <a:lnSpc>
                <a:spcPct val="100000"/>
              </a:lnSpc>
              <a:spcBef>
                <a:spcPts val="0"/>
              </a:spcBef>
              <a:spcAft>
                <a:spcPts val="300"/>
              </a:spcAft>
              <a:buFont typeface="Arial" panose="020B0604020202020204" pitchFamily="34" charset="0"/>
              <a:buChar char="•"/>
              <a:defRPr lang="en-US" sz="1600" dirty="0"/>
            </a:lvl4pPr>
            <a:lvl5pPr marL="813600" lvl="4" indent="-147600">
              <a:lnSpc>
                <a:spcPct val="100000"/>
              </a:lnSpc>
              <a:spcBef>
                <a:spcPts val="0"/>
              </a:spcBef>
              <a:spcAft>
                <a:spcPts val="300"/>
              </a:spcAft>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en-US" sz="1400"/>
              <a:t>8,000</a:t>
            </a:r>
          </a:p>
        </p:txBody>
      </p:sp>
      <p:sp>
        <p:nvSpPr>
          <p:cNvPr id="73" name="TextBox 72">
            <a:extLst>
              <a:ext uri="{FF2B5EF4-FFF2-40B4-BE49-F238E27FC236}">
                <a16:creationId xmlns:a16="http://schemas.microsoft.com/office/drawing/2014/main" id="{1D265F27-684B-651C-A6C3-52186659CDD0}"/>
              </a:ext>
            </a:extLst>
          </p:cNvPr>
          <p:cNvSpPr txBox="1">
            <a:spLocks/>
          </p:cNvSpPr>
          <p:nvPr/>
        </p:nvSpPr>
        <p:spPr>
          <a:xfrm>
            <a:off x="3725202" y="5334000"/>
            <a:ext cx="496931" cy="215444"/>
          </a:xfrm>
          <a:prstGeom prst="rect">
            <a:avLst/>
          </a:prstGeom>
        </p:spPr>
        <p:txBody>
          <a:bodyPr vert="horz" wrap="none" lIns="0" tIns="0" rIns="0" bIns="0" rtlCol="0">
            <a:no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228600" lvl="1" indent="-230400">
              <a:lnSpc>
                <a:spcPct val="100000"/>
              </a:lnSpc>
              <a:spcBef>
                <a:spcPts val="0"/>
              </a:spcBef>
              <a:spcAft>
                <a:spcPts val="300"/>
              </a:spcAft>
              <a:buSzPct val="110000"/>
              <a:buFont typeface="Wingdings" panose="05000000000000000000" pitchFamily="2" charset="2"/>
              <a:buChar char=""/>
              <a:defRPr lang="en-US" sz="1600" dirty="0"/>
            </a:lvl2pPr>
            <a:lvl3pPr marL="439200" lvl="2" indent="-208800">
              <a:lnSpc>
                <a:spcPct val="100000"/>
              </a:lnSpc>
              <a:spcBef>
                <a:spcPts val="0"/>
              </a:spcBef>
              <a:spcAft>
                <a:spcPts val="300"/>
              </a:spcAft>
              <a:buSzPct val="110000"/>
              <a:buFont typeface="Arial" panose="020B0604020202020204" pitchFamily="34" charset="0"/>
              <a:buChar char="‒"/>
              <a:defRPr lang="en-US" sz="1600" dirty="0"/>
            </a:lvl3pPr>
            <a:lvl4pPr marL="604800" lvl="3" indent="-154800">
              <a:lnSpc>
                <a:spcPct val="100000"/>
              </a:lnSpc>
              <a:spcBef>
                <a:spcPts val="0"/>
              </a:spcBef>
              <a:spcAft>
                <a:spcPts val="300"/>
              </a:spcAft>
              <a:buFont typeface="Arial" panose="020B0604020202020204" pitchFamily="34" charset="0"/>
              <a:buChar char="•"/>
              <a:defRPr lang="en-US" sz="1600" dirty="0"/>
            </a:lvl4pPr>
            <a:lvl5pPr marL="813600" lvl="4" indent="-147600">
              <a:lnSpc>
                <a:spcPct val="100000"/>
              </a:lnSpc>
              <a:spcBef>
                <a:spcPts val="0"/>
              </a:spcBef>
              <a:spcAft>
                <a:spcPts val="300"/>
              </a:spcAft>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en-US" sz="1400"/>
              <a:t>10,000</a:t>
            </a:r>
          </a:p>
        </p:txBody>
      </p:sp>
      <p:sp>
        <p:nvSpPr>
          <p:cNvPr id="74" name="TextBox 73">
            <a:extLst>
              <a:ext uri="{FF2B5EF4-FFF2-40B4-BE49-F238E27FC236}">
                <a16:creationId xmlns:a16="http://schemas.microsoft.com/office/drawing/2014/main" id="{5BF156EC-3B14-21EB-7D8C-7BA841BB8E02}"/>
              </a:ext>
            </a:extLst>
          </p:cNvPr>
          <p:cNvSpPr txBox="1">
            <a:spLocks/>
          </p:cNvSpPr>
          <p:nvPr/>
        </p:nvSpPr>
        <p:spPr>
          <a:xfrm>
            <a:off x="4585936" y="5334000"/>
            <a:ext cx="496931" cy="215444"/>
          </a:xfrm>
          <a:prstGeom prst="rect">
            <a:avLst/>
          </a:prstGeom>
        </p:spPr>
        <p:txBody>
          <a:bodyPr vert="horz" wrap="none" lIns="0" tIns="0" rIns="0" bIns="0" rtlCol="0">
            <a:no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228600" lvl="1" indent="-230400">
              <a:lnSpc>
                <a:spcPct val="100000"/>
              </a:lnSpc>
              <a:spcBef>
                <a:spcPts val="0"/>
              </a:spcBef>
              <a:spcAft>
                <a:spcPts val="300"/>
              </a:spcAft>
              <a:buSzPct val="110000"/>
              <a:buFont typeface="Wingdings" panose="05000000000000000000" pitchFamily="2" charset="2"/>
              <a:buChar char=""/>
              <a:defRPr lang="en-US" sz="1600" dirty="0"/>
            </a:lvl2pPr>
            <a:lvl3pPr marL="439200" lvl="2" indent="-208800">
              <a:lnSpc>
                <a:spcPct val="100000"/>
              </a:lnSpc>
              <a:spcBef>
                <a:spcPts val="0"/>
              </a:spcBef>
              <a:spcAft>
                <a:spcPts val="300"/>
              </a:spcAft>
              <a:buSzPct val="110000"/>
              <a:buFont typeface="Arial" panose="020B0604020202020204" pitchFamily="34" charset="0"/>
              <a:buChar char="‒"/>
              <a:defRPr lang="en-US" sz="1600" dirty="0"/>
            </a:lvl3pPr>
            <a:lvl4pPr marL="604800" lvl="3" indent="-154800">
              <a:lnSpc>
                <a:spcPct val="100000"/>
              </a:lnSpc>
              <a:spcBef>
                <a:spcPts val="0"/>
              </a:spcBef>
              <a:spcAft>
                <a:spcPts val="300"/>
              </a:spcAft>
              <a:buFont typeface="Arial" panose="020B0604020202020204" pitchFamily="34" charset="0"/>
              <a:buChar char="•"/>
              <a:defRPr lang="en-US" sz="1600" dirty="0"/>
            </a:lvl4pPr>
            <a:lvl5pPr marL="813600" lvl="4" indent="-147600">
              <a:lnSpc>
                <a:spcPct val="100000"/>
              </a:lnSpc>
              <a:spcBef>
                <a:spcPts val="0"/>
              </a:spcBef>
              <a:spcAft>
                <a:spcPts val="300"/>
              </a:spcAft>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en-US" sz="1400"/>
              <a:t>12,000</a:t>
            </a:r>
          </a:p>
        </p:txBody>
      </p:sp>
      <p:sp>
        <p:nvSpPr>
          <p:cNvPr id="75" name="Text Placeholder 4">
            <a:extLst>
              <a:ext uri="{FF2B5EF4-FFF2-40B4-BE49-F238E27FC236}">
                <a16:creationId xmlns:a16="http://schemas.microsoft.com/office/drawing/2014/main" id="{D36062FF-3C28-BBBC-7FFC-E294A595E9F0}"/>
              </a:ext>
            </a:extLst>
          </p:cNvPr>
          <p:cNvSpPr>
            <a:spLocks noGrp="1"/>
          </p:cNvSpPr>
          <p:nvPr/>
        </p:nvSpPr>
        <p:spPr bwMode="gray">
          <a:xfrm>
            <a:off x="565150" y="2362200"/>
            <a:ext cx="29527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30400" algn="l" defTabSz="914400" rtl="0" eaLnBrk="1" latinLnBrk="0" hangingPunct="1">
              <a:lnSpc>
                <a:spcPct val="100000"/>
              </a:lnSpc>
              <a:spcBef>
                <a:spcPts val="0"/>
              </a:spcBef>
              <a:spcAft>
                <a:spcPts val="300"/>
              </a:spcAft>
              <a:buSzPct val="110000"/>
              <a:buFont typeface="Wingdings" panose="05000000000000000000" pitchFamily="2" charset="2"/>
              <a:buChar char=""/>
              <a:defRPr lang="en-US" sz="1600" kern="1200" dirty="0">
                <a:solidFill>
                  <a:schemeClr val="tx1"/>
                </a:solidFill>
                <a:latin typeface="+mn-lt"/>
                <a:ea typeface="+mn-ea"/>
                <a:cs typeface="+mn-cs"/>
              </a:defRPr>
            </a:lvl2pPr>
            <a:lvl3pPr marL="439200" indent="-208800" algn="l" defTabSz="914400" rtl="0" eaLnBrk="1" latinLnBrk="0" hangingPunct="1">
              <a:lnSpc>
                <a:spcPct val="100000"/>
              </a:lnSpc>
              <a:spcBef>
                <a:spcPts val="0"/>
              </a:spcBef>
              <a:spcAft>
                <a:spcPts val="300"/>
              </a:spcAft>
              <a:buSzPct val="110000"/>
              <a:buFont typeface="Arial" panose="020B0604020202020204" pitchFamily="34" charset="0"/>
              <a:buChar char="‒"/>
              <a:defRPr lang="en-US" sz="1600" kern="1200" dirty="0">
                <a:solidFill>
                  <a:schemeClr val="tx1"/>
                </a:solidFill>
                <a:latin typeface="+mn-lt"/>
                <a:ea typeface="+mn-ea"/>
                <a:cs typeface="+mn-cs"/>
              </a:defRPr>
            </a:lvl3pPr>
            <a:lvl4pPr marL="604800" indent="-154800" algn="l" defTabSz="914400" rtl="0" eaLnBrk="1" latinLnBrk="0" hangingPunct="1">
              <a:lnSpc>
                <a:spcPct val="100000"/>
              </a:lnSpc>
              <a:spcBef>
                <a:spcPts val="0"/>
              </a:spcBef>
              <a:spcAft>
                <a:spcPts val="300"/>
              </a:spcAft>
              <a:buFont typeface="Arial" panose="020B0604020202020204" pitchFamily="34" charset="0"/>
              <a:buChar char="•"/>
              <a:defRPr lang="en-US" sz="1600" kern="1200" dirty="0">
                <a:solidFill>
                  <a:schemeClr val="tx1"/>
                </a:solidFill>
                <a:latin typeface="+mn-lt"/>
                <a:ea typeface="+mn-ea"/>
                <a:cs typeface="+mn-cs"/>
              </a:defRPr>
            </a:lvl4pPr>
            <a:lvl5pPr marL="813600" indent="-147600" algn="l" defTabSz="914400" rtl="0" eaLnBrk="1" latinLnBrk="0" hangingPunct="1">
              <a:lnSpc>
                <a:spcPct val="100000"/>
              </a:lnSpc>
              <a:spcBef>
                <a:spcPts val="0"/>
              </a:spcBef>
              <a:spcAft>
                <a:spcPts val="300"/>
              </a:spcAft>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spcBef>
                <a:spcPct val="0"/>
              </a:spcBef>
              <a:spcAft>
                <a:spcPct val="0"/>
              </a:spcAft>
            </a:pPr>
            <a:fld id="{29EA4AE8-7542-4E67-A531-76A8C87BCC60}" type="datetime'''''''''''''30''''''''''''''''''''''''''0'''''''''">
              <a:rPr lang="en-US" altLang="en-US" sz="1400" smtClean="0">
                <a:effectLst/>
                <a:cs typeface="+mn-cs"/>
              </a:rPr>
              <a:pPr algn="r">
                <a:spcBef>
                  <a:spcPct val="0"/>
                </a:spcBef>
                <a:spcAft>
                  <a:spcPct val="0"/>
                </a:spcAft>
              </a:pPr>
              <a:t>300</a:t>
            </a:fld>
            <a:endParaRPr lang="en-US" sz="1400">
              <a:cs typeface="+mn-cs"/>
            </a:endParaRPr>
          </a:p>
        </p:txBody>
      </p:sp>
      <p:sp>
        <p:nvSpPr>
          <p:cNvPr id="76" name="Text Placeholder 4">
            <a:extLst>
              <a:ext uri="{FF2B5EF4-FFF2-40B4-BE49-F238E27FC236}">
                <a16:creationId xmlns:a16="http://schemas.microsoft.com/office/drawing/2014/main" id="{EBDB1BA5-FBA6-77AE-329C-A5084DA11875}"/>
              </a:ext>
            </a:extLst>
          </p:cNvPr>
          <p:cNvSpPr>
            <a:spLocks noGrp="1"/>
          </p:cNvSpPr>
          <p:nvPr/>
        </p:nvSpPr>
        <p:spPr bwMode="gray">
          <a:xfrm>
            <a:off x="762000" y="5029200"/>
            <a:ext cx="9842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30400" algn="l" defTabSz="914400" rtl="0" eaLnBrk="1" latinLnBrk="0" hangingPunct="1">
              <a:lnSpc>
                <a:spcPct val="100000"/>
              </a:lnSpc>
              <a:spcBef>
                <a:spcPts val="0"/>
              </a:spcBef>
              <a:spcAft>
                <a:spcPts val="300"/>
              </a:spcAft>
              <a:buSzPct val="110000"/>
              <a:buFont typeface="Wingdings" panose="05000000000000000000" pitchFamily="2" charset="2"/>
              <a:buChar char=""/>
              <a:defRPr lang="en-US" sz="1600" kern="1200" dirty="0">
                <a:solidFill>
                  <a:schemeClr val="tx1"/>
                </a:solidFill>
                <a:latin typeface="+mn-lt"/>
                <a:ea typeface="+mn-ea"/>
                <a:cs typeface="+mn-cs"/>
              </a:defRPr>
            </a:lvl2pPr>
            <a:lvl3pPr marL="439200" indent="-208800" algn="l" defTabSz="914400" rtl="0" eaLnBrk="1" latinLnBrk="0" hangingPunct="1">
              <a:lnSpc>
                <a:spcPct val="100000"/>
              </a:lnSpc>
              <a:spcBef>
                <a:spcPts val="0"/>
              </a:spcBef>
              <a:spcAft>
                <a:spcPts val="300"/>
              </a:spcAft>
              <a:buSzPct val="110000"/>
              <a:buFont typeface="Arial" panose="020B0604020202020204" pitchFamily="34" charset="0"/>
              <a:buChar char="‒"/>
              <a:defRPr lang="en-US" sz="1600" kern="1200" dirty="0">
                <a:solidFill>
                  <a:schemeClr val="tx1"/>
                </a:solidFill>
                <a:latin typeface="+mn-lt"/>
                <a:ea typeface="+mn-ea"/>
                <a:cs typeface="+mn-cs"/>
              </a:defRPr>
            </a:lvl3pPr>
            <a:lvl4pPr marL="604800" indent="-154800" algn="l" defTabSz="914400" rtl="0" eaLnBrk="1" latinLnBrk="0" hangingPunct="1">
              <a:lnSpc>
                <a:spcPct val="100000"/>
              </a:lnSpc>
              <a:spcBef>
                <a:spcPts val="0"/>
              </a:spcBef>
              <a:spcAft>
                <a:spcPts val="300"/>
              </a:spcAft>
              <a:buFont typeface="Arial" panose="020B0604020202020204" pitchFamily="34" charset="0"/>
              <a:buChar char="•"/>
              <a:defRPr lang="en-US" sz="1600" kern="1200" dirty="0">
                <a:solidFill>
                  <a:schemeClr val="tx1"/>
                </a:solidFill>
                <a:latin typeface="+mn-lt"/>
                <a:ea typeface="+mn-ea"/>
                <a:cs typeface="+mn-cs"/>
              </a:defRPr>
            </a:lvl4pPr>
            <a:lvl5pPr marL="813600" indent="-147600" algn="l" defTabSz="914400" rtl="0" eaLnBrk="1" latinLnBrk="0" hangingPunct="1">
              <a:lnSpc>
                <a:spcPct val="100000"/>
              </a:lnSpc>
              <a:spcBef>
                <a:spcPts val="0"/>
              </a:spcBef>
              <a:spcAft>
                <a:spcPts val="300"/>
              </a:spcAft>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spcBef>
                <a:spcPct val="0"/>
              </a:spcBef>
              <a:spcAft>
                <a:spcPct val="0"/>
              </a:spcAft>
            </a:pPr>
            <a:fld id="{C0BDEAD8-C035-4AC9-A48A-0B97890EF13D}" type="datetime'''''0'''''''''''''''''''">
              <a:rPr lang="en-US" altLang="en-US" sz="1400" smtClean="0">
                <a:effectLst/>
                <a:cs typeface="+mn-cs"/>
              </a:rPr>
              <a:pPr algn="r">
                <a:spcBef>
                  <a:spcPct val="0"/>
                </a:spcBef>
                <a:spcAft>
                  <a:spcPct val="0"/>
                </a:spcAft>
              </a:pPr>
              <a:t>0</a:t>
            </a:fld>
            <a:endParaRPr lang="en-US" sz="1400">
              <a:cs typeface="+mn-cs"/>
            </a:endParaRPr>
          </a:p>
        </p:txBody>
      </p:sp>
      <p:sp>
        <p:nvSpPr>
          <p:cNvPr id="77" name="Text Placeholder 4">
            <a:extLst>
              <a:ext uri="{FF2B5EF4-FFF2-40B4-BE49-F238E27FC236}">
                <a16:creationId xmlns:a16="http://schemas.microsoft.com/office/drawing/2014/main" id="{C546EA7F-AB75-079A-0155-02BC739DB40E}"/>
              </a:ext>
            </a:extLst>
          </p:cNvPr>
          <p:cNvSpPr>
            <a:spLocks noGrp="1"/>
          </p:cNvSpPr>
          <p:nvPr/>
        </p:nvSpPr>
        <p:spPr bwMode="gray">
          <a:xfrm>
            <a:off x="565150" y="3695700"/>
            <a:ext cx="29527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30400" algn="l" defTabSz="914400" rtl="0" eaLnBrk="1" latinLnBrk="0" hangingPunct="1">
              <a:lnSpc>
                <a:spcPct val="100000"/>
              </a:lnSpc>
              <a:spcBef>
                <a:spcPts val="0"/>
              </a:spcBef>
              <a:spcAft>
                <a:spcPts val="300"/>
              </a:spcAft>
              <a:buSzPct val="110000"/>
              <a:buFont typeface="Wingdings" panose="05000000000000000000" pitchFamily="2" charset="2"/>
              <a:buChar char=""/>
              <a:defRPr lang="en-US" sz="1600" kern="1200" dirty="0">
                <a:solidFill>
                  <a:schemeClr val="tx1"/>
                </a:solidFill>
                <a:latin typeface="+mn-lt"/>
                <a:ea typeface="+mn-ea"/>
                <a:cs typeface="+mn-cs"/>
              </a:defRPr>
            </a:lvl2pPr>
            <a:lvl3pPr marL="439200" indent="-208800" algn="l" defTabSz="914400" rtl="0" eaLnBrk="1" latinLnBrk="0" hangingPunct="1">
              <a:lnSpc>
                <a:spcPct val="100000"/>
              </a:lnSpc>
              <a:spcBef>
                <a:spcPts val="0"/>
              </a:spcBef>
              <a:spcAft>
                <a:spcPts val="300"/>
              </a:spcAft>
              <a:buSzPct val="110000"/>
              <a:buFont typeface="Arial" panose="020B0604020202020204" pitchFamily="34" charset="0"/>
              <a:buChar char="‒"/>
              <a:defRPr lang="en-US" sz="1600" kern="1200" dirty="0">
                <a:solidFill>
                  <a:schemeClr val="tx1"/>
                </a:solidFill>
                <a:latin typeface="+mn-lt"/>
                <a:ea typeface="+mn-ea"/>
                <a:cs typeface="+mn-cs"/>
              </a:defRPr>
            </a:lvl3pPr>
            <a:lvl4pPr marL="604800" indent="-154800" algn="l" defTabSz="914400" rtl="0" eaLnBrk="1" latinLnBrk="0" hangingPunct="1">
              <a:lnSpc>
                <a:spcPct val="100000"/>
              </a:lnSpc>
              <a:spcBef>
                <a:spcPts val="0"/>
              </a:spcBef>
              <a:spcAft>
                <a:spcPts val="300"/>
              </a:spcAft>
              <a:buFont typeface="Arial" panose="020B0604020202020204" pitchFamily="34" charset="0"/>
              <a:buChar char="•"/>
              <a:defRPr lang="en-US" sz="1600" kern="1200" dirty="0">
                <a:solidFill>
                  <a:schemeClr val="tx1"/>
                </a:solidFill>
                <a:latin typeface="+mn-lt"/>
                <a:ea typeface="+mn-ea"/>
                <a:cs typeface="+mn-cs"/>
              </a:defRPr>
            </a:lvl4pPr>
            <a:lvl5pPr marL="813600" indent="-147600" algn="l" defTabSz="914400" rtl="0" eaLnBrk="1" latinLnBrk="0" hangingPunct="1">
              <a:lnSpc>
                <a:spcPct val="100000"/>
              </a:lnSpc>
              <a:spcBef>
                <a:spcPts val="0"/>
              </a:spcBef>
              <a:spcAft>
                <a:spcPts val="300"/>
              </a:spcAft>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spcBef>
                <a:spcPct val="0"/>
              </a:spcBef>
              <a:spcAft>
                <a:spcPct val="0"/>
              </a:spcAft>
            </a:pPr>
            <a:fld id="{01B8E907-7583-4F95-A847-77FFB43ABE81}" type="datetime'''''1''''''''''''''''''''''''''''''''''''5''''0'''''''''''''''">
              <a:rPr lang="en-US" altLang="en-US" sz="1400" smtClean="0">
                <a:effectLst/>
                <a:cs typeface="+mn-cs"/>
              </a:rPr>
              <a:pPr algn="r">
                <a:spcBef>
                  <a:spcPct val="0"/>
                </a:spcBef>
                <a:spcAft>
                  <a:spcPct val="0"/>
                </a:spcAft>
              </a:pPr>
              <a:t>150</a:t>
            </a:fld>
            <a:endParaRPr lang="en-US" sz="1400">
              <a:cs typeface="+mn-cs"/>
            </a:endParaRPr>
          </a:p>
        </p:txBody>
      </p:sp>
      <p:sp>
        <p:nvSpPr>
          <p:cNvPr id="78" name="Text Placeholder 4">
            <a:extLst>
              <a:ext uri="{FF2B5EF4-FFF2-40B4-BE49-F238E27FC236}">
                <a16:creationId xmlns:a16="http://schemas.microsoft.com/office/drawing/2014/main" id="{18B4E2C8-FB7F-5A55-4957-96BE1954D7B9}"/>
              </a:ext>
            </a:extLst>
          </p:cNvPr>
          <p:cNvSpPr>
            <a:spLocks noGrp="1"/>
          </p:cNvSpPr>
          <p:nvPr/>
        </p:nvSpPr>
        <p:spPr bwMode="gray">
          <a:xfrm>
            <a:off x="663575" y="4584700"/>
            <a:ext cx="19685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30400" algn="l" defTabSz="914400" rtl="0" eaLnBrk="1" latinLnBrk="0" hangingPunct="1">
              <a:lnSpc>
                <a:spcPct val="100000"/>
              </a:lnSpc>
              <a:spcBef>
                <a:spcPts val="0"/>
              </a:spcBef>
              <a:spcAft>
                <a:spcPts val="300"/>
              </a:spcAft>
              <a:buSzPct val="110000"/>
              <a:buFont typeface="Wingdings" panose="05000000000000000000" pitchFamily="2" charset="2"/>
              <a:buChar char=""/>
              <a:defRPr lang="en-US" sz="1600" kern="1200" dirty="0">
                <a:solidFill>
                  <a:schemeClr val="tx1"/>
                </a:solidFill>
                <a:latin typeface="+mn-lt"/>
                <a:ea typeface="+mn-ea"/>
                <a:cs typeface="+mn-cs"/>
              </a:defRPr>
            </a:lvl2pPr>
            <a:lvl3pPr marL="439200" indent="-208800" algn="l" defTabSz="914400" rtl="0" eaLnBrk="1" latinLnBrk="0" hangingPunct="1">
              <a:lnSpc>
                <a:spcPct val="100000"/>
              </a:lnSpc>
              <a:spcBef>
                <a:spcPts val="0"/>
              </a:spcBef>
              <a:spcAft>
                <a:spcPts val="300"/>
              </a:spcAft>
              <a:buSzPct val="110000"/>
              <a:buFont typeface="Arial" panose="020B0604020202020204" pitchFamily="34" charset="0"/>
              <a:buChar char="‒"/>
              <a:defRPr lang="en-US" sz="1600" kern="1200" dirty="0">
                <a:solidFill>
                  <a:schemeClr val="tx1"/>
                </a:solidFill>
                <a:latin typeface="+mn-lt"/>
                <a:ea typeface="+mn-ea"/>
                <a:cs typeface="+mn-cs"/>
              </a:defRPr>
            </a:lvl3pPr>
            <a:lvl4pPr marL="604800" indent="-154800" algn="l" defTabSz="914400" rtl="0" eaLnBrk="1" latinLnBrk="0" hangingPunct="1">
              <a:lnSpc>
                <a:spcPct val="100000"/>
              </a:lnSpc>
              <a:spcBef>
                <a:spcPts val="0"/>
              </a:spcBef>
              <a:spcAft>
                <a:spcPts val="300"/>
              </a:spcAft>
              <a:buFont typeface="Arial" panose="020B0604020202020204" pitchFamily="34" charset="0"/>
              <a:buChar char="•"/>
              <a:defRPr lang="en-US" sz="1600" kern="1200" dirty="0">
                <a:solidFill>
                  <a:schemeClr val="tx1"/>
                </a:solidFill>
                <a:latin typeface="+mn-lt"/>
                <a:ea typeface="+mn-ea"/>
                <a:cs typeface="+mn-cs"/>
              </a:defRPr>
            </a:lvl4pPr>
            <a:lvl5pPr marL="813600" indent="-147600" algn="l" defTabSz="914400" rtl="0" eaLnBrk="1" latinLnBrk="0" hangingPunct="1">
              <a:lnSpc>
                <a:spcPct val="100000"/>
              </a:lnSpc>
              <a:spcBef>
                <a:spcPts val="0"/>
              </a:spcBef>
              <a:spcAft>
                <a:spcPts val="300"/>
              </a:spcAft>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spcBef>
                <a:spcPct val="0"/>
              </a:spcBef>
              <a:spcAft>
                <a:spcPct val="0"/>
              </a:spcAft>
            </a:pPr>
            <a:fld id="{72BC94AD-881B-4A24-9EBC-7EF68A553609}" type="datetime'''''''''''''''''''''''''''''''''5''''''''''''''''''''''0'">
              <a:rPr lang="en-US" altLang="en-US" sz="1400" smtClean="0">
                <a:effectLst/>
                <a:cs typeface="+mn-cs"/>
              </a:rPr>
              <a:pPr algn="r">
                <a:spcBef>
                  <a:spcPct val="0"/>
                </a:spcBef>
                <a:spcAft>
                  <a:spcPct val="0"/>
                </a:spcAft>
              </a:pPr>
              <a:t>50</a:t>
            </a:fld>
            <a:endParaRPr lang="en-US" sz="1400">
              <a:cs typeface="+mn-cs"/>
            </a:endParaRPr>
          </a:p>
        </p:txBody>
      </p:sp>
      <p:sp>
        <p:nvSpPr>
          <p:cNvPr id="79" name="Text Placeholder 4">
            <a:extLst>
              <a:ext uri="{FF2B5EF4-FFF2-40B4-BE49-F238E27FC236}">
                <a16:creationId xmlns:a16="http://schemas.microsoft.com/office/drawing/2014/main" id="{C412B5DE-9C6B-7709-ED56-69D539B81D61}"/>
              </a:ext>
            </a:extLst>
          </p:cNvPr>
          <p:cNvSpPr>
            <a:spLocks noGrp="1"/>
          </p:cNvSpPr>
          <p:nvPr/>
        </p:nvSpPr>
        <p:spPr bwMode="gray">
          <a:xfrm>
            <a:off x="565150" y="4140200"/>
            <a:ext cx="29527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30400" algn="l" defTabSz="914400" rtl="0" eaLnBrk="1" latinLnBrk="0" hangingPunct="1">
              <a:lnSpc>
                <a:spcPct val="100000"/>
              </a:lnSpc>
              <a:spcBef>
                <a:spcPts val="0"/>
              </a:spcBef>
              <a:spcAft>
                <a:spcPts val="300"/>
              </a:spcAft>
              <a:buSzPct val="110000"/>
              <a:buFont typeface="Wingdings" panose="05000000000000000000" pitchFamily="2" charset="2"/>
              <a:buChar char=""/>
              <a:defRPr lang="en-US" sz="1600" kern="1200" dirty="0">
                <a:solidFill>
                  <a:schemeClr val="tx1"/>
                </a:solidFill>
                <a:latin typeface="+mn-lt"/>
                <a:ea typeface="+mn-ea"/>
                <a:cs typeface="+mn-cs"/>
              </a:defRPr>
            </a:lvl2pPr>
            <a:lvl3pPr marL="439200" indent="-208800" algn="l" defTabSz="914400" rtl="0" eaLnBrk="1" latinLnBrk="0" hangingPunct="1">
              <a:lnSpc>
                <a:spcPct val="100000"/>
              </a:lnSpc>
              <a:spcBef>
                <a:spcPts val="0"/>
              </a:spcBef>
              <a:spcAft>
                <a:spcPts val="300"/>
              </a:spcAft>
              <a:buSzPct val="110000"/>
              <a:buFont typeface="Arial" panose="020B0604020202020204" pitchFamily="34" charset="0"/>
              <a:buChar char="‒"/>
              <a:defRPr lang="en-US" sz="1600" kern="1200" dirty="0">
                <a:solidFill>
                  <a:schemeClr val="tx1"/>
                </a:solidFill>
                <a:latin typeface="+mn-lt"/>
                <a:ea typeface="+mn-ea"/>
                <a:cs typeface="+mn-cs"/>
              </a:defRPr>
            </a:lvl3pPr>
            <a:lvl4pPr marL="604800" indent="-154800" algn="l" defTabSz="914400" rtl="0" eaLnBrk="1" latinLnBrk="0" hangingPunct="1">
              <a:lnSpc>
                <a:spcPct val="100000"/>
              </a:lnSpc>
              <a:spcBef>
                <a:spcPts val="0"/>
              </a:spcBef>
              <a:spcAft>
                <a:spcPts val="300"/>
              </a:spcAft>
              <a:buFont typeface="Arial" panose="020B0604020202020204" pitchFamily="34" charset="0"/>
              <a:buChar char="•"/>
              <a:defRPr lang="en-US" sz="1600" kern="1200" dirty="0">
                <a:solidFill>
                  <a:schemeClr val="tx1"/>
                </a:solidFill>
                <a:latin typeface="+mn-lt"/>
                <a:ea typeface="+mn-ea"/>
                <a:cs typeface="+mn-cs"/>
              </a:defRPr>
            </a:lvl4pPr>
            <a:lvl5pPr marL="813600" indent="-147600" algn="l" defTabSz="914400" rtl="0" eaLnBrk="1" latinLnBrk="0" hangingPunct="1">
              <a:lnSpc>
                <a:spcPct val="100000"/>
              </a:lnSpc>
              <a:spcBef>
                <a:spcPts val="0"/>
              </a:spcBef>
              <a:spcAft>
                <a:spcPts val="300"/>
              </a:spcAft>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spcBef>
                <a:spcPct val="0"/>
              </a:spcBef>
              <a:spcAft>
                <a:spcPct val="0"/>
              </a:spcAft>
            </a:pPr>
            <a:fld id="{71BBCADF-6344-40CC-8DB6-DEC980DC0521}" type="datetime'''''''''''''''''1''0''''''0'''''''''''''''''">
              <a:rPr lang="en-US" altLang="en-US" sz="1400" smtClean="0">
                <a:effectLst/>
                <a:cs typeface="+mn-cs"/>
              </a:rPr>
              <a:pPr algn="r">
                <a:spcBef>
                  <a:spcPct val="0"/>
                </a:spcBef>
                <a:spcAft>
                  <a:spcPct val="0"/>
                </a:spcAft>
              </a:pPr>
              <a:t>100</a:t>
            </a:fld>
            <a:endParaRPr lang="en-US" sz="1400">
              <a:cs typeface="+mn-cs"/>
            </a:endParaRPr>
          </a:p>
        </p:txBody>
      </p:sp>
      <p:sp>
        <p:nvSpPr>
          <p:cNvPr id="80" name="Text Placeholder 4">
            <a:extLst>
              <a:ext uri="{FF2B5EF4-FFF2-40B4-BE49-F238E27FC236}">
                <a16:creationId xmlns:a16="http://schemas.microsoft.com/office/drawing/2014/main" id="{8F1D5BE0-B4B8-CBD3-4820-D26B3B1D30D5}"/>
              </a:ext>
            </a:extLst>
          </p:cNvPr>
          <p:cNvSpPr>
            <a:spLocks noGrp="1"/>
          </p:cNvSpPr>
          <p:nvPr/>
        </p:nvSpPr>
        <p:spPr bwMode="gray">
          <a:xfrm>
            <a:off x="565150" y="3251200"/>
            <a:ext cx="29527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30400" algn="l" defTabSz="914400" rtl="0" eaLnBrk="1" latinLnBrk="0" hangingPunct="1">
              <a:lnSpc>
                <a:spcPct val="100000"/>
              </a:lnSpc>
              <a:spcBef>
                <a:spcPts val="0"/>
              </a:spcBef>
              <a:spcAft>
                <a:spcPts val="300"/>
              </a:spcAft>
              <a:buSzPct val="110000"/>
              <a:buFont typeface="Wingdings" panose="05000000000000000000" pitchFamily="2" charset="2"/>
              <a:buChar char=""/>
              <a:defRPr lang="en-US" sz="1600" kern="1200" dirty="0">
                <a:solidFill>
                  <a:schemeClr val="tx1"/>
                </a:solidFill>
                <a:latin typeface="+mn-lt"/>
                <a:ea typeface="+mn-ea"/>
                <a:cs typeface="+mn-cs"/>
              </a:defRPr>
            </a:lvl2pPr>
            <a:lvl3pPr marL="439200" indent="-208800" algn="l" defTabSz="914400" rtl="0" eaLnBrk="1" latinLnBrk="0" hangingPunct="1">
              <a:lnSpc>
                <a:spcPct val="100000"/>
              </a:lnSpc>
              <a:spcBef>
                <a:spcPts val="0"/>
              </a:spcBef>
              <a:spcAft>
                <a:spcPts val="300"/>
              </a:spcAft>
              <a:buSzPct val="110000"/>
              <a:buFont typeface="Arial" panose="020B0604020202020204" pitchFamily="34" charset="0"/>
              <a:buChar char="‒"/>
              <a:defRPr lang="en-US" sz="1600" kern="1200" dirty="0">
                <a:solidFill>
                  <a:schemeClr val="tx1"/>
                </a:solidFill>
                <a:latin typeface="+mn-lt"/>
                <a:ea typeface="+mn-ea"/>
                <a:cs typeface="+mn-cs"/>
              </a:defRPr>
            </a:lvl3pPr>
            <a:lvl4pPr marL="604800" indent="-154800" algn="l" defTabSz="914400" rtl="0" eaLnBrk="1" latinLnBrk="0" hangingPunct="1">
              <a:lnSpc>
                <a:spcPct val="100000"/>
              </a:lnSpc>
              <a:spcBef>
                <a:spcPts val="0"/>
              </a:spcBef>
              <a:spcAft>
                <a:spcPts val="300"/>
              </a:spcAft>
              <a:buFont typeface="Arial" panose="020B0604020202020204" pitchFamily="34" charset="0"/>
              <a:buChar char="•"/>
              <a:defRPr lang="en-US" sz="1600" kern="1200" dirty="0">
                <a:solidFill>
                  <a:schemeClr val="tx1"/>
                </a:solidFill>
                <a:latin typeface="+mn-lt"/>
                <a:ea typeface="+mn-ea"/>
                <a:cs typeface="+mn-cs"/>
              </a:defRPr>
            </a:lvl4pPr>
            <a:lvl5pPr marL="813600" indent="-147600" algn="l" defTabSz="914400" rtl="0" eaLnBrk="1" latinLnBrk="0" hangingPunct="1">
              <a:lnSpc>
                <a:spcPct val="100000"/>
              </a:lnSpc>
              <a:spcBef>
                <a:spcPts val="0"/>
              </a:spcBef>
              <a:spcAft>
                <a:spcPts val="300"/>
              </a:spcAft>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spcBef>
                <a:spcPct val="0"/>
              </a:spcBef>
              <a:spcAft>
                <a:spcPct val="0"/>
              </a:spcAft>
            </a:pPr>
            <a:fld id="{C30408D8-2438-417F-B5B9-8FD7E535980C}" type="datetime'20''''0'''''''''''''''''''''''''''''''''''''''''''''''''''''''">
              <a:rPr lang="en-US" altLang="en-US" sz="1400" smtClean="0">
                <a:effectLst/>
                <a:cs typeface="+mn-cs"/>
              </a:rPr>
              <a:pPr algn="r">
                <a:spcBef>
                  <a:spcPct val="0"/>
                </a:spcBef>
                <a:spcAft>
                  <a:spcPct val="0"/>
                </a:spcAft>
              </a:pPr>
              <a:t>200</a:t>
            </a:fld>
            <a:endParaRPr lang="en-US" sz="1400">
              <a:cs typeface="+mn-cs"/>
            </a:endParaRPr>
          </a:p>
        </p:txBody>
      </p:sp>
      <p:sp>
        <p:nvSpPr>
          <p:cNvPr id="81" name="Text Placeholder 4">
            <a:extLst>
              <a:ext uri="{FF2B5EF4-FFF2-40B4-BE49-F238E27FC236}">
                <a16:creationId xmlns:a16="http://schemas.microsoft.com/office/drawing/2014/main" id="{2671B4AD-D18E-5055-5E03-52D8D33526E7}"/>
              </a:ext>
            </a:extLst>
          </p:cNvPr>
          <p:cNvSpPr>
            <a:spLocks noGrp="1"/>
          </p:cNvSpPr>
          <p:nvPr/>
        </p:nvSpPr>
        <p:spPr bwMode="gray">
          <a:xfrm>
            <a:off x="565150" y="2806700"/>
            <a:ext cx="29527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30400" algn="l" defTabSz="914400" rtl="0" eaLnBrk="1" latinLnBrk="0" hangingPunct="1">
              <a:lnSpc>
                <a:spcPct val="100000"/>
              </a:lnSpc>
              <a:spcBef>
                <a:spcPts val="0"/>
              </a:spcBef>
              <a:spcAft>
                <a:spcPts val="300"/>
              </a:spcAft>
              <a:buSzPct val="110000"/>
              <a:buFont typeface="Wingdings" panose="05000000000000000000" pitchFamily="2" charset="2"/>
              <a:buChar char=""/>
              <a:defRPr lang="en-US" sz="1600" kern="1200" dirty="0">
                <a:solidFill>
                  <a:schemeClr val="tx1"/>
                </a:solidFill>
                <a:latin typeface="+mn-lt"/>
                <a:ea typeface="+mn-ea"/>
                <a:cs typeface="+mn-cs"/>
              </a:defRPr>
            </a:lvl2pPr>
            <a:lvl3pPr marL="439200" indent="-208800" algn="l" defTabSz="914400" rtl="0" eaLnBrk="1" latinLnBrk="0" hangingPunct="1">
              <a:lnSpc>
                <a:spcPct val="100000"/>
              </a:lnSpc>
              <a:spcBef>
                <a:spcPts val="0"/>
              </a:spcBef>
              <a:spcAft>
                <a:spcPts val="300"/>
              </a:spcAft>
              <a:buSzPct val="110000"/>
              <a:buFont typeface="Arial" panose="020B0604020202020204" pitchFamily="34" charset="0"/>
              <a:buChar char="‒"/>
              <a:defRPr lang="en-US" sz="1600" kern="1200" dirty="0">
                <a:solidFill>
                  <a:schemeClr val="tx1"/>
                </a:solidFill>
                <a:latin typeface="+mn-lt"/>
                <a:ea typeface="+mn-ea"/>
                <a:cs typeface="+mn-cs"/>
              </a:defRPr>
            </a:lvl3pPr>
            <a:lvl4pPr marL="604800" indent="-154800" algn="l" defTabSz="914400" rtl="0" eaLnBrk="1" latinLnBrk="0" hangingPunct="1">
              <a:lnSpc>
                <a:spcPct val="100000"/>
              </a:lnSpc>
              <a:spcBef>
                <a:spcPts val="0"/>
              </a:spcBef>
              <a:spcAft>
                <a:spcPts val="300"/>
              </a:spcAft>
              <a:buFont typeface="Arial" panose="020B0604020202020204" pitchFamily="34" charset="0"/>
              <a:buChar char="•"/>
              <a:defRPr lang="en-US" sz="1600" kern="1200" dirty="0">
                <a:solidFill>
                  <a:schemeClr val="tx1"/>
                </a:solidFill>
                <a:latin typeface="+mn-lt"/>
                <a:ea typeface="+mn-ea"/>
                <a:cs typeface="+mn-cs"/>
              </a:defRPr>
            </a:lvl4pPr>
            <a:lvl5pPr marL="813600" indent="-147600" algn="l" defTabSz="914400" rtl="0" eaLnBrk="1" latinLnBrk="0" hangingPunct="1">
              <a:lnSpc>
                <a:spcPct val="100000"/>
              </a:lnSpc>
              <a:spcBef>
                <a:spcPts val="0"/>
              </a:spcBef>
              <a:spcAft>
                <a:spcPts val="300"/>
              </a:spcAft>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spcBef>
                <a:spcPct val="0"/>
              </a:spcBef>
              <a:spcAft>
                <a:spcPct val="0"/>
              </a:spcAft>
            </a:pPr>
            <a:fld id="{9BD29161-01AD-4934-B73A-BF3BB29C5257}" type="datetime'''''''''''''''''''''''2''5''0'''''''''">
              <a:rPr lang="en-US" altLang="en-US" sz="1400" smtClean="0">
                <a:effectLst/>
                <a:cs typeface="+mn-cs"/>
              </a:rPr>
              <a:pPr algn="r">
                <a:spcBef>
                  <a:spcPct val="0"/>
                </a:spcBef>
                <a:spcAft>
                  <a:spcPct val="0"/>
                </a:spcAft>
              </a:pPr>
              <a:t>250</a:t>
            </a:fld>
            <a:endParaRPr lang="en-US" sz="1400">
              <a:cs typeface="+mn-cs"/>
            </a:endParaRPr>
          </a:p>
        </p:txBody>
      </p:sp>
      <p:cxnSp>
        <p:nvCxnSpPr>
          <p:cNvPr id="82" name="Straight Connector 81">
            <a:extLst>
              <a:ext uri="{FF2B5EF4-FFF2-40B4-BE49-F238E27FC236}">
                <a16:creationId xmlns:a16="http://schemas.microsoft.com/office/drawing/2014/main" id="{48EE207C-EECB-333F-5CB1-EDE8B7A658E2}"/>
              </a:ext>
            </a:extLst>
          </p:cNvPr>
          <p:cNvCxnSpPr>
            <a:cxnSpLocks/>
          </p:cNvCxnSpPr>
          <p:nvPr/>
        </p:nvCxnSpPr>
        <p:spPr>
          <a:xfrm>
            <a:off x="1143000" y="2362200"/>
            <a:ext cx="0" cy="2971800"/>
          </a:xfrm>
          <a:prstGeom prst="line">
            <a:avLst/>
          </a:prstGeom>
          <a:ln w="28575"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83" name="TextBox 82">
            <a:extLst>
              <a:ext uri="{FF2B5EF4-FFF2-40B4-BE49-F238E27FC236}">
                <a16:creationId xmlns:a16="http://schemas.microsoft.com/office/drawing/2014/main" id="{82970AA0-5B34-2AD8-03DD-9AB2F7753F56}"/>
              </a:ext>
            </a:extLst>
          </p:cNvPr>
          <p:cNvSpPr txBox="1"/>
          <p:nvPr/>
        </p:nvSpPr>
        <p:spPr>
          <a:xfrm>
            <a:off x="554735" y="1798641"/>
            <a:ext cx="5552369" cy="246221"/>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228600" lvl="1" indent="-230400">
              <a:lnSpc>
                <a:spcPct val="100000"/>
              </a:lnSpc>
              <a:spcBef>
                <a:spcPts val="0"/>
              </a:spcBef>
              <a:spcAft>
                <a:spcPts val="300"/>
              </a:spcAft>
              <a:buSzPct val="110000"/>
              <a:buFont typeface="Wingdings" panose="05000000000000000000" pitchFamily="2" charset="2"/>
              <a:buChar char=""/>
              <a:defRPr lang="en-US" sz="1600" dirty="0"/>
            </a:lvl2pPr>
            <a:lvl3pPr marL="439200" lvl="2" indent="-208800">
              <a:lnSpc>
                <a:spcPct val="100000"/>
              </a:lnSpc>
              <a:spcBef>
                <a:spcPts val="0"/>
              </a:spcBef>
              <a:spcAft>
                <a:spcPts val="300"/>
              </a:spcAft>
              <a:buSzPct val="110000"/>
              <a:buFont typeface="Arial" panose="020B0604020202020204" pitchFamily="34" charset="0"/>
              <a:buChar char="‒"/>
              <a:defRPr lang="en-US" sz="1600" dirty="0"/>
            </a:lvl3pPr>
            <a:lvl4pPr marL="604800" lvl="3" indent="-154800">
              <a:lnSpc>
                <a:spcPct val="100000"/>
              </a:lnSpc>
              <a:spcBef>
                <a:spcPts val="0"/>
              </a:spcBef>
              <a:spcAft>
                <a:spcPts val="300"/>
              </a:spcAft>
              <a:buFont typeface="Arial" panose="020B0604020202020204" pitchFamily="34" charset="0"/>
              <a:buChar char="•"/>
              <a:defRPr lang="en-US" sz="1600" dirty="0"/>
            </a:lvl4pPr>
            <a:lvl5pPr marL="813600" lvl="4" indent="-147600">
              <a:lnSpc>
                <a:spcPct val="100000"/>
              </a:lnSpc>
              <a:spcBef>
                <a:spcPts val="0"/>
              </a:spcBef>
              <a:spcAft>
                <a:spcPts val="300"/>
              </a:spcAft>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b="1"/>
              <a:t>Probability distribution of cost of advanced nuclear</a:t>
            </a:r>
          </a:p>
        </p:txBody>
      </p:sp>
      <p:cxnSp>
        <p:nvCxnSpPr>
          <p:cNvPr id="84" name="Straight Connector 83">
            <a:extLst>
              <a:ext uri="{FF2B5EF4-FFF2-40B4-BE49-F238E27FC236}">
                <a16:creationId xmlns:a16="http://schemas.microsoft.com/office/drawing/2014/main" id="{50253C84-71C7-EB2C-CC9B-5A9A84947816}"/>
              </a:ext>
            </a:extLst>
          </p:cNvPr>
          <p:cNvCxnSpPr>
            <a:cxnSpLocks/>
          </p:cNvCxnSpPr>
          <p:nvPr/>
        </p:nvCxnSpPr>
        <p:spPr>
          <a:xfrm>
            <a:off x="2689009" y="2298701"/>
            <a:ext cx="0" cy="2971800"/>
          </a:xfrm>
          <a:prstGeom prst="line">
            <a:avLst/>
          </a:prstGeom>
          <a:ln w="190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85" name="Straight Connector 84">
            <a:extLst>
              <a:ext uri="{FF2B5EF4-FFF2-40B4-BE49-F238E27FC236}">
                <a16:creationId xmlns:a16="http://schemas.microsoft.com/office/drawing/2014/main" id="{7BDB534D-AD70-9CD1-676D-52825C302C20}"/>
              </a:ext>
            </a:extLst>
          </p:cNvPr>
          <p:cNvCxnSpPr>
            <a:cxnSpLocks/>
          </p:cNvCxnSpPr>
          <p:nvPr/>
        </p:nvCxnSpPr>
        <p:spPr>
          <a:xfrm>
            <a:off x="2667000" y="2286000"/>
            <a:ext cx="0" cy="2971800"/>
          </a:xfrm>
          <a:prstGeom prst="line">
            <a:avLst/>
          </a:prstGeom>
          <a:ln w="19050" cap="flat">
            <a:solidFill>
              <a:schemeClr val="accent2"/>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86" name="Group 85">
            <a:extLst>
              <a:ext uri="{FF2B5EF4-FFF2-40B4-BE49-F238E27FC236}">
                <a16:creationId xmlns:a16="http://schemas.microsoft.com/office/drawing/2014/main" id="{53DBD932-9CC5-7EF4-B1C3-D48403E876A6}"/>
              </a:ext>
            </a:extLst>
          </p:cNvPr>
          <p:cNvGrpSpPr/>
          <p:nvPr/>
        </p:nvGrpSpPr>
        <p:grpSpPr>
          <a:xfrm>
            <a:off x="4585083" y="2427166"/>
            <a:ext cx="1510917" cy="215444"/>
            <a:chOff x="5187950" y="2427166"/>
            <a:chExt cx="1510917" cy="215444"/>
          </a:xfrm>
        </p:grpSpPr>
        <p:sp>
          <p:nvSpPr>
            <p:cNvPr id="87" name="Rectangle 86">
              <a:extLst>
                <a:ext uri="{FF2B5EF4-FFF2-40B4-BE49-F238E27FC236}">
                  <a16:creationId xmlns:a16="http://schemas.microsoft.com/office/drawing/2014/main" id="{2F7A1673-ECA3-B379-9D9B-2C1A69887785}"/>
                </a:ext>
              </a:extLst>
            </p:cNvPr>
            <p:cNvSpPr/>
            <p:nvPr/>
          </p:nvSpPr>
          <p:spPr>
            <a:xfrm>
              <a:off x="5187950" y="2468562"/>
              <a:ext cx="184150" cy="135182"/>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88" name="TextBox 87">
              <a:extLst>
                <a:ext uri="{FF2B5EF4-FFF2-40B4-BE49-F238E27FC236}">
                  <a16:creationId xmlns:a16="http://schemas.microsoft.com/office/drawing/2014/main" id="{B402569B-2215-410F-9732-6902A75F409D}"/>
                </a:ext>
              </a:extLst>
            </p:cNvPr>
            <p:cNvSpPr txBox="1"/>
            <p:nvPr/>
          </p:nvSpPr>
          <p:spPr>
            <a:xfrm>
              <a:off x="5478285" y="2427166"/>
              <a:ext cx="1220582" cy="215444"/>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228600" lvl="1" indent="-230400">
                <a:lnSpc>
                  <a:spcPct val="100000"/>
                </a:lnSpc>
                <a:spcBef>
                  <a:spcPts val="0"/>
                </a:spcBef>
                <a:spcAft>
                  <a:spcPts val="300"/>
                </a:spcAft>
                <a:buSzPct val="110000"/>
                <a:buFont typeface="Wingdings" panose="05000000000000000000" pitchFamily="2" charset="2"/>
                <a:buChar char=""/>
                <a:defRPr lang="en-US" sz="1600" dirty="0"/>
              </a:lvl2pPr>
              <a:lvl3pPr marL="439200" lvl="2" indent="-208800">
                <a:lnSpc>
                  <a:spcPct val="100000"/>
                </a:lnSpc>
                <a:spcBef>
                  <a:spcPts val="0"/>
                </a:spcBef>
                <a:spcAft>
                  <a:spcPts val="300"/>
                </a:spcAft>
                <a:buSzPct val="110000"/>
                <a:buFont typeface="Arial" panose="020B0604020202020204" pitchFamily="34" charset="0"/>
                <a:buChar char="‒"/>
                <a:defRPr lang="en-US" sz="1600" dirty="0"/>
              </a:lvl3pPr>
              <a:lvl4pPr marL="604800" lvl="3" indent="-154800">
                <a:lnSpc>
                  <a:spcPct val="100000"/>
                </a:lnSpc>
                <a:spcBef>
                  <a:spcPts val="0"/>
                </a:spcBef>
                <a:spcAft>
                  <a:spcPts val="300"/>
                </a:spcAft>
                <a:buFont typeface="Arial" panose="020B0604020202020204" pitchFamily="34" charset="0"/>
                <a:buChar char="•"/>
                <a:defRPr lang="en-US" sz="1600" dirty="0"/>
              </a:lvl4pPr>
              <a:lvl5pPr marL="813600" lvl="4" indent="-147600">
                <a:lnSpc>
                  <a:spcPct val="100000"/>
                </a:lnSpc>
                <a:spcBef>
                  <a:spcPts val="0"/>
                </a:spcBef>
                <a:spcAft>
                  <a:spcPts val="300"/>
                </a:spcAft>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a:t>Large reactor</a:t>
              </a:r>
            </a:p>
          </p:txBody>
        </p:sp>
      </p:grpSp>
      <p:grpSp>
        <p:nvGrpSpPr>
          <p:cNvPr id="89" name="Group 88">
            <a:extLst>
              <a:ext uri="{FF2B5EF4-FFF2-40B4-BE49-F238E27FC236}">
                <a16:creationId xmlns:a16="http://schemas.microsoft.com/office/drawing/2014/main" id="{F8A29100-C01C-9EC5-6DF9-65E7D2180811}"/>
              </a:ext>
            </a:extLst>
          </p:cNvPr>
          <p:cNvGrpSpPr/>
          <p:nvPr/>
        </p:nvGrpSpPr>
        <p:grpSpPr>
          <a:xfrm>
            <a:off x="4588258" y="2186046"/>
            <a:ext cx="1507742" cy="215444"/>
            <a:chOff x="5191125" y="2186046"/>
            <a:chExt cx="1507742" cy="215444"/>
          </a:xfrm>
        </p:grpSpPr>
        <p:cxnSp>
          <p:nvCxnSpPr>
            <p:cNvPr id="90" name="Straight Connector 89">
              <a:extLst>
                <a:ext uri="{FF2B5EF4-FFF2-40B4-BE49-F238E27FC236}">
                  <a16:creationId xmlns:a16="http://schemas.microsoft.com/office/drawing/2014/main" id="{7E9B5F4E-CA9B-72B8-C54F-26C34CC15F03}"/>
                </a:ext>
              </a:extLst>
            </p:cNvPr>
            <p:cNvCxnSpPr/>
            <p:nvPr/>
          </p:nvCxnSpPr>
          <p:spPr>
            <a:xfrm>
              <a:off x="5191125" y="2286000"/>
              <a:ext cx="185738" cy="0"/>
            </a:xfrm>
            <a:prstGeom prst="line">
              <a:avLst/>
            </a:prstGeom>
            <a:ln w="28575" cap="flat">
              <a:solidFill>
                <a:schemeClr val="accent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91" name="TextBox 90">
              <a:extLst>
                <a:ext uri="{FF2B5EF4-FFF2-40B4-BE49-F238E27FC236}">
                  <a16:creationId xmlns:a16="http://schemas.microsoft.com/office/drawing/2014/main" id="{9959E201-0F13-B910-ABB2-FCB88B7570F9}"/>
                </a:ext>
              </a:extLst>
            </p:cNvPr>
            <p:cNvSpPr txBox="1"/>
            <p:nvPr/>
          </p:nvSpPr>
          <p:spPr>
            <a:xfrm>
              <a:off x="5478285" y="2186046"/>
              <a:ext cx="1220582" cy="215444"/>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228600" lvl="1" indent="-230400">
                <a:lnSpc>
                  <a:spcPct val="100000"/>
                </a:lnSpc>
                <a:spcBef>
                  <a:spcPts val="0"/>
                </a:spcBef>
                <a:spcAft>
                  <a:spcPts val="300"/>
                </a:spcAft>
                <a:buSzPct val="110000"/>
                <a:buFont typeface="Wingdings" panose="05000000000000000000" pitchFamily="2" charset="2"/>
                <a:buChar char=""/>
                <a:defRPr lang="en-US" sz="1600" dirty="0"/>
              </a:lvl2pPr>
              <a:lvl3pPr marL="439200" lvl="2" indent="-208800">
                <a:lnSpc>
                  <a:spcPct val="100000"/>
                </a:lnSpc>
                <a:spcBef>
                  <a:spcPts val="0"/>
                </a:spcBef>
                <a:spcAft>
                  <a:spcPts val="300"/>
                </a:spcAft>
                <a:buSzPct val="110000"/>
                <a:buFont typeface="Arial" panose="020B0604020202020204" pitchFamily="34" charset="0"/>
                <a:buChar char="‒"/>
                <a:defRPr lang="en-US" sz="1600" dirty="0"/>
              </a:lvl3pPr>
              <a:lvl4pPr marL="604800" lvl="3" indent="-154800">
                <a:lnSpc>
                  <a:spcPct val="100000"/>
                </a:lnSpc>
                <a:spcBef>
                  <a:spcPts val="0"/>
                </a:spcBef>
                <a:spcAft>
                  <a:spcPts val="300"/>
                </a:spcAft>
                <a:buFont typeface="Arial" panose="020B0604020202020204" pitchFamily="34" charset="0"/>
                <a:buChar char="•"/>
                <a:defRPr lang="en-US" sz="1600" dirty="0"/>
              </a:lvl4pPr>
              <a:lvl5pPr marL="813600" lvl="4" indent="-147600">
                <a:lnSpc>
                  <a:spcPct val="100000"/>
                </a:lnSpc>
                <a:spcBef>
                  <a:spcPts val="0"/>
                </a:spcBef>
                <a:spcAft>
                  <a:spcPts val="300"/>
                </a:spcAft>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a:t>SMR</a:t>
              </a:r>
            </a:p>
          </p:txBody>
        </p:sp>
      </p:grpSp>
      <p:cxnSp>
        <p:nvCxnSpPr>
          <p:cNvPr id="92" name="Straight Connector 91">
            <a:extLst>
              <a:ext uri="{FF2B5EF4-FFF2-40B4-BE49-F238E27FC236}">
                <a16:creationId xmlns:a16="http://schemas.microsoft.com/office/drawing/2014/main" id="{AF0DD762-EFFD-D000-4F89-E9F6CC28410F}"/>
              </a:ext>
            </a:extLst>
          </p:cNvPr>
          <p:cNvCxnSpPr>
            <a:cxnSpLocks/>
          </p:cNvCxnSpPr>
          <p:nvPr/>
        </p:nvCxnSpPr>
        <p:spPr>
          <a:xfrm>
            <a:off x="553494" y="2044862"/>
            <a:ext cx="5657850" cy="0"/>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9397107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88B9F0B-687E-A60F-4A1E-316677EFF143}"/>
              </a:ext>
            </a:extLst>
          </p:cNvPr>
          <p:cNvSpPr>
            <a:spLocks noGrp="1"/>
          </p:cNvSpPr>
          <p:nvPr>
            <p:ph type="title"/>
          </p:nvPr>
        </p:nvSpPr>
        <p:spPr/>
        <p:txBody>
          <a:bodyPr/>
          <a:lstStyle/>
          <a:p>
            <a:r>
              <a:rPr lang="en-US" sz="2400" b="1">
                <a:effectLst/>
                <a:latin typeface="Arial" panose="020B0604020202020204" pitchFamily="34" charset="0"/>
                <a:ea typeface="Times New Roman" panose="02020603050405020304" pitchFamily="18" charset="0"/>
                <a:cs typeface="Times New Roman" panose="02020603050405020304" pitchFamily="18" charset="0"/>
              </a:rPr>
              <a:t>Demonstration programs are underway to demonstrate the technological viability of novel nuclear technologies</a:t>
            </a:r>
            <a:endParaRPr lang="en-US"/>
          </a:p>
        </p:txBody>
      </p:sp>
      <p:sp>
        <p:nvSpPr>
          <p:cNvPr id="4" name="TextBox 3">
            <a:extLst>
              <a:ext uri="{FF2B5EF4-FFF2-40B4-BE49-F238E27FC236}">
                <a16:creationId xmlns:a16="http://schemas.microsoft.com/office/drawing/2014/main" id="{2FC46C59-CE86-458E-F1F2-51069859FAF0}"/>
              </a:ext>
            </a:extLst>
          </p:cNvPr>
          <p:cNvSpPr txBox="1"/>
          <p:nvPr/>
        </p:nvSpPr>
        <p:spPr>
          <a:xfrm>
            <a:off x="554735" y="1763428"/>
            <a:ext cx="1828800" cy="548640"/>
          </a:xfrm>
          <a:prstGeom prst="rect">
            <a:avLst/>
          </a:prstGeom>
        </p:spPr>
        <p:txBody>
          <a:bodyPr vert="horz" wrap="square" lIns="0" tIns="0" rIns="0" bIns="0" rtlCol="0" anchor="b">
            <a:no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228600" lvl="1" indent="-230400">
              <a:lnSpc>
                <a:spcPct val="100000"/>
              </a:lnSpc>
              <a:spcBef>
                <a:spcPts val="0"/>
              </a:spcBef>
              <a:spcAft>
                <a:spcPts val="300"/>
              </a:spcAft>
              <a:buSzPct val="110000"/>
              <a:buFont typeface="Wingdings" panose="05000000000000000000" pitchFamily="2" charset="2"/>
              <a:buChar char=""/>
              <a:defRPr lang="en-US" sz="1600" dirty="0"/>
            </a:lvl2pPr>
            <a:lvl3pPr marL="439200" lvl="2" indent="-208800">
              <a:lnSpc>
                <a:spcPct val="100000"/>
              </a:lnSpc>
              <a:spcBef>
                <a:spcPts val="0"/>
              </a:spcBef>
              <a:spcAft>
                <a:spcPts val="300"/>
              </a:spcAft>
              <a:buSzPct val="110000"/>
              <a:buFont typeface="Arial" panose="020B0604020202020204" pitchFamily="34" charset="0"/>
              <a:buChar char="‒"/>
              <a:defRPr lang="en-US" sz="1600" dirty="0"/>
            </a:lvl3pPr>
            <a:lvl4pPr marL="604800" lvl="3" indent="-154800">
              <a:lnSpc>
                <a:spcPct val="100000"/>
              </a:lnSpc>
              <a:spcBef>
                <a:spcPts val="0"/>
              </a:spcBef>
              <a:spcAft>
                <a:spcPts val="300"/>
              </a:spcAft>
              <a:buFont typeface="Arial" panose="020B0604020202020204" pitchFamily="34" charset="0"/>
              <a:buChar char="•"/>
              <a:defRPr lang="en-US" sz="1600" dirty="0"/>
            </a:lvl4pPr>
            <a:lvl5pPr marL="813600" lvl="4" indent="-147600">
              <a:lnSpc>
                <a:spcPct val="100000"/>
              </a:lnSpc>
              <a:spcBef>
                <a:spcPts val="0"/>
              </a:spcBef>
              <a:spcAft>
                <a:spcPts val="300"/>
              </a:spcAft>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b="1">
                <a:solidFill>
                  <a:schemeClr val="accent1"/>
                </a:solidFill>
              </a:rPr>
              <a:t>Program</a:t>
            </a:r>
          </a:p>
        </p:txBody>
      </p:sp>
      <p:sp>
        <p:nvSpPr>
          <p:cNvPr id="5" name="TextBox 4">
            <a:extLst>
              <a:ext uri="{FF2B5EF4-FFF2-40B4-BE49-F238E27FC236}">
                <a16:creationId xmlns:a16="http://schemas.microsoft.com/office/drawing/2014/main" id="{C778F380-EE30-7CB5-AF1A-9E05F9D9A651}"/>
              </a:ext>
            </a:extLst>
          </p:cNvPr>
          <p:cNvSpPr txBox="1"/>
          <p:nvPr/>
        </p:nvSpPr>
        <p:spPr>
          <a:xfrm>
            <a:off x="554736" y="4296893"/>
            <a:ext cx="1828800" cy="822960"/>
          </a:xfrm>
          <a:prstGeom prst="rect">
            <a:avLst/>
          </a:prstGeom>
        </p:spPr>
        <p:txBody>
          <a:bodyPr vert="horz" wrap="square" lIns="0" tIns="0" rIns="0" bIns="0" rtlCol="0" anchor="ctr">
            <a:no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228600" lvl="1" indent="-230400">
              <a:lnSpc>
                <a:spcPct val="100000"/>
              </a:lnSpc>
              <a:spcBef>
                <a:spcPts val="0"/>
              </a:spcBef>
              <a:spcAft>
                <a:spcPts val="300"/>
              </a:spcAft>
              <a:buSzPct val="110000"/>
              <a:buFont typeface="Wingdings" panose="05000000000000000000" pitchFamily="2" charset="2"/>
              <a:buChar char=""/>
              <a:defRPr lang="en-US" sz="1600" dirty="0"/>
            </a:lvl2pPr>
            <a:lvl3pPr marL="439200" lvl="2" indent="-208800">
              <a:lnSpc>
                <a:spcPct val="100000"/>
              </a:lnSpc>
              <a:spcBef>
                <a:spcPts val="0"/>
              </a:spcBef>
              <a:spcAft>
                <a:spcPts val="300"/>
              </a:spcAft>
              <a:buSzPct val="110000"/>
              <a:buFont typeface="Arial" panose="020B0604020202020204" pitchFamily="34" charset="0"/>
              <a:buChar char="‒"/>
              <a:defRPr lang="en-US" sz="1600" dirty="0"/>
            </a:lvl3pPr>
            <a:lvl4pPr marL="604800" lvl="3" indent="-154800">
              <a:lnSpc>
                <a:spcPct val="100000"/>
              </a:lnSpc>
              <a:spcBef>
                <a:spcPts val="0"/>
              </a:spcBef>
              <a:spcAft>
                <a:spcPts val="300"/>
              </a:spcAft>
              <a:buFont typeface="Arial" panose="020B0604020202020204" pitchFamily="34" charset="0"/>
              <a:buChar char="•"/>
              <a:defRPr lang="en-US" sz="1600" dirty="0"/>
            </a:lvl4pPr>
            <a:lvl5pPr marL="813600" lvl="4" indent="-147600">
              <a:lnSpc>
                <a:spcPct val="100000"/>
              </a:lnSpc>
              <a:spcBef>
                <a:spcPts val="0"/>
              </a:spcBef>
              <a:spcAft>
                <a:spcPts val="300"/>
              </a:spcAft>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b="1"/>
              <a:t>Carbon Free Power Project (CFPP)</a:t>
            </a:r>
          </a:p>
        </p:txBody>
      </p:sp>
      <p:sp>
        <p:nvSpPr>
          <p:cNvPr id="6" name="TextBox 5">
            <a:extLst>
              <a:ext uri="{FF2B5EF4-FFF2-40B4-BE49-F238E27FC236}">
                <a16:creationId xmlns:a16="http://schemas.microsoft.com/office/drawing/2014/main" id="{67CF442D-7AA3-F2F3-D44D-59C0A6EB0AE6}"/>
              </a:ext>
            </a:extLst>
          </p:cNvPr>
          <p:cNvSpPr txBox="1"/>
          <p:nvPr/>
        </p:nvSpPr>
        <p:spPr>
          <a:xfrm>
            <a:off x="554736" y="2425036"/>
            <a:ext cx="1828800" cy="822960"/>
          </a:xfrm>
          <a:prstGeom prst="rect">
            <a:avLst/>
          </a:prstGeom>
        </p:spPr>
        <p:txBody>
          <a:bodyPr vert="horz" wrap="square" lIns="0" tIns="0" rIns="0" bIns="0" rtlCol="0" anchor="ctr">
            <a:no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228600" lvl="1" indent="-230400">
              <a:lnSpc>
                <a:spcPct val="100000"/>
              </a:lnSpc>
              <a:spcBef>
                <a:spcPts val="0"/>
              </a:spcBef>
              <a:spcAft>
                <a:spcPts val="300"/>
              </a:spcAft>
              <a:buSzPct val="110000"/>
              <a:buFont typeface="Wingdings" panose="05000000000000000000" pitchFamily="2" charset="2"/>
              <a:buChar char=""/>
              <a:defRPr lang="en-US" sz="1600" dirty="0"/>
            </a:lvl2pPr>
            <a:lvl3pPr marL="439200" lvl="2" indent="-208800">
              <a:lnSpc>
                <a:spcPct val="100000"/>
              </a:lnSpc>
              <a:spcBef>
                <a:spcPts val="0"/>
              </a:spcBef>
              <a:spcAft>
                <a:spcPts val="300"/>
              </a:spcAft>
              <a:buSzPct val="110000"/>
              <a:buFont typeface="Arial" panose="020B0604020202020204" pitchFamily="34" charset="0"/>
              <a:buChar char="‒"/>
              <a:defRPr lang="en-US" sz="1600" dirty="0"/>
            </a:lvl3pPr>
            <a:lvl4pPr marL="604800" lvl="3" indent="-154800">
              <a:lnSpc>
                <a:spcPct val="100000"/>
              </a:lnSpc>
              <a:spcBef>
                <a:spcPts val="0"/>
              </a:spcBef>
              <a:spcAft>
                <a:spcPts val="300"/>
              </a:spcAft>
              <a:buFont typeface="Arial" panose="020B0604020202020204" pitchFamily="34" charset="0"/>
              <a:buChar char="•"/>
              <a:defRPr lang="en-US" sz="1600" dirty="0"/>
            </a:lvl4pPr>
            <a:lvl5pPr marL="813600" lvl="4" indent="-147600">
              <a:lnSpc>
                <a:spcPct val="100000"/>
              </a:lnSpc>
              <a:spcBef>
                <a:spcPts val="0"/>
              </a:spcBef>
              <a:spcAft>
                <a:spcPts val="300"/>
              </a:spcAft>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b="1"/>
              <a:t>Advanced Reactor Demonstration Program (ARDP)</a:t>
            </a:r>
          </a:p>
        </p:txBody>
      </p:sp>
      <p:sp>
        <p:nvSpPr>
          <p:cNvPr id="7" name="TextBox 6">
            <a:extLst>
              <a:ext uri="{FF2B5EF4-FFF2-40B4-BE49-F238E27FC236}">
                <a16:creationId xmlns:a16="http://schemas.microsoft.com/office/drawing/2014/main" id="{BEF07593-4947-9493-BE11-B2A5A2D92AFC}"/>
              </a:ext>
            </a:extLst>
          </p:cNvPr>
          <p:cNvSpPr txBox="1"/>
          <p:nvPr/>
        </p:nvSpPr>
        <p:spPr>
          <a:xfrm>
            <a:off x="554736" y="3360964"/>
            <a:ext cx="1828800" cy="822960"/>
          </a:xfrm>
          <a:prstGeom prst="rect">
            <a:avLst/>
          </a:prstGeom>
        </p:spPr>
        <p:txBody>
          <a:bodyPr vert="horz" wrap="square" lIns="0" tIns="0" rIns="0" bIns="0" rtlCol="0" anchor="ctr">
            <a:no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228600" lvl="1" indent="-230400">
              <a:lnSpc>
                <a:spcPct val="100000"/>
              </a:lnSpc>
              <a:spcBef>
                <a:spcPts val="0"/>
              </a:spcBef>
              <a:spcAft>
                <a:spcPts val="300"/>
              </a:spcAft>
              <a:buSzPct val="110000"/>
              <a:buFont typeface="Wingdings" panose="05000000000000000000" pitchFamily="2" charset="2"/>
              <a:buChar char=""/>
              <a:defRPr lang="en-US" sz="1600" dirty="0"/>
            </a:lvl2pPr>
            <a:lvl3pPr marL="439200" lvl="2" indent="-208800">
              <a:lnSpc>
                <a:spcPct val="100000"/>
              </a:lnSpc>
              <a:spcBef>
                <a:spcPts val="0"/>
              </a:spcBef>
              <a:spcAft>
                <a:spcPts val="300"/>
              </a:spcAft>
              <a:buSzPct val="110000"/>
              <a:buFont typeface="Arial" panose="020B0604020202020204" pitchFamily="34" charset="0"/>
              <a:buChar char="‒"/>
              <a:defRPr lang="en-US" sz="1600" dirty="0"/>
            </a:lvl3pPr>
            <a:lvl4pPr marL="604800" lvl="3" indent="-154800">
              <a:lnSpc>
                <a:spcPct val="100000"/>
              </a:lnSpc>
              <a:spcBef>
                <a:spcPts val="0"/>
              </a:spcBef>
              <a:spcAft>
                <a:spcPts val="300"/>
              </a:spcAft>
              <a:buFont typeface="Arial" panose="020B0604020202020204" pitchFamily="34" charset="0"/>
              <a:buChar char="•"/>
              <a:defRPr lang="en-US" sz="1600" dirty="0"/>
            </a:lvl4pPr>
            <a:lvl5pPr marL="813600" lvl="4" indent="-147600">
              <a:lnSpc>
                <a:spcPct val="100000"/>
              </a:lnSpc>
              <a:spcBef>
                <a:spcPts val="0"/>
              </a:spcBef>
              <a:spcAft>
                <a:spcPts val="300"/>
              </a:spcAft>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b="1"/>
              <a:t>ARDP</a:t>
            </a:r>
          </a:p>
        </p:txBody>
      </p:sp>
      <p:sp>
        <p:nvSpPr>
          <p:cNvPr id="8" name="TextBox 7">
            <a:extLst>
              <a:ext uri="{FF2B5EF4-FFF2-40B4-BE49-F238E27FC236}">
                <a16:creationId xmlns:a16="http://schemas.microsoft.com/office/drawing/2014/main" id="{485BA65C-619F-B441-2ADB-42186A34CD00}"/>
              </a:ext>
            </a:extLst>
          </p:cNvPr>
          <p:cNvSpPr txBox="1"/>
          <p:nvPr/>
        </p:nvSpPr>
        <p:spPr>
          <a:xfrm>
            <a:off x="8734207" y="1763428"/>
            <a:ext cx="1280160" cy="548640"/>
          </a:xfrm>
          <a:prstGeom prst="rect">
            <a:avLst/>
          </a:prstGeom>
        </p:spPr>
        <p:txBody>
          <a:bodyPr vert="horz" wrap="square" lIns="0" tIns="0" rIns="0" bIns="0" rtlCol="0" anchor="b">
            <a:no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228600" lvl="1" indent="-230400">
              <a:lnSpc>
                <a:spcPct val="100000"/>
              </a:lnSpc>
              <a:spcBef>
                <a:spcPts val="0"/>
              </a:spcBef>
              <a:spcAft>
                <a:spcPts val="300"/>
              </a:spcAft>
              <a:buSzPct val="110000"/>
              <a:buFont typeface="Wingdings" panose="05000000000000000000" pitchFamily="2" charset="2"/>
              <a:buChar char=""/>
              <a:defRPr lang="en-US" sz="1600" dirty="0"/>
            </a:lvl2pPr>
            <a:lvl3pPr marL="439200" lvl="2" indent="-208800">
              <a:lnSpc>
                <a:spcPct val="100000"/>
              </a:lnSpc>
              <a:spcBef>
                <a:spcPts val="0"/>
              </a:spcBef>
              <a:spcAft>
                <a:spcPts val="300"/>
              </a:spcAft>
              <a:buSzPct val="110000"/>
              <a:buFont typeface="Arial" panose="020B0604020202020204" pitchFamily="34" charset="0"/>
              <a:buChar char="‒"/>
              <a:defRPr lang="en-US" sz="1600" dirty="0"/>
            </a:lvl3pPr>
            <a:lvl4pPr marL="604800" lvl="3" indent="-154800">
              <a:lnSpc>
                <a:spcPct val="100000"/>
              </a:lnSpc>
              <a:spcBef>
                <a:spcPts val="0"/>
              </a:spcBef>
              <a:spcAft>
                <a:spcPts val="300"/>
              </a:spcAft>
              <a:buFont typeface="Arial" panose="020B0604020202020204" pitchFamily="34" charset="0"/>
              <a:buChar char="•"/>
              <a:defRPr lang="en-US" sz="1600" dirty="0"/>
            </a:lvl4pPr>
            <a:lvl5pPr marL="813600" lvl="4" indent="-147600">
              <a:lnSpc>
                <a:spcPct val="100000"/>
              </a:lnSpc>
              <a:spcBef>
                <a:spcPts val="0"/>
              </a:spcBef>
              <a:spcAft>
                <a:spcPts val="300"/>
              </a:spcAft>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b="1">
                <a:solidFill>
                  <a:schemeClr val="accent1"/>
                </a:solidFill>
              </a:rPr>
              <a:t>DOE cost-share</a:t>
            </a:r>
          </a:p>
        </p:txBody>
      </p:sp>
      <p:sp>
        <p:nvSpPr>
          <p:cNvPr id="9" name="TextBox 8">
            <a:extLst>
              <a:ext uri="{FF2B5EF4-FFF2-40B4-BE49-F238E27FC236}">
                <a16:creationId xmlns:a16="http://schemas.microsoft.com/office/drawing/2014/main" id="{115B83F4-6746-6739-AEF3-80F14122E099}"/>
              </a:ext>
            </a:extLst>
          </p:cNvPr>
          <p:cNvSpPr txBox="1"/>
          <p:nvPr/>
        </p:nvSpPr>
        <p:spPr>
          <a:xfrm>
            <a:off x="8734207" y="4296893"/>
            <a:ext cx="1280160" cy="822960"/>
          </a:xfrm>
          <a:prstGeom prst="rect">
            <a:avLst/>
          </a:prstGeom>
        </p:spPr>
        <p:txBody>
          <a:bodyPr vert="horz" wrap="square" lIns="0" tIns="0" rIns="0" bIns="0" rtlCol="0" anchor="ctr">
            <a:no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228600" lvl="1" indent="-230400">
              <a:lnSpc>
                <a:spcPct val="100000"/>
              </a:lnSpc>
              <a:spcBef>
                <a:spcPts val="0"/>
              </a:spcBef>
              <a:spcAft>
                <a:spcPts val="300"/>
              </a:spcAft>
              <a:buSzPct val="110000"/>
              <a:buFont typeface="Wingdings" panose="05000000000000000000" pitchFamily="2" charset="2"/>
              <a:buChar char=""/>
              <a:defRPr lang="en-US" sz="1600" dirty="0"/>
            </a:lvl2pPr>
            <a:lvl3pPr marL="439200" lvl="2" indent="-208800">
              <a:lnSpc>
                <a:spcPct val="100000"/>
              </a:lnSpc>
              <a:spcBef>
                <a:spcPts val="0"/>
              </a:spcBef>
              <a:spcAft>
                <a:spcPts val="300"/>
              </a:spcAft>
              <a:buSzPct val="110000"/>
              <a:buFont typeface="Arial" panose="020B0604020202020204" pitchFamily="34" charset="0"/>
              <a:buChar char="‒"/>
              <a:defRPr lang="en-US" sz="1600" dirty="0"/>
            </a:lvl3pPr>
            <a:lvl4pPr marL="604800" lvl="3" indent="-154800">
              <a:lnSpc>
                <a:spcPct val="100000"/>
              </a:lnSpc>
              <a:spcBef>
                <a:spcPts val="0"/>
              </a:spcBef>
              <a:spcAft>
                <a:spcPts val="300"/>
              </a:spcAft>
              <a:buFont typeface="Arial" panose="020B0604020202020204" pitchFamily="34" charset="0"/>
              <a:buChar char="•"/>
              <a:defRPr lang="en-US" sz="1600" dirty="0"/>
            </a:lvl4pPr>
            <a:lvl5pPr marL="813600" lvl="4" indent="-147600">
              <a:lnSpc>
                <a:spcPct val="100000"/>
              </a:lnSpc>
              <a:spcBef>
                <a:spcPts val="0"/>
              </a:spcBef>
              <a:spcAft>
                <a:spcPts val="300"/>
              </a:spcAft>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a:t>$1.4B</a:t>
            </a:r>
          </a:p>
        </p:txBody>
      </p:sp>
      <p:sp>
        <p:nvSpPr>
          <p:cNvPr id="10" name="TextBox 9">
            <a:extLst>
              <a:ext uri="{FF2B5EF4-FFF2-40B4-BE49-F238E27FC236}">
                <a16:creationId xmlns:a16="http://schemas.microsoft.com/office/drawing/2014/main" id="{122D8DF6-14FB-C7B8-1478-5580B75F4621}"/>
              </a:ext>
            </a:extLst>
          </p:cNvPr>
          <p:cNvSpPr txBox="1"/>
          <p:nvPr/>
        </p:nvSpPr>
        <p:spPr>
          <a:xfrm>
            <a:off x="8734207" y="2425036"/>
            <a:ext cx="1280160" cy="822960"/>
          </a:xfrm>
          <a:prstGeom prst="rect">
            <a:avLst/>
          </a:prstGeom>
        </p:spPr>
        <p:txBody>
          <a:bodyPr vert="horz" wrap="square" lIns="0" tIns="0" rIns="0" bIns="0" rtlCol="0" anchor="ctr">
            <a:no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228600" lvl="1" indent="-230400">
              <a:lnSpc>
                <a:spcPct val="100000"/>
              </a:lnSpc>
              <a:spcBef>
                <a:spcPts val="0"/>
              </a:spcBef>
              <a:spcAft>
                <a:spcPts val="300"/>
              </a:spcAft>
              <a:buSzPct val="110000"/>
              <a:buFont typeface="Wingdings" panose="05000000000000000000" pitchFamily="2" charset="2"/>
              <a:buChar char=""/>
              <a:defRPr lang="en-US" sz="1600" dirty="0"/>
            </a:lvl2pPr>
            <a:lvl3pPr marL="439200" lvl="2" indent="-208800">
              <a:lnSpc>
                <a:spcPct val="100000"/>
              </a:lnSpc>
              <a:spcBef>
                <a:spcPts val="0"/>
              </a:spcBef>
              <a:spcAft>
                <a:spcPts val="300"/>
              </a:spcAft>
              <a:buSzPct val="110000"/>
              <a:buFont typeface="Arial" panose="020B0604020202020204" pitchFamily="34" charset="0"/>
              <a:buChar char="‒"/>
              <a:defRPr lang="en-US" sz="1600" dirty="0"/>
            </a:lvl3pPr>
            <a:lvl4pPr marL="604800" lvl="3" indent="-154800">
              <a:lnSpc>
                <a:spcPct val="100000"/>
              </a:lnSpc>
              <a:spcBef>
                <a:spcPts val="0"/>
              </a:spcBef>
              <a:spcAft>
                <a:spcPts val="300"/>
              </a:spcAft>
              <a:buFont typeface="Arial" panose="020B0604020202020204" pitchFamily="34" charset="0"/>
              <a:buChar char="•"/>
              <a:defRPr lang="en-US" sz="1600" dirty="0"/>
            </a:lvl4pPr>
            <a:lvl5pPr marL="813600" lvl="4" indent="-147600">
              <a:lnSpc>
                <a:spcPct val="100000"/>
              </a:lnSpc>
              <a:spcBef>
                <a:spcPts val="0"/>
              </a:spcBef>
              <a:spcAft>
                <a:spcPts val="300"/>
              </a:spcAft>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a:t>$2.0B</a:t>
            </a:r>
          </a:p>
        </p:txBody>
      </p:sp>
      <p:sp>
        <p:nvSpPr>
          <p:cNvPr id="11" name="TextBox 10">
            <a:extLst>
              <a:ext uri="{FF2B5EF4-FFF2-40B4-BE49-F238E27FC236}">
                <a16:creationId xmlns:a16="http://schemas.microsoft.com/office/drawing/2014/main" id="{062E6680-8A85-CC8C-2C6B-0431CF2D5BCC}"/>
              </a:ext>
            </a:extLst>
          </p:cNvPr>
          <p:cNvSpPr txBox="1"/>
          <p:nvPr/>
        </p:nvSpPr>
        <p:spPr>
          <a:xfrm>
            <a:off x="8734207" y="3360964"/>
            <a:ext cx="1280160" cy="822960"/>
          </a:xfrm>
          <a:prstGeom prst="rect">
            <a:avLst/>
          </a:prstGeom>
        </p:spPr>
        <p:txBody>
          <a:bodyPr vert="horz" wrap="square" lIns="0" tIns="0" rIns="0" bIns="0" rtlCol="0" anchor="ctr">
            <a:no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228600" lvl="1" indent="-230400">
              <a:lnSpc>
                <a:spcPct val="100000"/>
              </a:lnSpc>
              <a:spcBef>
                <a:spcPts val="0"/>
              </a:spcBef>
              <a:spcAft>
                <a:spcPts val="300"/>
              </a:spcAft>
              <a:buSzPct val="110000"/>
              <a:buFont typeface="Wingdings" panose="05000000000000000000" pitchFamily="2" charset="2"/>
              <a:buChar char=""/>
              <a:defRPr lang="en-US" sz="1600" dirty="0"/>
            </a:lvl2pPr>
            <a:lvl3pPr marL="439200" lvl="2" indent="-208800">
              <a:lnSpc>
                <a:spcPct val="100000"/>
              </a:lnSpc>
              <a:spcBef>
                <a:spcPts val="0"/>
              </a:spcBef>
              <a:spcAft>
                <a:spcPts val="300"/>
              </a:spcAft>
              <a:buSzPct val="110000"/>
              <a:buFont typeface="Arial" panose="020B0604020202020204" pitchFamily="34" charset="0"/>
              <a:buChar char="‒"/>
              <a:defRPr lang="en-US" sz="1600" dirty="0"/>
            </a:lvl3pPr>
            <a:lvl4pPr marL="604800" lvl="3" indent="-154800">
              <a:lnSpc>
                <a:spcPct val="100000"/>
              </a:lnSpc>
              <a:spcBef>
                <a:spcPts val="0"/>
              </a:spcBef>
              <a:spcAft>
                <a:spcPts val="300"/>
              </a:spcAft>
              <a:buFont typeface="Arial" panose="020B0604020202020204" pitchFamily="34" charset="0"/>
              <a:buChar char="•"/>
              <a:defRPr lang="en-US" sz="1600" dirty="0"/>
            </a:lvl4pPr>
            <a:lvl5pPr marL="813600" lvl="4" indent="-147600">
              <a:lnSpc>
                <a:spcPct val="100000"/>
              </a:lnSpc>
              <a:spcBef>
                <a:spcPts val="0"/>
              </a:spcBef>
              <a:spcAft>
                <a:spcPts val="300"/>
              </a:spcAft>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a:t>$1.2B</a:t>
            </a:r>
          </a:p>
        </p:txBody>
      </p:sp>
      <p:sp>
        <p:nvSpPr>
          <p:cNvPr id="12" name="TextBox 11">
            <a:extLst>
              <a:ext uri="{FF2B5EF4-FFF2-40B4-BE49-F238E27FC236}">
                <a16:creationId xmlns:a16="http://schemas.microsoft.com/office/drawing/2014/main" id="{9933C1FA-4584-4906-5062-8CC57FA69FFD}"/>
              </a:ext>
            </a:extLst>
          </p:cNvPr>
          <p:cNvSpPr txBox="1"/>
          <p:nvPr/>
        </p:nvSpPr>
        <p:spPr>
          <a:xfrm>
            <a:off x="5553859" y="1763428"/>
            <a:ext cx="1554480" cy="548640"/>
          </a:xfrm>
          <a:prstGeom prst="rect">
            <a:avLst/>
          </a:prstGeom>
        </p:spPr>
        <p:txBody>
          <a:bodyPr vert="horz" wrap="square" lIns="0" tIns="0" rIns="0" bIns="0" rtlCol="0" anchor="b">
            <a:no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228600" lvl="1" indent="-230400">
              <a:lnSpc>
                <a:spcPct val="100000"/>
              </a:lnSpc>
              <a:spcBef>
                <a:spcPts val="0"/>
              </a:spcBef>
              <a:spcAft>
                <a:spcPts val="300"/>
              </a:spcAft>
              <a:buSzPct val="110000"/>
              <a:buFont typeface="Wingdings" panose="05000000000000000000" pitchFamily="2" charset="2"/>
              <a:buChar char=""/>
              <a:defRPr lang="en-US" sz="1600" dirty="0"/>
            </a:lvl2pPr>
            <a:lvl3pPr marL="439200" lvl="2" indent="-208800">
              <a:lnSpc>
                <a:spcPct val="100000"/>
              </a:lnSpc>
              <a:spcBef>
                <a:spcPts val="0"/>
              </a:spcBef>
              <a:spcAft>
                <a:spcPts val="300"/>
              </a:spcAft>
              <a:buSzPct val="110000"/>
              <a:buFont typeface="Arial" panose="020B0604020202020204" pitchFamily="34" charset="0"/>
              <a:buChar char="‒"/>
              <a:defRPr lang="en-US" sz="1600" dirty="0"/>
            </a:lvl3pPr>
            <a:lvl4pPr marL="604800" lvl="3" indent="-154800">
              <a:lnSpc>
                <a:spcPct val="100000"/>
              </a:lnSpc>
              <a:spcBef>
                <a:spcPts val="0"/>
              </a:spcBef>
              <a:spcAft>
                <a:spcPts val="300"/>
              </a:spcAft>
              <a:buFont typeface="Arial" panose="020B0604020202020204" pitchFamily="34" charset="0"/>
              <a:buChar char="•"/>
              <a:defRPr lang="en-US" sz="1600" dirty="0"/>
            </a:lvl4pPr>
            <a:lvl5pPr marL="813600" lvl="4" indent="-147600">
              <a:lnSpc>
                <a:spcPct val="100000"/>
              </a:lnSpc>
              <a:spcBef>
                <a:spcPts val="0"/>
              </a:spcBef>
              <a:spcAft>
                <a:spcPts val="300"/>
              </a:spcAft>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b="1">
                <a:solidFill>
                  <a:schemeClr val="accent1"/>
                </a:solidFill>
              </a:rPr>
              <a:t>Years of award</a:t>
            </a:r>
          </a:p>
        </p:txBody>
      </p:sp>
      <p:sp>
        <p:nvSpPr>
          <p:cNvPr id="13" name="TextBox 12">
            <a:extLst>
              <a:ext uri="{FF2B5EF4-FFF2-40B4-BE49-F238E27FC236}">
                <a16:creationId xmlns:a16="http://schemas.microsoft.com/office/drawing/2014/main" id="{AECEE9C2-61E4-0307-1D1A-07935FCE6E69}"/>
              </a:ext>
            </a:extLst>
          </p:cNvPr>
          <p:cNvSpPr txBox="1"/>
          <p:nvPr/>
        </p:nvSpPr>
        <p:spPr>
          <a:xfrm>
            <a:off x="5553859" y="4296893"/>
            <a:ext cx="1554480" cy="822960"/>
          </a:xfrm>
          <a:prstGeom prst="rect">
            <a:avLst/>
          </a:prstGeom>
        </p:spPr>
        <p:txBody>
          <a:bodyPr vert="horz" wrap="square" lIns="0" tIns="0" rIns="0" bIns="0" rtlCol="0" anchor="ctr">
            <a:no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228600" lvl="1" indent="-230400">
              <a:lnSpc>
                <a:spcPct val="100000"/>
              </a:lnSpc>
              <a:spcBef>
                <a:spcPts val="0"/>
              </a:spcBef>
              <a:spcAft>
                <a:spcPts val="300"/>
              </a:spcAft>
              <a:buSzPct val="110000"/>
              <a:buFont typeface="Wingdings" panose="05000000000000000000" pitchFamily="2" charset="2"/>
              <a:buChar char=""/>
              <a:defRPr lang="en-US" sz="1600" dirty="0"/>
            </a:lvl2pPr>
            <a:lvl3pPr marL="439200" lvl="2" indent="-208800">
              <a:lnSpc>
                <a:spcPct val="100000"/>
              </a:lnSpc>
              <a:spcBef>
                <a:spcPts val="0"/>
              </a:spcBef>
              <a:spcAft>
                <a:spcPts val="300"/>
              </a:spcAft>
              <a:buSzPct val="110000"/>
              <a:buFont typeface="Arial" panose="020B0604020202020204" pitchFamily="34" charset="0"/>
              <a:buChar char="‒"/>
              <a:defRPr lang="en-US" sz="1600" dirty="0"/>
            </a:lvl3pPr>
            <a:lvl4pPr marL="604800" lvl="3" indent="-154800">
              <a:lnSpc>
                <a:spcPct val="100000"/>
              </a:lnSpc>
              <a:spcBef>
                <a:spcPts val="0"/>
              </a:spcBef>
              <a:spcAft>
                <a:spcPts val="300"/>
              </a:spcAft>
              <a:buFont typeface="Arial" panose="020B0604020202020204" pitchFamily="34" charset="0"/>
              <a:buChar char="•"/>
              <a:defRPr lang="en-US" sz="1600" dirty="0"/>
            </a:lvl4pPr>
            <a:lvl5pPr marL="813600" lvl="4" indent="-147600">
              <a:lnSpc>
                <a:spcPct val="100000"/>
              </a:lnSpc>
              <a:spcBef>
                <a:spcPts val="0"/>
              </a:spcBef>
              <a:spcAft>
                <a:spcPts val="300"/>
              </a:spcAft>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a:t>2020-2030</a:t>
            </a:r>
          </a:p>
        </p:txBody>
      </p:sp>
      <p:sp>
        <p:nvSpPr>
          <p:cNvPr id="14" name="TextBox 13">
            <a:extLst>
              <a:ext uri="{FF2B5EF4-FFF2-40B4-BE49-F238E27FC236}">
                <a16:creationId xmlns:a16="http://schemas.microsoft.com/office/drawing/2014/main" id="{4E3E9306-07AE-EFB2-7151-ECCBE38D4DD7}"/>
              </a:ext>
            </a:extLst>
          </p:cNvPr>
          <p:cNvSpPr txBox="1"/>
          <p:nvPr/>
        </p:nvSpPr>
        <p:spPr>
          <a:xfrm>
            <a:off x="5553859" y="2425036"/>
            <a:ext cx="1554480" cy="822960"/>
          </a:xfrm>
          <a:prstGeom prst="rect">
            <a:avLst/>
          </a:prstGeom>
        </p:spPr>
        <p:txBody>
          <a:bodyPr vert="horz" wrap="square" lIns="0" tIns="0" rIns="0" bIns="0" rtlCol="0" anchor="ctr">
            <a:no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228600" lvl="1" indent="-230400">
              <a:lnSpc>
                <a:spcPct val="100000"/>
              </a:lnSpc>
              <a:spcBef>
                <a:spcPts val="0"/>
              </a:spcBef>
              <a:spcAft>
                <a:spcPts val="300"/>
              </a:spcAft>
              <a:buSzPct val="110000"/>
              <a:buFont typeface="Wingdings" panose="05000000000000000000" pitchFamily="2" charset="2"/>
              <a:buChar char=""/>
              <a:defRPr lang="en-US" sz="1600" dirty="0"/>
            </a:lvl2pPr>
            <a:lvl3pPr marL="439200" lvl="2" indent="-208800">
              <a:lnSpc>
                <a:spcPct val="100000"/>
              </a:lnSpc>
              <a:spcBef>
                <a:spcPts val="0"/>
              </a:spcBef>
              <a:spcAft>
                <a:spcPts val="300"/>
              </a:spcAft>
              <a:buSzPct val="110000"/>
              <a:buFont typeface="Arial" panose="020B0604020202020204" pitchFamily="34" charset="0"/>
              <a:buChar char="‒"/>
              <a:defRPr lang="en-US" sz="1600" dirty="0"/>
            </a:lvl3pPr>
            <a:lvl4pPr marL="604800" lvl="3" indent="-154800">
              <a:lnSpc>
                <a:spcPct val="100000"/>
              </a:lnSpc>
              <a:spcBef>
                <a:spcPts val="0"/>
              </a:spcBef>
              <a:spcAft>
                <a:spcPts val="300"/>
              </a:spcAft>
              <a:buFont typeface="Arial" panose="020B0604020202020204" pitchFamily="34" charset="0"/>
              <a:buChar char="•"/>
              <a:defRPr lang="en-US" sz="1600" dirty="0"/>
            </a:lvl4pPr>
            <a:lvl5pPr marL="813600" lvl="4" indent="-147600">
              <a:lnSpc>
                <a:spcPct val="100000"/>
              </a:lnSpc>
              <a:spcBef>
                <a:spcPts val="0"/>
              </a:spcBef>
              <a:spcAft>
                <a:spcPts val="300"/>
              </a:spcAft>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a:t>2021-2028</a:t>
            </a:r>
          </a:p>
        </p:txBody>
      </p:sp>
      <p:sp>
        <p:nvSpPr>
          <p:cNvPr id="15" name="TextBox 14">
            <a:extLst>
              <a:ext uri="{FF2B5EF4-FFF2-40B4-BE49-F238E27FC236}">
                <a16:creationId xmlns:a16="http://schemas.microsoft.com/office/drawing/2014/main" id="{F25ACEC2-C114-099F-3341-73BCD9D135B2}"/>
              </a:ext>
            </a:extLst>
          </p:cNvPr>
          <p:cNvSpPr txBox="1"/>
          <p:nvPr/>
        </p:nvSpPr>
        <p:spPr>
          <a:xfrm>
            <a:off x="5553859" y="3360964"/>
            <a:ext cx="1554480" cy="822960"/>
          </a:xfrm>
          <a:prstGeom prst="rect">
            <a:avLst/>
          </a:prstGeom>
        </p:spPr>
        <p:txBody>
          <a:bodyPr vert="horz" wrap="square" lIns="0" tIns="0" rIns="0" bIns="0" rtlCol="0" anchor="ctr">
            <a:no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228600" lvl="1" indent="-230400">
              <a:lnSpc>
                <a:spcPct val="100000"/>
              </a:lnSpc>
              <a:spcBef>
                <a:spcPts val="0"/>
              </a:spcBef>
              <a:spcAft>
                <a:spcPts val="300"/>
              </a:spcAft>
              <a:buSzPct val="110000"/>
              <a:buFont typeface="Wingdings" panose="05000000000000000000" pitchFamily="2" charset="2"/>
              <a:buChar char=""/>
              <a:defRPr lang="en-US" sz="1600" dirty="0"/>
            </a:lvl2pPr>
            <a:lvl3pPr marL="439200" lvl="2" indent="-208800">
              <a:lnSpc>
                <a:spcPct val="100000"/>
              </a:lnSpc>
              <a:spcBef>
                <a:spcPts val="0"/>
              </a:spcBef>
              <a:spcAft>
                <a:spcPts val="300"/>
              </a:spcAft>
              <a:buSzPct val="110000"/>
              <a:buFont typeface="Arial" panose="020B0604020202020204" pitchFamily="34" charset="0"/>
              <a:buChar char="‒"/>
              <a:defRPr lang="en-US" sz="1600" dirty="0"/>
            </a:lvl3pPr>
            <a:lvl4pPr marL="604800" lvl="3" indent="-154800">
              <a:lnSpc>
                <a:spcPct val="100000"/>
              </a:lnSpc>
              <a:spcBef>
                <a:spcPts val="0"/>
              </a:spcBef>
              <a:spcAft>
                <a:spcPts val="300"/>
              </a:spcAft>
              <a:buFont typeface="Arial" panose="020B0604020202020204" pitchFamily="34" charset="0"/>
              <a:buChar char="•"/>
              <a:defRPr lang="en-US" sz="1600" dirty="0"/>
            </a:lvl4pPr>
            <a:lvl5pPr marL="813600" lvl="4" indent="-147600">
              <a:lnSpc>
                <a:spcPct val="100000"/>
              </a:lnSpc>
              <a:spcBef>
                <a:spcPts val="0"/>
              </a:spcBef>
              <a:spcAft>
                <a:spcPts val="300"/>
              </a:spcAft>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a:t>2021-2027</a:t>
            </a:r>
          </a:p>
        </p:txBody>
      </p:sp>
      <p:sp>
        <p:nvSpPr>
          <p:cNvPr id="16" name="TextBox 15">
            <a:extLst>
              <a:ext uri="{FF2B5EF4-FFF2-40B4-BE49-F238E27FC236}">
                <a16:creationId xmlns:a16="http://schemas.microsoft.com/office/drawing/2014/main" id="{DE1FFECB-2452-B193-DDAF-193FF3BF7A01}"/>
              </a:ext>
            </a:extLst>
          </p:cNvPr>
          <p:cNvSpPr txBox="1"/>
          <p:nvPr/>
        </p:nvSpPr>
        <p:spPr>
          <a:xfrm>
            <a:off x="10187218" y="1763400"/>
            <a:ext cx="1280160" cy="548640"/>
          </a:xfrm>
          <a:prstGeom prst="rect">
            <a:avLst/>
          </a:prstGeom>
        </p:spPr>
        <p:txBody>
          <a:bodyPr vert="horz" wrap="square" lIns="0" tIns="0" rIns="0" bIns="0" rtlCol="0" anchor="b">
            <a:no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228600" lvl="1" indent="-230400">
              <a:lnSpc>
                <a:spcPct val="100000"/>
              </a:lnSpc>
              <a:spcBef>
                <a:spcPts val="0"/>
              </a:spcBef>
              <a:spcAft>
                <a:spcPts val="300"/>
              </a:spcAft>
              <a:buSzPct val="110000"/>
              <a:buFont typeface="Wingdings" panose="05000000000000000000" pitchFamily="2" charset="2"/>
              <a:buChar char=""/>
              <a:defRPr lang="en-US" sz="1600" dirty="0"/>
            </a:lvl2pPr>
            <a:lvl3pPr marL="439200" lvl="2" indent="-208800">
              <a:lnSpc>
                <a:spcPct val="100000"/>
              </a:lnSpc>
              <a:spcBef>
                <a:spcPts val="0"/>
              </a:spcBef>
              <a:spcAft>
                <a:spcPts val="300"/>
              </a:spcAft>
              <a:buSzPct val="110000"/>
              <a:buFont typeface="Arial" panose="020B0604020202020204" pitchFamily="34" charset="0"/>
              <a:buChar char="‒"/>
              <a:defRPr lang="en-US" sz="1600" dirty="0"/>
            </a:lvl3pPr>
            <a:lvl4pPr marL="604800" lvl="3" indent="-154800">
              <a:lnSpc>
                <a:spcPct val="100000"/>
              </a:lnSpc>
              <a:spcBef>
                <a:spcPts val="0"/>
              </a:spcBef>
              <a:spcAft>
                <a:spcPts val="300"/>
              </a:spcAft>
              <a:buFont typeface="Arial" panose="020B0604020202020204" pitchFamily="34" charset="0"/>
              <a:buChar char="•"/>
              <a:defRPr lang="en-US" sz="1600" dirty="0"/>
            </a:lvl4pPr>
            <a:lvl5pPr marL="813600" lvl="4" indent="-147600">
              <a:lnSpc>
                <a:spcPct val="100000"/>
              </a:lnSpc>
              <a:spcBef>
                <a:spcPts val="0"/>
              </a:spcBef>
              <a:spcAft>
                <a:spcPts val="300"/>
              </a:spcAft>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b="1">
                <a:solidFill>
                  <a:schemeClr val="accent1"/>
                </a:solidFill>
              </a:rPr>
              <a:t>DOE cost-share (%)</a:t>
            </a:r>
          </a:p>
        </p:txBody>
      </p:sp>
      <p:sp>
        <p:nvSpPr>
          <p:cNvPr id="17" name="TextBox 16">
            <a:extLst>
              <a:ext uri="{FF2B5EF4-FFF2-40B4-BE49-F238E27FC236}">
                <a16:creationId xmlns:a16="http://schemas.microsoft.com/office/drawing/2014/main" id="{67E9BDB2-E713-38C5-40BA-0BB55FD45ADC}"/>
              </a:ext>
            </a:extLst>
          </p:cNvPr>
          <p:cNvSpPr txBox="1"/>
          <p:nvPr/>
        </p:nvSpPr>
        <p:spPr>
          <a:xfrm>
            <a:off x="10187218" y="4296893"/>
            <a:ext cx="1280160" cy="822960"/>
          </a:xfrm>
          <a:prstGeom prst="rect">
            <a:avLst/>
          </a:prstGeom>
        </p:spPr>
        <p:txBody>
          <a:bodyPr vert="horz" wrap="square" lIns="0" tIns="0" rIns="0" bIns="0" rtlCol="0" anchor="ctr">
            <a:no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228600" lvl="1" indent="-230400">
              <a:lnSpc>
                <a:spcPct val="100000"/>
              </a:lnSpc>
              <a:spcBef>
                <a:spcPts val="0"/>
              </a:spcBef>
              <a:spcAft>
                <a:spcPts val="300"/>
              </a:spcAft>
              <a:buSzPct val="110000"/>
              <a:buFont typeface="Wingdings" panose="05000000000000000000" pitchFamily="2" charset="2"/>
              <a:buChar char=""/>
              <a:defRPr lang="en-US" sz="1600" dirty="0"/>
            </a:lvl2pPr>
            <a:lvl3pPr marL="439200" lvl="2" indent="-208800">
              <a:lnSpc>
                <a:spcPct val="100000"/>
              </a:lnSpc>
              <a:spcBef>
                <a:spcPts val="0"/>
              </a:spcBef>
              <a:spcAft>
                <a:spcPts val="300"/>
              </a:spcAft>
              <a:buSzPct val="110000"/>
              <a:buFont typeface="Arial" panose="020B0604020202020204" pitchFamily="34" charset="0"/>
              <a:buChar char="‒"/>
              <a:defRPr lang="en-US" sz="1600" dirty="0"/>
            </a:lvl3pPr>
            <a:lvl4pPr marL="604800" lvl="3" indent="-154800">
              <a:lnSpc>
                <a:spcPct val="100000"/>
              </a:lnSpc>
              <a:spcBef>
                <a:spcPts val="0"/>
              </a:spcBef>
              <a:spcAft>
                <a:spcPts val="300"/>
              </a:spcAft>
              <a:buFont typeface="Arial" panose="020B0604020202020204" pitchFamily="34" charset="0"/>
              <a:buChar char="•"/>
              <a:defRPr lang="en-US" sz="1600" dirty="0"/>
            </a:lvl4pPr>
            <a:lvl5pPr marL="813600" lvl="4" indent="-147600">
              <a:lnSpc>
                <a:spcPct val="100000"/>
              </a:lnSpc>
              <a:spcBef>
                <a:spcPts val="0"/>
              </a:spcBef>
              <a:spcAft>
                <a:spcPts val="300"/>
              </a:spcAft>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a:t>28%</a:t>
            </a:r>
          </a:p>
        </p:txBody>
      </p:sp>
      <p:sp>
        <p:nvSpPr>
          <p:cNvPr id="18" name="TextBox 17">
            <a:extLst>
              <a:ext uri="{FF2B5EF4-FFF2-40B4-BE49-F238E27FC236}">
                <a16:creationId xmlns:a16="http://schemas.microsoft.com/office/drawing/2014/main" id="{0D48A081-C035-A912-F7DA-C5FD5F6FDC6A}"/>
              </a:ext>
            </a:extLst>
          </p:cNvPr>
          <p:cNvSpPr txBox="1"/>
          <p:nvPr/>
        </p:nvSpPr>
        <p:spPr>
          <a:xfrm>
            <a:off x="10187218" y="2425018"/>
            <a:ext cx="1280160" cy="822960"/>
          </a:xfrm>
          <a:prstGeom prst="rect">
            <a:avLst/>
          </a:prstGeom>
        </p:spPr>
        <p:txBody>
          <a:bodyPr vert="horz" wrap="square" lIns="0" tIns="0" rIns="0" bIns="0" rtlCol="0" anchor="ctr">
            <a:no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228600" lvl="1" indent="-230400">
              <a:lnSpc>
                <a:spcPct val="100000"/>
              </a:lnSpc>
              <a:spcBef>
                <a:spcPts val="0"/>
              </a:spcBef>
              <a:spcAft>
                <a:spcPts val="300"/>
              </a:spcAft>
              <a:buSzPct val="110000"/>
              <a:buFont typeface="Wingdings" panose="05000000000000000000" pitchFamily="2" charset="2"/>
              <a:buChar char=""/>
              <a:defRPr lang="en-US" sz="1600" dirty="0"/>
            </a:lvl2pPr>
            <a:lvl3pPr marL="439200" lvl="2" indent="-208800">
              <a:lnSpc>
                <a:spcPct val="100000"/>
              </a:lnSpc>
              <a:spcBef>
                <a:spcPts val="0"/>
              </a:spcBef>
              <a:spcAft>
                <a:spcPts val="300"/>
              </a:spcAft>
              <a:buSzPct val="110000"/>
              <a:buFont typeface="Arial" panose="020B0604020202020204" pitchFamily="34" charset="0"/>
              <a:buChar char="‒"/>
              <a:defRPr lang="en-US" sz="1600" dirty="0"/>
            </a:lvl3pPr>
            <a:lvl4pPr marL="604800" lvl="3" indent="-154800">
              <a:lnSpc>
                <a:spcPct val="100000"/>
              </a:lnSpc>
              <a:spcBef>
                <a:spcPts val="0"/>
              </a:spcBef>
              <a:spcAft>
                <a:spcPts val="300"/>
              </a:spcAft>
              <a:buFont typeface="Arial" panose="020B0604020202020204" pitchFamily="34" charset="0"/>
              <a:buChar char="•"/>
              <a:defRPr lang="en-US" sz="1600" dirty="0"/>
            </a:lvl4pPr>
            <a:lvl5pPr marL="813600" lvl="4" indent="-147600">
              <a:lnSpc>
                <a:spcPct val="100000"/>
              </a:lnSpc>
              <a:spcBef>
                <a:spcPts val="0"/>
              </a:spcBef>
              <a:spcAft>
                <a:spcPts val="300"/>
              </a:spcAft>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a:t>50%</a:t>
            </a:r>
          </a:p>
        </p:txBody>
      </p:sp>
      <p:sp>
        <p:nvSpPr>
          <p:cNvPr id="19" name="TextBox 18">
            <a:extLst>
              <a:ext uri="{FF2B5EF4-FFF2-40B4-BE49-F238E27FC236}">
                <a16:creationId xmlns:a16="http://schemas.microsoft.com/office/drawing/2014/main" id="{0EA589F0-1FAE-1908-5D40-C70829780750}"/>
              </a:ext>
            </a:extLst>
          </p:cNvPr>
          <p:cNvSpPr txBox="1"/>
          <p:nvPr/>
        </p:nvSpPr>
        <p:spPr>
          <a:xfrm>
            <a:off x="10187218" y="3360956"/>
            <a:ext cx="1280160" cy="822960"/>
          </a:xfrm>
          <a:prstGeom prst="rect">
            <a:avLst/>
          </a:prstGeom>
        </p:spPr>
        <p:txBody>
          <a:bodyPr vert="horz" wrap="square" lIns="0" tIns="0" rIns="0" bIns="0" rtlCol="0" anchor="ctr">
            <a:no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228600" lvl="1" indent="-230400">
              <a:lnSpc>
                <a:spcPct val="100000"/>
              </a:lnSpc>
              <a:spcBef>
                <a:spcPts val="0"/>
              </a:spcBef>
              <a:spcAft>
                <a:spcPts val="300"/>
              </a:spcAft>
              <a:buSzPct val="110000"/>
              <a:buFont typeface="Wingdings" panose="05000000000000000000" pitchFamily="2" charset="2"/>
              <a:buChar char=""/>
              <a:defRPr lang="en-US" sz="1600" dirty="0"/>
            </a:lvl2pPr>
            <a:lvl3pPr marL="439200" lvl="2" indent="-208800">
              <a:lnSpc>
                <a:spcPct val="100000"/>
              </a:lnSpc>
              <a:spcBef>
                <a:spcPts val="0"/>
              </a:spcBef>
              <a:spcAft>
                <a:spcPts val="300"/>
              </a:spcAft>
              <a:buSzPct val="110000"/>
              <a:buFont typeface="Arial" panose="020B0604020202020204" pitchFamily="34" charset="0"/>
              <a:buChar char="‒"/>
              <a:defRPr lang="en-US" sz="1600" dirty="0"/>
            </a:lvl3pPr>
            <a:lvl4pPr marL="604800" lvl="3" indent="-154800">
              <a:lnSpc>
                <a:spcPct val="100000"/>
              </a:lnSpc>
              <a:spcBef>
                <a:spcPts val="0"/>
              </a:spcBef>
              <a:spcAft>
                <a:spcPts val="300"/>
              </a:spcAft>
              <a:buFont typeface="Arial" panose="020B0604020202020204" pitchFamily="34" charset="0"/>
              <a:buChar char="•"/>
              <a:defRPr lang="en-US" sz="1600" dirty="0"/>
            </a:lvl4pPr>
            <a:lvl5pPr marL="813600" lvl="4" indent="-147600">
              <a:lnSpc>
                <a:spcPct val="100000"/>
              </a:lnSpc>
              <a:spcBef>
                <a:spcPts val="0"/>
              </a:spcBef>
              <a:spcAft>
                <a:spcPts val="300"/>
              </a:spcAft>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a:t>50%</a:t>
            </a:r>
          </a:p>
        </p:txBody>
      </p:sp>
      <p:sp>
        <p:nvSpPr>
          <p:cNvPr id="20" name="TextBox 19">
            <a:extLst>
              <a:ext uri="{FF2B5EF4-FFF2-40B4-BE49-F238E27FC236}">
                <a16:creationId xmlns:a16="http://schemas.microsoft.com/office/drawing/2014/main" id="{F9885230-7688-E936-BDA8-77D5704929BD}"/>
              </a:ext>
            </a:extLst>
          </p:cNvPr>
          <p:cNvSpPr txBox="1"/>
          <p:nvPr/>
        </p:nvSpPr>
        <p:spPr>
          <a:xfrm>
            <a:off x="7281193" y="1763401"/>
            <a:ext cx="1280160" cy="548640"/>
          </a:xfrm>
          <a:prstGeom prst="rect">
            <a:avLst/>
          </a:prstGeom>
        </p:spPr>
        <p:txBody>
          <a:bodyPr vert="horz" wrap="square" lIns="0" tIns="0" rIns="0" bIns="0" rtlCol="0" anchor="b">
            <a:no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228600" lvl="1" indent="-230400">
              <a:lnSpc>
                <a:spcPct val="100000"/>
              </a:lnSpc>
              <a:spcBef>
                <a:spcPts val="0"/>
              </a:spcBef>
              <a:spcAft>
                <a:spcPts val="300"/>
              </a:spcAft>
              <a:buSzPct val="110000"/>
              <a:buFont typeface="Wingdings" panose="05000000000000000000" pitchFamily="2" charset="2"/>
              <a:buChar char=""/>
              <a:defRPr lang="en-US" sz="1600" dirty="0"/>
            </a:lvl2pPr>
            <a:lvl3pPr marL="439200" lvl="2" indent="-208800">
              <a:lnSpc>
                <a:spcPct val="100000"/>
              </a:lnSpc>
              <a:spcBef>
                <a:spcPts val="0"/>
              </a:spcBef>
              <a:spcAft>
                <a:spcPts val="300"/>
              </a:spcAft>
              <a:buSzPct val="110000"/>
              <a:buFont typeface="Arial" panose="020B0604020202020204" pitchFamily="34" charset="0"/>
              <a:buChar char="‒"/>
              <a:defRPr lang="en-US" sz="1600" dirty="0"/>
            </a:lvl3pPr>
            <a:lvl4pPr marL="604800" lvl="3" indent="-154800">
              <a:lnSpc>
                <a:spcPct val="100000"/>
              </a:lnSpc>
              <a:spcBef>
                <a:spcPts val="0"/>
              </a:spcBef>
              <a:spcAft>
                <a:spcPts val="300"/>
              </a:spcAft>
              <a:buFont typeface="Arial" panose="020B0604020202020204" pitchFamily="34" charset="0"/>
              <a:buChar char="•"/>
              <a:defRPr lang="en-US" sz="1600" dirty="0"/>
            </a:lvl4pPr>
            <a:lvl5pPr marL="813600" lvl="4" indent="-147600">
              <a:lnSpc>
                <a:spcPct val="100000"/>
              </a:lnSpc>
              <a:spcBef>
                <a:spcPts val="0"/>
              </a:spcBef>
              <a:spcAft>
                <a:spcPts val="300"/>
              </a:spcAft>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b="1">
                <a:solidFill>
                  <a:schemeClr val="accent1"/>
                </a:solidFill>
              </a:rPr>
              <a:t>Awardee cost-share</a:t>
            </a:r>
          </a:p>
        </p:txBody>
      </p:sp>
      <p:sp>
        <p:nvSpPr>
          <p:cNvPr id="21" name="TextBox 20">
            <a:extLst>
              <a:ext uri="{FF2B5EF4-FFF2-40B4-BE49-F238E27FC236}">
                <a16:creationId xmlns:a16="http://schemas.microsoft.com/office/drawing/2014/main" id="{60462B9A-8C2A-B1F3-F572-7B47E2D700E8}"/>
              </a:ext>
            </a:extLst>
          </p:cNvPr>
          <p:cNvSpPr txBox="1"/>
          <p:nvPr/>
        </p:nvSpPr>
        <p:spPr>
          <a:xfrm>
            <a:off x="7281193" y="4296893"/>
            <a:ext cx="1280160" cy="822960"/>
          </a:xfrm>
          <a:prstGeom prst="rect">
            <a:avLst/>
          </a:prstGeom>
        </p:spPr>
        <p:txBody>
          <a:bodyPr vert="horz" wrap="square" lIns="0" tIns="0" rIns="0" bIns="0" rtlCol="0" anchor="ctr">
            <a:no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228600" lvl="1" indent="-230400">
              <a:lnSpc>
                <a:spcPct val="100000"/>
              </a:lnSpc>
              <a:spcBef>
                <a:spcPts val="0"/>
              </a:spcBef>
              <a:spcAft>
                <a:spcPts val="300"/>
              </a:spcAft>
              <a:buSzPct val="110000"/>
              <a:buFont typeface="Wingdings" panose="05000000000000000000" pitchFamily="2" charset="2"/>
              <a:buChar char=""/>
              <a:defRPr lang="en-US" sz="1600" dirty="0"/>
            </a:lvl2pPr>
            <a:lvl3pPr marL="439200" lvl="2" indent="-208800">
              <a:lnSpc>
                <a:spcPct val="100000"/>
              </a:lnSpc>
              <a:spcBef>
                <a:spcPts val="0"/>
              </a:spcBef>
              <a:spcAft>
                <a:spcPts val="300"/>
              </a:spcAft>
              <a:buSzPct val="110000"/>
              <a:buFont typeface="Arial" panose="020B0604020202020204" pitchFamily="34" charset="0"/>
              <a:buChar char="‒"/>
              <a:defRPr lang="en-US" sz="1600" dirty="0"/>
            </a:lvl3pPr>
            <a:lvl4pPr marL="604800" lvl="3" indent="-154800">
              <a:lnSpc>
                <a:spcPct val="100000"/>
              </a:lnSpc>
              <a:spcBef>
                <a:spcPts val="0"/>
              </a:spcBef>
              <a:spcAft>
                <a:spcPts val="300"/>
              </a:spcAft>
              <a:buFont typeface="Arial" panose="020B0604020202020204" pitchFamily="34" charset="0"/>
              <a:buChar char="•"/>
              <a:defRPr lang="en-US" sz="1600" dirty="0"/>
            </a:lvl4pPr>
            <a:lvl5pPr marL="813600" lvl="4" indent="-147600">
              <a:lnSpc>
                <a:spcPct val="100000"/>
              </a:lnSpc>
              <a:spcBef>
                <a:spcPts val="0"/>
              </a:spcBef>
              <a:spcAft>
                <a:spcPts val="300"/>
              </a:spcAft>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a:t>$3.6B</a:t>
            </a:r>
          </a:p>
        </p:txBody>
      </p:sp>
      <p:sp>
        <p:nvSpPr>
          <p:cNvPr id="22" name="TextBox 21">
            <a:extLst>
              <a:ext uri="{FF2B5EF4-FFF2-40B4-BE49-F238E27FC236}">
                <a16:creationId xmlns:a16="http://schemas.microsoft.com/office/drawing/2014/main" id="{4BB7FD7A-7897-B584-8247-89D72C5F8131}"/>
              </a:ext>
            </a:extLst>
          </p:cNvPr>
          <p:cNvSpPr txBox="1"/>
          <p:nvPr/>
        </p:nvSpPr>
        <p:spPr>
          <a:xfrm>
            <a:off x="7281193" y="2425018"/>
            <a:ext cx="1280160" cy="822960"/>
          </a:xfrm>
          <a:prstGeom prst="rect">
            <a:avLst/>
          </a:prstGeom>
        </p:spPr>
        <p:txBody>
          <a:bodyPr vert="horz" wrap="square" lIns="0" tIns="0" rIns="0" bIns="0" rtlCol="0" anchor="ctr">
            <a:no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228600" lvl="1" indent="-230400">
              <a:lnSpc>
                <a:spcPct val="100000"/>
              </a:lnSpc>
              <a:spcBef>
                <a:spcPts val="0"/>
              </a:spcBef>
              <a:spcAft>
                <a:spcPts val="300"/>
              </a:spcAft>
              <a:buSzPct val="110000"/>
              <a:buFont typeface="Wingdings" panose="05000000000000000000" pitchFamily="2" charset="2"/>
              <a:buChar char=""/>
              <a:defRPr lang="en-US" sz="1600" dirty="0"/>
            </a:lvl2pPr>
            <a:lvl3pPr marL="439200" lvl="2" indent="-208800">
              <a:lnSpc>
                <a:spcPct val="100000"/>
              </a:lnSpc>
              <a:spcBef>
                <a:spcPts val="0"/>
              </a:spcBef>
              <a:spcAft>
                <a:spcPts val="300"/>
              </a:spcAft>
              <a:buSzPct val="110000"/>
              <a:buFont typeface="Arial" panose="020B0604020202020204" pitchFamily="34" charset="0"/>
              <a:buChar char="‒"/>
              <a:defRPr lang="en-US" sz="1600" dirty="0"/>
            </a:lvl3pPr>
            <a:lvl4pPr marL="604800" lvl="3" indent="-154800">
              <a:lnSpc>
                <a:spcPct val="100000"/>
              </a:lnSpc>
              <a:spcBef>
                <a:spcPts val="0"/>
              </a:spcBef>
              <a:spcAft>
                <a:spcPts val="300"/>
              </a:spcAft>
              <a:buFont typeface="Arial" panose="020B0604020202020204" pitchFamily="34" charset="0"/>
              <a:buChar char="•"/>
              <a:defRPr lang="en-US" sz="1600" dirty="0"/>
            </a:lvl4pPr>
            <a:lvl5pPr marL="813600" lvl="4" indent="-147600">
              <a:lnSpc>
                <a:spcPct val="100000"/>
              </a:lnSpc>
              <a:spcBef>
                <a:spcPts val="0"/>
              </a:spcBef>
              <a:spcAft>
                <a:spcPts val="300"/>
              </a:spcAft>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a:t>$2.0B</a:t>
            </a:r>
          </a:p>
        </p:txBody>
      </p:sp>
      <p:sp>
        <p:nvSpPr>
          <p:cNvPr id="23" name="TextBox 22">
            <a:extLst>
              <a:ext uri="{FF2B5EF4-FFF2-40B4-BE49-F238E27FC236}">
                <a16:creationId xmlns:a16="http://schemas.microsoft.com/office/drawing/2014/main" id="{95188BB8-9097-32F3-A49A-D12871F9E07F}"/>
              </a:ext>
            </a:extLst>
          </p:cNvPr>
          <p:cNvSpPr txBox="1"/>
          <p:nvPr/>
        </p:nvSpPr>
        <p:spPr>
          <a:xfrm>
            <a:off x="7281193" y="3360955"/>
            <a:ext cx="1280160" cy="822960"/>
          </a:xfrm>
          <a:prstGeom prst="rect">
            <a:avLst/>
          </a:prstGeom>
        </p:spPr>
        <p:txBody>
          <a:bodyPr vert="horz" wrap="square" lIns="0" tIns="0" rIns="0" bIns="0" rtlCol="0" anchor="ctr">
            <a:no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228600" lvl="1" indent="-230400">
              <a:lnSpc>
                <a:spcPct val="100000"/>
              </a:lnSpc>
              <a:spcBef>
                <a:spcPts val="0"/>
              </a:spcBef>
              <a:spcAft>
                <a:spcPts val="300"/>
              </a:spcAft>
              <a:buSzPct val="110000"/>
              <a:buFont typeface="Wingdings" panose="05000000000000000000" pitchFamily="2" charset="2"/>
              <a:buChar char=""/>
              <a:defRPr lang="en-US" sz="1600" dirty="0"/>
            </a:lvl2pPr>
            <a:lvl3pPr marL="439200" lvl="2" indent="-208800">
              <a:lnSpc>
                <a:spcPct val="100000"/>
              </a:lnSpc>
              <a:spcBef>
                <a:spcPts val="0"/>
              </a:spcBef>
              <a:spcAft>
                <a:spcPts val="300"/>
              </a:spcAft>
              <a:buSzPct val="110000"/>
              <a:buFont typeface="Arial" panose="020B0604020202020204" pitchFamily="34" charset="0"/>
              <a:buChar char="‒"/>
              <a:defRPr lang="en-US" sz="1600" dirty="0"/>
            </a:lvl3pPr>
            <a:lvl4pPr marL="604800" lvl="3" indent="-154800">
              <a:lnSpc>
                <a:spcPct val="100000"/>
              </a:lnSpc>
              <a:spcBef>
                <a:spcPts val="0"/>
              </a:spcBef>
              <a:spcAft>
                <a:spcPts val="300"/>
              </a:spcAft>
              <a:buFont typeface="Arial" panose="020B0604020202020204" pitchFamily="34" charset="0"/>
              <a:buChar char="•"/>
              <a:defRPr lang="en-US" sz="1600" dirty="0"/>
            </a:lvl4pPr>
            <a:lvl5pPr marL="813600" lvl="4" indent="-147600">
              <a:lnSpc>
                <a:spcPct val="100000"/>
              </a:lnSpc>
              <a:spcBef>
                <a:spcPts val="0"/>
              </a:spcBef>
              <a:spcAft>
                <a:spcPts val="300"/>
              </a:spcAft>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a:t>$1.2B</a:t>
            </a:r>
          </a:p>
        </p:txBody>
      </p:sp>
      <p:cxnSp>
        <p:nvCxnSpPr>
          <p:cNvPr id="24" name="LineSeparatorDefault 37">
            <a:extLst>
              <a:ext uri="{FF2B5EF4-FFF2-40B4-BE49-F238E27FC236}">
                <a16:creationId xmlns:a16="http://schemas.microsoft.com/office/drawing/2014/main" id="{D80DAADB-2B78-93D4-B369-299BC54583E4}"/>
              </a:ext>
            </a:extLst>
          </p:cNvPr>
          <p:cNvCxnSpPr>
            <a:cxnSpLocks/>
          </p:cNvCxnSpPr>
          <p:nvPr>
            <p:custDataLst>
              <p:tags r:id="rId1"/>
            </p:custDataLst>
          </p:nvPr>
        </p:nvCxnSpPr>
        <p:spPr>
          <a:xfrm>
            <a:off x="554735" y="3304480"/>
            <a:ext cx="11020739" cy="0"/>
          </a:xfrm>
          <a:prstGeom prst="straightConnector1">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5" name="LineSeparatorStrong 41">
            <a:extLst>
              <a:ext uri="{FF2B5EF4-FFF2-40B4-BE49-F238E27FC236}">
                <a16:creationId xmlns:a16="http://schemas.microsoft.com/office/drawing/2014/main" id="{5E0694B5-03C0-27D1-2FFE-DE4C743A4B2E}"/>
              </a:ext>
            </a:extLst>
          </p:cNvPr>
          <p:cNvCxnSpPr>
            <a:cxnSpLocks/>
          </p:cNvCxnSpPr>
          <p:nvPr>
            <p:custDataLst>
              <p:tags r:id="rId2"/>
            </p:custDataLst>
          </p:nvPr>
        </p:nvCxnSpPr>
        <p:spPr>
          <a:xfrm>
            <a:off x="554735" y="5173306"/>
            <a:ext cx="11018520" cy="0"/>
          </a:xfrm>
          <a:prstGeom prst="straightConnector1">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6" name="LineSeparatorStrong 41">
            <a:extLst>
              <a:ext uri="{FF2B5EF4-FFF2-40B4-BE49-F238E27FC236}">
                <a16:creationId xmlns:a16="http://schemas.microsoft.com/office/drawing/2014/main" id="{A8EDD7F6-8361-F92D-1413-7B6A0601ACF9}"/>
              </a:ext>
            </a:extLst>
          </p:cNvPr>
          <p:cNvCxnSpPr>
            <a:cxnSpLocks/>
          </p:cNvCxnSpPr>
          <p:nvPr>
            <p:custDataLst>
              <p:tags r:id="rId3"/>
            </p:custDataLst>
          </p:nvPr>
        </p:nvCxnSpPr>
        <p:spPr>
          <a:xfrm>
            <a:off x="554735" y="2368552"/>
            <a:ext cx="11018520" cy="0"/>
          </a:xfrm>
          <a:prstGeom prst="straightConnector1">
            <a:avLst/>
          </a:prstGeom>
          <a:ln w="190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7" name="TextBox 26">
            <a:extLst>
              <a:ext uri="{FF2B5EF4-FFF2-40B4-BE49-F238E27FC236}">
                <a16:creationId xmlns:a16="http://schemas.microsoft.com/office/drawing/2014/main" id="{75B1C259-A46F-8265-2E22-19F5B98DE0BA}"/>
              </a:ext>
            </a:extLst>
          </p:cNvPr>
          <p:cNvSpPr txBox="1"/>
          <p:nvPr/>
        </p:nvSpPr>
        <p:spPr>
          <a:xfrm>
            <a:off x="2556391" y="1763428"/>
            <a:ext cx="1188720" cy="548640"/>
          </a:xfrm>
          <a:prstGeom prst="rect">
            <a:avLst/>
          </a:prstGeom>
        </p:spPr>
        <p:txBody>
          <a:bodyPr vert="horz" wrap="square" lIns="0" tIns="0" rIns="0" bIns="0" rtlCol="0" anchor="b">
            <a:no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228600" lvl="1" indent="-230400">
              <a:lnSpc>
                <a:spcPct val="100000"/>
              </a:lnSpc>
              <a:spcBef>
                <a:spcPts val="0"/>
              </a:spcBef>
              <a:spcAft>
                <a:spcPts val="300"/>
              </a:spcAft>
              <a:buSzPct val="110000"/>
              <a:buFont typeface="Wingdings" panose="05000000000000000000" pitchFamily="2" charset="2"/>
              <a:buChar char=""/>
              <a:defRPr lang="en-US" sz="1600" dirty="0"/>
            </a:lvl2pPr>
            <a:lvl3pPr marL="439200" lvl="2" indent="-208800">
              <a:lnSpc>
                <a:spcPct val="100000"/>
              </a:lnSpc>
              <a:spcBef>
                <a:spcPts val="0"/>
              </a:spcBef>
              <a:spcAft>
                <a:spcPts val="300"/>
              </a:spcAft>
              <a:buSzPct val="110000"/>
              <a:buFont typeface="Arial" panose="020B0604020202020204" pitchFamily="34" charset="0"/>
              <a:buChar char="‒"/>
              <a:defRPr lang="en-US" sz="1600" dirty="0"/>
            </a:lvl3pPr>
            <a:lvl4pPr marL="604800" lvl="3" indent="-154800">
              <a:lnSpc>
                <a:spcPct val="100000"/>
              </a:lnSpc>
              <a:spcBef>
                <a:spcPts val="0"/>
              </a:spcBef>
              <a:spcAft>
                <a:spcPts val="300"/>
              </a:spcAft>
              <a:buFont typeface="Arial" panose="020B0604020202020204" pitchFamily="34" charset="0"/>
              <a:buChar char="•"/>
              <a:defRPr lang="en-US" sz="1600" dirty="0"/>
            </a:lvl4pPr>
            <a:lvl5pPr marL="813600" lvl="4" indent="-147600">
              <a:lnSpc>
                <a:spcPct val="100000"/>
              </a:lnSpc>
              <a:spcBef>
                <a:spcPts val="0"/>
              </a:spcBef>
              <a:spcAft>
                <a:spcPts val="300"/>
              </a:spcAft>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b="1">
                <a:solidFill>
                  <a:schemeClr val="accent1"/>
                </a:solidFill>
              </a:rPr>
              <a:t>Reactor developer</a:t>
            </a:r>
          </a:p>
        </p:txBody>
      </p:sp>
      <p:sp>
        <p:nvSpPr>
          <p:cNvPr id="28" name="TextBox 27">
            <a:extLst>
              <a:ext uri="{FF2B5EF4-FFF2-40B4-BE49-F238E27FC236}">
                <a16:creationId xmlns:a16="http://schemas.microsoft.com/office/drawing/2014/main" id="{1A31DAF0-6FF2-7A66-F850-BBCFF514CEE4}"/>
              </a:ext>
            </a:extLst>
          </p:cNvPr>
          <p:cNvSpPr txBox="1"/>
          <p:nvPr/>
        </p:nvSpPr>
        <p:spPr>
          <a:xfrm>
            <a:off x="2556391" y="4296893"/>
            <a:ext cx="1188720" cy="822960"/>
          </a:xfrm>
          <a:prstGeom prst="rect">
            <a:avLst/>
          </a:prstGeom>
        </p:spPr>
        <p:txBody>
          <a:bodyPr vert="horz" wrap="square" lIns="0" tIns="0" rIns="0" bIns="0" rtlCol="0" anchor="ctr">
            <a:no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228600" lvl="1" indent="-230400">
              <a:lnSpc>
                <a:spcPct val="100000"/>
              </a:lnSpc>
              <a:spcBef>
                <a:spcPts val="0"/>
              </a:spcBef>
              <a:spcAft>
                <a:spcPts val="300"/>
              </a:spcAft>
              <a:buSzPct val="110000"/>
              <a:buFont typeface="Wingdings" panose="05000000000000000000" pitchFamily="2" charset="2"/>
              <a:buChar char=""/>
              <a:defRPr lang="en-US" sz="1600" dirty="0"/>
            </a:lvl2pPr>
            <a:lvl3pPr marL="439200" lvl="2" indent="-208800">
              <a:lnSpc>
                <a:spcPct val="100000"/>
              </a:lnSpc>
              <a:spcBef>
                <a:spcPts val="0"/>
              </a:spcBef>
              <a:spcAft>
                <a:spcPts val="300"/>
              </a:spcAft>
              <a:buSzPct val="110000"/>
              <a:buFont typeface="Arial" panose="020B0604020202020204" pitchFamily="34" charset="0"/>
              <a:buChar char="‒"/>
              <a:defRPr lang="en-US" sz="1600" dirty="0"/>
            </a:lvl3pPr>
            <a:lvl4pPr marL="604800" lvl="3" indent="-154800">
              <a:lnSpc>
                <a:spcPct val="100000"/>
              </a:lnSpc>
              <a:spcBef>
                <a:spcPts val="0"/>
              </a:spcBef>
              <a:spcAft>
                <a:spcPts val="300"/>
              </a:spcAft>
              <a:buFont typeface="Arial" panose="020B0604020202020204" pitchFamily="34" charset="0"/>
              <a:buChar char="•"/>
              <a:defRPr lang="en-US" sz="1600" dirty="0"/>
            </a:lvl4pPr>
            <a:lvl5pPr marL="813600" lvl="4" indent="-147600">
              <a:lnSpc>
                <a:spcPct val="100000"/>
              </a:lnSpc>
              <a:spcBef>
                <a:spcPts val="0"/>
              </a:spcBef>
              <a:spcAft>
                <a:spcPts val="300"/>
              </a:spcAft>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err="1"/>
              <a:t>NuScale</a:t>
            </a:r>
            <a:endParaRPr lang="en-US"/>
          </a:p>
        </p:txBody>
      </p:sp>
      <p:sp>
        <p:nvSpPr>
          <p:cNvPr id="29" name="TextBox 28">
            <a:extLst>
              <a:ext uri="{FF2B5EF4-FFF2-40B4-BE49-F238E27FC236}">
                <a16:creationId xmlns:a16="http://schemas.microsoft.com/office/drawing/2014/main" id="{C1A8D44D-8224-295D-F536-427E34D8C87E}"/>
              </a:ext>
            </a:extLst>
          </p:cNvPr>
          <p:cNvSpPr txBox="1"/>
          <p:nvPr/>
        </p:nvSpPr>
        <p:spPr>
          <a:xfrm>
            <a:off x="2556391" y="2425036"/>
            <a:ext cx="1188720" cy="822960"/>
          </a:xfrm>
          <a:prstGeom prst="rect">
            <a:avLst/>
          </a:prstGeom>
        </p:spPr>
        <p:txBody>
          <a:bodyPr vert="horz" wrap="square" lIns="0" tIns="0" rIns="0" bIns="0" rtlCol="0" anchor="ctr">
            <a:no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228600" lvl="1" indent="-230400">
              <a:lnSpc>
                <a:spcPct val="100000"/>
              </a:lnSpc>
              <a:spcBef>
                <a:spcPts val="0"/>
              </a:spcBef>
              <a:spcAft>
                <a:spcPts val="300"/>
              </a:spcAft>
              <a:buSzPct val="110000"/>
              <a:buFont typeface="Wingdings" panose="05000000000000000000" pitchFamily="2" charset="2"/>
              <a:buChar char=""/>
              <a:defRPr lang="en-US" sz="1600" dirty="0"/>
            </a:lvl2pPr>
            <a:lvl3pPr marL="439200" lvl="2" indent="-208800">
              <a:lnSpc>
                <a:spcPct val="100000"/>
              </a:lnSpc>
              <a:spcBef>
                <a:spcPts val="0"/>
              </a:spcBef>
              <a:spcAft>
                <a:spcPts val="300"/>
              </a:spcAft>
              <a:buSzPct val="110000"/>
              <a:buFont typeface="Arial" panose="020B0604020202020204" pitchFamily="34" charset="0"/>
              <a:buChar char="‒"/>
              <a:defRPr lang="en-US" sz="1600" dirty="0"/>
            </a:lvl3pPr>
            <a:lvl4pPr marL="604800" lvl="3" indent="-154800">
              <a:lnSpc>
                <a:spcPct val="100000"/>
              </a:lnSpc>
              <a:spcBef>
                <a:spcPts val="0"/>
              </a:spcBef>
              <a:spcAft>
                <a:spcPts val="300"/>
              </a:spcAft>
              <a:buFont typeface="Arial" panose="020B0604020202020204" pitchFamily="34" charset="0"/>
              <a:buChar char="•"/>
              <a:defRPr lang="en-US" sz="1600" dirty="0"/>
            </a:lvl4pPr>
            <a:lvl5pPr marL="813600" lvl="4" indent="-147600">
              <a:lnSpc>
                <a:spcPct val="100000"/>
              </a:lnSpc>
              <a:spcBef>
                <a:spcPts val="0"/>
              </a:spcBef>
              <a:spcAft>
                <a:spcPts val="300"/>
              </a:spcAft>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err="1"/>
              <a:t>TerraPower</a:t>
            </a:r>
            <a:endParaRPr lang="en-US"/>
          </a:p>
        </p:txBody>
      </p:sp>
      <p:sp>
        <p:nvSpPr>
          <p:cNvPr id="30" name="TextBox 29">
            <a:extLst>
              <a:ext uri="{FF2B5EF4-FFF2-40B4-BE49-F238E27FC236}">
                <a16:creationId xmlns:a16="http://schemas.microsoft.com/office/drawing/2014/main" id="{738089E2-036C-0E30-FA97-7730C7338867}"/>
              </a:ext>
            </a:extLst>
          </p:cNvPr>
          <p:cNvSpPr txBox="1"/>
          <p:nvPr/>
        </p:nvSpPr>
        <p:spPr>
          <a:xfrm>
            <a:off x="2556391" y="3360964"/>
            <a:ext cx="1188720" cy="822960"/>
          </a:xfrm>
          <a:prstGeom prst="rect">
            <a:avLst/>
          </a:prstGeom>
        </p:spPr>
        <p:txBody>
          <a:bodyPr vert="horz" wrap="square" lIns="0" tIns="0" rIns="0" bIns="0" rtlCol="0" anchor="ctr">
            <a:no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228600" lvl="1" indent="-230400">
              <a:lnSpc>
                <a:spcPct val="100000"/>
              </a:lnSpc>
              <a:spcBef>
                <a:spcPts val="0"/>
              </a:spcBef>
              <a:spcAft>
                <a:spcPts val="300"/>
              </a:spcAft>
              <a:buSzPct val="110000"/>
              <a:buFont typeface="Wingdings" panose="05000000000000000000" pitchFamily="2" charset="2"/>
              <a:buChar char=""/>
              <a:defRPr lang="en-US" sz="1600" dirty="0"/>
            </a:lvl2pPr>
            <a:lvl3pPr marL="439200" lvl="2" indent="-208800">
              <a:lnSpc>
                <a:spcPct val="100000"/>
              </a:lnSpc>
              <a:spcBef>
                <a:spcPts val="0"/>
              </a:spcBef>
              <a:spcAft>
                <a:spcPts val="300"/>
              </a:spcAft>
              <a:buSzPct val="110000"/>
              <a:buFont typeface="Arial" panose="020B0604020202020204" pitchFamily="34" charset="0"/>
              <a:buChar char="‒"/>
              <a:defRPr lang="en-US" sz="1600" dirty="0"/>
            </a:lvl3pPr>
            <a:lvl4pPr marL="604800" lvl="3" indent="-154800">
              <a:lnSpc>
                <a:spcPct val="100000"/>
              </a:lnSpc>
              <a:spcBef>
                <a:spcPts val="0"/>
              </a:spcBef>
              <a:spcAft>
                <a:spcPts val="300"/>
              </a:spcAft>
              <a:buFont typeface="Arial" panose="020B0604020202020204" pitchFamily="34" charset="0"/>
              <a:buChar char="•"/>
              <a:defRPr lang="en-US" sz="1600" dirty="0"/>
            </a:lvl4pPr>
            <a:lvl5pPr marL="813600" lvl="4" indent="-147600">
              <a:lnSpc>
                <a:spcPct val="100000"/>
              </a:lnSpc>
              <a:spcBef>
                <a:spcPts val="0"/>
              </a:spcBef>
              <a:spcAft>
                <a:spcPts val="300"/>
              </a:spcAft>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a:t>X-energy</a:t>
            </a:r>
          </a:p>
        </p:txBody>
      </p:sp>
      <p:sp>
        <p:nvSpPr>
          <p:cNvPr id="31" name="TextBox 30">
            <a:extLst>
              <a:ext uri="{FF2B5EF4-FFF2-40B4-BE49-F238E27FC236}">
                <a16:creationId xmlns:a16="http://schemas.microsoft.com/office/drawing/2014/main" id="{AFF565FC-36F9-B8A6-39B4-CBB96C7C4B26}"/>
              </a:ext>
            </a:extLst>
          </p:cNvPr>
          <p:cNvSpPr txBox="1"/>
          <p:nvPr/>
        </p:nvSpPr>
        <p:spPr>
          <a:xfrm>
            <a:off x="3917965" y="1763428"/>
            <a:ext cx="1463040" cy="548640"/>
          </a:xfrm>
          <a:prstGeom prst="rect">
            <a:avLst/>
          </a:prstGeom>
        </p:spPr>
        <p:txBody>
          <a:bodyPr vert="horz" wrap="square" lIns="0" tIns="0" rIns="0" bIns="0" rtlCol="0" anchor="b">
            <a:no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228600" lvl="1" indent="-230400">
              <a:lnSpc>
                <a:spcPct val="100000"/>
              </a:lnSpc>
              <a:spcBef>
                <a:spcPts val="0"/>
              </a:spcBef>
              <a:spcAft>
                <a:spcPts val="300"/>
              </a:spcAft>
              <a:buSzPct val="110000"/>
              <a:buFont typeface="Wingdings" panose="05000000000000000000" pitchFamily="2" charset="2"/>
              <a:buChar char=""/>
              <a:defRPr lang="en-US" sz="1600" dirty="0"/>
            </a:lvl2pPr>
            <a:lvl3pPr marL="439200" lvl="2" indent="-208800">
              <a:lnSpc>
                <a:spcPct val="100000"/>
              </a:lnSpc>
              <a:spcBef>
                <a:spcPts val="0"/>
              </a:spcBef>
              <a:spcAft>
                <a:spcPts val="300"/>
              </a:spcAft>
              <a:buSzPct val="110000"/>
              <a:buFont typeface="Arial" panose="020B0604020202020204" pitchFamily="34" charset="0"/>
              <a:buChar char="‒"/>
              <a:defRPr lang="en-US" sz="1600" dirty="0"/>
            </a:lvl3pPr>
            <a:lvl4pPr marL="604800" lvl="3" indent="-154800">
              <a:lnSpc>
                <a:spcPct val="100000"/>
              </a:lnSpc>
              <a:spcBef>
                <a:spcPts val="0"/>
              </a:spcBef>
              <a:spcAft>
                <a:spcPts val="300"/>
              </a:spcAft>
              <a:buFont typeface="Arial" panose="020B0604020202020204" pitchFamily="34" charset="0"/>
              <a:buChar char="•"/>
              <a:defRPr lang="en-US" sz="1600" dirty="0"/>
            </a:lvl4pPr>
            <a:lvl5pPr marL="813600" lvl="4" indent="-147600">
              <a:lnSpc>
                <a:spcPct val="100000"/>
              </a:lnSpc>
              <a:spcBef>
                <a:spcPts val="0"/>
              </a:spcBef>
              <a:spcAft>
                <a:spcPts val="300"/>
              </a:spcAft>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b="1">
                <a:solidFill>
                  <a:schemeClr val="accent1"/>
                </a:solidFill>
              </a:rPr>
              <a:t>Reactor type</a:t>
            </a:r>
          </a:p>
        </p:txBody>
      </p:sp>
      <p:sp>
        <p:nvSpPr>
          <p:cNvPr id="32" name="TextBox 31">
            <a:extLst>
              <a:ext uri="{FF2B5EF4-FFF2-40B4-BE49-F238E27FC236}">
                <a16:creationId xmlns:a16="http://schemas.microsoft.com/office/drawing/2014/main" id="{03D0BD37-A7A0-CC98-03C8-62E37424871D}"/>
              </a:ext>
            </a:extLst>
          </p:cNvPr>
          <p:cNvSpPr txBox="1"/>
          <p:nvPr/>
        </p:nvSpPr>
        <p:spPr>
          <a:xfrm>
            <a:off x="3917965" y="4296893"/>
            <a:ext cx="1463040" cy="822960"/>
          </a:xfrm>
          <a:prstGeom prst="rect">
            <a:avLst/>
          </a:prstGeom>
        </p:spPr>
        <p:txBody>
          <a:bodyPr vert="horz" wrap="square" lIns="0" tIns="0" rIns="0" bIns="0" rtlCol="0" anchor="ctr">
            <a:no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228600" lvl="1" indent="-230400">
              <a:lnSpc>
                <a:spcPct val="100000"/>
              </a:lnSpc>
              <a:spcBef>
                <a:spcPts val="0"/>
              </a:spcBef>
              <a:spcAft>
                <a:spcPts val="300"/>
              </a:spcAft>
              <a:buSzPct val="110000"/>
              <a:buFont typeface="Wingdings" panose="05000000000000000000" pitchFamily="2" charset="2"/>
              <a:buChar char=""/>
              <a:defRPr lang="en-US" sz="1600" dirty="0"/>
            </a:lvl2pPr>
            <a:lvl3pPr marL="439200" lvl="2" indent="-208800">
              <a:lnSpc>
                <a:spcPct val="100000"/>
              </a:lnSpc>
              <a:spcBef>
                <a:spcPts val="0"/>
              </a:spcBef>
              <a:spcAft>
                <a:spcPts val="300"/>
              </a:spcAft>
              <a:buSzPct val="110000"/>
              <a:buFont typeface="Arial" panose="020B0604020202020204" pitchFamily="34" charset="0"/>
              <a:buChar char="‒"/>
              <a:defRPr lang="en-US" sz="1600" dirty="0"/>
            </a:lvl3pPr>
            <a:lvl4pPr marL="604800" lvl="3" indent="-154800">
              <a:lnSpc>
                <a:spcPct val="100000"/>
              </a:lnSpc>
              <a:spcBef>
                <a:spcPts val="0"/>
              </a:spcBef>
              <a:spcAft>
                <a:spcPts val="300"/>
              </a:spcAft>
              <a:buFont typeface="Arial" panose="020B0604020202020204" pitchFamily="34" charset="0"/>
              <a:buChar char="•"/>
              <a:defRPr lang="en-US" sz="1600" dirty="0"/>
            </a:lvl4pPr>
            <a:lvl5pPr marL="813600" lvl="4" indent="-147600">
              <a:lnSpc>
                <a:spcPct val="100000"/>
              </a:lnSpc>
              <a:spcBef>
                <a:spcPts val="0"/>
              </a:spcBef>
              <a:spcAft>
                <a:spcPts val="300"/>
              </a:spcAft>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a:t>Light water reactor</a:t>
            </a:r>
          </a:p>
        </p:txBody>
      </p:sp>
      <p:sp>
        <p:nvSpPr>
          <p:cNvPr id="33" name="TextBox 32">
            <a:extLst>
              <a:ext uri="{FF2B5EF4-FFF2-40B4-BE49-F238E27FC236}">
                <a16:creationId xmlns:a16="http://schemas.microsoft.com/office/drawing/2014/main" id="{ACBC694D-63BE-4F63-A608-DB5A1DE25A0F}"/>
              </a:ext>
            </a:extLst>
          </p:cNvPr>
          <p:cNvSpPr txBox="1"/>
          <p:nvPr/>
        </p:nvSpPr>
        <p:spPr>
          <a:xfrm>
            <a:off x="3917965" y="2425036"/>
            <a:ext cx="1463040" cy="822960"/>
          </a:xfrm>
          <a:prstGeom prst="rect">
            <a:avLst/>
          </a:prstGeom>
        </p:spPr>
        <p:txBody>
          <a:bodyPr vert="horz" wrap="square" lIns="0" tIns="0" rIns="0" bIns="0" rtlCol="0" anchor="ctr">
            <a:no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228600" lvl="1" indent="-230400">
              <a:lnSpc>
                <a:spcPct val="100000"/>
              </a:lnSpc>
              <a:spcBef>
                <a:spcPts val="0"/>
              </a:spcBef>
              <a:spcAft>
                <a:spcPts val="300"/>
              </a:spcAft>
              <a:buSzPct val="110000"/>
              <a:buFont typeface="Wingdings" panose="05000000000000000000" pitchFamily="2" charset="2"/>
              <a:buChar char=""/>
              <a:defRPr lang="en-US" sz="1600" dirty="0"/>
            </a:lvl2pPr>
            <a:lvl3pPr marL="439200" lvl="2" indent="-208800">
              <a:lnSpc>
                <a:spcPct val="100000"/>
              </a:lnSpc>
              <a:spcBef>
                <a:spcPts val="0"/>
              </a:spcBef>
              <a:spcAft>
                <a:spcPts val="300"/>
              </a:spcAft>
              <a:buSzPct val="110000"/>
              <a:buFont typeface="Arial" panose="020B0604020202020204" pitchFamily="34" charset="0"/>
              <a:buChar char="‒"/>
              <a:defRPr lang="en-US" sz="1600" dirty="0"/>
            </a:lvl3pPr>
            <a:lvl4pPr marL="604800" lvl="3" indent="-154800">
              <a:lnSpc>
                <a:spcPct val="100000"/>
              </a:lnSpc>
              <a:spcBef>
                <a:spcPts val="0"/>
              </a:spcBef>
              <a:spcAft>
                <a:spcPts val="300"/>
              </a:spcAft>
              <a:buFont typeface="Arial" panose="020B0604020202020204" pitchFamily="34" charset="0"/>
              <a:buChar char="•"/>
              <a:defRPr lang="en-US" sz="1600" dirty="0"/>
            </a:lvl4pPr>
            <a:lvl5pPr marL="813600" lvl="4" indent="-147600">
              <a:lnSpc>
                <a:spcPct val="100000"/>
              </a:lnSpc>
              <a:spcBef>
                <a:spcPts val="0"/>
              </a:spcBef>
              <a:spcAft>
                <a:spcPts val="300"/>
              </a:spcAft>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a:t>Sodium fast reactor</a:t>
            </a:r>
          </a:p>
        </p:txBody>
      </p:sp>
      <p:sp>
        <p:nvSpPr>
          <p:cNvPr id="34" name="TextBox 33">
            <a:extLst>
              <a:ext uri="{FF2B5EF4-FFF2-40B4-BE49-F238E27FC236}">
                <a16:creationId xmlns:a16="http://schemas.microsoft.com/office/drawing/2014/main" id="{C6A122AB-79BE-9EE9-265E-950C920ACEA3}"/>
              </a:ext>
            </a:extLst>
          </p:cNvPr>
          <p:cNvSpPr txBox="1"/>
          <p:nvPr/>
        </p:nvSpPr>
        <p:spPr>
          <a:xfrm>
            <a:off x="3917965" y="3360964"/>
            <a:ext cx="1463040" cy="822960"/>
          </a:xfrm>
          <a:prstGeom prst="rect">
            <a:avLst/>
          </a:prstGeom>
        </p:spPr>
        <p:txBody>
          <a:bodyPr vert="horz" wrap="square" lIns="0" tIns="0" rIns="0" bIns="0" rtlCol="0" anchor="ctr">
            <a:no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228600" lvl="1" indent="-230400">
              <a:lnSpc>
                <a:spcPct val="100000"/>
              </a:lnSpc>
              <a:spcBef>
                <a:spcPts val="0"/>
              </a:spcBef>
              <a:spcAft>
                <a:spcPts val="300"/>
              </a:spcAft>
              <a:buSzPct val="110000"/>
              <a:buFont typeface="Wingdings" panose="05000000000000000000" pitchFamily="2" charset="2"/>
              <a:buChar char=""/>
              <a:defRPr lang="en-US" sz="1600" dirty="0"/>
            </a:lvl2pPr>
            <a:lvl3pPr marL="439200" lvl="2" indent="-208800">
              <a:lnSpc>
                <a:spcPct val="100000"/>
              </a:lnSpc>
              <a:spcBef>
                <a:spcPts val="0"/>
              </a:spcBef>
              <a:spcAft>
                <a:spcPts val="300"/>
              </a:spcAft>
              <a:buSzPct val="110000"/>
              <a:buFont typeface="Arial" panose="020B0604020202020204" pitchFamily="34" charset="0"/>
              <a:buChar char="‒"/>
              <a:defRPr lang="en-US" sz="1600" dirty="0"/>
            </a:lvl3pPr>
            <a:lvl4pPr marL="604800" lvl="3" indent="-154800">
              <a:lnSpc>
                <a:spcPct val="100000"/>
              </a:lnSpc>
              <a:spcBef>
                <a:spcPts val="0"/>
              </a:spcBef>
              <a:spcAft>
                <a:spcPts val="300"/>
              </a:spcAft>
              <a:buFont typeface="Arial" panose="020B0604020202020204" pitchFamily="34" charset="0"/>
              <a:buChar char="•"/>
              <a:defRPr lang="en-US" sz="1600" dirty="0"/>
            </a:lvl4pPr>
            <a:lvl5pPr marL="813600" lvl="4" indent="-147600">
              <a:lnSpc>
                <a:spcPct val="100000"/>
              </a:lnSpc>
              <a:spcBef>
                <a:spcPts val="0"/>
              </a:spcBef>
              <a:spcAft>
                <a:spcPts val="300"/>
              </a:spcAft>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a:t>High temperature gas reactor</a:t>
            </a:r>
          </a:p>
        </p:txBody>
      </p:sp>
      <p:cxnSp>
        <p:nvCxnSpPr>
          <p:cNvPr id="35" name="LineSeparatorDefault 37">
            <a:extLst>
              <a:ext uri="{FF2B5EF4-FFF2-40B4-BE49-F238E27FC236}">
                <a16:creationId xmlns:a16="http://schemas.microsoft.com/office/drawing/2014/main" id="{6964530C-A7F5-2FCD-41DA-05FEB2419D85}"/>
              </a:ext>
            </a:extLst>
          </p:cNvPr>
          <p:cNvCxnSpPr>
            <a:cxnSpLocks/>
          </p:cNvCxnSpPr>
          <p:nvPr>
            <p:custDataLst>
              <p:tags r:id="rId4"/>
            </p:custDataLst>
          </p:nvPr>
        </p:nvCxnSpPr>
        <p:spPr>
          <a:xfrm>
            <a:off x="554735" y="4240409"/>
            <a:ext cx="11020739" cy="0"/>
          </a:xfrm>
          <a:prstGeom prst="straightConnector1">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2661105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Title 5">
            <a:extLst>
              <a:ext uri="{FF2B5EF4-FFF2-40B4-BE49-F238E27FC236}">
                <a16:creationId xmlns:a16="http://schemas.microsoft.com/office/drawing/2014/main" id="{7E9EEA3E-45E3-0239-E69A-BE3F5FBC9AB7}"/>
              </a:ext>
            </a:extLst>
          </p:cNvPr>
          <p:cNvSpPr>
            <a:spLocks noGrp="1" noChangeArrowheads="1"/>
          </p:cNvSpPr>
          <p:nvPr>
            <p:ph type="ctrTitle"/>
          </p:nvPr>
        </p:nvSpPr>
        <p:spPr>
          <a:xfrm>
            <a:off x="609600" y="1066800"/>
            <a:ext cx="10165976" cy="2590800"/>
          </a:xfrm>
        </p:spPr>
        <p:txBody>
          <a:bodyPr/>
          <a:lstStyle/>
          <a:p>
            <a:pPr algn="l"/>
            <a:r>
              <a:rPr lang="en-US" altLang="en-US" sz="5400" b="1">
                <a:solidFill>
                  <a:schemeClr val="bg1"/>
                </a:solidFill>
              </a:rPr>
              <a:t>Break</a:t>
            </a:r>
          </a:p>
        </p:txBody>
      </p:sp>
      <p:sp>
        <p:nvSpPr>
          <p:cNvPr id="20483" name="Subtitle 6">
            <a:extLst>
              <a:ext uri="{FF2B5EF4-FFF2-40B4-BE49-F238E27FC236}">
                <a16:creationId xmlns:a16="http://schemas.microsoft.com/office/drawing/2014/main" id="{681152D8-4998-8D5B-9854-96A67EBE53DE}"/>
              </a:ext>
            </a:extLst>
          </p:cNvPr>
          <p:cNvSpPr>
            <a:spLocks noGrp="1" noChangeArrowheads="1"/>
          </p:cNvSpPr>
          <p:nvPr>
            <p:ph type="subTitle" idx="1"/>
          </p:nvPr>
        </p:nvSpPr>
        <p:spPr>
          <a:xfrm>
            <a:off x="609600" y="3276600"/>
            <a:ext cx="8816975" cy="2209800"/>
          </a:xfrm>
        </p:spPr>
        <p:txBody>
          <a:bodyPr/>
          <a:lstStyle/>
          <a:p>
            <a:pPr algn="l"/>
            <a:endParaRPr lang="en-US" altLang="en-US" sz="2000" b="1" i="1">
              <a:solidFill>
                <a:schemeClr val="bg1"/>
              </a:solidFill>
            </a:endParaRPr>
          </a:p>
          <a:p>
            <a:pPr algn="l"/>
            <a:endParaRPr lang="en-US" altLang="en-US" sz="2000" b="1" i="1">
              <a:solidFill>
                <a:schemeClr val="bg1"/>
              </a:solidFill>
            </a:endParaRPr>
          </a:p>
          <a:p>
            <a:pPr algn="l"/>
            <a:r>
              <a:rPr lang="en-US" altLang="en-US" b="1">
                <a:solidFill>
                  <a:schemeClr val="bg1"/>
                </a:solidFill>
              </a:rPr>
              <a:t>Return: 10:25 AM</a:t>
            </a:r>
          </a:p>
          <a:p>
            <a:pPr algn="l"/>
            <a:r>
              <a:rPr lang="en-US" altLang="en-US" sz="2000" b="1" i="1">
                <a:solidFill>
                  <a:schemeClr val="bg1"/>
                </a:solidFill>
              </a:rPr>
              <a:t>				</a:t>
            </a:r>
            <a:endParaRPr lang="en-US" altLang="en-US" sz="2000" b="1">
              <a:solidFill>
                <a:schemeClr val="bg1"/>
              </a:solidFill>
            </a:endParaRPr>
          </a:p>
        </p:txBody>
      </p:sp>
    </p:spTree>
    <p:extLst>
      <p:ext uri="{BB962C8B-B14F-4D97-AF65-F5344CB8AC3E}">
        <p14:creationId xmlns:p14="http://schemas.microsoft.com/office/powerpoint/2010/main" val="70925189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Title 5">
            <a:extLst>
              <a:ext uri="{FF2B5EF4-FFF2-40B4-BE49-F238E27FC236}">
                <a16:creationId xmlns:a16="http://schemas.microsoft.com/office/drawing/2014/main" id="{7E9EEA3E-45E3-0239-E69A-BE3F5FBC9AB7}"/>
              </a:ext>
            </a:extLst>
          </p:cNvPr>
          <p:cNvSpPr>
            <a:spLocks noGrp="1" noChangeArrowheads="1"/>
          </p:cNvSpPr>
          <p:nvPr>
            <p:ph type="ctrTitle"/>
          </p:nvPr>
        </p:nvSpPr>
        <p:spPr>
          <a:xfrm>
            <a:off x="609600" y="1066800"/>
            <a:ext cx="10165976" cy="2590800"/>
          </a:xfrm>
        </p:spPr>
        <p:txBody>
          <a:bodyPr/>
          <a:lstStyle/>
          <a:p>
            <a:pPr algn="l"/>
            <a:r>
              <a:rPr lang="en-US" altLang="en-US" sz="5400" b="1">
                <a:solidFill>
                  <a:schemeClr val="bg1"/>
                </a:solidFill>
              </a:rPr>
              <a:t>Briefing on the National Academies of Science Advanced Reactor Report</a:t>
            </a:r>
          </a:p>
        </p:txBody>
      </p:sp>
      <p:sp>
        <p:nvSpPr>
          <p:cNvPr id="20483" name="Subtitle 6">
            <a:extLst>
              <a:ext uri="{FF2B5EF4-FFF2-40B4-BE49-F238E27FC236}">
                <a16:creationId xmlns:a16="http://schemas.microsoft.com/office/drawing/2014/main" id="{681152D8-4998-8D5B-9854-96A67EBE53DE}"/>
              </a:ext>
            </a:extLst>
          </p:cNvPr>
          <p:cNvSpPr>
            <a:spLocks noGrp="1" noChangeArrowheads="1"/>
          </p:cNvSpPr>
          <p:nvPr>
            <p:ph type="subTitle" idx="1"/>
          </p:nvPr>
        </p:nvSpPr>
        <p:spPr>
          <a:xfrm>
            <a:off x="609600" y="3276600"/>
            <a:ext cx="8816975" cy="2209800"/>
          </a:xfrm>
        </p:spPr>
        <p:txBody>
          <a:bodyPr/>
          <a:lstStyle/>
          <a:p>
            <a:pPr algn="l"/>
            <a:endParaRPr lang="en-US" altLang="en-US" sz="2000" b="1">
              <a:solidFill>
                <a:schemeClr val="bg1"/>
              </a:solidFill>
              <a:cs typeface="Calibri"/>
            </a:endParaRPr>
          </a:p>
          <a:p>
            <a:pPr algn="l"/>
            <a:endParaRPr lang="en-US" altLang="en-US" sz="2000" b="1">
              <a:solidFill>
                <a:schemeClr val="bg1"/>
              </a:solidFill>
              <a:cs typeface="Calibri"/>
            </a:endParaRPr>
          </a:p>
          <a:p>
            <a:pPr algn="l"/>
            <a:r>
              <a:rPr lang="en-US" altLang="en-US" b="1">
                <a:solidFill>
                  <a:schemeClr val="bg1"/>
                </a:solidFill>
                <a:cs typeface="Calibri"/>
              </a:rPr>
              <a:t>Dr. Michael Ford</a:t>
            </a:r>
            <a:endParaRPr lang="en-US">
              <a:solidFill>
                <a:schemeClr val="bg1"/>
              </a:solidFill>
            </a:endParaRPr>
          </a:p>
          <a:p>
            <a:pPr algn="l"/>
            <a:endParaRPr lang="en-US" altLang="en-US" b="1">
              <a:solidFill>
                <a:schemeClr val="bg1"/>
              </a:solidFill>
              <a:cs typeface="Calibri"/>
            </a:endParaRPr>
          </a:p>
          <a:p>
            <a:pPr algn="l"/>
            <a:r>
              <a:rPr lang="en-US" altLang="en-US" sz="2000" b="1" i="1">
                <a:solidFill>
                  <a:schemeClr val="bg1"/>
                </a:solidFill>
              </a:rPr>
              <a:t>				</a:t>
            </a:r>
            <a:endParaRPr lang="en-US" altLang="en-US" sz="2000" b="1">
              <a:solidFill>
                <a:schemeClr val="bg1"/>
              </a:solidFill>
            </a:endParaRPr>
          </a:p>
        </p:txBody>
      </p:sp>
    </p:spTree>
    <p:extLst>
      <p:ext uri="{BB962C8B-B14F-4D97-AF65-F5344CB8AC3E}">
        <p14:creationId xmlns:p14="http://schemas.microsoft.com/office/powerpoint/2010/main" val="114889733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Placeholder 7" descr="A picture containing background pattern&#10;&#10;Description automatically generated">
            <a:extLst>
              <a:ext uri="{FF2B5EF4-FFF2-40B4-BE49-F238E27FC236}">
                <a16:creationId xmlns:a16="http://schemas.microsoft.com/office/drawing/2014/main" id="{D6F82098-49C4-96B5-8CAD-89B4C488CF0F}"/>
              </a:ext>
            </a:extLst>
          </p:cNvPr>
          <p:cNvPicPr>
            <a:picLocks noGrp="1" noChangeAspect="1"/>
          </p:cNvPicPr>
          <p:nvPr>
            <p:ph type="pic" sz="quarter" idx="11"/>
          </p:nvPr>
        </p:nvPicPr>
        <p:blipFill>
          <a:blip r:embed="rId3">
            <a:extLst>
              <a:ext uri="{28A0092B-C50C-407E-A947-70E740481C1C}">
                <a14:useLocalDpi xmlns:a14="http://schemas.microsoft.com/office/drawing/2010/main" val="0"/>
              </a:ext>
            </a:extLst>
          </a:blip>
          <a:srcRect t="30098" b="30098"/>
          <a:stretch>
            <a:fillRect/>
          </a:stretch>
        </p:blipFill>
        <p:spPr/>
      </p:pic>
      <p:sp>
        <p:nvSpPr>
          <p:cNvPr id="5" name="Text Placeholder 4"/>
          <p:cNvSpPr>
            <a:spLocks noGrp="1"/>
          </p:cNvSpPr>
          <p:nvPr>
            <p:ph type="body" sz="quarter" idx="10"/>
          </p:nvPr>
        </p:nvSpPr>
        <p:spPr>
          <a:xfrm>
            <a:off x="0" y="2258008"/>
            <a:ext cx="7737229" cy="4599991"/>
          </a:xfrm>
        </p:spPr>
        <p:txBody>
          <a:bodyPr/>
          <a:lstStyle/>
          <a:p>
            <a:r>
              <a:rPr lang="en-US"/>
              <a:t>Laying the Foundation for New and Advanced Nuclear Reactors in the United States</a:t>
            </a:r>
          </a:p>
        </p:txBody>
      </p:sp>
      <p:sp>
        <p:nvSpPr>
          <p:cNvPr id="4" name="Subtitle 3"/>
          <p:cNvSpPr>
            <a:spLocks noGrp="1"/>
          </p:cNvSpPr>
          <p:nvPr>
            <p:ph type="subTitle" idx="1"/>
          </p:nvPr>
        </p:nvSpPr>
        <p:spPr>
          <a:xfrm>
            <a:off x="526338" y="4482091"/>
            <a:ext cx="6461760" cy="927433"/>
          </a:xfrm>
        </p:spPr>
        <p:txBody>
          <a:bodyPr/>
          <a:lstStyle/>
          <a:p>
            <a:r>
              <a:rPr lang="en-US" sz="1700"/>
              <a:t>Committee Chair: Richard A. Meserve, Covington &amp; Burling LLP</a:t>
            </a:r>
          </a:p>
          <a:p>
            <a:r>
              <a:rPr lang="en-US"/>
              <a:t>Study Director: Kasia Kornecki, Board on Energy and Environmental Systems</a:t>
            </a:r>
          </a:p>
          <a:p>
            <a:r>
              <a:rPr lang="en-US"/>
              <a:t>Briefing Lead: Michael J. Ford, ALD for Engineering, PPPL</a:t>
            </a:r>
          </a:p>
        </p:txBody>
      </p:sp>
      <p:sp>
        <p:nvSpPr>
          <p:cNvPr id="7" name="Text Placeholder 6"/>
          <p:cNvSpPr>
            <a:spLocks noGrp="1"/>
          </p:cNvSpPr>
          <p:nvPr>
            <p:ph type="body" sz="quarter" idx="12"/>
          </p:nvPr>
        </p:nvSpPr>
        <p:spPr>
          <a:xfrm>
            <a:off x="7995920" y="6515586"/>
            <a:ext cx="3222413" cy="156133"/>
          </a:xfrm>
        </p:spPr>
        <p:txBody>
          <a:bodyPr/>
          <a:lstStyle/>
          <a:p>
            <a:r>
              <a:rPr lang="en-US"/>
              <a:t>Consensus Report Briefing</a:t>
            </a:r>
          </a:p>
        </p:txBody>
      </p:sp>
      <p:pic>
        <p:nvPicPr>
          <p:cNvPr id="11" name="Picture 10"/>
          <p:cNvPicPr>
            <a:picLocks noChangeAspect="1"/>
          </p:cNvPicPr>
          <p:nvPr/>
        </p:nvPicPr>
        <p:blipFill>
          <a:blip r:embed="rId4" cstate="print">
            <a:duotone>
              <a:schemeClr val="accent6">
                <a:shade val="45000"/>
                <a:satMod val="135000"/>
              </a:schemeClr>
              <a:prstClr val="white"/>
            </a:duotone>
            <a:extLst>
              <a:ext uri="{BEBA8EAE-BF5A-486C-A8C5-ECC9F3942E4B}">
                <a14:imgProps xmlns:a14="http://schemas.microsoft.com/office/drawing/2010/main">
                  <a14:imgLayer r:embed="rId5">
                    <a14:imgEffect>
                      <a14:colorTemperature colorTemp="1500"/>
                    </a14:imgEffect>
                    <a14:imgEffect>
                      <a14:saturation sat="400000"/>
                    </a14:imgEffect>
                  </a14:imgLayer>
                </a14:imgProps>
              </a:ext>
              <a:ext uri="{28A0092B-C50C-407E-A947-70E740481C1C}">
                <a14:useLocalDpi xmlns:a14="http://schemas.microsoft.com/office/drawing/2010/main" val="0"/>
              </a:ext>
            </a:extLst>
          </a:blip>
          <a:stretch>
            <a:fillRect/>
          </a:stretch>
        </p:blipFill>
        <p:spPr>
          <a:xfrm>
            <a:off x="0" y="3"/>
            <a:ext cx="3200400" cy="896788"/>
          </a:xfrm>
          <a:prstGeom prst="rect">
            <a:avLst/>
          </a:prstGeom>
        </p:spPr>
      </p:pic>
      <p:pic>
        <p:nvPicPr>
          <p:cNvPr id="2" name="Picture 1" descr="Shape&#10;&#10;Description automatically generated with medium confidence">
            <a:extLst>
              <a:ext uri="{FF2B5EF4-FFF2-40B4-BE49-F238E27FC236}">
                <a16:creationId xmlns:a16="http://schemas.microsoft.com/office/drawing/2014/main" id="{B4687B1B-6563-751C-90B7-540081B8178F}"/>
              </a:ext>
            </a:extLst>
          </p:cNvPr>
          <p:cNvPicPr>
            <a:picLocks noChangeAspect="1"/>
          </p:cNvPicPr>
          <p:nvPr/>
        </p:nvPicPr>
        <p:blipFill>
          <a:blip r:embed="rId6" cstate="print">
            <a:lum bright="70000" contrast="-70000"/>
            <a:extLst>
              <a:ext uri="{28A0092B-C50C-407E-A947-70E740481C1C}">
                <a14:useLocalDpi xmlns:a14="http://schemas.microsoft.com/office/drawing/2010/main" val="0"/>
              </a:ext>
            </a:extLst>
          </a:blip>
          <a:stretch>
            <a:fillRect/>
          </a:stretch>
        </p:blipFill>
        <p:spPr>
          <a:xfrm>
            <a:off x="92609" y="5739896"/>
            <a:ext cx="1905826" cy="952913"/>
          </a:xfrm>
          <a:prstGeom prst="rect">
            <a:avLst/>
          </a:prstGeom>
        </p:spPr>
      </p:pic>
    </p:spTree>
    <p:extLst>
      <p:ext uri="{BB962C8B-B14F-4D97-AF65-F5344CB8AC3E}">
        <p14:creationId xmlns:p14="http://schemas.microsoft.com/office/powerpoint/2010/main" val="310840352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Placeholder 4"/>
          <p:cNvPicPr>
            <a:picLocks noGrp="1" noChangeAspect="1"/>
          </p:cNvPicPr>
          <p:nvPr>
            <p:ph type="pic" sz="quarter" idx="13"/>
          </p:nvPr>
        </p:nvPicPr>
        <p:blipFill>
          <a:blip r:embed="rId3">
            <a:extLst>
              <a:ext uri="{28A0092B-C50C-407E-A947-70E740481C1C}">
                <a14:useLocalDpi xmlns:a14="http://schemas.microsoft.com/office/drawing/2010/main" val="0"/>
              </a:ext>
            </a:extLst>
          </a:blip>
          <a:srcRect t="13857" b="13857"/>
          <a:stretch/>
        </p:blipFill>
        <p:spPr/>
      </p:pic>
      <p:sp>
        <p:nvSpPr>
          <p:cNvPr id="3" name="Text Placeholder 2"/>
          <p:cNvSpPr>
            <a:spLocks noGrp="1"/>
          </p:cNvSpPr>
          <p:nvPr>
            <p:ph type="body" sz="quarter" idx="14"/>
          </p:nvPr>
        </p:nvSpPr>
        <p:spPr/>
        <p:txBody>
          <a:bodyPr/>
          <a:lstStyle/>
          <a:p>
            <a:endParaRPr lang="en-US"/>
          </a:p>
          <a:p>
            <a:pPr>
              <a:spcBef>
                <a:spcPts val="1800"/>
              </a:spcBef>
            </a:pPr>
            <a:r>
              <a:rPr lang="en-US" b="1"/>
              <a:t>What will it take for new and advanced nuclear reactors to play a role in a net-zero emissions future? </a:t>
            </a:r>
            <a:endParaRPr lang="en-US" sz="2800"/>
          </a:p>
        </p:txBody>
      </p:sp>
      <p:sp>
        <p:nvSpPr>
          <p:cNvPr id="2" name="Slide Number Placeholder 1"/>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46D584E9-81E4-493B-AD1D-A460B5445953}" type="slidenum">
              <a:rPr kumimoji="0" lang="en-US" sz="1267" b="0" i="0" u="none" strike="noStrike" kern="1200" cap="none" spc="0" normalizeH="0" baseline="0" noProof="0" smtClean="0">
                <a:ln>
                  <a:noFill/>
                </a:ln>
                <a:solidFill>
                  <a:srgbClr val="7F7F7F"/>
                </a:solidFill>
                <a:effectLst/>
                <a:uLnTx/>
                <a:uFillTx/>
                <a:latin typeface="Arial"/>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6</a:t>
            </a:fld>
            <a:endParaRPr kumimoji="0" lang="en-US" sz="1267" b="0" i="0" u="none" strike="noStrike" kern="1200" cap="none" spc="0" normalizeH="0" baseline="0" noProof="0">
              <a:ln>
                <a:noFill/>
              </a:ln>
              <a:solidFill>
                <a:srgbClr val="7F7F7F"/>
              </a:solidFill>
              <a:effectLst/>
              <a:uLnTx/>
              <a:uFillTx/>
              <a:latin typeface="Arial"/>
              <a:ea typeface="+mn-ea"/>
              <a:cs typeface="+mn-cs"/>
            </a:endParaRPr>
          </a:p>
        </p:txBody>
      </p:sp>
      <p:pic>
        <p:nvPicPr>
          <p:cNvPr id="4" name="Picture 3" descr="Text&#10;&#10;Description automatically generated">
            <a:extLst>
              <a:ext uri="{FF2B5EF4-FFF2-40B4-BE49-F238E27FC236}">
                <a16:creationId xmlns:a16="http://schemas.microsoft.com/office/drawing/2014/main" id="{92A519CB-F91E-6F1C-9A0C-3F8A038CD168}"/>
              </a:ext>
            </a:extLst>
          </p:cNvPr>
          <p:cNvPicPr>
            <a:picLocks noChangeAspect="1"/>
          </p:cNvPicPr>
          <p:nvPr/>
        </p:nvPicPr>
        <p:blipFill>
          <a:blip r:embed="rId4"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2521643" y="6154224"/>
            <a:ext cx="1337860" cy="769376"/>
          </a:xfrm>
          <a:prstGeom prst="rect">
            <a:avLst/>
          </a:prstGeom>
        </p:spPr>
      </p:pic>
      <p:sp>
        <p:nvSpPr>
          <p:cNvPr id="6" name="Rectangle 5">
            <a:extLst>
              <a:ext uri="{FF2B5EF4-FFF2-40B4-BE49-F238E27FC236}">
                <a16:creationId xmlns:a16="http://schemas.microsoft.com/office/drawing/2014/main" id="{FE3F3198-0894-B08D-C606-075EC5C8ADAB}"/>
              </a:ext>
            </a:extLst>
          </p:cNvPr>
          <p:cNvSpPr/>
          <p:nvPr/>
        </p:nvSpPr>
        <p:spPr>
          <a:xfrm>
            <a:off x="11593015" y="3329354"/>
            <a:ext cx="596900" cy="352864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Tree>
    <p:extLst>
      <p:ext uri="{BB962C8B-B14F-4D97-AF65-F5344CB8AC3E}">
        <p14:creationId xmlns:p14="http://schemas.microsoft.com/office/powerpoint/2010/main" val="35105165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2DA8E27E-D564-AD9C-A6C9-C969147BFB2B}"/>
              </a:ext>
            </a:extLst>
          </p:cNvPr>
          <p:cNvSpPr/>
          <p:nvPr/>
        </p:nvSpPr>
        <p:spPr>
          <a:xfrm>
            <a:off x="321486" y="5824255"/>
            <a:ext cx="2467535" cy="100046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2" name="Title 1">
            <a:extLst>
              <a:ext uri="{FF2B5EF4-FFF2-40B4-BE49-F238E27FC236}">
                <a16:creationId xmlns:a16="http://schemas.microsoft.com/office/drawing/2014/main" id="{CD29E2DE-3202-9FF4-73C5-E5E429BD10C4}"/>
              </a:ext>
            </a:extLst>
          </p:cNvPr>
          <p:cNvSpPr>
            <a:spLocks noGrp="1"/>
          </p:cNvSpPr>
          <p:nvPr>
            <p:ph type="title"/>
          </p:nvPr>
        </p:nvSpPr>
        <p:spPr/>
        <p:txBody>
          <a:bodyPr/>
          <a:lstStyle/>
          <a:p>
            <a:r>
              <a:rPr lang="en-US"/>
              <a:t>The Current State of Nuclear Power in the U.S. </a:t>
            </a:r>
          </a:p>
        </p:txBody>
      </p:sp>
      <p:pic>
        <p:nvPicPr>
          <p:cNvPr id="2054" name="Picture 6" descr="Nuclear power plants in the U.S.">
            <a:extLst>
              <a:ext uri="{FF2B5EF4-FFF2-40B4-BE49-F238E27FC236}">
                <a16:creationId xmlns:a16="http://schemas.microsoft.com/office/drawing/2014/main" id="{FD9CB73E-E6AC-EE9C-FA28-54610E4B4337}"/>
              </a:ext>
            </a:extLst>
          </p:cNvPr>
          <p:cNvPicPr>
            <a:picLocks noChangeAspect="1" noChangeArrowheads="1"/>
          </p:cNvPicPr>
          <p:nvPr/>
        </p:nvPicPr>
        <p:blipFill rotWithShape="1">
          <a:blip r:embed="rId3">
            <a:alphaModFix/>
            <a:extLst>
              <a:ext uri="{28A0092B-C50C-407E-A947-70E740481C1C}">
                <a14:useLocalDpi xmlns:a14="http://schemas.microsoft.com/office/drawing/2010/main" val="0"/>
              </a:ext>
            </a:extLst>
          </a:blip>
          <a:srcRect b="2412"/>
          <a:stretch/>
        </p:blipFill>
        <p:spPr bwMode="auto">
          <a:xfrm>
            <a:off x="1107812" y="969823"/>
            <a:ext cx="9976376" cy="5582545"/>
          </a:xfrm>
          <a:prstGeom prst="rect">
            <a:avLst/>
          </a:prstGeom>
          <a:noFill/>
          <a:extLst>
            <a:ext uri="{909E8E84-426E-40DD-AFC4-6F175D3DCCD1}">
              <a14:hiddenFill xmlns:a14="http://schemas.microsoft.com/office/drawing/2010/main">
                <a:solidFill>
                  <a:srgbClr val="FFFFFF"/>
                </a:solidFill>
              </a14:hiddenFill>
            </a:ext>
          </a:extLst>
        </p:spPr>
      </p:pic>
      <p:grpSp>
        <p:nvGrpSpPr>
          <p:cNvPr id="9" name="Group 8">
            <a:extLst>
              <a:ext uri="{FF2B5EF4-FFF2-40B4-BE49-F238E27FC236}">
                <a16:creationId xmlns:a16="http://schemas.microsoft.com/office/drawing/2014/main" id="{64C3DAA8-6A6D-A416-F11C-0CFCA79AF1D3}"/>
              </a:ext>
            </a:extLst>
          </p:cNvPr>
          <p:cNvGrpSpPr/>
          <p:nvPr/>
        </p:nvGrpSpPr>
        <p:grpSpPr>
          <a:xfrm>
            <a:off x="1107811" y="978167"/>
            <a:ext cx="5482769" cy="1851472"/>
            <a:chOff x="6338155" y="902763"/>
            <a:chExt cx="5482769" cy="1851472"/>
          </a:xfrm>
        </p:grpSpPr>
        <p:sp>
          <p:nvSpPr>
            <p:cNvPr id="3" name="Rectangle 2">
              <a:extLst>
                <a:ext uri="{FF2B5EF4-FFF2-40B4-BE49-F238E27FC236}">
                  <a16:creationId xmlns:a16="http://schemas.microsoft.com/office/drawing/2014/main" id="{64A824F5-1BB7-32F5-692F-EBB55871A3B5}"/>
                </a:ext>
              </a:extLst>
            </p:cNvPr>
            <p:cNvSpPr/>
            <p:nvPr/>
          </p:nvSpPr>
          <p:spPr>
            <a:xfrm>
              <a:off x="6338155" y="902763"/>
              <a:ext cx="5482769" cy="1851472"/>
            </a:xfrm>
            <a:prstGeom prst="rect">
              <a:avLst/>
            </a:prstGeom>
            <a:solidFill>
              <a:schemeClr val="accent1">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4" name="TextBox 3">
              <a:extLst>
                <a:ext uri="{FF2B5EF4-FFF2-40B4-BE49-F238E27FC236}">
                  <a16:creationId xmlns:a16="http://schemas.microsoft.com/office/drawing/2014/main" id="{D22F2B4E-C4F8-7F43-76FD-48F87347136E}"/>
                </a:ext>
              </a:extLst>
            </p:cNvPr>
            <p:cNvSpPr txBox="1"/>
            <p:nvPr/>
          </p:nvSpPr>
          <p:spPr>
            <a:xfrm>
              <a:off x="6348260" y="1278337"/>
              <a:ext cx="2146742" cy="1138773"/>
            </a:xfrm>
            <a:prstGeom prst="rect">
              <a:avLst/>
            </a:prstGeom>
            <a:noFill/>
          </p:spPr>
          <p:txBody>
            <a:bodyPr wrap="non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400" b="1" i="0" u="none" strike="noStrike" kern="1200" cap="none" spc="0" normalizeH="0" baseline="0" noProof="0">
                  <a:ln>
                    <a:noFill/>
                  </a:ln>
                  <a:solidFill>
                    <a:prstClr val="white"/>
                  </a:solidFill>
                  <a:effectLst/>
                  <a:uLnTx/>
                  <a:uFillTx/>
                  <a:latin typeface="Arial"/>
                  <a:ea typeface="+mn-ea"/>
                  <a:cs typeface="+mn-cs"/>
                </a:rPr>
                <a:t>18.2%</a:t>
              </a:r>
              <a:endParaRPr kumimoji="0" lang="en-US" sz="1400" b="1" i="0" u="none" strike="noStrike" kern="1200" cap="none" spc="0" normalizeH="0" baseline="0" noProof="0">
                <a:ln>
                  <a:noFill/>
                </a:ln>
                <a:solidFill>
                  <a:prstClr val="white"/>
                </a:solidFill>
                <a:effectLst/>
                <a:uLnTx/>
                <a:uFillTx/>
                <a:latin typeface="Arial"/>
                <a:ea typeface="+mn-ea"/>
                <a:cs typeface="+mn-cs"/>
              </a:endParaRP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white"/>
                  </a:solidFill>
                  <a:effectLst/>
                  <a:uLnTx/>
                  <a:uFillTx/>
                  <a:latin typeface="Arial"/>
                  <a:ea typeface="+mn-ea"/>
                  <a:cs typeface="+mn-cs"/>
                </a:rPr>
                <a:t>U.S. electricity</a:t>
              </a:r>
            </a:p>
          </p:txBody>
        </p:sp>
        <p:sp>
          <p:nvSpPr>
            <p:cNvPr id="7" name="TextBox 6">
              <a:extLst>
                <a:ext uri="{FF2B5EF4-FFF2-40B4-BE49-F238E27FC236}">
                  <a16:creationId xmlns:a16="http://schemas.microsoft.com/office/drawing/2014/main" id="{4E0BE154-D15A-6946-3207-D59AD6CCCC8B}"/>
                </a:ext>
              </a:extLst>
            </p:cNvPr>
            <p:cNvSpPr txBox="1"/>
            <p:nvPr/>
          </p:nvSpPr>
          <p:spPr>
            <a:xfrm>
              <a:off x="8443665" y="1314510"/>
              <a:ext cx="3351602" cy="1169551"/>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Arial"/>
                  <a:ea typeface="+mn-ea"/>
                  <a:cs typeface="+mn-cs"/>
                </a:rPr>
                <a:t>Nuclear power plants are the largest source of low-carbon electricity in the United States. They supply 18.2% of total U.S. electricity and half of total low-carbon electricity.</a:t>
              </a:r>
            </a:p>
          </p:txBody>
        </p:sp>
      </p:grpSp>
      <p:grpSp>
        <p:nvGrpSpPr>
          <p:cNvPr id="11" name="Group 10">
            <a:extLst>
              <a:ext uri="{FF2B5EF4-FFF2-40B4-BE49-F238E27FC236}">
                <a16:creationId xmlns:a16="http://schemas.microsoft.com/office/drawing/2014/main" id="{B20FEA80-8317-8B50-A8BD-FBB63B3255BC}"/>
              </a:ext>
            </a:extLst>
          </p:cNvPr>
          <p:cNvGrpSpPr/>
          <p:nvPr/>
        </p:nvGrpSpPr>
        <p:grpSpPr>
          <a:xfrm>
            <a:off x="5853844" y="2826841"/>
            <a:ext cx="5230344" cy="1851472"/>
            <a:chOff x="6338156" y="902763"/>
            <a:chExt cx="5230344" cy="1851472"/>
          </a:xfrm>
        </p:grpSpPr>
        <p:sp>
          <p:nvSpPr>
            <p:cNvPr id="13" name="Rectangle 12">
              <a:extLst>
                <a:ext uri="{FF2B5EF4-FFF2-40B4-BE49-F238E27FC236}">
                  <a16:creationId xmlns:a16="http://schemas.microsoft.com/office/drawing/2014/main" id="{671E8E82-6E7D-36CE-2503-20D33EA55FFB}"/>
                </a:ext>
              </a:extLst>
            </p:cNvPr>
            <p:cNvSpPr/>
            <p:nvPr/>
          </p:nvSpPr>
          <p:spPr>
            <a:xfrm>
              <a:off x="6338156" y="902763"/>
              <a:ext cx="5230344" cy="1851472"/>
            </a:xfrm>
            <a:prstGeom prst="rect">
              <a:avLst/>
            </a:prstGeom>
            <a:solidFill>
              <a:schemeClr val="accent1">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14" name="TextBox 13">
              <a:extLst>
                <a:ext uri="{FF2B5EF4-FFF2-40B4-BE49-F238E27FC236}">
                  <a16:creationId xmlns:a16="http://schemas.microsoft.com/office/drawing/2014/main" id="{1797B4D5-DA03-2A2D-0686-587318F4D561}"/>
                </a:ext>
              </a:extLst>
            </p:cNvPr>
            <p:cNvSpPr txBox="1"/>
            <p:nvPr/>
          </p:nvSpPr>
          <p:spPr>
            <a:xfrm>
              <a:off x="6759120" y="1266414"/>
              <a:ext cx="1309974" cy="1138773"/>
            </a:xfrm>
            <a:prstGeom prst="rect">
              <a:avLst/>
            </a:prstGeom>
            <a:noFill/>
          </p:spPr>
          <p:txBody>
            <a:bodyPr wrap="non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400" b="1" i="0" u="none" strike="noStrike" kern="1200" cap="none" spc="0" normalizeH="0" baseline="0" noProof="0">
                  <a:ln>
                    <a:noFill/>
                  </a:ln>
                  <a:solidFill>
                    <a:prstClr val="white"/>
                  </a:solidFill>
                  <a:effectLst/>
                  <a:uLnTx/>
                  <a:uFillTx/>
                  <a:latin typeface="Arial"/>
                  <a:ea typeface="+mn-ea"/>
                  <a:cs typeface="+mn-cs"/>
                </a:rPr>
                <a:t>92</a:t>
              </a:r>
              <a:endParaRPr kumimoji="0" lang="en-US" sz="1400" b="1" i="0" u="none" strike="noStrike" kern="1200" cap="none" spc="0" normalizeH="0" baseline="0" noProof="0">
                <a:ln>
                  <a:noFill/>
                </a:ln>
                <a:solidFill>
                  <a:prstClr val="white"/>
                </a:solidFill>
                <a:effectLst/>
                <a:uLnTx/>
                <a:uFillTx/>
                <a:latin typeface="Arial"/>
                <a:ea typeface="+mn-ea"/>
                <a:cs typeface="+mn-cs"/>
              </a:endParaRP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white"/>
                  </a:solidFill>
                  <a:effectLst/>
                  <a:uLnTx/>
                  <a:uFillTx/>
                  <a:latin typeface="Arial"/>
                  <a:ea typeface="+mn-ea"/>
                  <a:cs typeface="+mn-cs"/>
                </a:rPr>
                <a:t>Power Plants</a:t>
              </a:r>
            </a:p>
          </p:txBody>
        </p:sp>
        <p:sp>
          <p:nvSpPr>
            <p:cNvPr id="15" name="TextBox 14">
              <a:extLst>
                <a:ext uri="{FF2B5EF4-FFF2-40B4-BE49-F238E27FC236}">
                  <a16:creationId xmlns:a16="http://schemas.microsoft.com/office/drawing/2014/main" id="{FED3584E-CB45-8B56-7F29-83A025DFF1DB}"/>
                </a:ext>
              </a:extLst>
            </p:cNvPr>
            <p:cNvSpPr txBox="1"/>
            <p:nvPr/>
          </p:nvSpPr>
          <p:spPr>
            <a:xfrm>
              <a:off x="8158945" y="1459167"/>
              <a:ext cx="3351602" cy="738664"/>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Arial"/>
                  <a:ea typeface="+mn-ea"/>
                  <a:cs typeface="+mn-cs"/>
                </a:rPr>
                <a:t>There are 92 nuclear power plants in the United States (442 across the globe). </a:t>
              </a:r>
            </a:p>
          </p:txBody>
        </p:sp>
      </p:grpSp>
      <p:grpSp>
        <p:nvGrpSpPr>
          <p:cNvPr id="16" name="Group 15">
            <a:extLst>
              <a:ext uri="{FF2B5EF4-FFF2-40B4-BE49-F238E27FC236}">
                <a16:creationId xmlns:a16="http://schemas.microsoft.com/office/drawing/2014/main" id="{038611AB-A935-544A-2BE4-BD798069456E}"/>
              </a:ext>
            </a:extLst>
          </p:cNvPr>
          <p:cNvGrpSpPr/>
          <p:nvPr/>
        </p:nvGrpSpPr>
        <p:grpSpPr>
          <a:xfrm>
            <a:off x="1107812" y="4676044"/>
            <a:ext cx="5482768" cy="1851472"/>
            <a:chOff x="6338156" y="902763"/>
            <a:chExt cx="5230344" cy="1851472"/>
          </a:xfrm>
        </p:grpSpPr>
        <p:sp>
          <p:nvSpPr>
            <p:cNvPr id="17" name="Rectangle 16">
              <a:extLst>
                <a:ext uri="{FF2B5EF4-FFF2-40B4-BE49-F238E27FC236}">
                  <a16:creationId xmlns:a16="http://schemas.microsoft.com/office/drawing/2014/main" id="{813CE960-E38F-908D-569A-01AC142470DC}"/>
                </a:ext>
              </a:extLst>
            </p:cNvPr>
            <p:cNvSpPr/>
            <p:nvPr/>
          </p:nvSpPr>
          <p:spPr>
            <a:xfrm>
              <a:off x="6338156" y="902763"/>
              <a:ext cx="5230344" cy="1851472"/>
            </a:xfrm>
            <a:prstGeom prst="rect">
              <a:avLst/>
            </a:prstGeom>
            <a:solidFill>
              <a:schemeClr val="accent1">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18" name="TextBox 17">
              <a:extLst>
                <a:ext uri="{FF2B5EF4-FFF2-40B4-BE49-F238E27FC236}">
                  <a16:creationId xmlns:a16="http://schemas.microsoft.com/office/drawing/2014/main" id="{3641B8D4-6160-ACEC-8F8D-2AFC99F755AA}"/>
                </a:ext>
              </a:extLst>
            </p:cNvPr>
            <p:cNvSpPr txBox="1"/>
            <p:nvPr/>
          </p:nvSpPr>
          <p:spPr>
            <a:xfrm>
              <a:off x="6987856" y="1265876"/>
              <a:ext cx="954107" cy="1138773"/>
            </a:xfrm>
            <a:prstGeom prst="rect">
              <a:avLst/>
            </a:prstGeom>
            <a:noFill/>
          </p:spPr>
          <p:txBody>
            <a:bodyPr wrap="non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5400" b="1" i="0" u="none" strike="noStrike" kern="1200" cap="none" spc="0" normalizeH="0" baseline="0" noProof="0">
                  <a:ln>
                    <a:noFill/>
                  </a:ln>
                  <a:solidFill>
                    <a:prstClr val="white"/>
                  </a:solidFill>
                  <a:effectLst/>
                  <a:uLnTx/>
                  <a:uFillTx/>
                  <a:latin typeface="Arial"/>
                  <a:ea typeface="+mn-ea"/>
                  <a:cs typeface="+mn-cs"/>
                </a:rPr>
                <a:t>40</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white"/>
                  </a:solidFill>
                  <a:effectLst/>
                  <a:uLnTx/>
                  <a:uFillTx/>
                  <a:latin typeface="Arial"/>
                  <a:ea typeface="+mn-ea"/>
                  <a:cs typeface="+mn-cs"/>
                </a:rPr>
                <a:t>Years</a:t>
              </a:r>
            </a:p>
          </p:txBody>
        </p:sp>
        <p:sp>
          <p:nvSpPr>
            <p:cNvPr id="19" name="TextBox 18">
              <a:extLst>
                <a:ext uri="{FF2B5EF4-FFF2-40B4-BE49-F238E27FC236}">
                  <a16:creationId xmlns:a16="http://schemas.microsoft.com/office/drawing/2014/main" id="{36A29FDC-1173-9AB8-4268-44F85B995686}"/>
                </a:ext>
              </a:extLst>
            </p:cNvPr>
            <p:cNvSpPr txBox="1"/>
            <p:nvPr/>
          </p:nvSpPr>
          <p:spPr>
            <a:xfrm>
              <a:off x="8038217" y="1505901"/>
              <a:ext cx="3351602" cy="523220"/>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Arial"/>
                  <a:ea typeface="+mn-ea"/>
                  <a:cs typeface="+mn-cs"/>
                </a:rPr>
                <a:t>The initial license lifetime of a nuclear power plant in the United States. </a:t>
              </a:r>
            </a:p>
          </p:txBody>
        </p:sp>
      </p:grpSp>
      <p:sp>
        <p:nvSpPr>
          <p:cNvPr id="5" name="Slide Number Placeholder 1">
            <a:extLst>
              <a:ext uri="{FF2B5EF4-FFF2-40B4-BE49-F238E27FC236}">
                <a16:creationId xmlns:a16="http://schemas.microsoft.com/office/drawing/2014/main" id="{8BDEE4AD-00DE-8201-5983-92771F0AEA16}"/>
              </a:ext>
            </a:extLst>
          </p:cNvPr>
          <p:cNvSpPr>
            <a:spLocks noGrp="1"/>
          </p:cNvSpPr>
          <p:nvPr>
            <p:ph type="sldNum" sz="quarter" idx="12"/>
          </p:nvPr>
        </p:nvSpPr>
        <p:spPr>
          <a:xfrm>
            <a:off x="10815321" y="6441450"/>
            <a:ext cx="401319" cy="194925"/>
          </a:xfr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46D584E9-81E4-493B-AD1D-A460B5445953}" type="slidenum">
              <a:rPr kumimoji="0" lang="en-US" sz="1267" b="0" i="0" u="none" strike="noStrike" kern="1200" cap="none" spc="0" normalizeH="0" baseline="0" noProof="0" smtClean="0">
                <a:ln>
                  <a:noFill/>
                </a:ln>
                <a:solidFill>
                  <a:srgbClr val="7F7F7F"/>
                </a:solidFill>
                <a:effectLst/>
                <a:uLnTx/>
                <a:uFillTx/>
                <a:latin typeface="Arial"/>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7</a:t>
            </a:fld>
            <a:endParaRPr kumimoji="0" lang="en-US" sz="1267" b="0" i="0" u="none" strike="noStrike" kern="1200" cap="none" spc="0" normalizeH="0" baseline="0" noProof="0">
              <a:ln>
                <a:noFill/>
              </a:ln>
              <a:solidFill>
                <a:srgbClr val="7F7F7F"/>
              </a:solidFill>
              <a:effectLst/>
              <a:uLnTx/>
              <a:uFillTx/>
              <a:latin typeface="Arial"/>
              <a:ea typeface="+mn-ea"/>
              <a:cs typeface="+mn-cs"/>
            </a:endParaRPr>
          </a:p>
        </p:txBody>
      </p:sp>
    </p:spTree>
    <p:extLst>
      <p:ext uri="{BB962C8B-B14F-4D97-AF65-F5344CB8AC3E}">
        <p14:creationId xmlns:p14="http://schemas.microsoft.com/office/powerpoint/2010/main" val="1744648586"/>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8D223F3-B528-EDCC-7E46-F14D52A7A990}"/>
              </a:ext>
            </a:extLst>
          </p:cNvPr>
          <p:cNvSpPr>
            <a:spLocks noGrp="1"/>
          </p:cNvSpPr>
          <p:nvPr>
            <p:ph type="title"/>
          </p:nvPr>
        </p:nvSpPr>
        <p:spPr>
          <a:xfrm>
            <a:off x="707007" y="436881"/>
            <a:ext cx="9602485" cy="858676"/>
          </a:xfrm>
        </p:spPr>
        <p:txBody>
          <a:bodyPr/>
          <a:lstStyle/>
          <a:p>
            <a:r>
              <a:rPr lang="en-US"/>
              <a:t>U.S. Demand for Electricity Projected to Grow</a:t>
            </a:r>
          </a:p>
        </p:txBody>
      </p:sp>
      <p:sp>
        <p:nvSpPr>
          <p:cNvPr id="3" name="Slide Number Placeholder 2">
            <a:extLst>
              <a:ext uri="{FF2B5EF4-FFF2-40B4-BE49-F238E27FC236}">
                <a16:creationId xmlns:a16="http://schemas.microsoft.com/office/drawing/2014/main" id="{9D440E96-663B-00A5-1242-4F7F29BFE96F}"/>
              </a:ext>
            </a:extLst>
          </p:cNvPr>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46D584E9-81E4-493B-AD1D-A460B5445953}" type="slidenum">
              <a:rPr kumimoji="0" lang="en-US" sz="1267" b="0" i="0" u="none" strike="noStrike" kern="1200" cap="none" spc="0" normalizeH="0" baseline="0" noProof="0" smtClean="0">
                <a:ln>
                  <a:noFill/>
                </a:ln>
                <a:solidFill>
                  <a:srgbClr val="7F7F7F"/>
                </a:solidFill>
                <a:effectLst/>
                <a:uLnTx/>
                <a:uFillTx/>
                <a:latin typeface="Arial"/>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8</a:t>
            </a:fld>
            <a:endParaRPr kumimoji="0" lang="en-US" sz="1267" b="0" i="0" u="none" strike="noStrike" kern="1200" cap="none" spc="0" normalizeH="0" baseline="0" noProof="0">
              <a:ln>
                <a:noFill/>
              </a:ln>
              <a:solidFill>
                <a:srgbClr val="7F7F7F"/>
              </a:solidFill>
              <a:effectLst/>
              <a:uLnTx/>
              <a:uFillTx/>
              <a:latin typeface="Arial"/>
              <a:ea typeface="+mn-ea"/>
              <a:cs typeface="+mn-cs"/>
            </a:endParaRPr>
          </a:p>
        </p:txBody>
      </p:sp>
      <p:pic>
        <p:nvPicPr>
          <p:cNvPr id="4" name="Picture 3" descr="Text&#10;&#10;Description automatically generated">
            <a:extLst>
              <a:ext uri="{FF2B5EF4-FFF2-40B4-BE49-F238E27FC236}">
                <a16:creationId xmlns:a16="http://schemas.microsoft.com/office/drawing/2014/main" id="{C4C0E423-47CC-4370-3E19-3B02E33ECD07}"/>
              </a:ext>
            </a:extLst>
          </p:cNvPr>
          <p:cNvPicPr>
            <a:picLocks noChangeAspect="1"/>
          </p:cNvPicPr>
          <p:nvPr/>
        </p:nvPicPr>
        <p:blipFill>
          <a:blip r:embed="rId3"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2521643" y="6154224"/>
            <a:ext cx="1337860" cy="769376"/>
          </a:xfrm>
          <a:prstGeom prst="rect">
            <a:avLst/>
          </a:prstGeom>
        </p:spPr>
      </p:pic>
      <p:grpSp>
        <p:nvGrpSpPr>
          <p:cNvPr id="17" name="Group 16">
            <a:extLst>
              <a:ext uri="{FF2B5EF4-FFF2-40B4-BE49-F238E27FC236}">
                <a16:creationId xmlns:a16="http://schemas.microsoft.com/office/drawing/2014/main" id="{45A965D1-6A2A-5759-AB6F-D70CB2FD94C2}"/>
              </a:ext>
            </a:extLst>
          </p:cNvPr>
          <p:cNvGrpSpPr/>
          <p:nvPr/>
        </p:nvGrpSpPr>
        <p:grpSpPr>
          <a:xfrm>
            <a:off x="1413495" y="1295557"/>
            <a:ext cx="9602485" cy="4619508"/>
            <a:chOff x="1065007" y="1415136"/>
            <a:chExt cx="9602485" cy="4619508"/>
          </a:xfrm>
        </p:grpSpPr>
        <p:grpSp>
          <p:nvGrpSpPr>
            <p:cNvPr id="13" name="Group 12">
              <a:extLst>
                <a:ext uri="{FF2B5EF4-FFF2-40B4-BE49-F238E27FC236}">
                  <a16:creationId xmlns:a16="http://schemas.microsoft.com/office/drawing/2014/main" id="{77CDBCC9-0E90-58E5-F4C3-4D14F297841D}"/>
                </a:ext>
              </a:extLst>
            </p:cNvPr>
            <p:cNvGrpSpPr/>
            <p:nvPr/>
          </p:nvGrpSpPr>
          <p:grpSpPr>
            <a:xfrm>
              <a:off x="1065007" y="1415136"/>
              <a:ext cx="9602485" cy="4619508"/>
              <a:chOff x="0" y="415071"/>
              <a:chExt cx="12192000" cy="5739153"/>
            </a:xfrm>
          </p:grpSpPr>
          <p:pic>
            <p:nvPicPr>
              <p:cNvPr id="10" name="Picture 9">
                <a:extLst>
                  <a:ext uri="{FF2B5EF4-FFF2-40B4-BE49-F238E27FC236}">
                    <a16:creationId xmlns:a16="http://schemas.microsoft.com/office/drawing/2014/main" id="{0EA56B79-5A41-A4CB-DF11-990DC7338EA7}"/>
                  </a:ext>
                </a:extLst>
              </p:cNvPr>
              <p:cNvPicPr>
                <a:picLocks noChangeAspect="1"/>
              </p:cNvPicPr>
              <p:nvPr/>
            </p:nvPicPr>
            <p:blipFill rotWithShape="1">
              <a:blip r:embed="rId4"/>
              <a:srcRect b="4626"/>
              <a:stretch/>
            </p:blipFill>
            <p:spPr>
              <a:xfrm>
                <a:off x="0" y="425976"/>
                <a:ext cx="12192000" cy="5728248"/>
              </a:xfrm>
              <a:prstGeom prst="rect">
                <a:avLst/>
              </a:prstGeom>
            </p:spPr>
          </p:pic>
          <p:pic>
            <p:nvPicPr>
              <p:cNvPr id="12" name="Picture 11">
                <a:extLst>
                  <a:ext uri="{FF2B5EF4-FFF2-40B4-BE49-F238E27FC236}">
                    <a16:creationId xmlns:a16="http://schemas.microsoft.com/office/drawing/2014/main" id="{F1EA31C7-B1CF-6E6E-FC8D-7862ABF723C5}"/>
                  </a:ext>
                </a:extLst>
              </p:cNvPr>
              <p:cNvPicPr>
                <a:picLocks noChangeAspect="1"/>
              </p:cNvPicPr>
              <p:nvPr/>
            </p:nvPicPr>
            <p:blipFill rotWithShape="1">
              <a:blip r:embed="rId4"/>
              <a:srcRect l="56985" r="15044" b="4626"/>
              <a:stretch/>
            </p:blipFill>
            <p:spPr>
              <a:xfrm>
                <a:off x="3916480" y="415071"/>
                <a:ext cx="3410174" cy="5728248"/>
              </a:xfrm>
              <a:prstGeom prst="rect">
                <a:avLst/>
              </a:prstGeom>
            </p:spPr>
          </p:pic>
          <p:pic>
            <p:nvPicPr>
              <p:cNvPr id="11" name="Picture 10">
                <a:extLst>
                  <a:ext uri="{FF2B5EF4-FFF2-40B4-BE49-F238E27FC236}">
                    <a16:creationId xmlns:a16="http://schemas.microsoft.com/office/drawing/2014/main" id="{55BF687F-AD8B-A04B-2205-F625A3C6FE92}"/>
                  </a:ext>
                </a:extLst>
              </p:cNvPr>
              <p:cNvPicPr>
                <a:picLocks noChangeAspect="1"/>
              </p:cNvPicPr>
              <p:nvPr/>
            </p:nvPicPr>
            <p:blipFill rotWithShape="1">
              <a:blip r:embed="rId4"/>
              <a:srcRect l="31221" r="43897" b="4626"/>
              <a:stretch/>
            </p:blipFill>
            <p:spPr>
              <a:xfrm>
                <a:off x="6908114" y="415071"/>
                <a:ext cx="3033657" cy="5728247"/>
              </a:xfrm>
              <a:prstGeom prst="rect">
                <a:avLst/>
              </a:prstGeom>
            </p:spPr>
          </p:pic>
        </p:grpSp>
        <p:sp>
          <p:nvSpPr>
            <p:cNvPr id="14" name="TextBox 13">
              <a:extLst>
                <a:ext uri="{FF2B5EF4-FFF2-40B4-BE49-F238E27FC236}">
                  <a16:creationId xmlns:a16="http://schemas.microsoft.com/office/drawing/2014/main" id="{3B8B4871-6879-5642-063C-82F914698E5B}"/>
                </a:ext>
              </a:extLst>
            </p:cNvPr>
            <p:cNvSpPr txBox="1"/>
            <p:nvPr/>
          </p:nvSpPr>
          <p:spPr>
            <a:xfrm>
              <a:off x="1882807" y="1508779"/>
              <a:ext cx="1965938" cy="523220"/>
            </a:xfrm>
            <a:prstGeom prst="rect">
              <a:avLst/>
            </a:prstGeom>
            <a:solidFill>
              <a:schemeClr val="bg1"/>
            </a:solidFill>
            <a:ln w="28575">
              <a:solidFill>
                <a:schemeClr val="accent1"/>
              </a:solidFill>
            </a:ln>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3B3B3C"/>
                  </a:solidFill>
                  <a:effectLst/>
                  <a:uLnTx/>
                  <a:uFillTx/>
                  <a:latin typeface="Arial"/>
                  <a:ea typeface="+mn-ea"/>
                  <a:cs typeface="+mn-cs"/>
                </a:rPr>
                <a:t>Annual Energy Outlook</a:t>
              </a:r>
            </a:p>
          </p:txBody>
        </p:sp>
        <p:sp>
          <p:nvSpPr>
            <p:cNvPr id="15" name="TextBox 14">
              <a:extLst>
                <a:ext uri="{FF2B5EF4-FFF2-40B4-BE49-F238E27FC236}">
                  <a16:creationId xmlns:a16="http://schemas.microsoft.com/office/drawing/2014/main" id="{7F28933C-D69B-8569-7FDF-2CFCBAC23BB4}"/>
                </a:ext>
              </a:extLst>
            </p:cNvPr>
            <p:cNvSpPr txBox="1"/>
            <p:nvPr/>
          </p:nvSpPr>
          <p:spPr>
            <a:xfrm>
              <a:off x="4312519" y="1508779"/>
              <a:ext cx="1965938" cy="523220"/>
            </a:xfrm>
            <a:prstGeom prst="rect">
              <a:avLst/>
            </a:prstGeom>
            <a:solidFill>
              <a:schemeClr val="bg1"/>
            </a:solidFill>
            <a:ln w="28575">
              <a:solidFill>
                <a:schemeClr val="accent1"/>
              </a:solidFill>
            </a:ln>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3B3B3C"/>
                  </a:solidFill>
                  <a:effectLst/>
                  <a:uLnTx/>
                  <a:uFillTx/>
                  <a:latin typeface="Arial"/>
                  <a:ea typeface="+mn-ea"/>
                  <a:cs typeface="+mn-cs"/>
                </a:rPr>
                <a:t>NREL 100% by 2035 Study</a:t>
              </a:r>
            </a:p>
          </p:txBody>
        </p:sp>
        <p:sp>
          <p:nvSpPr>
            <p:cNvPr id="16" name="TextBox 15">
              <a:extLst>
                <a:ext uri="{FF2B5EF4-FFF2-40B4-BE49-F238E27FC236}">
                  <a16:creationId xmlns:a16="http://schemas.microsoft.com/office/drawing/2014/main" id="{CD9A6BA3-4574-50CF-6CF3-86E6A3CDCA76}"/>
                </a:ext>
              </a:extLst>
            </p:cNvPr>
            <p:cNvSpPr txBox="1"/>
            <p:nvPr/>
          </p:nvSpPr>
          <p:spPr>
            <a:xfrm>
              <a:off x="6738696" y="1508779"/>
              <a:ext cx="1965938" cy="523220"/>
            </a:xfrm>
            <a:prstGeom prst="rect">
              <a:avLst/>
            </a:prstGeom>
            <a:solidFill>
              <a:schemeClr val="bg1"/>
            </a:solidFill>
            <a:ln w="28575">
              <a:solidFill>
                <a:schemeClr val="accent1"/>
              </a:solidFill>
            </a:ln>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3B3B3C"/>
                  </a:solidFill>
                  <a:effectLst/>
                  <a:uLnTx/>
                  <a:uFillTx/>
                  <a:latin typeface="Arial"/>
                  <a:ea typeface="+mn-ea"/>
                  <a:cs typeface="+mn-cs"/>
                </a:rPr>
                <a:t>White House Long-term Strategy</a:t>
              </a:r>
            </a:p>
          </p:txBody>
        </p:sp>
      </p:grpSp>
    </p:spTree>
    <p:extLst>
      <p:ext uri="{BB962C8B-B14F-4D97-AF65-F5344CB8AC3E}">
        <p14:creationId xmlns:p14="http://schemas.microsoft.com/office/powerpoint/2010/main" val="374049174"/>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About the Study</a:t>
            </a:r>
          </a:p>
        </p:txBody>
      </p:sp>
      <p:sp>
        <p:nvSpPr>
          <p:cNvPr id="3" name="Content Placeholder 2"/>
          <p:cNvSpPr>
            <a:spLocks noGrp="1"/>
          </p:cNvSpPr>
          <p:nvPr>
            <p:ph idx="1"/>
          </p:nvPr>
        </p:nvSpPr>
        <p:spPr>
          <a:xfrm>
            <a:off x="662939" y="1433669"/>
            <a:ext cx="9985008" cy="5105243"/>
          </a:xfrm>
        </p:spPr>
        <p:txBody>
          <a:bodyPr/>
          <a:lstStyle/>
          <a:p>
            <a:pPr marL="0" indent="0">
              <a:spcBef>
                <a:spcPts val="1800"/>
              </a:spcBef>
              <a:buNone/>
            </a:pPr>
            <a:r>
              <a:rPr lang="en-US" sz="1800" b="1" i="1">
                <a:solidFill>
                  <a:schemeClr val="accent1"/>
                </a:solidFill>
              </a:rPr>
              <a:t>Origin</a:t>
            </a:r>
            <a:r>
              <a:rPr lang="en-US" sz="1800">
                <a:solidFill>
                  <a:schemeClr val="accent1"/>
                </a:solidFill>
              </a:rPr>
              <a:t>: </a:t>
            </a:r>
            <a:r>
              <a:rPr lang="en-US" sz="1800"/>
              <a:t>Congressional interest, interest within the National Academy of Engineering, discussions between the Board on Energy and Environmental Systems and the Nuclear and Radiation Studies Board</a:t>
            </a:r>
          </a:p>
          <a:p>
            <a:pPr marL="0" indent="0">
              <a:spcBef>
                <a:spcPts val="0"/>
              </a:spcBef>
              <a:buNone/>
            </a:pPr>
            <a:endParaRPr lang="en-US" sz="1800"/>
          </a:p>
          <a:p>
            <a:pPr marL="0" indent="0">
              <a:lnSpc>
                <a:spcPct val="100000"/>
              </a:lnSpc>
              <a:spcBef>
                <a:spcPts val="0"/>
              </a:spcBef>
              <a:buNone/>
            </a:pPr>
            <a:r>
              <a:rPr lang="en-US" sz="1800" b="1" i="1">
                <a:solidFill>
                  <a:schemeClr val="accent1"/>
                </a:solidFill>
              </a:rPr>
              <a:t>Sponsors</a:t>
            </a:r>
            <a:r>
              <a:rPr lang="en-US" sz="1800">
                <a:solidFill>
                  <a:schemeClr val="accent1"/>
                </a:solidFill>
              </a:rPr>
              <a:t>: </a:t>
            </a:r>
          </a:p>
          <a:p>
            <a:pPr>
              <a:lnSpc>
                <a:spcPct val="100000"/>
              </a:lnSpc>
              <a:spcBef>
                <a:spcPts val="0"/>
              </a:spcBef>
            </a:pPr>
            <a:r>
              <a:rPr lang="en-US" sz="1800">
                <a:solidFill>
                  <a:schemeClr val="accent1"/>
                </a:solidFill>
              </a:rPr>
              <a:t>A </a:t>
            </a:r>
            <a:r>
              <a:rPr lang="en-US" sz="1800"/>
              <a:t>philanthropic donation to the National Academy of Engineering by Dr. James J. Truchard</a:t>
            </a:r>
          </a:p>
          <a:p>
            <a:pPr>
              <a:lnSpc>
                <a:spcPct val="100000"/>
              </a:lnSpc>
              <a:spcBef>
                <a:spcPts val="0"/>
              </a:spcBef>
            </a:pPr>
            <a:r>
              <a:rPr lang="en-US" sz="1800"/>
              <a:t>DOE’s Office of Nuclear Energy </a:t>
            </a:r>
          </a:p>
          <a:p>
            <a:pPr marL="0" indent="0">
              <a:spcBef>
                <a:spcPts val="1800"/>
              </a:spcBef>
              <a:buNone/>
            </a:pPr>
            <a:r>
              <a:rPr lang="en-US" sz="1800" b="1" i="1">
                <a:solidFill>
                  <a:schemeClr val="accent1"/>
                </a:solidFill>
              </a:rPr>
              <a:t>Framing Questions: </a:t>
            </a:r>
            <a:r>
              <a:rPr lang="en-US" sz="1800"/>
              <a:t>What would it take for new nuclear technologies to be an option in an increasingly decarbonized and continually decarbonizing energy system? What are the opportunities and barriers?</a:t>
            </a:r>
          </a:p>
          <a:p>
            <a:pPr marL="0" indent="0">
              <a:spcBef>
                <a:spcPts val="1800"/>
              </a:spcBef>
              <a:buNone/>
            </a:pPr>
            <a:r>
              <a:rPr lang="en-US" sz="1800" b="1" i="1">
                <a:solidFill>
                  <a:schemeClr val="accent1"/>
                </a:solidFill>
              </a:rPr>
              <a:t>Outputs</a:t>
            </a:r>
            <a:r>
              <a:rPr lang="en-US" sz="1800">
                <a:solidFill>
                  <a:schemeClr val="accent1"/>
                </a:solidFill>
              </a:rPr>
              <a:t>: </a:t>
            </a:r>
            <a:r>
              <a:rPr lang="en-US" sz="1800"/>
              <a:t>A workshop proceedings (2022), a consensus report (2023), a follow-on workshop (TBD)</a:t>
            </a:r>
            <a:br>
              <a:rPr lang="en-US" sz="1800"/>
            </a:br>
            <a:r>
              <a:rPr lang="en-US" sz="1800" b="1"/>
              <a:t> </a:t>
            </a:r>
          </a:p>
          <a:p>
            <a:pPr marL="0" indent="0" algn="ctr">
              <a:spcBef>
                <a:spcPts val="1800"/>
              </a:spcBef>
              <a:buNone/>
            </a:pPr>
            <a:r>
              <a:rPr lang="en-US" sz="1800" b="1" i="1">
                <a:solidFill>
                  <a:schemeClr val="accent1"/>
                </a:solidFill>
              </a:rPr>
              <a:t>This briefing shares the results of the committee’s report. </a:t>
            </a:r>
            <a:br>
              <a:rPr lang="en-US" sz="1800" b="1" i="1">
                <a:solidFill>
                  <a:schemeClr val="accent1"/>
                </a:solidFill>
              </a:rPr>
            </a:br>
            <a:endParaRPr lang="en-US" sz="1800" b="1" i="1">
              <a:solidFill>
                <a:schemeClr val="accent1"/>
              </a:solidFill>
            </a:endParaRPr>
          </a:p>
        </p:txBody>
      </p:sp>
      <p:sp>
        <p:nvSpPr>
          <p:cNvPr id="5" name="Slide Number Placeholder 4"/>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46D584E9-81E4-493B-AD1D-A460B5445953}" type="slidenum">
              <a:rPr kumimoji="0" lang="en-US" sz="1267" b="0" i="0" u="none" strike="noStrike" kern="1200" cap="none" spc="0" normalizeH="0" baseline="0" noProof="0" smtClean="0">
                <a:ln>
                  <a:noFill/>
                </a:ln>
                <a:solidFill>
                  <a:srgbClr val="7F7F7F"/>
                </a:solidFill>
                <a:effectLst/>
                <a:uLnTx/>
                <a:uFillTx/>
                <a:latin typeface="Arial"/>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9</a:t>
            </a:fld>
            <a:endParaRPr kumimoji="0" lang="en-US" sz="1267" b="0" i="0" u="none" strike="noStrike" kern="1200" cap="none" spc="0" normalizeH="0" baseline="0" noProof="0">
              <a:ln>
                <a:noFill/>
              </a:ln>
              <a:solidFill>
                <a:srgbClr val="7F7F7F"/>
              </a:solidFill>
              <a:effectLst/>
              <a:uLnTx/>
              <a:uFillTx/>
              <a:latin typeface="Arial"/>
              <a:ea typeface="+mn-ea"/>
              <a:cs typeface="+mn-cs"/>
            </a:endParaRPr>
          </a:p>
        </p:txBody>
      </p:sp>
      <p:pic>
        <p:nvPicPr>
          <p:cNvPr id="4" name="Picture 3" descr="Text&#10;&#10;Description automatically generated">
            <a:extLst>
              <a:ext uri="{FF2B5EF4-FFF2-40B4-BE49-F238E27FC236}">
                <a16:creationId xmlns:a16="http://schemas.microsoft.com/office/drawing/2014/main" id="{0E7F2AF7-54A9-C7DE-82D7-957156F08F77}"/>
              </a:ext>
            </a:extLst>
          </p:cNvPr>
          <p:cNvPicPr>
            <a:picLocks noChangeAspect="1"/>
          </p:cNvPicPr>
          <p:nvPr/>
        </p:nvPicPr>
        <p:blipFill>
          <a:blip r:embed="rId3"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2521643" y="6154224"/>
            <a:ext cx="1337860" cy="769376"/>
          </a:xfrm>
          <a:prstGeom prst="rect">
            <a:avLst/>
          </a:prstGeom>
        </p:spPr>
      </p:pic>
    </p:spTree>
    <p:extLst>
      <p:ext uri="{BB962C8B-B14F-4D97-AF65-F5344CB8AC3E}">
        <p14:creationId xmlns:p14="http://schemas.microsoft.com/office/powerpoint/2010/main" val="80381511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Title 5">
            <a:extLst>
              <a:ext uri="{FF2B5EF4-FFF2-40B4-BE49-F238E27FC236}">
                <a16:creationId xmlns:a16="http://schemas.microsoft.com/office/drawing/2014/main" id="{7E9EEA3E-45E3-0239-E69A-BE3F5FBC9AB7}"/>
              </a:ext>
            </a:extLst>
          </p:cNvPr>
          <p:cNvSpPr>
            <a:spLocks noGrp="1" noChangeArrowheads="1"/>
          </p:cNvSpPr>
          <p:nvPr>
            <p:ph type="ctrTitle"/>
          </p:nvPr>
        </p:nvSpPr>
        <p:spPr>
          <a:xfrm>
            <a:off x="609600" y="1066800"/>
            <a:ext cx="10165976" cy="2590800"/>
          </a:xfrm>
        </p:spPr>
        <p:txBody>
          <a:bodyPr/>
          <a:lstStyle/>
          <a:p>
            <a:pPr algn="l"/>
            <a:r>
              <a:rPr lang="en-US" altLang="en-US" sz="5400" b="1">
                <a:solidFill>
                  <a:schemeClr val="bg1"/>
                </a:solidFill>
              </a:rPr>
              <a:t>Opening Remarks</a:t>
            </a:r>
          </a:p>
        </p:txBody>
      </p:sp>
      <p:sp>
        <p:nvSpPr>
          <p:cNvPr id="20483" name="Subtitle 6">
            <a:extLst>
              <a:ext uri="{FF2B5EF4-FFF2-40B4-BE49-F238E27FC236}">
                <a16:creationId xmlns:a16="http://schemas.microsoft.com/office/drawing/2014/main" id="{681152D8-4998-8D5B-9854-96A67EBE53DE}"/>
              </a:ext>
            </a:extLst>
          </p:cNvPr>
          <p:cNvSpPr>
            <a:spLocks noGrp="1" noChangeArrowheads="1"/>
          </p:cNvSpPr>
          <p:nvPr>
            <p:ph type="subTitle" idx="1"/>
          </p:nvPr>
        </p:nvSpPr>
        <p:spPr>
          <a:xfrm>
            <a:off x="609600" y="3276600"/>
            <a:ext cx="8816975" cy="2209800"/>
          </a:xfrm>
        </p:spPr>
        <p:txBody>
          <a:bodyPr/>
          <a:lstStyle/>
          <a:p>
            <a:pPr algn="l"/>
            <a:endParaRPr lang="en-US" altLang="en-US" sz="2000" b="1" i="1">
              <a:solidFill>
                <a:schemeClr val="bg1"/>
              </a:solidFill>
            </a:endParaRPr>
          </a:p>
          <a:p>
            <a:pPr algn="l"/>
            <a:endParaRPr lang="en-US" altLang="en-US" sz="2000" b="1" i="1">
              <a:solidFill>
                <a:schemeClr val="bg1"/>
              </a:solidFill>
            </a:endParaRPr>
          </a:p>
          <a:p>
            <a:pPr algn="l"/>
            <a:r>
              <a:rPr lang="en-US" altLang="en-US" b="1">
                <a:solidFill>
                  <a:schemeClr val="bg1"/>
                </a:solidFill>
              </a:rPr>
              <a:t>Assistant Secretary for Nuclear Energy, Dr. Katy Huff</a:t>
            </a:r>
            <a:endParaRPr lang="en-US" altLang="en-US" b="1">
              <a:solidFill>
                <a:schemeClr val="bg1"/>
              </a:solidFill>
              <a:cs typeface="Calibri"/>
            </a:endParaRPr>
          </a:p>
          <a:p>
            <a:pPr algn="l"/>
            <a:r>
              <a:rPr lang="en-US" altLang="en-US" b="1">
                <a:solidFill>
                  <a:schemeClr val="bg1"/>
                </a:solidFill>
              </a:rPr>
              <a:t>The Honorable William D. Magwood, IV, Chair</a:t>
            </a:r>
            <a:endParaRPr lang="en-US" altLang="en-US" b="1">
              <a:solidFill>
                <a:schemeClr val="bg1"/>
              </a:solidFill>
              <a:cs typeface="Calibri"/>
            </a:endParaRPr>
          </a:p>
          <a:p>
            <a:pPr algn="l"/>
            <a:endParaRPr lang="en-US" altLang="en-US" b="1">
              <a:solidFill>
                <a:schemeClr val="bg1"/>
              </a:solidFill>
            </a:endParaRPr>
          </a:p>
          <a:p>
            <a:pPr algn="l"/>
            <a:r>
              <a:rPr lang="en-US" altLang="en-US" sz="2000" b="1" i="1">
                <a:solidFill>
                  <a:schemeClr val="bg1"/>
                </a:solidFill>
              </a:rPr>
              <a:t>				</a:t>
            </a:r>
            <a:endParaRPr lang="en-US" altLang="en-US" sz="2000" b="1">
              <a:solidFill>
                <a:schemeClr val="bg1"/>
              </a:solidFill>
            </a:endParaRPr>
          </a:p>
        </p:txBody>
      </p:sp>
    </p:spTree>
    <p:extLst>
      <p:ext uri="{BB962C8B-B14F-4D97-AF65-F5344CB8AC3E}">
        <p14:creationId xmlns:p14="http://schemas.microsoft.com/office/powerpoint/2010/main" val="85712484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3D35F2-42B1-A8A7-4EB9-361E82D29711}"/>
              </a:ext>
            </a:extLst>
          </p:cNvPr>
          <p:cNvSpPr>
            <a:spLocks noGrp="1"/>
          </p:cNvSpPr>
          <p:nvPr>
            <p:ph type="title"/>
          </p:nvPr>
        </p:nvSpPr>
        <p:spPr/>
        <p:txBody>
          <a:bodyPr/>
          <a:lstStyle/>
          <a:p>
            <a:r>
              <a:rPr lang="en-US"/>
              <a:t>About the Study – Scope</a:t>
            </a:r>
          </a:p>
        </p:txBody>
      </p:sp>
      <p:sp>
        <p:nvSpPr>
          <p:cNvPr id="7" name="Content Placeholder 6">
            <a:extLst>
              <a:ext uri="{FF2B5EF4-FFF2-40B4-BE49-F238E27FC236}">
                <a16:creationId xmlns:a16="http://schemas.microsoft.com/office/drawing/2014/main" id="{333267CD-D999-1A07-E3D8-C88862EB61C6}"/>
              </a:ext>
            </a:extLst>
          </p:cNvPr>
          <p:cNvSpPr>
            <a:spLocks noGrp="1"/>
          </p:cNvSpPr>
          <p:nvPr>
            <p:ph idx="1"/>
          </p:nvPr>
        </p:nvSpPr>
        <p:spPr>
          <a:xfrm>
            <a:off x="662940" y="1235497"/>
            <a:ext cx="4815840" cy="4661919"/>
          </a:xfrm>
        </p:spPr>
        <p:txBody>
          <a:bodyPr vert="horz" lIns="0" tIns="0" rIns="0" bIns="0" rtlCol="0" anchor="t">
            <a:noAutofit/>
          </a:bodyPr>
          <a:lstStyle/>
          <a:p>
            <a:pPr marL="0" indent="0" algn="ctr">
              <a:buNone/>
            </a:pPr>
            <a:r>
              <a:rPr lang="en-US" b="1"/>
              <a:t>What </a:t>
            </a:r>
            <a:r>
              <a:rPr lang="en-US" b="1">
                <a:solidFill>
                  <a:schemeClr val="accent6">
                    <a:lumMod val="25000"/>
                  </a:schemeClr>
                </a:solidFill>
              </a:rPr>
              <a:t>IS</a:t>
            </a:r>
            <a:r>
              <a:rPr lang="en-US" b="1"/>
              <a:t> in scope</a:t>
            </a:r>
          </a:p>
          <a:p>
            <a:pPr marL="0" indent="0">
              <a:buNone/>
            </a:pPr>
            <a:endParaRPr lang="en-US"/>
          </a:p>
          <a:p>
            <a:pPr marL="0" indent="0">
              <a:buNone/>
            </a:pPr>
            <a:r>
              <a:rPr lang="en-US"/>
              <a:t>Identifying opportunities and barriers to advanced nuclear reactor commercialization in the United States over the next 30 years as part of a decarbonization strategy. Topics include:</a:t>
            </a:r>
            <a:br>
              <a:rPr lang="en-US"/>
            </a:br>
            <a:endParaRPr lang="en-US"/>
          </a:p>
          <a:p>
            <a:r>
              <a:rPr lang="en-US"/>
              <a:t>Research, development, and demonstration</a:t>
            </a:r>
          </a:p>
          <a:p>
            <a:r>
              <a:rPr lang="en-US"/>
              <a:t>Manufacturing, construction, and operational characteristics</a:t>
            </a:r>
          </a:p>
          <a:p>
            <a:r>
              <a:rPr lang="en-US"/>
              <a:t>Economic, regulatory, societal, and business challenges</a:t>
            </a:r>
          </a:p>
          <a:p>
            <a:r>
              <a:rPr lang="en-US"/>
              <a:t>Applications outside the electricity sector</a:t>
            </a:r>
          </a:p>
          <a:p>
            <a:r>
              <a:rPr lang="en-US"/>
              <a:t>Role of the U.S. government</a:t>
            </a:r>
          </a:p>
          <a:p>
            <a:r>
              <a:rPr lang="en-US"/>
              <a:t>National security and nonproliferation</a:t>
            </a:r>
          </a:p>
          <a:p>
            <a:r>
              <a:rPr lang="en-US"/>
              <a:t>Future workforce and educational needs</a:t>
            </a:r>
          </a:p>
        </p:txBody>
      </p:sp>
      <p:sp>
        <p:nvSpPr>
          <p:cNvPr id="3" name="Slide Number Placeholder 2">
            <a:extLst>
              <a:ext uri="{FF2B5EF4-FFF2-40B4-BE49-F238E27FC236}">
                <a16:creationId xmlns:a16="http://schemas.microsoft.com/office/drawing/2014/main" id="{8AA11B4C-9279-8DBC-3E2F-43F40C6248F2}"/>
              </a:ext>
            </a:extLst>
          </p:cNvPr>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46D584E9-81E4-493B-AD1D-A460B5445953}" type="slidenum">
              <a:rPr kumimoji="0" lang="en-US" sz="1267" b="0" i="0" u="none" strike="noStrike" kern="1200" cap="none" spc="0" normalizeH="0" baseline="0" noProof="0" smtClean="0">
                <a:ln>
                  <a:noFill/>
                </a:ln>
                <a:solidFill>
                  <a:srgbClr val="7F7F7F"/>
                </a:solidFill>
                <a:effectLst/>
                <a:uLnTx/>
                <a:uFillTx/>
                <a:latin typeface="Arial"/>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0</a:t>
            </a:fld>
            <a:endParaRPr kumimoji="0" lang="en-US" sz="1267" b="0" i="0" u="none" strike="noStrike" kern="1200" cap="none" spc="0" normalizeH="0" baseline="0" noProof="0">
              <a:ln>
                <a:noFill/>
              </a:ln>
              <a:solidFill>
                <a:srgbClr val="7F7F7F"/>
              </a:solidFill>
              <a:effectLst/>
              <a:uLnTx/>
              <a:uFillTx/>
              <a:latin typeface="Arial"/>
              <a:ea typeface="+mn-ea"/>
              <a:cs typeface="+mn-cs"/>
            </a:endParaRPr>
          </a:p>
        </p:txBody>
      </p:sp>
      <p:sp>
        <p:nvSpPr>
          <p:cNvPr id="8" name="Content Placeholder 7">
            <a:extLst>
              <a:ext uri="{FF2B5EF4-FFF2-40B4-BE49-F238E27FC236}">
                <a16:creationId xmlns:a16="http://schemas.microsoft.com/office/drawing/2014/main" id="{EB246663-D489-1E38-C886-60EEFA16B3BB}"/>
              </a:ext>
            </a:extLst>
          </p:cNvPr>
          <p:cNvSpPr>
            <a:spLocks noGrp="1"/>
          </p:cNvSpPr>
          <p:nvPr>
            <p:ph idx="13"/>
          </p:nvPr>
        </p:nvSpPr>
        <p:spPr>
          <a:xfrm>
            <a:off x="6214976" y="1235497"/>
            <a:ext cx="4815840" cy="4661919"/>
          </a:xfrm>
        </p:spPr>
        <p:txBody>
          <a:bodyPr vert="horz" lIns="0" tIns="0" rIns="0" bIns="0" rtlCol="0" anchor="t">
            <a:noAutofit/>
          </a:bodyPr>
          <a:lstStyle/>
          <a:p>
            <a:pPr marL="0" indent="0" algn="ctr">
              <a:buNone/>
            </a:pPr>
            <a:r>
              <a:rPr lang="en-US" b="1"/>
              <a:t>What is </a:t>
            </a:r>
            <a:r>
              <a:rPr lang="en-US" b="1">
                <a:solidFill>
                  <a:srgbClr val="FF0000"/>
                </a:solidFill>
              </a:rPr>
              <a:t>NOT</a:t>
            </a:r>
            <a:r>
              <a:rPr lang="en-US" b="1"/>
              <a:t> in scope</a:t>
            </a:r>
          </a:p>
          <a:p>
            <a:pPr marL="0" indent="0">
              <a:buNone/>
            </a:pPr>
            <a:endParaRPr lang="en-US">
              <a:cs typeface="Arial"/>
            </a:endParaRPr>
          </a:p>
          <a:p>
            <a:pPr marL="0" indent="0">
              <a:buNone/>
            </a:pPr>
            <a:endParaRPr lang="en-US" b="1"/>
          </a:p>
        </p:txBody>
      </p:sp>
      <p:pic>
        <p:nvPicPr>
          <p:cNvPr id="10" name="Picture 9">
            <a:extLst>
              <a:ext uri="{FF2B5EF4-FFF2-40B4-BE49-F238E27FC236}">
                <a16:creationId xmlns:a16="http://schemas.microsoft.com/office/drawing/2014/main" id="{6DF4E74F-6A74-4700-BD01-81635F509565}"/>
              </a:ext>
            </a:extLst>
          </p:cNvPr>
          <p:cNvPicPr>
            <a:picLocks noChangeAspect="1"/>
          </p:cNvPicPr>
          <p:nvPr/>
        </p:nvPicPr>
        <p:blipFill>
          <a:blip r:embed="rId3"/>
          <a:stretch>
            <a:fillRect/>
          </a:stretch>
        </p:blipFill>
        <p:spPr>
          <a:xfrm>
            <a:off x="6806370" y="1709904"/>
            <a:ext cx="3578422" cy="4504381"/>
          </a:xfrm>
          <a:prstGeom prst="rect">
            <a:avLst/>
          </a:prstGeom>
        </p:spPr>
      </p:pic>
      <p:sp>
        <p:nvSpPr>
          <p:cNvPr id="11" name="TextBox 10">
            <a:extLst>
              <a:ext uri="{FF2B5EF4-FFF2-40B4-BE49-F238E27FC236}">
                <a16:creationId xmlns:a16="http://schemas.microsoft.com/office/drawing/2014/main" id="{216A994A-1BEB-408E-4650-2652D341993C}"/>
              </a:ext>
            </a:extLst>
          </p:cNvPr>
          <p:cNvSpPr txBox="1"/>
          <p:nvPr/>
        </p:nvSpPr>
        <p:spPr>
          <a:xfrm>
            <a:off x="6806370" y="5437775"/>
            <a:ext cx="3578422" cy="769376"/>
          </a:xfrm>
          <a:prstGeom prst="rect">
            <a:avLst/>
          </a:prstGeom>
          <a:solidFill>
            <a:srgbClr val="225071"/>
          </a:solidFill>
          <a:ln>
            <a:noFill/>
          </a:ln>
        </p:spPr>
        <p:txBody>
          <a:bodyPr wrap="square" lIns="91440" tIns="45720" rIns="91440" bIns="45720" rtlCol="0" anchor="ctr">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Arial"/>
                <a:ea typeface="+mn-ea"/>
                <a:cs typeface="+mn-cs"/>
              </a:rPr>
              <a:t>Read the </a:t>
            </a:r>
            <a:r>
              <a:rPr kumimoji="0" lang="en-US" sz="1800" b="1" i="0" u="none" strike="noStrike" kern="1200" cap="none" spc="0" normalizeH="0" baseline="0" noProof="0">
                <a:ln>
                  <a:noFill/>
                </a:ln>
                <a:solidFill>
                  <a:prstClr val="white"/>
                </a:solidFill>
                <a:effectLst/>
                <a:uLnTx/>
                <a:uFillTx/>
                <a:latin typeface="Arial"/>
                <a:ea typeface="+mn-ea"/>
                <a:cs typeface="+mn-cs"/>
              </a:rPr>
              <a:t>companion report</a:t>
            </a:r>
            <a:r>
              <a:rPr kumimoji="0" lang="en-US" sz="1800" b="0" i="0" u="none" strike="noStrike" kern="1200" cap="none" spc="0" normalizeH="0" baseline="0" noProof="0">
                <a:ln>
                  <a:noFill/>
                </a:ln>
                <a:solidFill>
                  <a:prstClr val="white"/>
                </a:solidFill>
                <a:effectLst/>
                <a:uLnTx/>
                <a:uFillTx/>
                <a:latin typeface="Arial"/>
                <a:ea typeface="+mn-ea"/>
                <a:cs typeface="+mn-cs"/>
              </a:rPr>
              <a:t>: </a:t>
            </a:r>
            <a:br>
              <a:rPr kumimoji="0" lang="en-US" sz="1400" b="0" i="0" u="none" strike="noStrike" kern="1200" cap="none" spc="0" normalizeH="0" baseline="0" noProof="0">
                <a:ln>
                  <a:noFill/>
                </a:ln>
                <a:solidFill>
                  <a:prstClr val="white"/>
                </a:solidFill>
                <a:effectLst/>
                <a:uLnTx/>
                <a:uFillTx/>
                <a:latin typeface="Arial"/>
                <a:ea typeface="+mn-ea"/>
                <a:cs typeface="+mn-cs"/>
              </a:rPr>
            </a:br>
            <a:r>
              <a:rPr kumimoji="0" lang="en-US" sz="1400" b="0" i="0" u="none" strike="noStrike" kern="1200" cap="none" spc="0" normalizeH="0" baseline="0" noProof="0">
                <a:ln>
                  <a:noFill/>
                </a:ln>
                <a:solidFill>
                  <a:prstClr val="white"/>
                </a:solidFill>
                <a:effectLst/>
                <a:uLnTx/>
                <a:uFillTx/>
                <a:latin typeface="Arial"/>
                <a:ea typeface="+mn-ea"/>
                <a:cs typeface="+mn-cs"/>
                <a:hlinkClick r:id="rId4">
                  <a:extLst>
                    <a:ext uri="{A12FA001-AC4F-418D-AE19-62706E023703}">
                      <ahyp:hlinkClr xmlns:ahyp="http://schemas.microsoft.com/office/drawing/2018/hyperlinkcolor" val="tx"/>
                    </a:ext>
                  </a:extLst>
                </a:hlinkClick>
              </a:rPr>
              <a:t>https://nap.nationalacademies.org/26500</a:t>
            </a:r>
            <a:endParaRPr kumimoji="0" lang="en-US" sz="1400" b="0" i="0" u="none" strike="noStrike" kern="1200" cap="none" spc="0" normalizeH="0" baseline="0" noProof="0">
              <a:ln>
                <a:noFill/>
              </a:ln>
              <a:solidFill>
                <a:prstClr val="white"/>
              </a:solidFill>
              <a:effectLst/>
              <a:uLnTx/>
              <a:uFillTx/>
              <a:latin typeface="Arial"/>
              <a:ea typeface="+mn-ea"/>
              <a:cs typeface="+mn-cs"/>
            </a:endParaRPr>
          </a:p>
        </p:txBody>
      </p:sp>
      <p:pic>
        <p:nvPicPr>
          <p:cNvPr id="4" name="Picture 3" descr="Text&#10;&#10;Description automatically generated">
            <a:extLst>
              <a:ext uri="{FF2B5EF4-FFF2-40B4-BE49-F238E27FC236}">
                <a16:creationId xmlns:a16="http://schemas.microsoft.com/office/drawing/2014/main" id="{C59C47E2-5827-6826-C9F6-0BE1BBAA9D95}"/>
              </a:ext>
            </a:extLst>
          </p:cNvPr>
          <p:cNvPicPr>
            <a:picLocks noChangeAspect="1"/>
          </p:cNvPicPr>
          <p:nvPr/>
        </p:nvPicPr>
        <p:blipFill>
          <a:blip r:embed="rId5"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2521643" y="6154224"/>
            <a:ext cx="1337860" cy="769376"/>
          </a:xfrm>
          <a:prstGeom prst="rect">
            <a:avLst/>
          </a:prstGeom>
        </p:spPr>
      </p:pic>
    </p:spTree>
    <p:extLst>
      <p:ext uri="{BB962C8B-B14F-4D97-AF65-F5344CB8AC3E}">
        <p14:creationId xmlns:p14="http://schemas.microsoft.com/office/powerpoint/2010/main" val="1488944529"/>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207E406B-B717-8E80-8B70-FCCF8FA2607A}"/>
              </a:ext>
            </a:extLst>
          </p:cNvPr>
          <p:cNvPicPr>
            <a:picLocks noChangeAspect="1"/>
          </p:cNvPicPr>
          <p:nvPr/>
        </p:nvPicPr>
        <p:blipFill>
          <a:blip r:embed="rId3"/>
          <a:stretch>
            <a:fillRect/>
          </a:stretch>
        </p:blipFill>
        <p:spPr>
          <a:xfrm>
            <a:off x="0" y="1883949"/>
            <a:ext cx="12192000" cy="4132100"/>
          </a:xfrm>
          <a:prstGeom prst="rect">
            <a:avLst/>
          </a:prstGeom>
        </p:spPr>
      </p:pic>
      <p:sp>
        <p:nvSpPr>
          <p:cNvPr id="2" name="Title 1">
            <a:extLst>
              <a:ext uri="{FF2B5EF4-FFF2-40B4-BE49-F238E27FC236}">
                <a16:creationId xmlns:a16="http://schemas.microsoft.com/office/drawing/2014/main" id="{A4B679CD-081D-FF52-F1D3-61717B5F18E5}"/>
              </a:ext>
            </a:extLst>
          </p:cNvPr>
          <p:cNvSpPr>
            <a:spLocks noGrp="1"/>
          </p:cNvSpPr>
          <p:nvPr>
            <p:ph type="title"/>
          </p:nvPr>
        </p:nvSpPr>
        <p:spPr>
          <a:xfrm>
            <a:off x="662940" y="436881"/>
            <a:ext cx="10021102" cy="858676"/>
          </a:xfrm>
        </p:spPr>
        <p:txBody>
          <a:bodyPr/>
          <a:lstStyle/>
          <a:p>
            <a:r>
              <a:rPr lang="en-US"/>
              <a:t>The Evolving Electricity System: </a:t>
            </a:r>
            <a:br>
              <a:rPr lang="en-US"/>
            </a:br>
            <a:r>
              <a:rPr lang="en-US"/>
              <a:t>Different Opportunities and Challenges Every Decade</a:t>
            </a:r>
          </a:p>
        </p:txBody>
      </p:sp>
      <p:sp>
        <p:nvSpPr>
          <p:cNvPr id="3" name="Slide Number Placeholder 2">
            <a:extLst>
              <a:ext uri="{FF2B5EF4-FFF2-40B4-BE49-F238E27FC236}">
                <a16:creationId xmlns:a16="http://schemas.microsoft.com/office/drawing/2014/main" id="{3965F526-AEA4-47DE-A516-30633F7582CC}"/>
              </a:ext>
            </a:extLst>
          </p:cNvPr>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46D584E9-81E4-493B-AD1D-A460B5445953}" type="slidenum">
              <a:rPr kumimoji="0" lang="en-US" sz="1267" b="0" i="0" u="none" strike="noStrike" kern="1200" cap="none" spc="0" normalizeH="0" baseline="0" noProof="0" smtClean="0">
                <a:ln>
                  <a:noFill/>
                </a:ln>
                <a:solidFill>
                  <a:srgbClr val="7F7F7F"/>
                </a:solidFill>
                <a:effectLst/>
                <a:uLnTx/>
                <a:uFillTx/>
                <a:latin typeface="Arial"/>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1</a:t>
            </a:fld>
            <a:endParaRPr kumimoji="0" lang="en-US" sz="1267" b="0" i="0" u="none" strike="noStrike" kern="1200" cap="none" spc="0" normalizeH="0" baseline="0" noProof="0">
              <a:ln>
                <a:noFill/>
              </a:ln>
              <a:solidFill>
                <a:srgbClr val="7F7F7F"/>
              </a:solidFill>
              <a:effectLst/>
              <a:uLnTx/>
              <a:uFillTx/>
              <a:latin typeface="Arial"/>
              <a:ea typeface="+mn-ea"/>
              <a:cs typeface="+mn-cs"/>
            </a:endParaRPr>
          </a:p>
        </p:txBody>
      </p:sp>
      <p:sp>
        <p:nvSpPr>
          <p:cNvPr id="4" name="TextBox 3">
            <a:extLst>
              <a:ext uri="{FF2B5EF4-FFF2-40B4-BE49-F238E27FC236}">
                <a16:creationId xmlns:a16="http://schemas.microsoft.com/office/drawing/2014/main" id="{61D1CFBA-C2AC-F445-72BC-FB5875460219}"/>
              </a:ext>
            </a:extLst>
          </p:cNvPr>
          <p:cNvSpPr txBox="1"/>
          <p:nvPr/>
        </p:nvSpPr>
        <p:spPr>
          <a:xfrm>
            <a:off x="2521643" y="1683894"/>
            <a:ext cx="7489551" cy="400110"/>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000" b="0" i="1" u="none" strike="noStrike" kern="1200" cap="none" spc="0" normalizeH="0" baseline="0" noProof="0">
                <a:ln>
                  <a:noFill/>
                </a:ln>
                <a:solidFill>
                  <a:srgbClr val="452369"/>
                </a:solidFill>
                <a:effectLst/>
                <a:uLnTx/>
                <a:uFillTx/>
                <a:latin typeface="Arial"/>
                <a:ea typeface="+mn-ea"/>
                <a:cs typeface="+mn-cs"/>
              </a:rPr>
              <a:t>The race against climate change is both a marathon and a sprint</a:t>
            </a:r>
          </a:p>
        </p:txBody>
      </p:sp>
      <p:pic>
        <p:nvPicPr>
          <p:cNvPr id="5" name="Picture 4" descr="Text&#10;&#10;Description automatically generated">
            <a:extLst>
              <a:ext uri="{FF2B5EF4-FFF2-40B4-BE49-F238E27FC236}">
                <a16:creationId xmlns:a16="http://schemas.microsoft.com/office/drawing/2014/main" id="{18B62184-0127-4599-75BB-EC2AE365C34B}"/>
              </a:ext>
            </a:extLst>
          </p:cNvPr>
          <p:cNvPicPr>
            <a:picLocks noChangeAspect="1"/>
          </p:cNvPicPr>
          <p:nvPr/>
        </p:nvPicPr>
        <p:blipFill>
          <a:blip r:embed="rId4"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2521643" y="6154224"/>
            <a:ext cx="1337860" cy="769376"/>
          </a:xfrm>
          <a:prstGeom prst="rect">
            <a:avLst/>
          </a:prstGeom>
        </p:spPr>
      </p:pic>
    </p:spTree>
    <p:extLst>
      <p:ext uri="{BB962C8B-B14F-4D97-AF65-F5344CB8AC3E}">
        <p14:creationId xmlns:p14="http://schemas.microsoft.com/office/powerpoint/2010/main" val="2311717051"/>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2" name="Picture 21" descr="Text&#10;&#10;Description automatically generated">
            <a:extLst>
              <a:ext uri="{FF2B5EF4-FFF2-40B4-BE49-F238E27FC236}">
                <a16:creationId xmlns:a16="http://schemas.microsoft.com/office/drawing/2014/main" id="{CFA0C6E1-CB42-1C06-5EB1-06A3E55C0EE7}"/>
              </a:ext>
            </a:extLst>
          </p:cNvPr>
          <p:cNvPicPr>
            <a:picLocks noChangeAspect="1"/>
          </p:cNvPicPr>
          <p:nvPr/>
        </p:nvPicPr>
        <p:blipFill>
          <a:blip r:embed="rId3"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2521643" y="6154224"/>
            <a:ext cx="1337860" cy="769376"/>
          </a:xfrm>
          <a:prstGeom prst="rect">
            <a:avLst/>
          </a:prstGeom>
        </p:spPr>
      </p:pic>
      <p:pic>
        <p:nvPicPr>
          <p:cNvPr id="3074" name="Picture 2" descr="Modern connect for web marketing design graphic Vector Image">
            <a:extLst>
              <a:ext uri="{FF2B5EF4-FFF2-40B4-BE49-F238E27FC236}">
                <a16:creationId xmlns:a16="http://schemas.microsoft.com/office/drawing/2014/main" id="{16E237E3-55F2-17D3-D7E8-F19F00E393E7}"/>
              </a:ext>
            </a:extLst>
          </p:cNvPr>
          <p:cNvPicPr>
            <a:picLocks noChangeAspect="1" noChangeArrowheads="1"/>
          </p:cNvPicPr>
          <p:nvPr/>
        </p:nvPicPr>
        <p:blipFill rotWithShape="1">
          <a:blip r:embed="rId4">
            <a:duotone>
              <a:schemeClr val="accent2">
                <a:shade val="45000"/>
                <a:satMod val="135000"/>
              </a:schemeClr>
              <a:prstClr val="white"/>
            </a:duotone>
            <a:alphaModFix amt="20000"/>
            <a:extLst>
              <a:ext uri="{28A0092B-C50C-407E-A947-70E740481C1C}">
                <a14:useLocalDpi xmlns:a14="http://schemas.microsoft.com/office/drawing/2010/main" val="0"/>
              </a:ext>
            </a:extLst>
          </a:blip>
          <a:srcRect b="24306"/>
          <a:stretch/>
        </p:blipFill>
        <p:spPr bwMode="auto">
          <a:xfrm>
            <a:off x="-1330270" y="2191"/>
            <a:ext cx="13588903" cy="7009205"/>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a:extLst>
              <a:ext uri="{FF2B5EF4-FFF2-40B4-BE49-F238E27FC236}">
                <a16:creationId xmlns:a16="http://schemas.microsoft.com/office/drawing/2014/main" id="{8EAA11AD-8D0A-C73F-A222-83E4951B80A3}"/>
              </a:ext>
            </a:extLst>
          </p:cNvPr>
          <p:cNvSpPr>
            <a:spLocks noGrp="1"/>
          </p:cNvSpPr>
          <p:nvPr>
            <p:ph type="title"/>
          </p:nvPr>
        </p:nvSpPr>
        <p:spPr/>
        <p:txBody>
          <a:bodyPr/>
          <a:lstStyle/>
          <a:p>
            <a:r>
              <a:rPr lang="en-US"/>
              <a:t>Core Variables Crucial for Commercial Success</a:t>
            </a:r>
          </a:p>
        </p:txBody>
      </p:sp>
      <p:grpSp>
        <p:nvGrpSpPr>
          <p:cNvPr id="15" name="Group 14">
            <a:extLst>
              <a:ext uri="{FF2B5EF4-FFF2-40B4-BE49-F238E27FC236}">
                <a16:creationId xmlns:a16="http://schemas.microsoft.com/office/drawing/2014/main" id="{003AAE0A-C577-22EB-8EAB-999860A4B415}"/>
              </a:ext>
            </a:extLst>
          </p:cNvPr>
          <p:cNvGrpSpPr/>
          <p:nvPr/>
        </p:nvGrpSpPr>
        <p:grpSpPr>
          <a:xfrm>
            <a:off x="1281883" y="1684676"/>
            <a:ext cx="1905000" cy="1230085"/>
            <a:chOff x="4093030" y="5540829"/>
            <a:chExt cx="1905000" cy="1230085"/>
          </a:xfrm>
          <a:solidFill>
            <a:schemeClr val="accent1"/>
          </a:solidFill>
        </p:grpSpPr>
        <p:sp>
          <p:nvSpPr>
            <p:cNvPr id="3" name="Rectangle 2">
              <a:extLst>
                <a:ext uri="{FF2B5EF4-FFF2-40B4-BE49-F238E27FC236}">
                  <a16:creationId xmlns:a16="http://schemas.microsoft.com/office/drawing/2014/main" id="{0B4B71DD-B62E-30B3-FF88-165B49B8F175}"/>
                </a:ext>
              </a:extLst>
            </p:cNvPr>
            <p:cNvSpPr/>
            <p:nvPr/>
          </p:nvSpPr>
          <p:spPr>
            <a:xfrm>
              <a:off x="4093030" y="5540829"/>
              <a:ext cx="1905000" cy="1230085"/>
            </a:xfrm>
            <a:prstGeom prst="rect">
              <a:avLst/>
            </a:prstGeom>
            <a:grp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4" name="TextBox 3">
              <a:extLst>
                <a:ext uri="{FF2B5EF4-FFF2-40B4-BE49-F238E27FC236}">
                  <a16:creationId xmlns:a16="http://schemas.microsoft.com/office/drawing/2014/main" id="{77C8B4E7-F6C9-5556-0E49-BEC8A389F392}"/>
                </a:ext>
              </a:extLst>
            </p:cNvPr>
            <p:cNvSpPr txBox="1"/>
            <p:nvPr/>
          </p:nvSpPr>
          <p:spPr>
            <a:xfrm>
              <a:off x="4152760" y="6188529"/>
              <a:ext cx="1812612" cy="523220"/>
            </a:xfrm>
            <a:prstGeom prst="rect">
              <a:avLst/>
            </a:prstGeom>
            <a:grpFill/>
            <a:ln>
              <a:noFill/>
            </a:ln>
          </p:spPr>
          <p:txBody>
            <a:bodyPr wrap="non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Arial"/>
                  <a:ea typeface="+mn-ea"/>
                  <a:cs typeface="+mn-cs"/>
                </a:rPr>
                <a:t>Reactor Technology </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Arial"/>
                  <a:ea typeface="+mn-ea"/>
                  <a:cs typeface="+mn-cs"/>
                </a:rPr>
                <a:t>Research</a:t>
              </a:r>
            </a:p>
          </p:txBody>
        </p:sp>
      </p:grpSp>
      <p:grpSp>
        <p:nvGrpSpPr>
          <p:cNvPr id="16" name="Group 15">
            <a:extLst>
              <a:ext uri="{FF2B5EF4-FFF2-40B4-BE49-F238E27FC236}">
                <a16:creationId xmlns:a16="http://schemas.microsoft.com/office/drawing/2014/main" id="{770A3461-C38C-431E-46BB-9DC0D18AF6A7}"/>
              </a:ext>
            </a:extLst>
          </p:cNvPr>
          <p:cNvGrpSpPr/>
          <p:nvPr/>
        </p:nvGrpSpPr>
        <p:grpSpPr>
          <a:xfrm>
            <a:off x="3575086" y="1680160"/>
            <a:ext cx="1905000" cy="1230085"/>
            <a:chOff x="6203833" y="5540829"/>
            <a:chExt cx="1905000" cy="1230085"/>
          </a:xfrm>
          <a:solidFill>
            <a:schemeClr val="accent1"/>
          </a:solidFill>
        </p:grpSpPr>
        <p:sp>
          <p:nvSpPr>
            <p:cNvPr id="6" name="Rectangle 5">
              <a:extLst>
                <a:ext uri="{FF2B5EF4-FFF2-40B4-BE49-F238E27FC236}">
                  <a16:creationId xmlns:a16="http://schemas.microsoft.com/office/drawing/2014/main" id="{987EECC5-97AF-A4C8-62CB-AA407AA65CDE}"/>
                </a:ext>
              </a:extLst>
            </p:cNvPr>
            <p:cNvSpPr/>
            <p:nvPr/>
          </p:nvSpPr>
          <p:spPr>
            <a:xfrm>
              <a:off x="6203833" y="5540829"/>
              <a:ext cx="1905000" cy="1230085"/>
            </a:xfrm>
            <a:prstGeom prst="rect">
              <a:avLst/>
            </a:prstGeom>
            <a:grpFill/>
            <a:ln w="254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7" name="TextBox 6">
              <a:extLst>
                <a:ext uri="{FF2B5EF4-FFF2-40B4-BE49-F238E27FC236}">
                  <a16:creationId xmlns:a16="http://schemas.microsoft.com/office/drawing/2014/main" id="{9ED59756-F8D2-9071-D71E-335B6384BB81}"/>
                </a:ext>
              </a:extLst>
            </p:cNvPr>
            <p:cNvSpPr txBox="1"/>
            <p:nvPr/>
          </p:nvSpPr>
          <p:spPr>
            <a:xfrm>
              <a:off x="6312191" y="6183086"/>
              <a:ext cx="1688283" cy="307777"/>
            </a:xfrm>
            <a:prstGeom prst="rect">
              <a:avLst/>
            </a:prstGeom>
            <a:grp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Arial"/>
                  <a:ea typeface="+mn-ea"/>
                  <a:cs typeface="+mn-cs"/>
                </a:rPr>
                <a:t>Safety Regulations</a:t>
              </a:r>
            </a:p>
          </p:txBody>
        </p:sp>
      </p:grpSp>
      <p:grpSp>
        <p:nvGrpSpPr>
          <p:cNvPr id="17" name="Group 16">
            <a:extLst>
              <a:ext uri="{FF2B5EF4-FFF2-40B4-BE49-F238E27FC236}">
                <a16:creationId xmlns:a16="http://schemas.microsoft.com/office/drawing/2014/main" id="{937198B2-40DA-3AA1-8631-BA1D8AADEA83}"/>
              </a:ext>
            </a:extLst>
          </p:cNvPr>
          <p:cNvGrpSpPr/>
          <p:nvPr/>
        </p:nvGrpSpPr>
        <p:grpSpPr>
          <a:xfrm>
            <a:off x="8206942" y="4919011"/>
            <a:ext cx="1905000" cy="1230085"/>
            <a:chOff x="8370286" y="5540829"/>
            <a:chExt cx="1905000" cy="1230085"/>
          </a:xfrm>
          <a:solidFill>
            <a:schemeClr val="accent1"/>
          </a:solidFill>
        </p:grpSpPr>
        <p:sp>
          <p:nvSpPr>
            <p:cNvPr id="9" name="Rectangle 8">
              <a:extLst>
                <a:ext uri="{FF2B5EF4-FFF2-40B4-BE49-F238E27FC236}">
                  <a16:creationId xmlns:a16="http://schemas.microsoft.com/office/drawing/2014/main" id="{D8182EAD-C76F-4061-9E99-86C8FE43665D}"/>
                </a:ext>
              </a:extLst>
            </p:cNvPr>
            <p:cNvSpPr/>
            <p:nvPr/>
          </p:nvSpPr>
          <p:spPr>
            <a:xfrm>
              <a:off x="8370286" y="5540829"/>
              <a:ext cx="1905000" cy="1230085"/>
            </a:xfrm>
            <a:prstGeom prst="rect">
              <a:avLst/>
            </a:prstGeom>
            <a:grpFill/>
            <a:ln w="254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10" name="TextBox 9">
              <a:extLst>
                <a:ext uri="{FF2B5EF4-FFF2-40B4-BE49-F238E27FC236}">
                  <a16:creationId xmlns:a16="http://schemas.microsoft.com/office/drawing/2014/main" id="{5464FA0D-2E01-93B8-AE69-3BA2734C1FA5}"/>
                </a:ext>
              </a:extLst>
            </p:cNvPr>
            <p:cNvSpPr txBox="1"/>
            <p:nvPr/>
          </p:nvSpPr>
          <p:spPr>
            <a:xfrm>
              <a:off x="8713484" y="6126029"/>
              <a:ext cx="1218603" cy="523220"/>
            </a:xfrm>
            <a:prstGeom prst="rect">
              <a:avLst/>
            </a:prstGeom>
            <a:grp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Arial"/>
                  <a:ea typeface="+mn-ea"/>
                  <a:cs typeface="+mn-cs"/>
                </a:rPr>
                <a:t>International </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Arial"/>
                  <a:ea typeface="+mn-ea"/>
                  <a:cs typeface="+mn-cs"/>
                </a:rPr>
                <a:t>Marketing</a:t>
              </a:r>
            </a:p>
          </p:txBody>
        </p:sp>
      </p:grpSp>
      <p:grpSp>
        <p:nvGrpSpPr>
          <p:cNvPr id="18" name="Group 17">
            <a:extLst>
              <a:ext uri="{FF2B5EF4-FFF2-40B4-BE49-F238E27FC236}">
                <a16:creationId xmlns:a16="http://schemas.microsoft.com/office/drawing/2014/main" id="{2D938E47-E3D9-B95A-6060-94229294A9EF}"/>
              </a:ext>
            </a:extLst>
          </p:cNvPr>
          <p:cNvGrpSpPr/>
          <p:nvPr/>
        </p:nvGrpSpPr>
        <p:grpSpPr>
          <a:xfrm>
            <a:off x="3590878" y="4942618"/>
            <a:ext cx="1905000" cy="1230085"/>
            <a:chOff x="1835208" y="5510986"/>
            <a:chExt cx="1905000" cy="1230085"/>
          </a:xfrm>
          <a:solidFill>
            <a:schemeClr val="accent1"/>
          </a:solidFill>
        </p:grpSpPr>
        <p:sp>
          <p:nvSpPr>
            <p:cNvPr id="12" name="Rectangle 11">
              <a:extLst>
                <a:ext uri="{FF2B5EF4-FFF2-40B4-BE49-F238E27FC236}">
                  <a16:creationId xmlns:a16="http://schemas.microsoft.com/office/drawing/2014/main" id="{CAEA4270-98DC-E129-E324-93534F4E88AD}"/>
                </a:ext>
              </a:extLst>
            </p:cNvPr>
            <p:cNvSpPr/>
            <p:nvPr/>
          </p:nvSpPr>
          <p:spPr>
            <a:xfrm>
              <a:off x="1835208" y="5510986"/>
              <a:ext cx="1905000" cy="1230085"/>
            </a:xfrm>
            <a:prstGeom prst="rect">
              <a:avLst/>
            </a:prstGeom>
            <a:grpFill/>
            <a:ln w="254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14" name="TextBox 13">
              <a:extLst>
                <a:ext uri="{FF2B5EF4-FFF2-40B4-BE49-F238E27FC236}">
                  <a16:creationId xmlns:a16="http://schemas.microsoft.com/office/drawing/2014/main" id="{13A8CFD7-E16E-0AA6-23A3-7FB914C817C9}"/>
                </a:ext>
              </a:extLst>
            </p:cNvPr>
            <p:cNvSpPr txBox="1"/>
            <p:nvPr/>
          </p:nvSpPr>
          <p:spPr>
            <a:xfrm>
              <a:off x="2307448" y="6246017"/>
              <a:ext cx="960519" cy="307777"/>
            </a:xfrm>
            <a:prstGeom prst="rect">
              <a:avLst/>
            </a:prstGeom>
            <a:grp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Arial"/>
                  <a:ea typeface="+mn-ea"/>
                  <a:cs typeface="+mn-cs"/>
                </a:rPr>
                <a:t>Financing</a:t>
              </a:r>
            </a:p>
          </p:txBody>
        </p:sp>
      </p:grpSp>
      <p:grpSp>
        <p:nvGrpSpPr>
          <p:cNvPr id="19" name="Group 18">
            <a:extLst>
              <a:ext uri="{FF2B5EF4-FFF2-40B4-BE49-F238E27FC236}">
                <a16:creationId xmlns:a16="http://schemas.microsoft.com/office/drawing/2014/main" id="{E3A5006F-FB1C-82C2-269A-0B1AC4F840FF}"/>
              </a:ext>
            </a:extLst>
          </p:cNvPr>
          <p:cNvGrpSpPr/>
          <p:nvPr/>
        </p:nvGrpSpPr>
        <p:grpSpPr>
          <a:xfrm>
            <a:off x="4759870" y="3384451"/>
            <a:ext cx="1905000" cy="1246465"/>
            <a:chOff x="6203833" y="5540829"/>
            <a:chExt cx="1905000" cy="1246465"/>
          </a:xfrm>
          <a:solidFill>
            <a:schemeClr val="accent1"/>
          </a:solidFill>
        </p:grpSpPr>
        <p:sp>
          <p:nvSpPr>
            <p:cNvPr id="20" name="Rectangle 19">
              <a:extLst>
                <a:ext uri="{FF2B5EF4-FFF2-40B4-BE49-F238E27FC236}">
                  <a16:creationId xmlns:a16="http://schemas.microsoft.com/office/drawing/2014/main" id="{22E688E8-0156-FC82-718E-6AA3BF8FFAC9}"/>
                </a:ext>
              </a:extLst>
            </p:cNvPr>
            <p:cNvSpPr/>
            <p:nvPr/>
          </p:nvSpPr>
          <p:spPr>
            <a:xfrm>
              <a:off x="6203833" y="5540829"/>
              <a:ext cx="1905000" cy="1230085"/>
            </a:xfrm>
            <a:prstGeom prst="rect">
              <a:avLst/>
            </a:prstGeom>
            <a:grpFill/>
            <a:ln w="254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21" name="TextBox 20">
              <a:extLst>
                <a:ext uri="{FF2B5EF4-FFF2-40B4-BE49-F238E27FC236}">
                  <a16:creationId xmlns:a16="http://schemas.microsoft.com/office/drawing/2014/main" id="{E95EBCA0-1B8A-2EFC-A2DB-6C430EA3507A}"/>
                </a:ext>
              </a:extLst>
            </p:cNvPr>
            <p:cNvSpPr txBox="1"/>
            <p:nvPr/>
          </p:nvSpPr>
          <p:spPr>
            <a:xfrm>
              <a:off x="6312191" y="6048630"/>
              <a:ext cx="1796642" cy="738664"/>
            </a:xfrm>
            <a:prstGeom prst="rect">
              <a:avLst/>
            </a:prstGeom>
            <a:grp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Arial"/>
                  <a:ea typeface="+mn-ea"/>
                  <a:cs typeface="+mn-cs"/>
                </a:rPr>
                <a:t>Federal Funding from Design to Deployment</a:t>
              </a:r>
            </a:p>
          </p:txBody>
        </p:sp>
      </p:grpSp>
      <p:grpSp>
        <p:nvGrpSpPr>
          <p:cNvPr id="27" name="Group 26">
            <a:extLst>
              <a:ext uri="{FF2B5EF4-FFF2-40B4-BE49-F238E27FC236}">
                <a16:creationId xmlns:a16="http://schemas.microsoft.com/office/drawing/2014/main" id="{3FA188D5-E326-A845-2D54-B70B9856DE64}"/>
              </a:ext>
            </a:extLst>
          </p:cNvPr>
          <p:cNvGrpSpPr/>
          <p:nvPr/>
        </p:nvGrpSpPr>
        <p:grpSpPr>
          <a:xfrm>
            <a:off x="5857254" y="1694920"/>
            <a:ext cx="1905000" cy="1230085"/>
            <a:chOff x="8370286" y="5540829"/>
            <a:chExt cx="1905000" cy="1230085"/>
          </a:xfrm>
          <a:solidFill>
            <a:schemeClr val="accent1"/>
          </a:solidFill>
        </p:grpSpPr>
        <p:sp>
          <p:nvSpPr>
            <p:cNvPr id="29" name="Rectangle 28">
              <a:extLst>
                <a:ext uri="{FF2B5EF4-FFF2-40B4-BE49-F238E27FC236}">
                  <a16:creationId xmlns:a16="http://schemas.microsoft.com/office/drawing/2014/main" id="{77AC3F57-7441-F5CC-074D-C872A0419D15}"/>
                </a:ext>
              </a:extLst>
            </p:cNvPr>
            <p:cNvSpPr/>
            <p:nvPr/>
          </p:nvSpPr>
          <p:spPr>
            <a:xfrm>
              <a:off x="8370286" y="5540829"/>
              <a:ext cx="1905000" cy="1230085"/>
            </a:xfrm>
            <a:prstGeom prst="rect">
              <a:avLst/>
            </a:prstGeom>
            <a:grpFill/>
            <a:ln w="254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31" name="TextBox 30">
              <a:extLst>
                <a:ext uri="{FF2B5EF4-FFF2-40B4-BE49-F238E27FC236}">
                  <a16:creationId xmlns:a16="http://schemas.microsoft.com/office/drawing/2014/main" id="{7D4F65F4-A0BC-10F5-2B2E-7B2DD6F4F815}"/>
                </a:ext>
              </a:extLst>
            </p:cNvPr>
            <p:cNvSpPr txBox="1"/>
            <p:nvPr/>
          </p:nvSpPr>
          <p:spPr>
            <a:xfrm>
              <a:off x="8370286" y="6126029"/>
              <a:ext cx="1905000" cy="523220"/>
            </a:xfrm>
            <a:prstGeom prst="rect">
              <a:avLst/>
            </a:prstGeom>
            <a:grp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Arial"/>
                  <a:ea typeface="+mn-ea"/>
                  <a:cs typeface="+mn-cs"/>
                </a:rPr>
                <a:t>Project Management and Construction</a:t>
              </a:r>
            </a:p>
          </p:txBody>
        </p:sp>
      </p:grpSp>
      <p:grpSp>
        <p:nvGrpSpPr>
          <p:cNvPr id="38" name="Group 37">
            <a:extLst>
              <a:ext uri="{FF2B5EF4-FFF2-40B4-BE49-F238E27FC236}">
                <a16:creationId xmlns:a16="http://schemas.microsoft.com/office/drawing/2014/main" id="{05868DF8-8B95-0F7E-E5FE-48896B81DC27}"/>
              </a:ext>
            </a:extLst>
          </p:cNvPr>
          <p:cNvGrpSpPr/>
          <p:nvPr/>
        </p:nvGrpSpPr>
        <p:grpSpPr>
          <a:xfrm>
            <a:off x="5935723" y="4940231"/>
            <a:ext cx="1905000" cy="1230085"/>
            <a:chOff x="8370286" y="5540829"/>
            <a:chExt cx="1905000" cy="1230085"/>
          </a:xfrm>
          <a:solidFill>
            <a:schemeClr val="accent1"/>
          </a:solidFill>
        </p:grpSpPr>
        <p:sp>
          <p:nvSpPr>
            <p:cNvPr id="39" name="Rectangle 38">
              <a:extLst>
                <a:ext uri="{FF2B5EF4-FFF2-40B4-BE49-F238E27FC236}">
                  <a16:creationId xmlns:a16="http://schemas.microsoft.com/office/drawing/2014/main" id="{F94DAFCE-D668-922D-A62D-E98558EED450}"/>
                </a:ext>
              </a:extLst>
            </p:cNvPr>
            <p:cNvSpPr/>
            <p:nvPr/>
          </p:nvSpPr>
          <p:spPr>
            <a:xfrm>
              <a:off x="8370286" y="5540829"/>
              <a:ext cx="1905000" cy="1230085"/>
            </a:xfrm>
            <a:prstGeom prst="rect">
              <a:avLst/>
            </a:prstGeom>
            <a:grpFill/>
            <a:ln w="254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40" name="TextBox 39">
              <a:extLst>
                <a:ext uri="{FF2B5EF4-FFF2-40B4-BE49-F238E27FC236}">
                  <a16:creationId xmlns:a16="http://schemas.microsoft.com/office/drawing/2014/main" id="{236C58E6-7732-B47C-216E-93D079AB5BB0}"/>
                </a:ext>
              </a:extLst>
            </p:cNvPr>
            <p:cNvSpPr txBox="1"/>
            <p:nvPr/>
          </p:nvSpPr>
          <p:spPr>
            <a:xfrm>
              <a:off x="8370286" y="6126029"/>
              <a:ext cx="1905000" cy="523220"/>
            </a:xfrm>
            <a:prstGeom prst="rect">
              <a:avLst/>
            </a:prstGeom>
            <a:grp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Arial"/>
                  <a:ea typeface="+mn-ea"/>
                  <a:cs typeface="+mn-cs"/>
                </a:rPr>
                <a:t>Security and Safeguards</a:t>
              </a:r>
            </a:p>
          </p:txBody>
        </p:sp>
      </p:grpSp>
      <p:grpSp>
        <p:nvGrpSpPr>
          <p:cNvPr id="46" name="Group 45">
            <a:extLst>
              <a:ext uri="{FF2B5EF4-FFF2-40B4-BE49-F238E27FC236}">
                <a16:creationId xmlns:a16="http://schemas.microsoft.com/office/drawing/2014/main" id="{984D6582-172F-E74F-E8D6-28E95A5AF884}"/>
              </a:ext>
            </a:extLst>
          </p:cNvPr>
          <p:cNvGrpSpPr/>
          <p:nvPr/>
        </p:nvGrpSpPr>
        <p:grpSpPr>
          <a:xfrm>
            <a:off x="7148262" y="3369093"/>
            <a:ext cx="1905000" cy="1230085"/>
            <a:chOff x="8370286" y="5540829"/>
            <a:chExt cx="1905000" cy="1230085"/>
          </a:xfrm>
          <a:solidFill>
            <a:schemeClr val="accent1"/>
          </a:solidFill>
        </p:grpSpPr>
        <p:sp>
          <p:nvSpPr>
            <p:cNvPr id="47" name="Rectangle 46">
              <a:extLst>
                <a:ext uri="{FF2B5EF4-FFF2-40B4-BE49-F238E27FC236}">
                  <a16:creationId xmlns:a16="http://schemas.microsoft.com/office/drawing/2014/main" id="{061E9C42-8839-7189-854F-67819F5640D6}"/>
                </a:ext>
              </a:extLst>
            </p:cNvPr>
            <p:cNvSpPr/>
            <p:nvPr/>
          </p:nvSpPr>
          <p:spPr>
            <a:xfrm>
              <a:off x="8370286" y="5540829"/>
              <a:ext cx="1905000" cy="1230085"/>
            </a:xfrm>
            <a:prstGeom prst="rect">
              <a:avLst/>
            </a:prstGeom>
            <a:grpFill/>
            <a:ln w="254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48" name="TextBox 47">
              <a:extLst>
                <a:ext uri="{FF2B5EF4-FFF2-40B4-BE49-F238E27FC236}">
                  <a16:creationId xmlns:a16="http://schemas.microsoft.com/office/drawing/2014/main" id="{29A50309-8E0B-2ACA-C2A8-45E312ADFF62}"/>
                </a:ext>
              </a:extLst>
            </p:cNvPr>
            <p:cNvSpPr txBox="1"/>
            <p:nvPr/>
          </p:nvSpPr>
          <p:spPr>
            <a:xfrm>
              <a:off x="8370286" y="6021275"/>
              <a:ext cx="1905000" cy="738664"/>
            </a:xfrm>
            <a:prstGeom prst="rect">
              <a:avLst/>
            </a:prstGeom>
            <a:grp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Arial"/>
                  <a:ea typeface="+mn-ea"/>
                  <a:cs typeface="+mn-cs"/>
                </a:rPr>
                <a:t>Community Engagement and Acceptance</a:t>
              </a:r>
            </a:p>
          </p:txBody>
        </p:sp>
      </p:grpSp>
      <p:grpSp>
        <p:nvGrpSpPr>
          <p:cNvPr id="50" name="Group 49">
            <a:extLst>
              <a:ext uri="{FF2B5EF4-FFF2-40B4-BE49-F238E27FC236}">
                <a16:creationId xmlns:a16="http://schemas.microsoft.com/office/drawing/2014/main" id="{5B9AFF01-2E01-D1F5-1728-5547DA60AECE}"/>
              </a:ext>
            </a:extLst>
          </p:cNvPr>
          <p:cNvGrpSpPr/>
          <p:nvPr/>
        </p:nvGrpSpPr>
        <p:grpSpPr>
          <a:xfrm>
            <a:off x="2371478" y="3373382"/>
            <a:ext cx="1905000" cy="1230085"/>
            <a:chOff x="8370286" y="5540829"/>
            <a:chExt cx="1905000" cy="1230085"/>
          </a:xfrm>
          <a:solidFill>
            <a:schemeClr val="accent1"/>
          </a:solidFill>
        </p:grpSpPr>
        <p:sp>
          <p:nvSpPr>
            <p:cNvPr id="51" name="Rectangle 50">
              <a:extLst>
                <a:ext uri="{FF2B5EF4-FFF2-40B4-BE49-F238E27FC236}">
                  <a16:creationId xmlns:a16="http://schemas.microsoft.com/office/drawing/2014/main" id="{9E3B301C-A468-7E6A-2083-6A564365F0B1}"/>
                </a:ext>
              </a:extLst>
            </p:cNvPr>
            <p:cNvSpPr/>
            <p:nvPr/>
          </p:nvSpPr>
          <p:spPr>
            <a:xfrm>
              <a:off x="8370286" y="5540829"/>
              <a:ext cx="1905000" cy="1230085"/>
            </a:xfrm>
            <a:prstGeom prst="rect">
              <a:avLst/>
            </a:prstGeom>
            <a:grpFill/>
            <a:ln w="254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52" name="TextBox 51">
              <a:extLst>
                <a:ext uri="{FF2B5EF4-FFF2-40B4-BE49-F238E27FC236}">
                  <a16:creationId xmlns:a16="http://schemas.microsoft.com/office/drawing/2014/main" id="{8CEAC65A-8CD8-0ED3-1EAA-7145D907580E}"/>
                </a:ext>
              </a:extLst>
            </p:cNvPr>
            <p:cNvSpPr txBox="1"/>
            <p:nvPr/>
          </p:nvSpPr>
          <p:spPr>
            <a:xfrm>
              <a:off x="8370286" y="6075705"/>
              <a:ext cx="1905000" cy="523220"/>
            </a:xfrm>
            <a:prstGeom prst="rect">
              <a:avLst/>
            </a:prstGeom>
            <a:grp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Arial"/>
                  <a:ea typeface="+mn-ea"/>
                  <a:cs typeface="+mn-cs"/>
                </a:rPr>
                <a:t>Alternative </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Arial"/>
                  <a:ea typeface="+mn-ea"/>
                  <a:cs typeface="+mn-cs"/>
                </a:rPr>
                <a:t>Applications</a:t>
              </a:r>
            </a:p>
          </p:txBody>
        </p:sp>
      </p:grpSp>
      <p:sp>
        <p:nvSpPr>
          <p:cNvPr id="23" name="Slide Number Placeholder 1">
            <a:extLst>
              <a:ext uri="{FF2B5EF4-FFF2-40B4-BE49-F238E27FC236}">
                <a16:creationId xmlns:a16="http://schemas.microsoft.com/office/drawing/2014/main" id="{67BDE55F-DFE0-9BB7-9AC0-79A9D11305A4}"/>
              </a:ext>
            </a:extLst>
          </p:cNvPr>
          <p:cNvSpPr>
            <a:spLocks noGrp="1"/>
          </p:cNvSpPr>
          <p:nvPr>
            <p:ph type="sldNum" sz="quarter" idx="12"/>
          </p:nvPr>
        </p:nvSpPr>
        <p:spPr>
          <a:xfrm>
            <a:off x="10815321" y="6441450"/>
            <a:ext cx="401319" cy="194925"/>
          </a:xfr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46D584E9-81E4-493B-AD1D-A460B5445953}" type="slidenum">
              <a:rPr kumimoji="0" lang="en-US" sz="1267" b="0" i="0" u="none" strike="noStrike" kern="1200" cap="none" spc="0" normalizeH="0" baseline="0" noProof="0" smtClean="0">
                <a:ln>
                  <a:noFill/>
                </a:ln>
                <a:solidFill>
                  <a:srgbClr val="7F7F7F"/>
                </a:solidFill>
                <a:effectLst/>
                <a:uLnTx/>
                <a:uFillTx/>
                <a:latin typeface="Arial"/>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2</a:t>
            </a:fld>
            <a:endParaRPr kumimoji="0" lang="en-US" sz="1267" b="0" i="0" u="none" strike="noStrike" kern="1200" cap="none" spc="0" normalizeH="0" baseline="0" noProof="0">
              <a:ln>
                <a:noFill/>
              </a:ln>
              <a:solidFill>
                <a:srgbClr val="7F7F7F"/>
              </a:solidFill>
              <a:effectLst/>
              <a:uLnTx/>
              <a:uFillTx/>
              <a:latin typeface="Arial"/>
              <a:ea typeface="+mn-ea"/>
              <a:cs typeface="+mn-cs"/>
            </a:endParaRPr>
          </a:p>
        </p:txBody>
      </p:sp>
      <p:cxnSp>
        <p:nvCxnSpPr>
          <p:cNvPr id="26" name="Straight Connector 25">
            <a:extLst>
              <a:ext uri="{FF2B5EF4-FFF2-40B4-BE49-F238E27FC236}">
                <a16:creationId xmlns:a16="http://schemas.microsoft.com/office/drawing/2014/main" id="{8FFD7616-CCCA-2644-5D24-D49BC377112A}"/>
              </a:ext>
            </a:extLst>
          </p:cNvPr>
          <p:cNvCxnSpPr>
            <a:cxnSpLocks/>
          </p:cNvCxnSpPr>
          <p:nvPr/>
        </p:nvCxnSpPr>
        <p:spPr>
          <a:xfrm>
            <a:off x="0" y="1182965"/>
            <a:ext cx="12192000"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pic>
        <p:nvPicPr>
          <p:cNvPr id="35" name="Graphic 34">
            <a:extLst>
              <a:ext uri="{FF2B5EF4-FFF2-40B4-BE49-F238E27FC236}">
                <a16:creationId xmlns:a16="http://schemas.microsoft.com/office/drawing/2014/main" id="{C29B8449-8DF6-7D1D-5B63-880B3726579D}"/>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864340" y="1715202"/>
            <a:ext cx="657303" cy="657303"/>
          </a:xfrm>
          <a:prstGeom prst="rect">
            <a:avLst/>
          </a:prstGeom>
        </p:spPr>
      </p:pic>
      <p:pic>
        <p:nvPicPr>
          <p:cNvPr id="36" name="Graphic 35">
            <a:extLst>
              <a:ext uri="{FF2B5EF4-FFF2-40B4-BE49-F238E27FC236}">
                <a16:creationId xmlns:a16="http://schemas.microsoft.com/office/drawing/2014/main" id="{9DD52958-26AC-D39F-6D5D-7971C8B709DC}"/>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4193654" y="1715202"/>
            <a:ext cx="715406" cy="715406"/>
          </a:xfrm>
          <a:prstGeom prst="rect">
            <a:avLst/>
          </a:prstGeom>
        </p:spPr>
      </p:pic>
      <p:pic>
        <p:nvPicPr>
          <p:cNvPr id="37" name="Graphic 36">
            <a:extLst>
              <a:ext uri="{FF2B5EF4-FFF2-40B4-BE49-F238E27FC236}">
                <a16:creationId xmlns:a16="http://schemas.microsoft.com/office/drawing/2014/main" id="{091473D8-22F1-10E5-E982-6CDCF18D21E4}"/>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6449893" y="1766001"/>
            <a:ext cx="551280" cy="551280"/>
          </a:xfrm>
          <a:prstGeom prst="rect">
            <a:avLst/>
          </a:prstGeom>
        </p:spPr>
      </p:pic>
      <p:grpSp>
        <p:nvGrpSpPr>
          <p:cNvPr id="3077" name="Group 3076">
            <a:extLst>
              <a:ext uri="{FF2B5EF4-FFF2-40B4-BE49-F238E27FC236}">
                <a16:creationId xmlns:a16="http://schemas.microsoft.com/office/drawing/2014/main" id="{7D722CB3-3157-62F9-A78D-6C7527DAD83C}"/>
              </a:ext>
            </a:extLst>
          </p:cNvPr>
          <p:cNvGrpSpPr/>
          <p:nvPr/>
        </p:nvGrpSpPr>
        <p:grpSpPr>
          <a:xfrm>
            <a:off x="8139422" y="1693287"/>
            <a:ext cx="1905000" cy="1230085"/>
            <a:chOff x="8139422" y="1693287"/>
            <a:chExt cx="1905000" cy="1230085"/>
          </a:xfrm>
        </p:grpSpPr>
        <p:sp>
          <p:nvSpPr>
            <p:cNvPr id="43" name="Rectangle 42">
              <a:extLst>
                <a:ext uri="{FF2B5EF4-FFF2-40B4-BE49-F238E27FC236}">
                  <a16:creationId xmlns:a16="http://schemas.microsoft.com/office/drawing/2014/main" id="{28ED7110-2AD6-BD7A-D45A-9C6327D40346}"/>
                </a:ext>
              </a:extLst>
            </p:cNvPr>
            <p:cNvSpPr/>
            <p:nvPr/>
          </p:nvSpPr>
          <p:spPr>
            <a:xfrm>
              <a:off x="8139422" y="1693287"/>
              <a:ext cx="1905000" cy="1230085"/>
            </a:xfrm>
            <a:prstGeom prst="rect">
              <a:avLst/>
            </a:prstGeom>
            <a:solidFill>
              <a:schemeClr val="accent1"/>
            </a:solidFill>
            <a:ln w="254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44" name="TextBox 43">
              <a:extLst>
                <a:ext uri="{FF2B5EF4-FFF2-40B4-BE49-F238E27FC236}">
                  <a16:creationId xmlns:a16="http://schemas.microsoft.com/office/drawing/2014/main" id="{09D11322-D95D-7554-758F-F2FAD4D24E4E}"/>
                </a:ext>
              </a:extLst>
            </p:cNvPr>
            <p:cNvSpPr txBox="1"/>
            <p:nvPr/>
          </p:nvSpPr>
          <p:spPr>
            <a:xfrm>
              <a:off x="8139422" y="2431464"/>
              <a:ext cx="1905000" cy="307777"/>
            </a:xfrm>
            <a:prstGeom prst="rect">
              <a:avLst/>
            </a:prstGeom>
            <a:solidFill>
              <a:schemeClr val="accent1"/>
            </a:solid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Arial"/>
                  <a:ea typeface="+mn-ea"/>
                  <a:cs typeface="+mn-cs"/>
                </a:rPr>
                <a:t>Workforce</a:t>
              </a:r>
            </a:p>
          </p:txBody>
        </p:sp>
        <p:pic>
          <p:nvPicPr>
            <p:cNvPr id="61" name="Graphic 60">
              <a:extLst>
                <a:ext uri="{FF2B5EF4-FFF2-40B4-BE49-F238E27FC236}">
                  <a16:creationId xmlns:a16="http://schemas.microsoft.com/office/drawing/2014/main" id="{431CC4FB-3748-1DE2-86CE-349547C69BFB}"/>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8789277" y="1768166"/>
              <a:ext cx="617153" cy="617153"/>
            </a:xfrm>
            <a:prstGeom prst="rect">
              <a:avLst/>
            </a:prstGeom>
          </p:spPr>
        </p:pic>
      </p:grpSp>
      <p:pic>
        <p:nvPicPr>
          <p:cNvPr id="62" name="Graphic 61">
            <a:extLst>
              <a:ext uri="{FF2B5EF4-FFF2-40B4-BE49-F238E27FC236}">
                <a16:creationId xmlns:a16="http://schemas.microsoft.com/office/drawing/2014/main" id="{CEA19158-1D41-4E45-B5DE-EF74C6A1CCA1}"/>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3069692" y="3397251"/>
            <a:ext cx="613752" cy="613752"/>
          </a:xfrm>
          <a:prstGeom prst="rect">
            <a:avLst/>
          </a:prstGeom>
        </p:spPr>
      </p:pic>
      <p:pic>
        <p:nvPicPr>
          <p:cNvPr id="63" name="Graphic 62">
            <a:extLst>
              <a:ext uri="{FF2B5EF4-FFF2-40B4-BE49-F238E27FC236}">
                <a16:creationId xmlns:a16="http://schemas.microsoft.com/office/drawing/2014/main" id="{954188A3-68BF-B276-0C8F-3126486B5203}"/>
              </a:ext>
            </a:extLst>
          </p:cNvPr>
          <p:cNvPicPr>
            <a:picLocks noChangeAspect="1"/>
          </p:cNvPicPr>
          <p:nvPr/>
        </p:nvPicPr>
        <p:blipFill>
          <a:blip r:embed="rId15" cstate="print">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5464181" y="3431953"/>
            <a:ext cx="462042" cy="462042"/>
          </a:xfrm>
          <a:prstGeom prst="rect">
            <a:avLst/>
          </a:prstGeom>
        </p:spPr>
      </p:pic>
      <p:pic>
        <p:nvPicPr>
          <p:cNvPr id="3072" name="Graphic 3071">
            <a:extLst>
              <a:ext uri="{FF2B5EF4-FFF2-40B4-BE49-F238E27FC236}">
                <a16:creationId xmlns:a16="http://schemas.microsoft.com/office/drawing/2014/main" id="{1FE31AB8-86FF-69F7-A5A2-850D934D18D7}"/>
              </a:ext>
            </a:extLst>
          </p:cNvPr>
          <p:cNvPicPr>
            <a:picLocks noChangeAspect="1"/>
          </p:cNvPicPr>
          <p:nvPr/>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7762254" y="3362736"/>
            <a:ext cx="640934" cy="640934"/>
          </a:xfrm>
          <a:prstGeom prst="rect">
            <a:avLst/>
          </a:prstGeom>
        </p:spPr>
      </p:pic>
      <p:pic>
        <p:nvPicPr>
          <p:cNvPr id="3073" name="Graphic 3072">
            <a:extLst>
              <a:ext uri="{FF2B5EF4-FFF2-40B4-BE49-F238E27FC236}">
                <a16:creationId xmlns:a16="http://schemas.microsoft.com/office/drawing/2014/main" id="{C99DE4C6-886A-52C4-363A-C9337AB94804}"/>
              </a:ext>
            </a:extLst>
          </p:cNvPr>
          <p:cNvPicPr>
            <a:picLocks noChangeAspect="1"/>
          </p:cNvPicPr>
          <p:nvPr/>
        </p:nvPicPr>
        <p:blipFill>
          <a:blip r:embed="rId19">
            <a:extLst>
              <a:ext uri="{28A0092B-C50C-407E-A947-70E740481C1C}">
                <a14:useLocalDpi xmlns:a14="http://schemas.microsoft.com/office/drawing/2010/main" val="0"/>
              </a:ext>
              <a:ext uri="{96DAC541-7B7A-43D3-8B79-37D633B846F1}">
                <asvg:svgBlip xmlns:asvg="http://schemas.microsoft.com/office/drawing/2016/SVG/main" r:embed="rId20"/>
              </a:ext>
            </a:extLst>
          </a:blip>
          <a:stretch>
            <a:fillRect/>
          </a:stretch>
        </p:blipFill>
        <p:spPr>
          <a:xfrm>
            <a:off x="4183546" y="4999139"/>
            <a:ext cx="688077" cy="688077"/>
          </a:xfrm>
          <a:prstGeom prst="rect">
            <a:avLst/>
          </a:prstGeom>
        </p:spPr>
      </p:pic>
      <p:pic>
        <p:nvPicPr>
          <p:cNvPr id="3075" name="Graphic 3074">
            <a:extLst>
              <a:ext uri="{FF2B5EF4-FFF2-40B4-BE49-F238E27FC236}">
                <a16:creationId xmlns:a16="http://schemas.microsoft.com/office/drawing/2014/main" id="{1AA11E3A-539B-42F9-939D-0D59A45D6EA1}"/>
              </a:ext>
            </a:extLst>
          </p:cNvPr>
          <p:cNvPicPr>
            <a:picLocks noChangeAspect="1"/>
          </p:cNvPicPr>
          <p:nvPr/>
        </p:nvPicPr>
        <p:blipFill>
          <a:blip r:embed="rId21">
            <a:extLst>
              <a:ext uri="{28A0092B-C50C-407E-A947-70E740481C1C}">
                <a14:useLocalDpi xmlns:a14="http://schemas.microsoft.com/office/drawing/2010/main" val="0"/>
              </a:ext>
              <a:ext uri="{96DAC541-7B7A-43D3-8B79-37D633B846F1}">
                <asvg:svgBlip xmlns:asvg="http://schemas.microsoft.com/office/drawing/2016/SVG/main" r:embed="rId22"/>
              </a:ext>
            </a:extLst>
          </a:blip>
          <a:stretch>
            <a:fillRect/>
          </a:stretch>
        </p:blipFill>
        <p:spPr>
          <a:xfrm>
            <a:off x="6625042" y="5032053"/>
            <a:ext cx="523220" cy="523220"/>
          </a:xfrm>
          <a:prstGeom prst="rect">
            <a:avLst/>
          </a:prstGeom>
        </p:spPr>
      </p:pic>
      <p:pic>
        <p:nvPicPr>
          <p:cNvPr id="3076" name="Graphic 3075">
            <a:extLst>
              <a:ext uri="{FF2B5EF4-FFF2-40B4-BE49-F238E27FC236}">
                <a16:creationId xmlns:a16="http://schemas.microsoft.com/office/drawing/2014/main" id="{B0BDD635-C603-5C5E-BE9E-7FC1332465F3}"/>
              </a:ext>
            </a:extLst>
          </p:cNvPr>
          <p:cNvPicPr>
            <a:picLocks noChangeAspect="1"/>
          </p:cNvPicPr>
          <p:nvPr/>
        </p:nvPicPr>
        <p:blipFill>
          <a:blip r:embed="rId19">
            <a:extLst>
              <a:ext uri="{28A0092B-C50C-407E-A947-70E740481C1C}">
                <a14:useLocalDpi xmlns:a14="http://schemas.microsoft.com/office/drawing/2010/main" val="0"/>
              </a:ext>
              <a:ext uri="{96DAC541-7B7A-43D3-8B79-37D633B846F1}">
                <asvg:svgBlip xmlns:asvg="http://schemas.microsoft.com/office/drawing/2016/SVG/main" r:embed="rId20"/>
              </a:ext>
            </a:extLst>
          </a:blip>
          <a:stretch>
            <a:fillRect/>
          </a:stretch>
        </p:blipFill>
        <p:spPr>
          <a:xfrm>
            <a:off x="8747883" y="4908036"/>
            <a:ext cx="688077" cy="688077"/>
          </a:xfrm>
          <a:prstGeom prst="rect">
            <a:avLst/>
          </a:prstGeom>
        </p:spPr>
      </p:pic>
    </p:spTree>
    <p:extLst>
      <p:ext uri="{BB962C8B-B14F-4D97-AF65-F5344CB8AC3E}">
        <p14:creationId xmlns:p14="http://schemas.microsoft.com/office/powerpoint/2010/main" val="25950389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able 6">
            <a:extLst>
              <a:ext uri="{FF2B5EF4-FFF2-40B4-BE49-F238E27FC236}">
                <a16:creationId xmlns:a16="http://schemas.microsoft.com/office/drawing/2014/main" id="{7BE66905-3B0F-BE9D-49AE-893BFEB78F29}"/>
              </a:ext>
            </a:extLst>
          </p:cNvPr>
          <p:cNvGraphicFramePr>
            <a:graphicFrameLocks noGrp="1"/>
          </p:cNvGraphicFramePr>
          <p:nvPr/>
        </p:nvGraphicFramePr>
        <p:xfrm>
          <a:off x="824425" y="1271217"/>
          <a:ext cx="10543150" cy="4829974"/>
        </p:xfrm>
        <a:graphic>
          <a:graphicData uri="http://schemas.openxmlformats.org/drawingml/2006/table">
            <a:tbl>
              <a:tblPr firstRow="1" bandRow="1">
                <a:tableStyleId>{5940675A-B579-460E-94D1-54222C63F5DA}</a:tableStyleId>
              </a:tblPr>
              <a:tblGrid>
                <a:gridCol w="2480704">
                  <a:extLst>
                    <a:ext uri="{9D8B030D-6E8A-4147-A177-3AD203B41FA5}">
                      <a16:colId xmlns:a16="http://schemas.microsoft.com/office/drawing/2014/main" val="133159824"/>
                    </a:ext>
                  </a:extLst>
                </a:gridCol>
                <a:gridCol w="3289312">
                  <a:extLst>
                    <a:ext uri="{9D8B030D-6E8A-4147-A177-3AD203B41FA5}">
                      <a16:colId xmlns:a16="http://schemas.microsoft.com/office/drawing/2014/main" val="3776971203"/>
                    </a:ext>
                  </a:extLst>
                </a:gridCol>
                <a:gridCol w="4773134">
                  <a:extLst>
                    <a:ext uri="{9D8B030D-6E8A-4147-A177-3AD203B41FA5}">
                      <a16:colId xmlns:a16="http://schemas.microsoft.com/office/drawing/2014/main" val="3973352863"/>
                    </a:ext>
                  </a:extLst>
                </a:gridCol>
              </a:tblGrid>
              <a:tr h="669454">
                <a:tc>
                  <a:txBody>
                    <a:bodyPr/>
                    <a:lstStyle/>
                    <a:p>
                      <a:r>
                        <a:rPr lang="en-US" sz="1100" b="1">
                          <a:solidFill>
                            <a:schemeClr val="bg1"/>
                          </a:solidFill>
                        </a:rPr>
                        <a:t>Reactor Technology</a:t>
                      </a:r>
                    </a:p>
                  </a:txBody>
                  <a:tcPr anchor="ctr">
                    <a:solidFill>
                      <a:schemeClr val="accent1"/>
                    </a:solidFill>
                  </a:tcPr>
                </a:tc>
                <a:tc>
                  <a:txBody>
                    <a:bodyPr/>
                    <a:lstStyle/>
                    <a:p>
                      <a:r>
                        <a:rPr lang="en-US" sz="1100" b="1">
                          <a:solidFill>
                            <a:schemeClr val="bg1"/>
                          </a:solidFill>
                        </a:rPr>
                        <a:t>Technology Experience</a:t>
                      </a:r>
                    </a:p>
                  </a:txBody>
                  <a:tcPr anchor="ctr">
                    <a:solidFill>
                      <a:schemeClr val="accent1"/>
                    </a:solidFill>
                  </a:tcPr>
                </a:tc>
                <a:tc>
                  <a:txBody>
                    <a:bodyPr/>
                    <a:lstStyle/>
                    <a:p>
                      <a:r>
                        <a:rPr lang="en-US" sz="1100" b="1">
                          <a:solidFill>
                            <a:schemeClr val="bg1"/>
                          </a:solidFill>
                        </a:rPr>
                        <a:t>Technology Gaps</a:t>
                      </a:r>
                    </a:p>
                  </a:txBody>
                  <a:tcPr anchor="ctr">
                    <a:solidFill>
                      <a:schemeClr val="accent1"/>
                    </a:solidFill>
                  </a:tcPr>
                </a:tc>
                <a:extLst>
                  <a:ext uri="{0D108BD9-81ED-4DB2-BD59-A6C34878D82A}">
                    <a16:rowId xmlns:a16="http://schemas.microsoft.com/office/drawing/2014/main" val="609749524"/>
                  </a:ext>
                </a:extLst>
              </a:tr>
              <a:tr h="0">
                <a:tc>
                  <a:txBody>
                    <a:bodyPr/>
                    <a:lstStyle/>
                    <a:p>
                      <a:r>
                        <a:rPr lang="en-US" sz="1100" b="1"/>
                        <a:t>Small Modular LWR</a:t>
                      </a:r>
                    </a:p>
                  </a:txBody>
                  <a:tcPr anchor="ctr">
                    <a:solidFill>
                      <a:srgbClr val="008000">
                        <a:alpha val="30196"/>
                      </a:srgbClr>
                    </a:solidFill>
                  </a:tcPr>
                </a:tc>
                <a:tc>
                  <a:txBody>
                    <a:bodyPr/>
                    <a:lstStyle/>
                    <a:p>
                      <a:pPr marL="0" marR="0" indent="0">
                        <a:lnSpc>
                          <a:spcPct val="100000"/>
                        </a:lnSpc>
                        <a:spcBef>
                          <a:spcPts val="0"/>
                        </a:spcBef>
                        <a:spcAft>
                          <a:spcPts val="600"/>
                        </a:spcAft>
                      </a:pPr>
                      <a:r>
                        <a:rPr lang="en-US" sz="1100">
                          <a:effectLst/>
                          <a:latin typeface="+mn-lt"/>
                          <a:ea typeface="Calibri" panose="020F0502020204030204" pitchFamily="34" charset="0"/>
                          <a:cs typeface="Times New Roman" panose="02020603050405020304" pitchFamily="18" charset="0"/>
                        </a:rPr>
                        <a:t>Evolution from currently operating LWRs</a:t>
                      </a:r>
                      <a:endParaRPr lang="en-US" sz="1100">
                        <a:effectLst/>
                        <a:latin typeface="+mn-lt"/>
                        <a:ea typeface="Arial" panose="020B0604020202020204" pitchFamily="34" charset="0"/>
                        <a:cs typeface="Times New Roman" panose="02020603050405020304" pitchFamily="18" charset="0"/>
                      </a:endParaRPr>
                    </a:p>
                  </a:txBody>
                  <a:tcPr marL="68580" marR="68580" marT="0" marB="0" anchor="ctr">
                    <a:solidFill>
                      <a:srgbClr val="008000">
                        <a:alpha val="30196"/>
                      </a:srgbClr>
                    </a:solidFill>
                  </a:tcPr>
                </a:tc>
                <a:tc>
                  <a:txBody>
                    <a:bodyPr/>
                    <a:lstStyle/>
                    <a:p>
                      <a:r>
                        <a:rPr lang="en-US" sz="1100" b="0"/>
                        <a:t>Develop and qualify unique plant components</a:t>
                      </a:r>
                    </a:p>
                  </a:txBody>
                  <a:tcPr anchor="ctr">
                    <a:solidFill>
                      <a:srgbClr val="008000">
                        <a:alpha val="30196"/>
                      </a:srgbClr>
                    </a:solidFill>
                  </a:tcPr>
                </a:tc>
                <a:extLst>
                  <a:ext uri="{0D108BD9-81ED-4DB2-BD59-A6C34878D82A}">
                    <a16:rowId xmlns:a16="http://schemas.microsoft.com/office/drawing/2014/main" val="1376654434"/>
                  </a:ext>
                </a:extLst>
              </a:tr>
              <a:tr h="0">
                <a:tc>
                  <a:txBody>
                    <a:bodyPr/>
                    <a:lstStyle/>
                    <a:p>
                      <a:r>
                        <a:rPr lang="en-US" sz="1100" b="1"/>
                        <a:t>Liquid Metal Fast Reactor</a:t>
                      </a:r>
                    </a:p>
                  </a:txBody>
                  <a:tcPr anchor="ctr">
                    <a:solidFill>
                      <a:srgbClr val="99CC00">
                        <a:alpha val="30196"/>
                      </a:srgbClr>
                    </a:solidFill>
                  </a:tcPr>
                </a:tc>
                <a:tc>
                  <a:txBody>
                    <a:bodyPr/>
                    <a:lstStyle/>
                    <a:p>
                      <a:pPr marL="0" marR="0" indent="0">
                        <a:lnSpc>
                          <a:spcPct val="100000"/>
                        </a:lnSpc>
                        <a:spcBef>
                          <a:spcPts val="0"/>
                        </a:spcBef>
                        <a:spcAft>
                          <a:spcPts val="0"/>
                        </a:spcAft>
                      </a:pPr>
                      <a:r>
                        <a:rPr lang="en-US" sz="1100">
                          <a:effectLst/>
                          <a:latin typeface="+mn-lt"/>
                          <a:ea typeface="Calibri" panose="020F0502020204030204" pitchFamily="34" charset="0"/>
                          <a:cs typeface="Times New Roman" panose="02020603050405020304" pitchFamily="18" charset="0"/>
                        </a:rPr>
                        <a:t>Several small SFRs operating worldwide </a:t>
                      </a:r>
                      <a:endParaRPr lang="en-US" sz="1100">
                        <a:effectLst/>
                        <a:latin typeface="+mn-lt"/>
                        <a:ea typeface="Arial" panose="020B0604020202020204" pitchFamily="34" charset="0"/>
                        <a:cs typeface="Times New Roman" panose="02020603050405020304" pitchFamily="18" charset="0"/>
                      </a:endParaRPr>
                    </a:p>
                  </a:txBody>
                  <a:tcPr marL="68580" marR="68580" marT="0" marB="0" anchor="ctr">
                    <a:solidFill>
                      <a:srgbClr val="99CC00">
                        <a:alpha val="30196"/>
                      </a:srgbClr>
                    </a:solidFill>
                  </a:tcPr>
                </a:tc>
                <a:tc>
                  <a:txBody>
                    <a:bodyPr/>
                    <a:lstStyle/>
                    <a:p>
                      <a:r>
                        <a:rPr lang="en-US" sz="1100" b="0"/>
                        <a:t>Qualify annular metal fuel and advanced steel alloys</a:t>
                      </a:r>
                    </a:p>
                    <a:p>
                      <a:r>
                        <a:rPr lang="en-US" sz="1100" b="0"/>
                        <a:t>Perform source term experiments to reduce conservatisms </a:t>
                      </a:r>
                    </a:p>
                  </a:txBody>
                  <a:tcPr anchor="ctr">
                    <a:solidFill>
                      <a:srgbClr val="99CC00">
                        <a:alpha val="30196"/>
                      </a:srgbClr>
                    </a:solidFill>
                  </a:tcPr>
                </a:tc>
                <a:extLst>
                  <a:ext uri="{0D108BD9-81ED-4DB2-BD59-A6C34878D82A}">
                    <a16:rowId xmlns:a16="http://schemas.microsoft.com/office/drawing/2014/main" val="729243121"/>
                  </a:ext>
                </a:extLst>
              </a:tr>
              <a:tr h="0">
                <a:tc>
                  <a:txBody>
                    <a:bodyPr/>
                    <a:lstStyle/>
                    <a:p>
                      <a:r>
                        <a:rPr lang="en-US" sz="1100" b="1"/>
                        <a:t>High-Temperature Gas Reactor</a:t>
                      </a:r>
                    </a:p>
                  </a:txBody>
                  <a:tcPr anchor="ctr">
                    <a:solidFill>
                      <a:srgbClr val="99CC00">
                        <a:alpha val="30196"/>
                      </a:srgbClr>
                    </a:solidFill>
                  </a:tcPr>
                </a:tc>
                <a:tc>
                  <a:txBody>
                    <a:bodyPr/>
                    <a:lstStyle/>
                    <a:p>
                      <a:pPr marL="0" marR="0" indent="0">
                        <a:lnSpc>
                          <a:spcPct val="100000"/>
                        </a:lnSpc>
                        <a:spcBef>
                          <a:spcPts val="0"/>
                        </a:spcBef>
                        <a:spcAft>
                          <a:spcPts val="0"/>
                        </a:spcAft>
                      </a:pPr>
                      <a:r>
                        <a:rPr lang="en-US" sz="1100">
                          <a:effectLst/>
                          <a:latin typeface="+mn-lt"/>
                          <a:ea typeface="Calibri" panose="020F0502020204030204" pitchFamily="34" charset="0"/>
                          <a:cs typeface="Times New Roman" panose="02020603050405020304" pitchFamily="18" charset="0"/>
                        </a:rPr>
                        <a:t>Several small HGTRs operating worldwide </a:t>
                      </a:r>
                      <a:endParaRPr lang="en-US" sz="1100">
                        <a:effectLst/>
                        <a:latin typeface="+mn-lt"/>
                        <a:ea typeface="Arial" panose="020B0604020202020204" pitchFamily="34" charset="0"/>
                        <a:cs typeface="Times New Roman" panose="02020603050405020304" pitchFamily="18" charset="0"/>
                      </a:endParaRPr>
                    </a:p>
                  </a:txBody>
                  <a:tcPr marL="68580" marR="68580" marT="0" marB="0" anchor="ctr">
                    <a:solidFill>
                      <a:srgbClr val="99CC00">
                        <a:alpha val="30196"/>
                      </a:srgbClr>
                    </a:solidFill>
                  </a:tcPr>
                </a:tc>
                <a:tc>
                  <a:txBody>
                    <a:bodyPr/>
                    <a:lstStyle/>
                    <a:p>
                      <a:r>
                        <a:rPr lang="en-US" sz="1100" b="0"/>
                        <a:t>Qualify fuel and graphite (&lt;1100 K outlet temp designs)</a:t>
                      </a:r>
                    </a:p>
                    <a:p>
                      <a:r>
                        <a:rPr lang="en-US" sz="1100" b="0"/>
                        <a:t>Qualify materials used in heat exchanger and other components (&gt;1100 K outlet temp designs)</a:t>
                      </a:r>
                    </a:p>
                  </a:txBody>
                  <a:tcPr anchor="ctr">
                    <a:solidFill>
                      <a:srgbClr val="99CC00">
                        <a:alpha val="30196"/>
                      </a:srgbClr>
                    </a:solidFill>
                  </a:tcPr>
                </a:tc>
                <a:extLst>
                  <a:ext uri="{0D108BD9-81ED-4DB2-BD59-A6C34878D82A}">
                    <a16:rowId xmlns:a16="http://schemas.microsoft.com/office/drawing/2014/main" val="4023252287"/>
                  </a:ext>
                </a:extLst>
              </a:tr>
              <a:tr h="0">
                <a:tc>
                  <a:txBody>
                    <a:bodyPr/>
                    <a:lstStyle/>
                    <a:p>
                      <a:r>
                        <a:rPr lang="en-US" sz="1100" b="1"/>
                        <a:t>Fluoride Salt-Cooled Reactor</a:t>
                      </a:r>
                    </a:p>
                  </a:txBody>
                  <a:tcPr anchor="ctr">
                    <a:solidFill>
                      <a:schemeClr val="accent4">
                        <a:lumMod val="60000"/>
                        <a:lumOff val="40000"/>
                      </a:schemeClr>
                    </a:solidFill>
                  </a:tcPr>
                </a:tc>
                <a:tc>
                  <a:txBody>
                    <a:bodyPr/>
                    <a:lstStyle/>
                    <a:p>
                      <a:pPr marL="0" marR="0" indent="0">
                        <a:lnSpc>
                          <a:spcPct val="100000"/>
                        </a:lnSpc>
                        <a:spcBef>
                          <a:spcPts val="0"/>
                        </a:spcBef>
                        <a:spcAft>
                          <a:spcPts val="0"/>
                        </a:spcAft>
                      </a:pPr>
                      <a:r>
                        <a:rPr lang="en-US" sz="1100">
                          <a:effectLst/>
                          <a:latin typeface="+mn-lt"/>
                          <a:ea typeface="Calibri" panose="020F0502020204030204" pitchFamily="34" charset="0"/>
                          <a:cs typeface="Times New Roman" panose="02020603050405020304" pitchFamily="18" charset="0"/>
                        </a:rPr>
                        <a:t>FHR designed, reduced-scale prototype planned for demonstration</a:t>
                      </a:r>
                      <a:endParaRPr lang="en-US" sz="1100">
                        <a:effectLst/>
                        <a:latin typeface="+mn-lt"/>
                        <a:ea typeface="Arial" panose="020B0604020202020204" pitchFamily="34" charset="0"/>
                        <a:cs typeface="Times New Roman" panose="02020603050405020304" pitchFamily="18" charset="0"/>
                      </a:endParaRPr>
                    </a:p>
                  </a:txBody>
                  <a:tcPr marL="68580" marR="68580" marT="0" marB="0" anchor="ctr">
                    <a:solidFill>
                      <a:schemeClr val="accent4">
                        <a:lumMod val="60000"/>
                        <a:lumOff val="40000"/>
                      </a:schemeClr>
                    </a:solidFill>
                  </a:tcPr>
                </a:tc>
                <a:tc>
                  <a:txBody>
                    <a:bodyPr/>
                    <a:lstStyle/>
                    <a:p>
                      <a:r>
                        <a:rPr lang="en-US" sz="1100" b="0"/>
                        <a:t>Demonstrate corrosion/control for </a:t>
                      </a:r>
                      <a:r>
                        <a:rPr lang="en-US" sz="1100" b="0" err="1"/>
                        <a:t>Flibe</a:t>
                      </a:r>
                      <a:r>
                        <a:rPr lang="en-US" sz="1100" b="0"/>
                        <a:t>-based salt in presence of neutron field</a:t>
                      </a:r>
                    </a:p>
                    <a:p>
                      <a:r>
                        <a:rPr lang="en-US" sz="1100" b="0"/>
                        <a:t>Demonstrate materials for strength, corrosion resistance, and irradiation stability in operation</a:t>
                      </a:r>
                    </a:p>
                    <a:p>
                      <a:r>
                        <a:rPr lang="en-US" sz="1100" b="0"/>
                        <a:t>Demonstrate tritium migration and radioactivity control</a:t>
                      </a:r>
                    </a:p>
                    <a:p>
                      <a:r>
                        <a:rPr lang="en-US" sz="1100" b="0"/>
                        <a:t>Demonstrate passive safety systems </a:t>
                      </a:r>
                    </a:p>
                  </a:txBody>
                  <a:tcPr anchor="ctr">
                    <a:solidFill>
                      <a:schemeClr val="accent4">
                        <a:lumMod val="60000"/>
                        <a:lumOff val="40000"/>
                      </a:schemeClr>
                    </a:solidFill>
                  </a:tcPr>
                </a:tc>
                <a:extLst>
                  <a:ext uri="{0D108BD9-81ED-4DB2-BD59-A6C34878D82A}">
                    <a16:rowId xmlns:a16="http://schemas.microsoft.com/office/drawing/2014/main" val="1263200552"/>
                  </a:ext>
                </a:extLst>
              </a:tr>
              <a:tr h="0">
                <a:tc>
                  <a:txBody>
                    <a:bodyPr/>
                    <a:lstStyle/>
                    <a:p>
                      <a:r>
                        <a:rPr lang="en-US" sz="1100" b="1"/>
                        <a:t>Heat-Pipe-Cooled Reactor</a:t>
                      </a:r>
                    </a:p>
                  </a:txBody>
                  <a:tcPr anchor="ctr">
                    <a:solidFill>
                      <a:schemeClr val="accent4">
                        <a:lumMod val="60000"/>
                        <a:lumOff val="40000"/>
                      </a:schemeClr>
                    </a:solidFill>
                  </a:tcPr>
                </a:tc>
                <a:tc>
                  <a:txBody>
                    <a:bodyPr/>
                    <a:lstStyle/>
                    <a:p>
                      <a:pPr marL="0" marR="0" indent="0">
                        <a:lnSpc>
                          <a:spcPct val="100000"/>
                        </a:lnSpc>
                        <a:spcBef>
                          <a:spcPts val="0"/>
                        </a:spcBef>
                        <a:spcAft>
                          <a:spcPts val="0"/>
                        </a:spcAft>
                      </a:pPr>
                      <a:r>
                        <a:rPr lang="en-US" sz="1100">
                          <a:effectLst/>
                          <a:latin typeface="+mn-lt"/>
                          <a:ea typeface="Calibri" panose="020F0502020204030204" pitchFamily="34" charset="0"/>
                          <a:cs typeface="Times New Roman" panose="02020603050405020304" pitchFamily="18" charset="0"/>
                        </a:rPr>
                        <a:t>LANL space reactor demonstrated concept at reduced power scale</a:t>
                      </a:r>
                      <a:endParaRPr lang="en-US" sz="1100">
                        <a:effectLst/>
                        <a:latin typeface="+mn-lt"/>
                        <a:ea typeface="Arial" panose="020B0604020202020204" pitchFamily="34" charset="0"/>
                        <a:cs typeface="Times New Roman" panose="02020603050405020304" pitchFamily="18" charset="0"/>
                      </a:endParaRPr>
                    </a:p>
                  </a:txBody>
                  <a:tcPr marL="68580" marR="68580" marT="0" marB="0" anchor="ctr">
                    <a:solidFill>
                      <a:schemeClr val="accent4">
                        <a:lumMod val="60000"/>
                        <a:lumOff val="40000"/>
                      </a:schemeClr>
                    </a:solidFill>
                  </a:tcPr>
                </a:tc>
                <a:tc>
                  <a:txBody>
                    <a:bodyPr/>
                    <a:lstStyle/>
                    <a:p>
                      <a:r>
                        <a:rPr lang="en-US" sz="1100" b="0"/>
                        <a:t>Develop compact PCU operation and integration with heat-pipe core cooling</a:t>
                      </a:r>
                    </a:p>
                    <a:p>
                      <a:r>
                        <a:rPr lang="en-US" sz="1100" b="0"/>
                        <a:t>Develop autonomous control and instrumentation</a:t>
                      </a:r>
                    </a:p>
                    <a:p>
                      <a:r>
                        <a:rPr lang="en-US" sz="1100" b="0"/>
                        <a:t>Demonstrate passive safety systems </a:t>
                      </a:r>
                    </a:p>
                  </a:txBody>
                  <a:tcPr anchor="ctr">
                    <a:solidFill>
                      <a:schemeClr val="accent4">
                        <a:lumMod val="60000"/>
                        <a:lumOff val="40000"/>
                      </a:schemeClr>
                    </a:solidFill>
                  </a:tcPr>
                </a:tc>
                <a:extLst>
                  <a:ext uri="{0D108BD9-81ED-4DB2-BD59-A6C34878D82A}">
                    <a16:rowId xmlns:a16="http://schemas.microsoft.com/office/drawing/2014/main" val="2889354267"/>
                  </a:ext>
                </a:extLst>
              </a:tr>
              <a:tr h="0">
                <a:tc>
                  <a:txBody>
                    <a:bodyPr/>
                    <a:lstStyle/>
                    <a:p>
                      <a:r>
                        <a:rPr lang="en-US" sz="1100" b="1"/>
                        <a:t>Molten Salt-Fueled-Cooled Reactor</a:t>
                      </a:r>
                    </a:p>
                  </a:txBody>
                  <a:tcPr anchor="ctr">
                    <a:solidFill>
                      <a:srgbClr val="FF6600">
                        <a:alpha val="30196"/>
                      </a:srgbClr>
                    </a:solidFill>
                  </a:tcPr>
                </a:tc>
                <a:tc>
                  <a:txBody>
                    <a:bodyPr/>
                    <a:lstStyle/>
                    <a:p>
                      <a:pPr marL="0" marR="0" indent="0">
                        <a:lnSpc>
                          <a:spcPct val="100000"/>
                        </a:lnSpc>
                        <a:spcBef>
                          <a:spcPts val="0"/>
                        </a:spcBef>
                        <a:spcAft>
                          <a:spcPts val="0"/>
                        </a:spcAft>
                      </a:pPr>
                      <a:r>
                        <a:rPr lang="en-US" sz="1100">
                          <a:effectLst/>
                          <a:latin typeface="+mn-lt"/>
                          <a:ea typeface="Calibri" panose="020F0502020204030204" pitchFamily="34" charset="0"/>
                          <a:cs typeface="Times New Roman" panose="02020603050405020304" pitchFamily="18" charset="0"/>
                        </a:rPr>
                        <a:t>ORNL experiments operated without power conversion systems</a:t>
                      </a:r>
                      <a:endParaRPr lang="en-US" sz="1100">
                        <a:effectLst/>
                        <a:latin typeface="+mn-lt"/>
                        <a:ea typeface="Arial" panose="020B0604020202020204" pitchFamily="34" charset="0"/>
                        <a:cs typeface="Times New Roman" panose="02020603050405020304" pitchFamily="18" charset="0"/>
                      </a:endParaRPr>
                    </a:p>
                  </a:txBody>
                  <a:tcPr marL="68580" marR="68580" marT="0" marB="0" anchor="ctr">
                    <a:solidFill>
                      <a:srgbClr val="FF6600">
                        <a:alpha val="30196"/>
                      </a:srgbClr>
                    </a:solidFill>
                  </a:tcPr>
                </a:tc>
                <a:tc>
                  <a:txBody>
                    <a:bodyPr/>
                    <a:lstStyle/>
                    <a:p>
                      <a:r>
                        <a:rPr lang="en-US" sz="1100" b="0"/>
                        <a:t>Demonstrate corrosion control for salts, tritium migration and control, materials for long-term operation</a:t>
                      </a:r>
                    </a:p>
                    <a:p>
                      <a:r>
                        <a:rPr lang="en-US" sz="1100" b="0"/>
                        <a:t>Demonstrate passive safety systems</a:t>
                      </a:r>
                    </a:p>
                  </a:txBody>
                  <a:tcPr anchor="ctr">
                    <a:solidFill>
                      <a:srgbClr val="FF6600">
                        <a:alpha val="30196"/>
                      </a:srgbClr>
                    </a:solidFill>
                  </a:tcPr>
                </a:tc>
                <a:extLst>
                  <a:ext uri="{0D108BD9-81ED-4DB2-BD59-A6C34878D82A}">
                    <a16:rowId xmlns:a16="http://schemas.microsoft.com/office/drawing/2014/main" val="608680752"/>
                  </a:ext>
                </a:extLst>
              </a:tr>
              <a:tr h="0">
                <a:tc>
                  <a:txBody>
                    <a:bodyPr/>
                    <a:lstStyle/>
                    <a:p>
                      <a:r>
                        <a:rPr lang="en-US" sz="1100" b="1"/>
                        <a:t>Gas Fast Reactor</a:t>
                      </a:r>
                    </a:p>
                  </a:txBody>
                  <a:tcPr anchor="ctr">
                    <a:solidFill>
                      <a:srgbClr val="CC0000">
                        <a:alpha val="30196"/>
                      </a:srgbClr>
                    </a:solidFill>
                  </a:tcPr>
                </a:tc>
                <a:tc>
                  <a:txBody>
                    <a:bodyPr/>
                    <a:lstStyle/>
                    <a:p>
                      <a:pPr marL="0" marR="0" indent="0">
                        <a:lnSpc>
                          <a:spcPct val="100000"/>
                        </a:lnSpc>
                        <a:spcBef>
                          <a:spcPts val="0"/>
                        </a:spcBef>
                        <a:spcAft>
                          <a:spcPts val="0"/>
                        </a:spcAft>
                      </a:pPr>
                      <a:r>
                        <a:rPr lang="en-US" sz="1100">
                          <a:effectLst/>
                          <a:latin typeface="+mn-lt"/>
                          <a:ea typeface="Calibri" panose="020F0502020204030204" pitchFamily="34" charset="0"/>
                          <a:cs typeface="Times New Roman" panose="02020603050405020304" pitchFamily="18" charset="0"/>
                        </a:rPr>
                        <a:t>No reactor ever built</a:t>
                      </a:r>
                      <a:endParaRPr lang="en-US" sz="1100">
                        <a:effectLst/>
                        <a:latin typeface="+mn-lt"/>
                        <a:ea typeface="Arial" panose="020B0604020202020204" pitchFamily="34" charset="0"/>
                        <a:cs typeface="Times New Roman" panose="02020603050405020304" pitchFamily="18" charset="0"/>
                      </a:endParaRPr>
                    </a:p>
                  </a:txBody>
                  <a:tcPr marL="68580" marR="68580" marT="0" marB="0" anchor="ctr">
                    <a:solidFill>
                      <a:srgbClr val="CC0000">
                        <a:alpha val="30196"/>
                      </a:srgbClr>
                    </a:solidFill>
                  </a:tcPr>
                </a:tc>
                <a:tc>
                  <a:txBody>
                    <a:bodyPr/>
                    <a:lstStyle/>
                    <a:p>
                      <a:r>
                        <a:rPr lang="en-US" sz="1100" b="0"/>
                        <a:t>Qualify fuel, clad, and structural materials for safety and radiation damage</a:t>
                      </a:r>
                    </a:p>
                    <a:p>
                      <a:r>
                        <a:rPr lang="en-US" sz="1100" b="0"/>
                        <a:t>Demonstrate passive safety systems</a:t>
                      </a:r>
                    </a:p>
                  </a:txBody>
                  <a:tcPr anchor="ctr">
                    <a:solidFill>
                      <a:srgbClr val="CC0000">
                        <a:alpha val="30196"/>
                      </a:srgbClr>
                    </a:solidFill>
                  </a:tcPr>
                </a:tc>
                <a:extLst>
                  <a:ext uri="{0D108BD9-81ED-4DB2-BD59-A6C34878D82A}">
                    <a16:rowId xmlns:a16="http://schemas.microsoft.com/office/drawing/2014/main" val="1594576173"/>
                  </a:ext>
                </a:extLst>
              </a:tr>
            </a:tbl>
          </a:graphicData>
        </a:graphic>
      </p:graphicFrame>
      <p:sp>
        <p:nvSpPr>
          <p:cNvPr id="2" name="Arrow: Up 1">
            <a:extLst>
              <a:ext uri="{FF2B5EF4-FFF2-40B4-BE49-F238E27FC236}">
                <a16:creationId xmlns:a16="http://schemas.microsoft.com/office/drawing/2014/main" id="{303F1A3B-B32B-D4DD-D1A3-57F459E7B825}"/>
              </a:ext>
            </a:extLst>
          </p:cNvPr>
          <p:cNvSpPr/>
          <p:nvPr/>
        </p:nvSpPr>
        <p:spPr>
          <a:xfrm>
            <a:off x="163161" y="1366520"/>
            <a:ext cx="528319" cy="4455160"/>
          </a:xfrm>
          <a:prstGeom prst="upArrow">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white"/>
                </a:solidFill>
                <a:effectLst/>
                <a:uLnTx/>
                <a:uFillTx/>
                <a:latin typeface="Arial"/>
                <a:ea typeface="+mn-ea"/>
                <a:cs typeface="+mn-cs"/>
              </a:rPr>
              <a:t>Technological maturity</a:t>
            </a:r>
          </a:p>
        </p:txBody>
      </p:sp>
      <p:sp>
        <p:nvSpPr>
          <p:cNvPr id="3" name="Title 2">
            <a:extLst>
              <a:ext uri="{FF2B5EF4-FFF2-40B4-BE49-F238E27FC236}">
                <a16:creationId xmlns:a16="http://schemas.microsoft.com/office/drawing/2014/main" id="{CBC56CEF-7988-1FEA-7687-DC86CF28DFEC}"/>
              </a:ext>
            </a:extLst>
          </p:cNvPr>
          <p:cNvSpPr>
            <a:spLocks noGrp="1"/>
          </p:cNvSpPr>
          <p:nvPr>
            <p:ph type="title"/>
          </p:nvPr>
        </p:nvSpPr>
        <p:spPr/>
        <p:txBody>
          <a:bodyPr/>
          <a:lstStyle/>
          <a:p>
            <a:r>
              <a:rPr lang="en-US"/>
              <a:t>What Are New and Advanced Nuclear Reactors?</a:t>
            </a:r>
          </a:p>
        </p:txBody>
      </p:sp>
      <p:pic>
        <p:nvPicPr>
          <p:cNvPr id="4" name="Picture 3" descr="Text&#10;&#10;Description automatically generated">
            <a:extLst>
              <a:ext uri="{FF2B5EF4-FFF2-40B4-BE49-F238E27FC236}">
                <a16:creationId xmlns:a16="http://schemas.microsoft.com/office/drawing/2014/main" id="{6FDAB1CD-2372-C68C-E55E-EC8FB372F4AA}"/>
              </a:ext>
            </a:extLst>
          </p:cNvPr>
          <p:cNvPicPr>
            <a:picLocks noChangeAspect="1"/>
          </p:cNvPicPr>
          <p:nvPr/>
        </p:nvPicPr>
        <p:blipFill>
          <a:blip r:embed="rId3"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2521643" y="6154224"/>
            <a:ext cx="1337860" cy="769376"/>
          </a:xfrm>
          <a:prstGeom prst="rect">
            <a:avLst/>
          </a:prstGeom>
        </p:spPr>
      </p:pic>
    </p:spTree>
    <p:extLst>
      <p:ext uri="{BB962C8B-B14F-4D97-AF65-F5344CB8AC3E}">
        <p14:creationId xmlns:p14="http://schemas.microsoft.com/office/powerpoint/2010/main" val="2071327978"/>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783270D-EA03-C66B-5D3F-7F0E8EB8FBFC}"/>
              </a:ext>
            </a:extLst>
          </p:cNvPr>
          <p:cNvSpPr>
            <a:spLocks noGrp="1"/>
          </p:cNvSpPr>
          <p:nvPr>
            <p:ph type="title"/>
          </p:nvPr>
        </p:nvSpPr>
        <p:spPr/>
        <p:txBody>
          <a:bodyPr/>
          <a:lstStyle/>
          <a:p>
            <a:r>
              <a:rPr lang="en-US"/>
              <a:t>Reactor Technology R&amp;D</a:t>
            </a:r>
          </a:p>
        </p:txBody>
      </p:sp>
      <p:sp>
        <p:nvSpPr>
          <p:cNvPr id="3" name="Slide Number Placeholder 2">
            <a:extLst>
              <a:ext uri="{FF2B5EF4-FFF2-40B4-BE49-F238E27FC236}">
                <a16:creationId xmlns:a16="http://schemas.microsoft.com/office/drawing/2014/main" id="{361CEF0D-FADA-63CC-9172-C1FA22C68B8A}"/>
              </a:ext>
            </a:extLst>
          </p:cNvPr>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46D584E9-81E4-493B-AD1D-A460B5445953}" type="slidenum">
              <a:rPr kumimoji="0" lang="en-US" sz="1267" b="0" i="0" u="none" strike="noStrike" kern="1200" cap="none" spc="0" normalizeH="0" baseline="0" noProof="0" smtClean="0">
                <a:ln>
                  <a:noFill/>
                </a:ln>
                <a:solidFill>
                  <a:srgbClr val="7F7F7F"/>
                </a:solidFill>
                <a:effectLst/>
                <a:uLnTx/>
                <a:uFillTx/>
                <a:latin typeface="Arial"/>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4</a:t>
            </a:fld>
            <a:endParaRPr kumimoji="0" lang="en-US" sz="1267" b="0" i="0" u="none" strike="noStrike" kern="1200" cap="none" spc="0" normalizeH="0" baseline="0" noProof="0">
              <a:ln>
                <a:noFill/>
              </a:ln>
              <a:solidFill>
                <a:srgbClr val="7F7F7F"/>
              </a:solidFill>
              <a:effectLst/>
              <a:uLnTx/>
              <a:uFillTx/>
              <a:latin typeface="Arial"/>
              <a:ea typeface="+mn-ea"/>
              <a:cs typeface="+mn-cs"/>
            </a:endParaRPr>
          </a:p>
        </p:txBody>
      </p:sp>
      <p:sp>
        <p:nvSpPr>
          <p:cNvPr id="9" name="TextBox 8">
            <a:extLst>
              <a:ext uri="{FF2B5EF4-FFF2-40B4-BE49-F238E27FC236}">
                <a16:creationId xmlns:a16="http://schemas.microsoft.com/office/drawing/2014/main" id="{077C451D-7D13-F7ED-B4FC-CEBC6648EA32}"/>
              </a:ext>
            </a:extLst>
          </p:cNvPr>
          <p:cNvSpPr txBox="1"/>
          <p:nvPr/>
        </p:nvSpPr>
        <p:spPr>
          <a:xfrm rot="10800000" flipV="1">
            <a:off x="662939" y="2202334"/>
            <a:ext cx="10682837" cy="3831570"/>
          </a:xfrm>
          <a:prstGeom prst="rect">
            <a:avLst/>
          </a:prstGeom>
          <a:noFill/>
          <a:ln w="9525">
            <a:noFill/>
          </a:ln>
        </p:spPr>
        <p:txBody>
          <a:bodyPr wrap="square" lIns="274320" rIns="274320" rtlCol="0" anchor="ctr">
            <a:noAutofit/>
          </a:bodyPr>
          <a:lstStyle/>
          <a:p>
            <a:pPr marL="0" marR="0" lvl="0" indent="0" algn="l" defTabSz="457200" rtl="0" eaLnBrk="1" fontAlgn="auto" latinLnBrk="0" hangingPunct="1">
              <a:lnSpc>
                <a:spcPct val="150000"/>
              </a:lnSpc>
              <a:spcBef>
                <a:spcPts val="0"/>
              </a:spcBef>
              <a:spcAft>
                <a:spcPts val="0"/>
              </a:spcAft>
              <a:buClrTx/>
              <a:buSzTx/>
              <a:buFontTx/>
              <a:buNone/>
              <a:tabLst/>
              <a:defRPr/>
            </a:pPr>
            <a:r>
              <a:rPr kumimoji="0" lang="en-US" sz="1600" b="1" i="0" u="none" strike="noStrike" kern="1200" cap="none" spc="0" normalizeH="0" baseline="0" noProof="0">
                <a:ln>
                  <a:noFill/>
                </a:ln>
                <a:solidFill>
                  <a:srgbClr val="211747"/>
                </a:solidFill>
                <a:effectLst/>
                <a:uLnTx/>
                <a:uFillTx/>
                <a:latin typeface="Arial"/>
                <a:ea typeface="+mn-ea"/>
                <a:cs typeface="+mn-cs"/>
              </a:rPr>
              <a:t>RECOMMENDATION 2.2:</a:t>
            </a:r>
            <a:r>
              <a:rPr kumimoji="0" lang="en-US" sz="1600" b="0" i="0" u="none" strike="noStrike" kern="1200" cap="none" spc="0" normalizeH="0" baseline="0" noProof="0">
                <a:ln>
                  <a:noFill/>
                </a:ln>
                <a:solidFill>
                  <a:srgbClr val="211747"/>
                </a:solidFill>
                <a:effectLst/>
                <a:uLnTx/>
                <a:uFillTx/>
                <a:latin typeface="Arial"/>
                <a:ea typeface="+mn-ea"/>
                <a:cs typeface="+mn-cs"/>
              </a:rPr>
              <a:t> The Department of Energy (DOE) should initiate a research program that sets aggressive goals for </a:t>
            </a:r>
            <a:r>
              <a:rPr kumimoji="0" lang="en-US" sz="1600" b="1" i="0" u="none" strike="noStrike" kern="1200" cap="none" spc="0" normalizeH="0" baseline="0" noProof="0">
                <a:ln>
                  <a:noFill/>
                </a:ln>
                <a:solidFill>
                  <a:srgbClr val="211747"/>
                </a:solidFill>
                <a:effectLst/>
                <a:uLnTx/>
                <a:uFillTx/>
                <a:latin typeface="Arial"/>
                <a:ea typeface="+mn-ea"/>
                <a:cs typeface="+mn-cs"/>
              </a:rPr>
              <a:t>improving fuels and materials performance</a:t>
            </a:r>
            <a:r>
              <a:rPr kumimoji="0" lang="en-US" sz="1600" b="0" i="0" u="none" strike="noStrike" kern="1200" cap="none" spc="0" normalizeH="0" baseline="0" noProof="0">
                <a:ln>
                  <a:noFill/>
                </a:ln>
                <a:solidFill>
                  <a:srgbClr val="211747"/>
                </a:solidFill>
                <a:effectLst/>
                <a:uLnTx/>
                <a:uFillTx/>
                <a:latin typeface="Arial"/>
                <a:ea typeface="+mn-ea"/>
                <a:cs typeface="+mn-cs"/>
              </a:rPr>
              <a:t>. This could take the form of a strategic partnership for research and development involving DOE’s Office of Nuclear Energy and Office of Science, the U.S. Nuclear Regulatory Commission, the Electric Power Research Institute, the nuclear industry, national laboratories, and universities. The program should </a:t>
            </a:r>
            <a:r>
              <a:rPr kumimoji="0" lang="en-US" sz="1600" b="1" i="0" u="none" strike="noStrike" kern="1200" cap="none" spc="0" normalizeH="0" baseline="0" noProof="0">
                <a:ln>
                  <a:noFill/>
                </a:ln>
                <a:solidFill>
                  <a:srgbClr val="211747"/>
                </a:solidFill>
                <a:effectLst/>
                <a:uLnTx/>
                <a:uFillTx/>
                <a:latin typeface="Arial"/>
                <a:ea typeface="+mn-ea"/>
                <a:cs typeface="+mn-cs"/>
              </a:rPr>
              <a:t>incentivize the use of modern materials science, including access to modern test reactors, to decrease the time to deployment of materials with improved performance and to accelerate the qualification</a:t>
            </a:r>
            <a:r>
              <a:rPr kumimoji="0" lang="en-US" sz="1600" b="0" i="0" u="none" strike="noStrike" kern="1200" cap="none" spc="0" normalizeH="0" baseline="0" noProof="0">
                <a:ln>
                  <a:noFill/>
                </a:ln>
                <a:solidFill>
                  <a:srgbClr val="211747"/>
                </a:solidFill>
                <a:effectLst/>
                <a:uLnTx/>
                <a:uFillTx/>
                <a:latin typeface="Arial"/>
                <a:ea typeface="+mn-ea"/>
                <a:cs typeface="+mn-cs"/>
              </a:rPr>
              <a:t> (ASME Section III, Division 5 or equivalent) and understanding of life-limiting degradation processes of a limited number of high-performance structural materials, e.g., reactor core materials and cladding.	</a:t>
            </a:r>
            <a:endParaRPr kumimoji="0" lang="en-US" sz="1600" b="0" i="0" u="none" strike="noStrike" kern="1200" cap="none" spc="0" normalizeH="0" baseline="0" noProof="0">
              <a:ln>
                <a:noFill/>
              </a:ln>
              <a:solidFill>
                <a:srgbClr val="211747"/>
              </a:solidFill>
              <a:effectLst/>
              <a:uLnTx/>
              <a:uFillTx/>
              <a:latin typeface="Arial"/>
              <a:ea typeface="Times New Roman" panose="02020603050405020304" pitchFamily="18" charset="0"/>
              <a:cs typeface="+mn-cs"/>
            </a:endParaRPr>
          </a:p>
        </p:txBody>
      </p:sp>
      <p:pic>
        <p:nvPicPr>
          <p:cNvPr id="5" name="Picture 4" descr="Text&#10;&#10;Description automatically generated">
            <a:extLst>
              <a:ext uri="{FF2B5EF4-FFF2-40B4-BE49-F238E27FC236}">
                <a16:creationId xmlns:a16="http://schemas.microsoft.com/office/drawing/2014/main" id="{1F2AA4B7-4CB8-A07B-3A1F-F6B7B474E2C5}"/>
              </a:ext>
            </a:extLst>
          </p:cNvPr>
          <p:cNvPicPr>
            <a:picLocks noChangeAspect="1"/>
          </p:cNvPicPr>
          <p:nvPr/>
        </p:nvPicPr>
        <p:blipFill>
          <a:blip r:embed="rId3"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2521643" y="6154224"/>
            <a:ext cx="1337860" cy="769376"/>
          </a:xfrm>
          <a:prstGeom prst="rect">
            <a:avLst/>
          </a:prstGeom>
        </p:spPr>
      </p:pic>
      <p:sp>
        <p:nvSpPr>
          <p:cNvPr id="10" name="Rectangle 9">
            <a:extLst>
              <a:ext uri="{FF2B5EF4-FFF2-40B4-BE49-F238E27FC236}">
                <a16:creationId xmlns:a16="http://schemas.microsoft.com/office/drawing/2014/main" id="{6A21A870-4796-9312-FAE6-1EDF2B334F66}"/>
              </a:ext>
            </a:extLst>
          </p:cNvPr>
          <p:cNvSpPr/>
          <p:nvPr/>
        </p:nvSpPr>
        <p:spPr>
          <a:xfrm>
            <a:off x="0" y="1072833"/>
            <a:ext cx="12192000" cy="118269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81F96"/>
              </a:solidFill>
              <a:effectLst/>
              <a:uLnTx/>
              <a:uFillTx/>
              <a:latin typeface="Arial"/>
              <a:ea typeface="+mn-ea"/>
              <a:cs typeface="+mn-cs"/>
            </a:endParaRPr>
          </a:p>
        </p:txBody>
      </p:sp>
      <p:sp>
        <p:nvSpPr>
          <p:cNvPr id="4" name="TextBox 3">
            <a:extLst>
              <a:ext uri="{FF2B5EF4-FFF2-40B4-BE49-F238E27FC236}">
                <a16:creationId xmlns:a16="http://schemas.microsoft.com/office/drawing/2014/main" id="{D5B3009E-2B79-E57A-7F35-61C508D0B516}"/>
              </a:ext>
            </a:extLst>
          </p:cNvPr>
          <p:cNvSpPr txBox="1"/>
          <p:nvPr/>
        </p:nvSpPr>
        <p:spPr>
          <a:xfrm>
            <a:off x="1759819" y="1322810"/>
            <a:ext cx="9456821" cy="707886"/>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000" b="0" i="1" u="none" strike="noStrike" kern="1200" cap="none" spc="0" normalizeH="0" baseline="0" noProof="0">
                <a:ln>
                  <a:noFill/>
                </a:ln>
                <a:solidFill>
                  <a:prstClr val="white"/>
                </a:solidFill>
                <a:effectLst/>
                <a:uLnTx/>
                <a:uFillTx/>
                <a:latin typeface="Arial"/>
                <a:ea typeface="+mn-ea"/>
                <a:cs typeface="+mn-cs"/>
              </a:rPr>
              <a:t>New research and development is needed to close technical maturity gaps and enable faster demonstrations and deployments</a:t>
            </a:r>
            <a:endParaRPr kumimoji="0" lang="en-US" sz="1400" b="0" i="1" u="none" strike="noStrike" kern="1200" cap="none" spc="0" normalizeH="0" baseline="0" noProof="0">
              <a:ln>
                <a:noFill/>
              </a:ln>
              <a:solidFill>
                <a:prstClr val="white"/>
              </a:solidFill>
              <a:effectLst/>
              <a:uLnTx/>
              <a:uFillTx/>
              <a:latin typeface="Arial"/>
              <a:ea typeface="+mn-ea"/>
              <a:cs typeface="+mn-cs"/>
            </a:endParaRPr>
          </a:p>
        </p:txBody>
      </p:sp>
      <p:pic>
        <p:nvPicPr>
          <p:cNvPr id="16" name="Graphic 15">
            <a:extLst>
              <a:ext uri="{FF2B5EF4-FFF2-40B4-BE49-F238E27FC236}">
                <a16:creationId xmlns:a16="http://schemas.microsoft.com/office/drawing/2014/main" id="{4AD332C1-2C27-24C5-53E6-644742B7BE28}"/>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545730" y="1223337"/>
            <a:ext cx="858676" cy="858676"/>
          </a:xfrm>
          <a:prstGeom prst="rect">
            <a:avLst/>
          </a:prstGeom>
        </p:spPr>
      </p:pic>
    </p:spTree>
    <p:extLst>
      <p:ext uri="{BB962C8B-B14F-4D97-AF65-F5344CB8AC3E}">
        <p14:creationId xmlns:p14="http://schemas.microsoft.com/office/powerpoint/2010/main" val="2837722423"/>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AAEA30D5-2CEF-52C7-558A-B97BEB72C1FB}"/>
              </a:ext>
            </a:extLst>
          </p:cNvPr>
          <p:cNvSpPr/>
          <p:nvPr/>
        </p:nvSpPr>
        <p:spPr>
          <a:xfrm>
            <a:off x="0" y="1277376"/>
            <a:ext cx="12192000" cy="134607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81F96"/>
              </a:solidFill>
              <a:effectLst/>
              <a:uLnTx/>
              <a:uFillTx/>
              <a:latin typeface="Arial"/>
              <a:ea typeface="+mn-ea"/>
              <a:cs typeface="+mn-cs"/>
            </a:endParaRPr>
          </a:p>
        </p:txBody>
      </p:sp>
      <p:sp>
        <p:nvSpPr>
          <p:cNvPr id="2" name="Title 1">
            <a:extLst>
              <a:ext uri="{FF2B5EF4-FFF2-40B4-BE49-F238E27FC236}">
                <a16:creationId xmlns:a16="http://schemas.microsoft.com/office/drawing/2014/main" id="{C51700C1-7A21-624E-A0E9-31329CFD172A}"/>
              </a:ext>
            </a:extLst>
          </p:cNvPr>
          <p:cNvSpPr>
            <a:spLocks noGrp="1"/>
          </p:cNvSpPr>
          <p:nvPr>
            <p:ph type="title"/>
          </p:nvPr>
        </p:nvSpPr>
        <p:spPr/>
        <p:txBody>
          <a:bodyPr/>
          <a:lstStyle/>
          <a:p>
            <a:r>
              <a:rPr lang="en-US"/>
              <a:t>Financial Incentives</a:t>
            </a:r>
          </a:p>
        </p:txBody>
      </p:sp>
      <p:sp>
        <p:nvSpPr>
          <p:cNvPr id="3" name="Slide Number Placeholder 2">
            <a:extLst>
              <a:ext uri="{FF2B5EF4-FFF2-40B4-BE49-F238E27FC236}">
                <a16:creationId xmlns:a16="http://schemas.microsoft.com/office/drawing/2014/main" id="{5015EB1B-C370-3C9E-CBE8-A5F56677ED6C}"/>
              </a:ext>
            </a:extLst>
          </p:cNvPr>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46D584E9-81E4-493B-AD1D-A460B5445953}" type="slidenum">
              <a:rPr kumimoji="0" lang="en-US" sz="1267" b="0" i="0" u="none" strike="noStrike" kern="1200" cap="none" spc="0" normalizeH="0" baseline="0" noProof="0" smtClean="0">
                <a:ln>
                  <a:noFill/>
                </a:ln>
                <a:solidFill>
                  <a:srgbClr val="7F7F7F"/>
                </a:solidFill>
                <a:effectLst/>
                <a:uLnTx/>
                <a:uFillTx/>
                <a:latin typeface="Arial"/>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5</a:t>
            </a:fld>
            <a:endParaRPr kumimoji="0" lang="en-US" sz="1267" b="0" i="0" u="none" strike="noStrike" kern="1200" cap="none" spc="0" normalizeH="0" baseline="0" noProof="0">
              <a:ln>
                <a:noFill/>
              </a:ln>
              <a:solidFill>
                <a:srgbClr val="7F7F7F"/>
              </a:solidFill>
              <a:effectLst/>
              <a:uLnTx/>
              <a:uFillTx/>
              <a:latin typeface="Arial"/>
              <a:ea typeface="+mn-ea"/>
              <a:cs typeface="+mn-cs"/>
            </a:endParaRPr>
          </a:p>
        </p:txBody>
      </p:sp>
      <p:pic>
        <p:nvPicPr>
          <p:cNvPr id="4" name="Picture 3" descr="Text&#10;&#10;Description automatically generated">
            <a:extLst>
              <a:ext uri="{FF2B5EF4-FFF2-40B4-BE49-F238E27FC236}">
                <a16:creationId xmlns:a16="http://schemas.microsoft.com/office/drawing/2014/main" id="{A55D2211-D89B-101C-018B-F84F2B056E9B}"/>
              </a:ext>
            </a:extLst>
          </p:cNvPr>
          <p:cNvPicPr>
            <a:picLocks noChangeAspect="1"/>
          </p:cNvPicPr>
          <p:nvPr/>
        </p:nvPicPr>
        <p:blipFill>
          <a:blip r:embed="rId2"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2521643" y="6154224"/>
            <a:ext cx="1337860" cy="769376"/>
          </a:xfrm>
          <a:prstGeom prst="rect">
            <a:avLst/>
          </a:prstGeom>
        </p:spPr>
      </p:pic>
      <p:sp>
        <p:nvSpPr>
          <p:cNvPr id="9" name="TextBox 8">
            <a:extLst>
              <a:ext uri="{FF2B5EF4-FFF2-40B4-BE49-F238E27FC236}">
                <a16:creationId xmlns:a16="http://schemas.microsoft.com/office/drawing/2014/main" id="{938DC9AF-3D88-5505-C114-082C9C8C1CED}"/>
              </a:ext>
            </a:extLst>
          </p:cNvPr>
          <p:cNvSpPr txBox="1"/>
          <p:nvPr/>
        </p:nvSpPr>
        <p:spPr>
          <a:xfrm rot="10800000" flipV="1">
            <a:off x="3931694" y="2623983"/>
            <a:ext cx="7829988" cy="3339541"/>
          </a:xfrm>
          <a:prstGeom prst="rect">
            <a:avLst/>
          </a:prstGeom>
          <a:noFill/>
          <a:ln w="9525">
            <a:noFill/>
          </a:ln>
        </p:spPr>
        <p:txBody>
          <a:bodyPr wrap="square" lIns="274320" rIns="274320" rtlCol="0" anchor="ctr">
            <a:noAutofit/>
          </a:bodyPr>
          <a:lstStyle/>
          <a:p>
            <a:pPr marL="0" marR="0" lvl="0" indent="0" algn="l" defTabSz="457200" rtl="0" eaLnBrk="1" fontAlgn="auto" latinLnBrk="0" hangingPunct="1">
              <a:lnSpc>
                <a:spcPct val="150000"/>
              </a:lnSpc>
              <a:spcBef>
                <a:spcPts val="600"/>
              </a:spcBef>
              <a:spcAft>
                <a:spcPts val="600"/>
              </a:spcAft>
              <a:buClrTx/>
              <a:buSzTx/>
              <a:buFontTx/>
              <a:buNone/>
              <a:tabLst/>
              <a:defRPr/>
            </a:pPr>
            <a:r>
              <a:rPr kumimoji="0" lang="en-US" sz="1400" b="1" i="0" u="none" strike="noStrike" kern="1200" cap="none" spc="0" normalizeH="0" baseline="0" noProof="0">
                <a:ln>
                  <a:noFill/>
                </a:ln>
                <a:solidFill>
                  <a:srgbClr val="3B3B3C"/>
                </a:solidFill>
                <a:effectLst/>
                <a:uLnTx/>
                <a:uFillTx/>
                <a:latin typeface="Arial"/>
                <a:ea typeface="Times New Roman" panose="02020603050405020304" pitchFamily="18" charset="0"/>
                <a:cs typeface="+mn-cs"/>
              </a:rPr>
              <a:t>RECOMMENDATION 4.4</a:t>
            </a:r>
            <a:r>
              <a:rPr kumimoji="0" lang="en-US" sz="1400" b="0" i="0" u="none" strike="noStrike" kern="1200" cap="none" spc="0" normalizeH="0" baseline="0" noProof="0">
                <a:ln>
                  <a:noFill/>
                </a:ln>
                <a:solidFill>
                  <a:srgbClr val="3B3B3C"/>
                </a:solidFill>
                <a:effectLst/>
                <a:uLnTx/>
                <a:uFillTx/>
                <a:latin typeface="Arial"/>
                <a:ea typeface="Times New Roman" panose="02020603050405020304" pitchFamily="18" charset="0"/>
                <a:cs typeface="+mn-cs"/>
              </a:rPr>
              <a:t>: To enable a cost-competitive market environment for nuclear energy</a:t>
            </a:r>
            <a:r>
              <a:rPr kumimoji="0" lang="en-US" sz="1400" b="1" i="0" u="none" strike="noStrike" kern="1200" cap="none" spc="0" normalizeH="0" baseline="0" noProof="0">
                <a:ln>
                  <a:noFill/>
                </a:ln>
                <a:solidFill>
                  <a:srgbClr val="3B3B3C"/>
                </a:solidFill>
                <a:effectLst/>
                <a:uLnTx/>
                <a:uFillTx/>
                <a:latin typeface="Arial"/>
                <a:ea typeface="Times New Roman" panose="02020603050405020304" pitchFamily="18" charset="0"/>
                <a:cs typeface="+mn-cs"/>
              </a:rPr>
              <a:t>, federal and state governments should provide appropriately tailored financial incentives </a:t>
            </a:r>
            <a:r>
              <a:rPr kumimoji="0" lang="en-US" sz="1400" b="0" i="0" u="none" strike="noStrike" kern="1200" cap="none" spc="0" normalizeH="0" baseline="0" noProof="0">
                <a:ln>
                  <a:noFill/>
                </a:ln>
                <a:solidFill>
                  <a:srgbClr val="3B3B3C"/>
                </a:solidFill>
                <a:effectLst/>
                <a:uLnTx/>
                <a:uFillTx/>
                <a:latin typeface="Arial"/>
                <a:ea typeface="Times New Roman" panose="02020603050405020304" pitchFamily="18" charset="0"/>
                <a:cs typeface="+mn-cs"/>
              </a:rPr>
              <a:t>(extending and perhaps enhancing those provided recently in the Inflation Reduction Act) that industry can use as part of a commercialization plan, consistent with the successful incentives provided to renewables. These tools may vary by state, locality, and market type. Continued evaluation of the recently passed incentives will need assessment to determine their adequacy. The scale of these incentives needs to be sufficient not only to encourage nuclear projects, but also the vendors and the supporting supply chains.</a:t>
            </a:r>
            <a:endParaRPr kumimoji="0" lang="en-US" sz="1400" b="0" i="0" u="none" strike="noStrike" kern="1200" cap="none" spc="0" normalizeH="0" baseline="0" noProof="0">
              <a:ln>
                <a:noFill/>
              </a:ln>
              <a:solidFill>
                <a:srgbClr val="211747"/>
              </a:solidFill>
              <a:effectLst/>
              <a:uLnTx/>
              <a:uFillTx/>
              <a:latin typeface="Arial"/>
              <a:ea typeface="Times New Roman" panose="02020603050405020304" pitchFamily="18" charset="0"/>
              <a:cs typeface="Times New Roman" panose="02020603050405020304" pitchFamily="18" charset="0"/>
            </a:endParaRPr>
          </a:p>
        </p:txBody>
      </p:sp>
      <p:sp>
        <p:nvSpPr>
          <p:cNvPr id="11" name="TextBox 10">
            <a:extLst>
              <a:ext uri="{FF2B5EF4-FFF2-40B4-BE49-F238E27FC236}">
                <a16:creationId xmlns:a16="http://schemas.microsoft.com/office/drawing/2014/main" id="{A797FB33-6EAC-7947-15BF-CB7D1E6DFDF0}"/>
              </a:ext>
            </a:extLst>
          </p:cNvPr>
          <p:cNvSpPr txBox="1"/>
          <p:nvPr/>
        </p:nvSpPr>
        <p:spPr>
          <a:xfrm>
            <a:off x="1949092" y="1617737"/>
            <a:ext cx="9158472" cy="400110"/>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000" b="0" i="1" u="none" strike="noStrike" kern="1200" cap="none" spc="0" normalizeH="0" baseline="0" noProof="0">
                <a:ln>
                  <a:noFill/>
                </a:ln>
                <a:solidFill>
                  <a:prstClr val="white"/>
                </a:solidFill>
                <a:effectLst/>
                <a:uLnTx/>
                <a:uFillTx/>
                <a:latin typeface="Arial"/>
                <a:ea typeface="+mn-ea"/>
                <a:cs typeface="+mn-cs"/>
              </a:rPr>
              <a:t>Incentives at various levels of government will be required </a:t>
            </a:r>
            <a:endParaRPr kumimoji="0" lang="en-US" sz="1400" b="0" i="1" u="none" strike="noStrike" kern="1200" cap="none" spc="0" normalizeH="0" baseline="0" noProof="0">
              <a:ln>
                <a:noFill/>
              </a:ln>
              <a:solidFill>
                <a:prstClr val="white"/>
              </a:solidFill>
              <a:effectLst/>
              <a:uLnTx/>
              <a:uFillTx/>
              <a:latin typeface="Arial"/>
              <a:ea typeface="+mn-ea"/>
              <a:cs typeface="+mn-cs"/>
            </a:endParaRPr>
          </a:p>
        </p:txBody>
      </p:sp>
      <p:pic>
        <p:nvPicPr>
          <p:cNvPr id="13" name="Graphic 12">
            <a:extLst>
              <a:ext uri="{FF2B5EF4-FFF2-40B4-BE49-F238E27FC236}">
                <a16:creationId xmlns:a16="http://schemas.microsoft.com/office/drawing/2014/main" id="{4AF732B4-A587-238E-370A-DCB629D7E4D5}"/>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62940" y="1488856"/>
            <a:ext cx="911583" cy="911583"/>
          </a:xfrm>
          <a:prstGeom prst="rect">
            <a:avLst/>
          </a:prstGeom>
        </p:spPr>
      </p:pic>
      <p:pic>
        <p:nvPicPr>
          <p:cNvPr id="16" name="Picture 15" descr="A pen on a piece of paper&#10;&#10;Description automatically generated with medium confidence">
            <a:extLst>
              <a:ext uri="{FF2B5EF4-FFF2-40B4-BE49-F238E27FC236}">
                <a16:creationId xmlns:a16="http://schemas.microsoft.com/office/drawing/2014/main" id="{8A91A717-6149-CC20-C8DF-F986CB996F0C}"/>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l="6778" r="3271"/>
          <a:stretch/>
        </p:blipFill>
        <p:spPr>
          <a:xfrm>
            <a:off x="534520" y="3129937"/>
            <a:ext cx="3397174" cy="2517802"/>
          </a:xfrm>
          <a:prstGeom prst="rect">
            <a:avLst/>
          </a:prstGeom>
        </p:spPr>
      </p:pic>
    </p:spTree>
    <p:extLst>
      <p:ext uri="{BB962C8B-B14F-4D97-AF65-F5344CB8AC3E}">
        <p14:creationId xmlns:p14="http://schemas.microsoft.com/office/powerpoint/2010/main" val="636013925"/>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51700C1-7A21-624E-A0E9-31329CFD172A}"/>
              </a:ext>
            </a:extLst>
          </p:cNvPr>
          <p:cNvSpPr>
            <a:spLocks noGrp="1"/>
          </p:cNvSpPr>
          <p:nvPr>
            <p:ph type="title"/>
          </p:nvPr>
        </p:nvSpPr>
        <p:spPr>
          <a:xfrm>
            <a:off x="662940" y="436881"/>
            <a:ext cx="10742997" cy="858676"/>
          </a:xfrm>
        </p:spPr>
        <p:txBody>
          <a:bodyPr/>
          <a:lstStyle/>
          <a:p>
            <a:r>
              <a:rPr lang="en-US"/>
              <a:t>Electricity will be the Main Mission for Nuclear, but…</a:t>
            </a:r>
          </a:p>
        </p:txBody>
      </p:sp>
      <p:sp>
        <p:nvSpPr>
          <p:cNvPr id="3" name="Slide Number Placeholder 2">
            <a:extLst>
              <a:ext uri="{FF2B5EF4-FFF2-40B4-BE49-F238E27FC236}">
                <a16:creationId xmlns:a16="http://schemas.microsoft.com/office/drawing/2014/main" id="{5015EB1B-C370-3C9E-CBE8-A5F56677ED6C}"/>
              </a:ext>
            </a:extLst>
          </p:cNvPr>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46D584E9-81E4-493B-AD1D-A460B5445953}" type="slidenum">
              <a:rPr kumimoji="0" lang="en-US" sz="1267" b="0" i="0" u="none" strike="noStrike" kern="1200" cap="none" spc="0" normalizeH="0" baseline="0" noProof="0" smtClean="0">
                <a:ln>
                  <a:noFill/>
                </a:ln>
                <a:solidFill>
                  <a:srgbClr val="7F7F7F"/>
                </a:solidFill>
                <a:effectLst/>
                <a:uLnTx/>
                <a:uFillTx/>
                <a:latin typeface="Arial"/>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6</a:t>
            </a:fld>
            <a:endParaRPr kumimoji="0" lang="en-US" sz="1267" b="0" i="0" u="none" strike="noStrike" kern="1200" cap="none" spc="0" normalizeH="0" baseline="0" noProof="0">
              <a:ln>
                <a:noFill/>
              </a:ln>
              <a:solidFill>
                <a:srgbClr val="7F7F7F"/>
              </a:solidFill>
              <a:effectLst/>
              <a:uLnTx/>
              <a:uFillTx/>
              <a:latin typeface="Arial"/>
              <a:ea typeface="+mn-ea"/>
              <a:cs typeface="+mn-cs"/>
            </a:endParaRPr>
          </a:p>
        </p:txBody>
      </p:sp>
      <p:sp>
        <p:nvSpPr>
          <p:cNvPr id="4" name="TextBox 3">
            <a:extLst>
              <a:ext uri="{FF2B5EF4-FFF2-40B4-BE49-F238E27FC236}">
                <a16:creationId xmlns:a16="http://schemas.microsoft.com/office/drawing/2014/main" id="{133C15D2-9D0F-07B6-1847-2AE1F8DEA6B8}"/>
              </a:ext>
            </a:extLst>
          </p:cNvPr>
          <p:cNvSpPr txBox="1"/>
          <p:nvPr/>
        </p:nvSpPr>
        <p:spPr>
          <a:xfrm>
            <a:off x="5379062" y="2197443"/>
            <a:ext cx="6244390" cy="3823125"/>
          </a:xfrm>
          <a:prstGeom prst="rect">
            <a:avLst/>
          </a:prstGeom>
          <a:noFill/>
          <a:ln w="15875">
            <a:noFill/>
          </a:ln>
        </p:spPr>
        <p:txBody>
          <a:bodyPr wrap="square" lIns="182880" rIns="182880" anchor="ctr">
            <a:noAutofit/>
          </a:bodyPr>
          <a:lstStyle/>
          <a:p>
            <a:pPr marL="0" marR="0" lvl="0" indent="0" algn="l" defTabSz="457200" rtl="0" eaLnBrk="1" fontAlgn="auto" latinLnBrk="0" hangingPunct="1">
              <a:lnSpc>
                <a:spcPct val="150000"/>
              </a:lnSpc>
              <a:spcBef>
                <a:spcPts val="600"/>
              </a:spcBef>
              <a:spcAft>
                <a:spcPts val="600"/>
              </a:spcAft>
              <a:buClrTx/>
              <a:buSzTx/>
              <a:buFontTx/>
              <a:buNone/>
              <a:tabLst/>
              <a:defRPr/>
            </a:pPr>
            <a:r>
              <a:rPr kumimoji="0" lang="en-US" sz="1400" b="1" i="0" u="none" strike="noStrike" kern="1200" cap="none" spc="0" normalizeH="0" baseline="0" noProof="0">
                <a:ln>
                  <a:noFill/>
                </a:ln>
                <a:solidFill>
                  <a:srgbClr val="3B3B3C"/>
                </a:solidFill>
                <a:effectLst/>
                <a:uLnTx/>
                <a:uFillTx/>
                <a:latin typeface="Arial"/>
                <a:ea typeface="Times New Roman" panose="02020603050405020304" pitchFamily="18" charset="0"/>
                <a:cs typeface="+mn-cs"/>
              </a:rPr>
              <a:t>RECOMMENDATION 5.1</a:t>
            </a:r>
            <a:r>
              <a:rPr kumimoji="0" lang="en-US" sz="1400" b="0" i="0" u="none" strike="noStrike" kern="1200" cap="none" spc="0" normalizeH="0" baseline="0" noProof="0">
                <a:ln>
                  <a:noFill/>
                </a:ln>
                <a:solidFill>
                  <a:srgbClr val="3B3B3C"/>
                </a:solidFill>
                <a:effectLst/>
                <a:uLnTx/>
                <a:uFillTx/>
                <a:latin typeface="Arial"/>
                <a:ea typeface="Times New Roman" panose="02020603050405020304" pitchFamily="18" charset="0"/>
                <a:cs typeface="+mn-cs"/>
              </a:rPr>
              <a:t>: Industrial applications using thermal energy present an important new mission for advanced reactors. </a:t>
            </a:r>
            <a:r>
              <a:rPr kumimoji="0" lang="en-US" sz="1400" b="1" i="0" u="none" strike="noStrike" kern="1200" cap="none" spc="0" normalizeH="0" baseline="0" noProof="0">
                <a:ln>
                  <a:noFill/>
                </a:ln>
                <a:solidFill>
                  <a:srgbClr val="3B3B3C"/>
                </a:solidFill>
                <a:effectLst/>
                <a:uLnTx/>
                <a:uFillTx/>
                <a:latin typeface="Arial"/>
                <a:ea typeface="Times New Roman" panose="02020603050405020304" pitchFamily="18" charset="0"/>
                <a:cs typeface="+mn-cs"/>
              </a:rPr>
              <a:t>A key R&amp;D need is to assess system integration, operations, safety, community acceptance, market size as a function of varying levels of implicit or explicit carbon price, and regulatory risks, with hydrogen production as a top priority</a:t>
            </a:r>
            <a:r>
              <a:rPr kumimoji="0" lang="en-US" sz="1400" b="0" i="0" u="none" strike="noStrike" kern="1200" cap="none" spc="0" normalizeH="0" baseline="0" noProof="0">
                <a:ln>
                  <a:noFill/>
                </a:ln>
                <a:solidFill>
                  <a:srgbClr val="3B3B3C"/>
                </a:solidFill>
                <a:effectLst/>
                <a:uLnTx/>
                <a:uFillTx/>
                <a:latin typeface="Arial"/>
                <a:ea typeface="Times New Roman" panose="02020603050405020304" pitchFamily="18" charset="0"/>
                <a:cs typeface="+mn-cs"/>
              </a:rPr>
              <a:t>. DOE, with the support of industry groups like EPRI and the nuclear vendors, should conduct a systematic analysis of system integration, operation, and safety risks to provide investors with realistic models of deployment to inform business cases, and work with potential host communities.</a:t>
            </a:r>
            <a:r>
              <a:rPr kumimoji="0" lang="en-US" sz="1400" b="1" i="0" u="none" strike="noStrike" kern="1200" cap="none" spc="0" normalizeH="0" baseline="0" noProof="0">
                <a:ln>
                  <a:noFill/>
                </a:ln>
                <a:solidFill>
                  <a:srgbClr val="3B3B3C"/>
                </a:solidFill>
                <a:effectLst/>
                <a:uLnTx/>
                <a:uFillTx/>
                <a:latin typeface="Arial"/>
                <a:ea typeface="Times New Roman" panose="02020603050405020304" pitchFamily="18" charset="0"/>
                <a:cs typeface="+mn-cs"/>
              </a:rPr>
              <a:t> </a:t>
            </a:r>
            <a:endParaRPr kumimoji="0" lang="en-US" sz="1400" b="0" i="0" u="none" strike="noStrike" kern="1200" cap="none" spc="0" normalizeH="0" baseline="0" noProof="0">
              <a:ln>
                <a:noFill/>
              </a:ln>
              <a:solidFill>
                <a:srgbClr val="211747"/>
              </a:solidFill>
              <a:effectLst/>
              <a:uLnTx/>
              <a:uFillTx/>
              <a:latin typeface="Arial"/>
              <a:ea typeface="Times New Roman" panose="02020603050405020304" pitchFamily="18" charset="0"/>
              <a:cs typeface="Times New Roman" panose="02020603050405020304" pitchFamily="18" charset="0"/>
            </a:endParaRPr>
          </a:p>
        </p:txBody>
      </p:sp>
      <p:pic>
        <p:nvPicPr>
          <p:cNvPr id="2050" name="Picture 2" descr="Continuous casting machine at the metallurgical plant stock photo">
            <a:extLst>
              <a:ext uri="{FF2B5EF4-FFF2-40B4-BE49-F238E27FC236}">
                <a16:creationId xmlns:a16="http://schemas.microsoft.com/office/drawing/2014/main" id="{EBC4F8B3-DCC1-9604-BFE9-274131F4D7E2}"/>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22479" t="11995" r="3853" b="14821"/>
          <a:stretch/>
        </p:blipFill>
        <p:spPr bwMode="auto">
          <a:xfrm>
            <a:off x="662940" y="2622328"/>
            <a:ext cx="4364400" cy="2789647"/>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descr="Text&#10;&#10;Description automatically generated">
            <a:extLst>
              <a:ext uri="{FF2B5EF4-FFF2-40B4-BE49-F238E27FC236}">
                <a16:creationId xmlns:a16="http://schemas.microsoft.com/office/drawing/2014/main" id="{35C21F83-F05A-49D5-D5DB-3BCEA4C13725}"/>
              </a:ext>
            </a:extLst>
          </p:cNvPr>
          <p:cNvPicPr>
            <a:picLocks noChangeAspect="1"/>
          </p:cNvPicPr>
          <p:nvPr/>
        </p:nvPicPr>
        <p:blipFill>
          <a:blip r:embed="rId4"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2521643" y="6154224"/>
            <a:ext cx="1337860" cy="769376"/>
          </a:xfrm>
          <a:prstGeom prst="rect">
            <a:avLst/>
          </a:prstGeom>
        </p:spPr>
      </p:pic>
      <p:sp>
        <p:nvSpPr>
          <p:cNvPr id="6" name="Rectangle 5">
            <a:extLst>
              <a:ext uri="{FF2B5EF4-FFF2-40B4-BE49-F238E27FC236}">
                <a16:creationId xmlns:a16="http://schemas.microsoft.com/office/drawing/2014/main" id="{A41152D8-4DE7-6BDD-E7EB-B1E0AA094FE0}"/>
              </a:ext>
            </a:extLst>
          </p:cNvPr>
          <p:cNvSpPr/>
          <p:nvPr/>
        </p:nvSpPr>
        <p:spPr>
          <a:xfrm>
            <a:off x="0" y="1181311"/>
            <a:ext cx="12192000" cy="104185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81F96"/>
              </a:solidFill>
              <a:effectLst/>
              <a:uLnTx/>
              <a:uFillTx/>
              <a:latin typeface="Arial"/>
              <a:ea typeface="+mn-ea"/>
              <a:cs typeface="+mn-cs"/>
            </a:endParaRPr>
          </a:p>
        </p:txBody>
      </p:sp>
      <p:sp>
        <p:nvSpPr>
          <p:cNvPr id="10" name="TextBox 9">
            <a:extLst>
              <a:ext uri="{FF2B5EF4-FFF2-40B4-BE49-F238E27FC236}">
                <a16:creationId xmlns:a16="http://schemas.microsoft.com/office/drawing/2014/main" id="{DD0AE7CA-F727-8A9C-F49D-C30295379AE1}"/>
              </a:ext>
            </a:extLst>
          </p:cNvPr>
          <p:cNvSpPr txBox="1"/>
          <p:nvPr/>
        </p:nvSpPr>
        <p:spPr>
          <a:xfrm>
            <a:off x="1828800" y="1332101"/>
            <a:ext cx="8760140" cy="707886"/>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000" b="0" i="1" u="none" strike="noStrike" kern="1200" cap="none" spc="0" normalizeH="0" baseline="0" noProof="0">
                <a:ln>
                  <a:noFill/>
                </a:ln>
                <a:solidFill>
                  <a:prstClr val="white"/>
                </a:solidFill>
                <a:effectLst/>
                <a:uLnTx/>
                <a:uFillTx/>
                <a:latin typeface="Arial"/>
                <a:ea typeface="+mn-ea"/>
                <a:cs typeface="+mn-cs"/>
              </a:rPr>
              <a:t>Realistic models for non-electric deployment scenarios are needed for investors and industrial partners</a:t>
            </a:r>
            <a:endParaRPr kumimoji="0" lang="en-US" sz="1400" b="0" i="1" u="none" strike="noStrike" kern="1200" cap="none" spc="0" normalizeH="0" baseline="0" noProof="0">
              <a:ln>
                <a:noFill/>
              </a:ln>
              <a:solidFill>
                <a:prstClr val="white"/>
              </a:solidFill>
              <a:effectLst/>
              <a:uLnTx/>
              <a:uFillTx/>
              <a:latin typeface="Arial"/>
              <a:ea typeface="+mn-ea"/>
              <a:cs typeface="+mn-cs"/>
            </a:endParaRPr>
          </a:p>
        </p:txBody>
      </p:sp>
      <p:pic>
        <p:nvPicPr>
          <p:cNvPr id="12" name="Graphic 11">
            <a:extLst>
              <a:ext uri="{FF2B5EF4-FFF2-40B4-BE49-F238E27FC236}">
                <a16:creationId xmlns:a16="http://schemas.microsoft.com/office/drawing/2014/main" id="{62AE1561-4EFA-A8AF-2438-E74B93970274}"/>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744383" y="1272898"/>
            <a:ext cx="858677" cy="858677"/>
          </a:xfrm>
          <a:prstGeom prst="rect">
            <a:avLst/>
          </a:prstGeom>
        </p:spPr>
      </p:pic>
    </p:spTree>
    <p:extLst>
      <p:ext uri="{BB962C8B-B14F-4D97-AF65-F5344CB8AC3E}">
        <p14:creationId xmlns:p14="http://schemas.microsoft.com/office/powerpoint/2010/main" val="2814862818"/>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51700C1-7A21-624E-A0E9-31329CFD172A}"/>
              </a:ext>
            </a:extLst>
          </p:cNvPr>
          <p:cNvSpPr>
            <a:spLocks noGrp="1"/>
          </p:cNvSpPr>
          <p:nvPr>
            <p:ph type="title"/>
          </p:nvPr>
        </p:nvSpPr>
        <p:spPr/>
        <p:txBody>
          <a:bodyPr/>
          <a:lstStyle/>
          <a:p>
            <a:r>
              <a:rPr lang="en-US"/>
              <a:t>Project Management and Construction</a:t>
            </a:r>
          </a:p>
        </p:txBody>
      </p:sp>
      <p:sp>
        <p:nvSpPr>
          <p:cNvPr id="3" name="Slide Number Placeholder 2">
            <a:extLst>
              <a:ext uri="{FF2B5EF4-FFF2-40B4-BE49-F238E27FC236}">
                <a16:creationId xmlns:a16="http://schemas.microsoft.com/office/drawing/2014/main" id="{5015EB1B-C370-3C9E-CBE8-A5F56677ED6C}"/>
              </a:ext>
            </a:extLst>
          </p:cNvPr>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46D584E9-81E4-493B-AD1D-A460B5445953}" type="slidenum">
              <a:rPr kumimoji="0" lang="en-US" sz="1267" b="0" i="0" u="none" strike="noStrike" kern="1200" cap="none" spc="0" normalizeH="0" baseline="0" noProof="0" smtClean="0">
                <a:ln>
                  <a:noFill/>
                </a:ln>
                <a:solidFill>
                  <a:srgbClr val="7F7F7F"/>
                </a:solidFill>
                <a:effectLst/>
                <a:uLnTx/>
                <a:uFillTx/>
                <a:latin typeface="Arial"/>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7</a:t>
            </a:fld>
            <a:endParaRPr kumimoji="0" lang="en-US" sz="1267" b="0" i="0" u="none" strike="noStrike" kern="1200" cap="none" spc="0" normalizeH="0" baseline="0" noProof="0">
              <a:ln>
                <a:noFill/>
              </a:ln>
              <a:solidFill>
                <a:srgbClr val="7F7F7F"/>
              </a:solidFill>
              <a:effectLst/>
              <a:uLnTx/>
              <a:uFillTx/>
              <a:latin typeface="Arial"/>
              <a:ea typeface="+mn-ea"/>
              <a:cs typeface="+mn-cs"/>
            </a:endParaRPr>
          </a:p>
        </p:txBody>
      </p:sp>
      <p:pic>
        <p:nvPicPr>
          <p:cNvPr id="4" name="Picture 3" descr="Text&#10;&#10;Description automatically generated">
            <a:extLst>
              <a:ext uri="{FF2B5EF4-FFF2-40B4-BE49-F238E27FC236}">
                <a16:creationId xmlns:a16="http://schemas.microsoft.com/office/drawing/2014/main" id="{A4EB3925-5197-5670-CE21-E1F54698D0AD}"/>
              </a:ext>
            </a:extLst>
          </p:cNvPr>
          <p:cNvPicPr>
            <a:picLocks noChangeAspect="1"/>
          </p:cNvPicPr>
          <p:nvPr/>
        </p:nvPicPr>
        <p:blipFill>
          <a:blip r:embed="rId3"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2521643" y="6154224"/>
            <a:ext cx="1337860" cy="769376"/>
          </a:xfrm>
          <a:prstGeom prst="rect">
            <a:avLst/>
          </a:prstGeom>
        </p:spPr>
      </p:pic>
      <p:grpSp>
        <p:nvGrpSpPr>
          <p:cNvPr id="6" name="Group 5">
            <a:extLst>
              <a:ext uri="{FF2B5EF4-FFF2-40B4-BE49-F238E27FC236}">
                <a16:creationId xmlns:a16="http://schemas.microsoft.com/office/drawing/2014/main" id="{37EBB8A6-A8B6-E205-15C1-F39D97954154}"/>
              </a:ext>
            </a:extLst>
          </p:cNvPr>
          <p:cNvGrpSpPr/>
          <p:nvPr/>
        </p:nvGrpSpPr>
        <p:grpSpPr>
          <a:xfrm>
            <a:off x="1061721" y="1209283"/>
            <a:ext cx="9753600" cy="4848225"/>
            <a:chOff x="1061721" y="1209283"/>
            <a:chExt cx="9753600" cy="4848225"/>
          </a:xfrm>
        </p:grpSpPr>
        <p:pic>
          <p:nvPicPr>
            <p:cNvPr id="1026" name="Picture 2" descr="infographic">
              <a:extLst>
                <a:ext uri="{FF2B5EF4-FFF2-40B4-BE49-F238E27FC236}">
                  <a16:creationId xmlns:a16="http://schemas.microsoft.com/office/drawing/2014/main" id="{C2F4E993-F29C-2501-FCCA-C572284B4A8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061721" y="1209283"/>
              <a:ext cx="9753600" cy="4848225"/>
            </a:xfrm>
            <a:prstGeom prst="rect">
              <a:avLst/>
            </a:prstGeom>
            <a:noFill/>
            <a:extLst>
              <a:ext uri="{909E8E84-426E-40DD-AFC4-6F175D3DCCD1}">
                <a14:hiddenFill xmlns:a14="http://schemas.microsoft.com/office/drawing/2010/main">
                  <a:solidFill>
                    <a:srgbClr val="FFFFFF"/>
                  </a:solidFill>
                </a14:hiddenFill>
              </a:ext>
            </a:extLst>
          </p:spPr>
        </p:pic>
        <p:sp>
          <p:nvSpPr>
            <p:cNvPr id="5" name="TextBox 4">
              <a:extLst>
                <a:ext uri="{FF2B5EF4-FFF2-40B4-BE49-F238E27FC236}">
                  <a16:creationId xmlns:a16="http://schemas.microsoft.com/office/drawing/2014/main" id="{D24792F4-DC33-7CB0-3BFC-6B3165163813}"/>
                </a:ext>
              </a:extLst>
            </p:cNvPr>
            <p:cNvSpPr txBox="1"/>
            <p:nvPr/>
          </p:nvSpPr>
          <p:spPr>
            <a:xfrm>
              <a:off x="1495313" y="1800685"/>
              <a:ext cx="2932307" cy="738664"/>
            </a:xfrm>
            <a:prstGeom prst="rect">
              <a:avLst/>
            </a:prstGeom>
            <a:solidFill>
              <a:srgbClr val="2D1D4E"/>
            </a:solid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white"/>
                  </a:solidFill>
                  <a:effectLst/>
                  <a:uLnTx/>
                  <a:uFillTx/>
                  <a:latin typeface="Arial"/>
                  <a:ea typeface="+mn-ea"/>
                  <a:cs typeface="+mn-cs"/>
                </a:rPr>
                <a:t>Historical overnight capital cost components (based on LWRs)</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latin typeface="Arial"/>
                <a:ea typeface="+mn-ea"/>
                <a:cs typeface="+mn-cs"/>
              </a:endParaRPr>
            </a:p>
          </p:txBody>
        </p:sp>
      </p:grpSp>
    </p:spTree>
    <p:extLst>
      <p:ext uri="{BB962C8B-B14F-4D97-AF65-F5344CB8AC3E}">
        <p14:creationId xmlns:p14="http://schemas.microsoft.com/office/powerpoint/2010/main" val="3638471554"/>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51700C1-7A21-624E-A0E9-31329CFD172A}"/>
              </a:ext>
            </a:extLst>
          </p:cNvPr>
          <p:cNvSpPr>
            <a:spLocks noGrp="1"/>
          </p:cNvSpPr>
          <p:nvPr>
            <p:ph type="title"/>
          </p:nvPr>
        </p:nvSpPr>
        <p:spPr>
          <a:xfrm>
            <a:off x="662940" y="436881"/>
            <a:ext cx="10784677" cy="858676"/>
          </a:xfrm>
        </p:spPr>
        <p:txBody>
          <a:bodyPr/>
          <a:lstStyle/>
          <a:p>
            <a:r>
              <a:rPr lang="en-US"/>
              <a:t>Investment in Advanced Construction Techniques</a:t>
            </a:r>
          </a:p>
        </p:txBody>
      </p:sp>
      <p:sp>
        <p:nvSpPr>
          <p:cNvPr id="3" name="Slide Number Placeholder 2">
            <a:extLst>
              <a:ext uri="{FF2B5EF4-FFF2-40B4-BE49-F238E27FC236}">
                <a16:creationId xmlns:a16="http://schemas.microsoft.com/office/drawing/2014/main" id="{5015EB1B-C370-3C9E-CBE8-A5F56677ED6C}"/>
              </a:ext>
            </a:extLst>
          </p:cNvPr>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46D584E9-81E4-493B-AD1D-A460B5445953}" type="slidenum">
              <a:rPr kumimoji="0" lang="en-US" sz="1267" b="0" i="0" u="none" strike="noStrike" kern="1200" cap="none" spc="0" normalizeH="0" baseline="0" noProof="0" smtClean="0">
                <a:ln>
                  <a:noFill/>
                </a:ln>
                <a:solidFill>
                  <a:srgbClr val="7F7F7F"/>
                </a:solidFill>
                <a:effectLst/>
                <a:uLnTx/>
                <a:uFillTx/>
                <a:latin typeface="Arial"/>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8</a:t>
            </a:fld>
            <a:endParaRPr kumimoji="0" lang="en-US" sz="1267" b="0" i="0" u="none" strike="noStrike" kern="1200" cap="none" spc="0" normalizeH="0" baseline="0" noProof="0">
              <a:ln>
                <a:noFill/>
              </a:ln>
              <a:solidFill>
                <a:srgbClr val="7F7F7F"/>
              </a:solidFill>
              <a:effectLst/>
              <a:uLnTx/>
              <a:uFillTx/>
              <a:latin typeface="Arial"/>
              <a:ea typeface="+mn-ea"/>
              <a:cs typeface="+mn-cs"/>
            </a:endParaRPr>
          </a:p>
        </p:txBody>
      </p:sp>
      <p:pic>
        <p:nvPicPr>
          <p:cNvPr id="4" name="Picture 3" descr="Text&#10;&#10;Description automatically generated">
            <a:extLst>
              <a:ext uri="{FF2B5EF4-FFF2-40B4-BE49-F238E27FC236}">
                <a16:creationId xmlns:a16="http://schemas.microsoft.com/office/drawing/2014/main" id="{E35C1CBD-161D-8304-34BB-F4EEBFFBAC65}"/>
              </a:ext>
            </a:extLst>
          </p:cNvPr>
          <p:cNvPicPr>
            <a:picLocks noChangeAspect="1"/>
          </p:cNvPicPr>
          <p:nvPr/>
        </p:nvPicPr>
        <p:blipFill>
          <a:blip r:embed="rId2"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2521643" y="6154224"/>
            <a:ext cx="1337860" cy="769376"/>
          </a:xfrm>
          <a:prstGeom prst="rect">
            <a:avLst/>
          </a:prstGeom>
        </p:spPr>
      </p:pic>
      <p:sp>
        <p:nvSpPr>
          <p:cNvPr id="8" name="Rectangle 7">
            <a:extLst>
              <a:ext uri="{FF2B5EF4-FFF2-40B4-BE49-F238E27FC236}">
                <a16:creationId xmlns:a16="http://schemas.microsoft.com/office/drawing/2014/main" id="{5C4A62A1-A3CE-636A-B7F8-B1EA8F34F314}"/>
              </a:ext>
            </a:extLst>
          </p:cNvPr>
          <p:cNvSpPr/>
          <p:nvPr/>
        </p:nvSpPr>
        <p:spPr>
          <a:xfrm>
            <a:off x="0" y="1181311"/>
            <a:ext cx="12192000" cy="104185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81F96"/>
              </a:solidFill>
              <a:effectLst/>
              <a:uLnTx/>
              <a:uFillTx/>
              <a:latin typeface="Arial"/>
              <a:ea typeface="+mn-ea"/>
              <a:cs typeface="+mn-cs"/>
            </a:endParaRPr>
          </a:p>
        </p:txBody>
      </p:sp>
      <p:sp>
        <p:nvSpPr>
          <p:cNvPr id="9" name="TextBox 8">
            <a:extLst>
              <a:ext uri="{FF2B5EF4-FFF2-40B4-BE49-F238E27FC236}">
                <a16:creationId xmlns:a16="http://schemas.microsoft.com/office/drawing/2014/main" id="{0AA4EBE2-5979-FC4E-D32C-C500BEBF6290}"/>
              </a:ext>
            </a:extLst>
          </p:cNvPr>
          <p:cNvSpPr txBox="1"/>
          <p:nvPr/>
        </p:nvSpPr>
        <p:spPr>
          <a:xfrm>
            <a:off x="1588168" y="1332101"/>
            <a:ext cx="9000772" cy="707886"/>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000" b="0" i="1" u="none" strike="noStrike" kern="1200" cap="none" spc="0" normalizeH="0" baseline="0" noProof="0">
                <a:ln>
                  <a:noFill/>
                </a:ln>
                <a:solidFill>
                  <a:prstClr val="white"/>
                </a:solidFill>
                <a:effectLst/>
                <a:uLnTx/>
                <a:uFillTx/>
                <a:latin typeface="Arial"/>
                <a:ea typeface="+mn-ea"/>
                <a:cs typeface="+mn-cs"/>
              </a:rPr>
              <a:t>To streamline timelines and reduce costs, site preparation and construction R&amp;D must be a priority</a:t>
            </a:r>
          </a:p>
        </p:txBody>
      </p:sp>
      <p:pic>
        <p:nvPicPr>
          <p:cNvPr id="12" name="Graphic 11">
            <a:extLst>
              <a:ext uri="{FF2B5EF4-FFF2-40B4-BE49-F238E27FC236}">
                <a16:creationId xmlns:a16="http://schemas.microsoft.com/office/drawing/2014/main" id="{FBE9CB52-9C35-F8E5-4725-882B34CED866}"/>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62940" y="1332101"/>
            <a:ext cx="707886" cy="707886"/>
          </a:xfrm>
          <a:prstGeom prst="rect">
            <a:avLst/>
          </a:prstGeom>
        </p:spPr>
      </p:pic>
      <p:sp>
        <p:nvSpPr>
          <p:cNvPr id="13" name="TextBox 12">
            <a:extLst>
              <a:ext uri="{FF2B5EF4-FFF2-40B4-BE49-F238E27FC236}">
                <a16:creationId xmlns:a16="http://schemas.microsoft.com/office/drawing/2014/main" id="{20F68BDC-F450-E1BF-D6B0-F97CA6727460}"/>
              </a:ext>
            </a:extLst>
          </p:cNvPr>
          <p:cNvSpPr txBox="1"/>
          <p:nvPr/>
        </p:nvSpPr>
        <p:spPr>
          <a:xfrm>
            <a:off x="3513246" y="2210303"/>
            <a:ext cx="8182420" cy="3823125"/>
          </a:xfrm>
          <a:prstGeom prst="rect">
            <a:avLst/>
          </a:prstGeom>
          <a:noFill/>
          <a:ln w="15875">
            <a:noFill/>
          </a:ln>
        </p:spPr>
        <p:txBody>
          <a:bodyPr wrap="square" lIns="182880" rIns="182880" anchor="ctr">
            <a:noAutofit/>
          </a:bodyPr>
          <a:lstStyle/>
          <a:p>
            <a:pPr marL="0" marR="0" lvl="0" indent="0" algn="l" defTabSz="457200" rtl="0" eaLnBrk="1" fontAlgn="auto" latinLnBrk="0" hangingPunct="1">
              <a:lnSpc>
                <a:spcPct val="150000"/>
              </a:lnSpc>
              <a:spcBef>
                <a:spcPts val="600"/>
              </a:spcBef>
              <a:spcAft>
                <a:spcPts val="600"/>
              </a:spcAft>
              <a:buClrTx/>
              <a:buSzTx/>
              <a:buFontTx/>
              <a:buNone/>
              <a:tabLst/>
              <a:defRPr/>
            </a:pPr>
            <a:r>
              <a:rPr kumimoji="0" lang="en-US" sz="1400" b="1" i="0" u="none" strike="noStrike" kern="1200" cap="none" spc="0" normalizeH="0" baseline="0" noProof="0">
                <a:ln>
                  <a:noFill/>
                </a:ln>
                <a:solidFill>
                  <a:srgbClr val="3B3B3C"/>
                </a:solidFill>
                <a:effectLst/>
                <a:uLnTx/>
                <a:uFillTx/>
                <a:latin typeface="Arial"/>
                <a:ea typeface="Times New Roman" panose="02020603050405020304" pitchFamily="18" charset="0"/>
                <a:cs typeface="+mn-cs"/>
              </a:rPr>
              <a:t>RECOMMENDATION 6.8</a:t>
            </a:r>
            <a:r>
              <a:rPr kumimoji="0" lang="en-US" sz="1400" b="0" i="0" u="none" strike="noStrike" kern="1200" cap="none" spc="0" normalizeH="0" baseline="0" noProof="0">
                <a:ln>
                  <a:noFill/>
                </a:ln>
                <a:solidFill>
                  <a:srgbClr val="3B3B3C"/>
                </a:solidFill>
                <a:effectLst/>
                <a:uLnTx/>
                <a:uFillTx/>
                <a:latin typeface="Arial"/>
                <a:ea typeface="Times New Roman" panose="02020603050405020304" pitchFamily="18" charset="0"/>
                <a:cs typeface="+mn-cs"/>
              </a:rPr>
              <a:t>: While it is vital to demonstrate that advanced reactors are viable from a technical perspective, it is perhaps even more vital to ensure that the overall plant, including the on-site civil work, can be built within cost and schedule constraints. </a:t>
            </a:r>
            <a:r>
              <a:rPr kumimoji="0" lang="en-US" sz="1400" b="1" i="0" u="none" strike="noStrike" kern="1200" cap="none" spc="0" normalizeH="0" baseline="0" noProof="0">
                <a:ln>
                  <a:noFill/>
                </a:ln>
                <a:solidFill>
                  <a:srgbClr val="3B3B3C"/>
                </a:solidFill>
                <a:effectLst/>
                <a:uLnTx/>
                <a:uFillTx/>
                <a:latin typeface="Arial"/>
                <a:ea typeface="Times New Roman" panose="02020603050405020304" pitchFamily="18" charset="0"/>
                <a:cs typeface="+mn-cs"/>
              </a:rPr>
              <a:t>Since it is likely that costs for onsite development will still be a significant contributor to capital cost, and the ~$35M in DOE funding for advanced construction technologies R&amp;D is small in comparison to the hundreds of millions spent on nuclear island technology research, more should be done over an extended period to research technologies that may streamline and reduce costs for this work.</a:t>
            </a:r>
            <a:r>
              <a:rPr kumimoji="0" lang="en-US" sz="1400" b="0" i="0" u="none" strike="noStrike" kern="1200" cap="none" spc="0" normalizeH="0" baseline="0" noProof="0">
                <a:ln>
                  <a:noFill/>
                </a:ln>
                <a:solidFill>
                  <a:srgbClr val="3B3B3C"/>
                </a:solidFill>
                <a:effectLst/>
                <a:uLnTx/>
                <a:uFillTx/>
                <a:latin typeface="Arial"/>
                <a:ea typeface="Times New Roman" panose="02020603050405020304" pitchFamily="18" charset="0"/>
                <a:cs typeface="+mn-cs"/>
              </a:rPr>
              <a:t> The Department of Energy should expand its current efforts in advanced construction technology R&amp;D and make these advanced technologies broadly available, including to vendors participating in the ARDP Risk Reduction and ARC20 programs.</a:t>
            </a:r>
            <a:endParaRPr kumimoji="0" lang="en-US" sz="1400" b="0" i="0" u="none" strike="noStrike" kern="1200" cap="none" spc="0" normalizeH="0" baseline="0" noProof="0">
              <a:ln>
                <a:noFill/>
              </a:ln>
              <a:solidFill>
                <a:srgbClr val="211747"/>
              </a:solidFill>
              <a:effectLst/>
              <a:uLnTx/>
              <a:uFillTx/>
              <a:latin typeface="Arial"/>
              <a:ea typeface="Times New Roman" panose="02020603050405020304" pitchFamily="18" charset="0"/>
              <a:cs typeface="Times New Roman" panose="02020603050405020304" pitchFamily="18" charset="0"/>
            </a:endParaRPr>
          </a:p>
        </p:txBody>
      </p:sp>
      <p:pic>
        <p:nvPicPr>
          <p:cNvPr id="15" name="Picture 14" descr="A person holding a ball&#10;&#10;Description automatically generated with low confidence">
            <a:extLst>
              <a:ext uri="{FF2B5EF4-FFF2-40B4-BE49-F238E27FC236}">
                <a16:creationId xmlns:a16="http://schemas.microsoft.com/office/drawing/2014/main" id="{E563267F-FE28-FC21-115A-E68B064EC6F7}"/>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l="34704" r="5432"/>
          <a:stretch/>
        </p:blipFill>
        <p:spPr>
          <a:xfrm>
            <a:off x="662940" y="2656244"/>
            <a:ext cx="2752192" cy="3064899"/>
          </a:xfrm>
          <a:prstGeom prst="rect">
            <a:avLst/>
          </a:prstGeom>
        </p:spPr>
      </p:pic>
    </p:spTree>
    <p:extLst>
      <p:ext uri="{BB962C8B-B14F-4D97-AF65-F5344CB8AC3E}">
        <p14:creationId xmlns:p14="http://schemas.microsoft.com/office/powerpoint/2010/main" val="3825011451"/>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716EA024-7B76-4CB8-2A2D-55331B89919F}"/>
              </a:ext>
            </a:extLst>
          </p:cNvPr>
          <p:cNvSpPr/>
          <p:nvPr/>
        </p:nvSpPr>
        <p:spPr>
          <a:xfrm>
            <a:off x="0" y="1181311"/>
            <a:ext cx="12192000" cy="104185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81F96"/>
              </a:solidFill>
              <a:effectLst/>
              <a:uLnTx/>
              <a:uFillTx/>
              <a:latin typeface="Arial"/>
              <a:ea typeface="+mn-ea"/>
              <a:cs typeface="+mn-cs"/>
            </a:endParaRPr>
          </a:p>
        </p:txBody>
      </p:sp>
      <p:sp>
        <p:nvSpPr>
          <p:cNvPr id="14" name="TextBox 13">
            <a:extLst>
              <a:ext uri="{FF2B5EF4-FFF2-40B4-BE49-F238E27FC236}">
                <a16:creationId xmlns:a16="http://schemas.microsoft.com/office/drawing/2014/main" id="{7AEA43C2-0648-FAE4-1704-2418394178A8}"/>
              </a:ext>
            </a:extLst>
          </p:cNvPr>
          <p:cNvSpPr txBox="1"/>
          <p:nvPr/>
        </p:nvSpPr>
        <p:spPr>
          <a:xfrm>
            <a:off x="1648328" y="1332101"/>
            <a:ext cx="9000772" cy="707886"/>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000" b="0" i="1" u="none" strike="noStrike" kern="1200" cap="none" spc="0" normalizeH="0" baseline="0" noProof="0">
                <a:ln>
                  <a:noFill/>
                </a:ln>
                <a:solidFill>
                  <a:prstClr val="white"/>
                </a:solidFill>
                <a:effectLst/>
                <a:uLnTx/>
                <a:uFillTx/>
                <a:latin typeface="Arial"/>
                <a:ea typeface="+mn-ea"/>
                <a:cs typeface="+mn-cs"/>
              </a:rPr>
              <a:t>To make subsequent deployments possible, building and maintaining skilled labor from project to project is key</a:t>
            </a:r>
          </a:p>
        </p:txBody>
      </p:sp>
      <p:pic>
        <p:nvPicPr>
          <p:cNvPr id="15" name="Graphic 14">
            <a:extLst>
              <a:ext uri="{FF2B5EF4-FFF2-40B4-BE49-F238E27FC236}">
                <a16:creationId xmlns:a16="http://schemas.microsoft.com/office/drawing/2014/main" id="{8623BB5D-007D-F493-A3F8-E51B5072FD6D}"/>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662940" y="1332101"/>
            <a:ext cx="707886" cy="707886"/>
          </a:xfrm>
          <a:prstGeom prst="rect">
            <a:avLst/>
          </a:prstGeom>
        </p:spPr>
      </p:pic>
      <p:sp>
        <p:nvSpPr>
          <p:cNvPr id="16" name="TextBox 15">
            <a:extLst>
              <a:ext uri="{FF2B5EF4-FFF2-40B4-BE49-F238E27FC236}">
                <a16:creationId xmlns:a16="http://schemas.microsoft.com/office/drawing/2014/main" id="{C16A53E0-76F3-2E2A-AEAB-A2EB32B54B36}"/>
              </a:ext>
            </a:extLst>
          </p:cNvPr>
          <p:cNvSpPr txBox="1"/>
          <p:nvPr/>
        </p:nvSpPr>
        <p:spPr>
          <a:xfrm>
            <a:off x="5787190" y="2291646"/>
            <a:ext cx="5968610" cy="3823125"/>
          </a:xfrm>
          <a:prstGeom prst="rect">
            <a:avLst/>
          </a:prstGeom>
          <a:noFill/>
          <a:ln w="15875">
            <a:noFill/>
          </a:ln>
        </p:spPr>
        <p:txBody>
          <a:bodyPr wrap="square" lIns="182880" rIns="182880" anchor="ctr">
            <a:noAutofit/>
          </a:bodyPr>
          <a:lstStyle/>
          <a:p>
            <a:pPr marL="0" marR="0" lvl="0" indent="0" algn="l" defTabSz="457200" rtl="0" eaLnBrk="1" fontAlgn="auto" latinLnBrk="0" hangingPunct="1">
              <a:lnSpc>
                <a:spcPct val="150000"/>
              </a:lnSpc>
              <a:spcBef>
                <a:spcPts val="600"/>
              </a:spcBef>
              <a:spcAft>
                <a:spcPts val="600"/>
              </a:spcAft>
              <a:buClrTx/>
              <a:buSzTx/>
              <a:buFontTx/>
              <a:buNone/>
              <a:tabLst/>
              <a:defRPr/>
            </a:pPr>
            <a:r>
              <a:rPr kumimoji="0" lang="en-US" sz="1400" b="1" i="0" u="none" strike="noStrike" kern="1200" cap="none" spc="0" normalizeH="0" baseline="0" noProof="0">
                <a:ln>
                  <a:noFill/>
                </a:ln>
                <a:solidFill>
                  <a:srgbClr val="3B3B3C"/>
                </a:solidFill>
                <a:effectLst/>
                <a:uLnTx/>
                <a:uFillTx/>
                <a:latin typeface="Arial"/>
                <a:ea typeface="Times New Roman" panose="02020603050405020304" pitchFamily="18" charset="0"/>
                <a:cs typeface="+mn-cs"/>
              </a:rPr>
              <a:t>RECOMMENDATION 6.2</a:t>
            </a:r>
            <a:r>
              <a:rPr kumimoji="0" lang="en-US" sz="1400" b="0" i="0" u="none" strike="noStrike" kern="1200" cap="none" spc="0" normalizeH="0" baseline="0" noProof="0">
                <a:ln>
                  <a:noFill/>
                </a:ln>
                <a:solidFill>
                  <a:srgbClr val="3B3B3C"/>
                </a:solidFill>
                <a:effectLst/>
                <a:uLnTx/>
                <a:uFillTx/>
                <a:latin typeface="Arial"/>
                <a:ea typeface="Times New Roman" panose="02020603050405020304" pitchFamily="18" charset="0"/>
                <a:cs typeface="+mn-cs"/>
              </a:rPr>
              <a:t>: </a:t>
            </a:r>
            <a:r>
              <a:rPr kumimoji="0" lang="en-US" sz="1400" b="1" i="0" u="none" strike="noStrike" kern="1200" cap="none" spc="0" normalizeH="0" baseline="0" noProof="0">
                <a:ln>
                  <a:noFill/>
                </a:ln>
                <a:solidFill>
                  <a:srgbClr val="3B3B3C"/>
                </a:solidFill>
                <a:effectLst/>
                <a:uLnTx/>
                <a:uFillTx/>
                <a:latin typeface="Arial"/>
                <a:ea typeface="Times New Roman" panose="02020603050405020304" pitchFamily="18" charset="0"/>
                <a:cs typeface="+mn-cs"/>
              </a:rPr>
              <a:t>Nuclear owner/operators pursuing new nuclear construction should consider establishing a consortium or joint venture to pursue the construction on behalf of the group, thereby enabling the creation and maintenance of the necessary skilled personnel to pursue projects successfully. </a:t>
            </a:r>
            <a:r>
              <a:rPr kumimoji="0" lang="en-US" sz="1400" b="0" i="0" u="none" strike="noStrike" kern="1200" cap="none" spc="0" normalizeH="0" baseline="0" noProof="0">
                <a:ln>
                  <a:noFill/>
                </a:ln>
                <a:solidFill>
                  <a:srgbClr val="3B3B3C"/>
                </a:solidFill>
                <a:effectLst/>
                <a:uLnTx/>
                <a:uFillTx/>
                <a:latin typeface="Arial"/>
                <a:ea typeface="Times New Roman" panose="02020603050405020304" pitchFamily="18" charset="0"/>
                <a:cs typeface="+mn-cs"/>
              </a:rPr>
              <a:t>Alternatively, advanced reactor developers operating within the traditional project delivery model should implement a long-term business relationship, preferably an equity partnership such as a joint venture or a consortium, with a qualified engineering, procurement, and construction (EPC) firm experienced in the nuclear industry. </a:t>
            </a:r>
            <a:endParaRPr kumimoji="0" lang="en-US" sz="1400" b="0" i="0" u="none" strike="noStrike" kern="1200" cap="none" spc="0" normalizeH="0" baseline="0" noProof="0">
              <a:ln>
                <a:noFill/>
              </a:ln>
              <a:solidFill>
                <a:srgbClr val="211747"/>
              </a:solidFill>
              <a:effectLst/>
              <a:uLnTx/>
              <a:uFillTx/>
              <a:latin typeface="Arial"/>
              <a:ea typeface="Times New Roman" panose="02020603050405020304" pitchFamily="18" charset="0"/>
              <a:cs typeface="Times New Roman" panose="02020603050405020304" pitchFamily="18" charset="0"/>
            </a:endParaRPr>
          </a:p>
        </p:txBody>
      </p:sp>
      <p:sp>
        <p:nvSpPr>
          <p:cNvPr id="2" name="Title 1">
            <a:extLst>
              <a:ext uri="{FF2B5EF4-FFF2-40B4-BE49-F238E27FC236}">
                <a16:creationId xmlns:a16="http://schemas.microsoft.com/office/drawing/2014/main" id="{C51700C1-7A21-624E-A0E9-31329CFD172A}"/>
              </a:ext>
            </a:extLst>
          </p:cNvPr>
          <p:cNvSpPr>
            <a:spLocks noGrp="1"/>
          </p:cNvSpPr>
          <p:nvPr>
            <p:ph type="title"/>
          </p:nvPr>
        </p:nvSpPr>
        <p:spPr/>
        <p:txBody>
          <a:bodyPr/>
          <a:lstStyle/>
          <a:p>
            <a:r>
              <a:rPr lang="en-US"/>
              <a:t>Ensuring Successful Project Management</a:t>
            </a:r>
          </a:p>
        </p:txBody>
      </p:sp>
      <p:sp>
        <p:nvSpPr>
          <p:cNvPr id="3" name="Slide Number Placeholder 2">
            <a:extLst>
              <a:ext uri="{FF2B5EF4-FFF2-40B4-BE49-F238E27FC236}">
                <a16:creationId xmlns:a16="http://schemas.microsoft.com/office/drawing/2014/main" id="{5015EB1B-C370-3C9E-CBE8-A5F56677ED6C}"/>
              </a:ext>
            </a:extLst>
          </p:cNvPr>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46D584E9-81E4-493B-AD1D-A460B5445953}" type="slidenum">
              <a:rPr kumimoji="0" lang="en-US" sz="1267" b="0" i="0" u="none" strike="noStrike" kern="1200" cap="none" spc="0" normalizeH="0" baseline="0" noProof="0" smtClean="0">
                <a:ln>
                  <a:noFill/>
                </a:ln>
                <a:solidFill>
                  <a:srgbClr val="7F7F7F"/>
                </a:solidFill>
                <a:effectLst/>
                <a:uLnTx/>
                <a:uFillTx/>
                <a:latin typeface="Arial"/>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9</a:t>
            </a:fld>
            <a:endParaRPr kumimoji="0" lang="en-US" sz="1267" b="0" i="0" u="none" strike="noStrike" kern="1200" cap="none" spc="0" normalizeH="0" baseline="0" noProof="0">
              <a:ln>
                <a:noFill/>
              </a:ln>
              <a:solidFill>
                <a:srgbClr val="7F7F7F"/>
              </a:solidFill>
              <a:effectLst/>
              <a:uLnTx/>
              <a:uFillTx/>
              <a:latin typeface="Arial"/>
              <a:ea typeface="+mn-ea"/>
              <a:cs typeface="+mn-cs"/>
            </a:endParaRPr>
          </a:p>
        </p:txBody>
      </p:sp>
      <p:pic>
        <p:nvPicPr>
          <p:cNvPr id="8" name="Picture 7" descr="Text&#10;&#10;Description automatically generated">
            <a:extLst>
              <a:ext uri="{FF2B5EF4-FFF2-40B4-BE49-F238E27FC236}">
                <a16:creationId xmlns:a16="http://schemas.microsoft.com/office/drawing/2014/main" id="{9EFE9C69-8FD5-D961-5C79-4260DE4FE1BC}"/>
              </a:ext>
            </a:extLst>
          </p:cNvPr>
          <p:cNvPicPr>
            <a:picLocks noChangeAspect="1"/>
          </p:cNvPicPr>
          <p:nvPr/>
        </p:nvPicPr>
        <p:blipFill>
          <a:blip r:embed="rId4"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2521643" y="6154224"/>
            <a:ext cx="1337860" cy="769376"/>
          </a:xfrm>
          <a:prstGeom prst="rect">
            <a:avLst/>
          </a:prstGeom>
        </p:spPr>
      </p:pic>
      <p:pic>
        <p:nvPicPr>
          <p:cNvPr id="18" name="Graphic 17">
            <a:extLst>
              <a:ext uri="{FF2B5EF4-FFF2-40B4-BE49-F238E27FC236}">
                <a16:creationId xmlns:a16="http://schemas.microsoft.com/office/drawing/2014/main" id="{52E278A4-4ED0-E239-BEE4-FE5FC89C0A0F}"/>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0716920" y="1243706"/>
            <a:ext cx="793266" cy="793266"/>
          </a:xfrm>
          <a:prstGeom prst="rect">
            <a:avLst/>
          </a:prstGeom>
        </p:spPr>
      </p:pic>
      <p:pic>
        <p:nvPicPr>
          <p:cNvPr id="20" name="Picture 19" descr="A picture containing person&#10;&#10;Description automatically generated">
            <a:extLst>
              <a:ext uri="{FF2B5EF4-FFF2-40B4-BE49-F238E27FC236}">
                <a16:creationId xmlns:a16="http://schemas.microsoft.com/office/drawing/2014/main" id="{86B14072-134B-846C-8754-7E147FD2BE25}"/>
              </a:ext>
            </a:extLst>
          </p:cNvPr>
          <p:cNvPicPr>
            <a:picLocks noChangeAspect="1"/>
          </p:cNvPicPr>
          <p:nvPr/>
        </p:nvPicPr>
        <p:blipFill rotWithShape="1">
          <a:blip r:embed="rId7" cstate="print">
            <a:extLst>
              <a:ext uri="{28A0092B-C50C-407E-A947-70E740481C1C}">
                <a14:useLocalDpi xmlns:a14="http://schemas.microsoft.com/office/drawing/2010/main" val="0"/>
              </a:ext>
            </a:extLst>
          </a:blip>
          <a:srcRect l="9990" r="7409"/>
          <a:stretch/>
        </p:blipFill>
        <p:spPr>
          <a:xfrm>
            <a:off x="777086" y="2692773"/>
            <a:ext cx="4576967" cy="3094415"/>
          </a:xfrm>
          <a:prstGeom prst="rect">
            <a:avLst/>
          </a:prstGeom>
        </p:spPr>
      </p:pic>
    </p:spTree>
    <p:extLst>
      <p:ext uri="{BB962C8B-B14F-4D97-AF65-F5344CB8AC3E}">
        <p14:creationId xmlns:p14="http://schemas.microsoft.com/office/powerpoint/2010/main" val="264917742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Title 5">
            <a:extLst>
              <a:ext uri="{FF2B5EF4-FFF2-40B4-BE49-F238E27FC236}">
                <a16:creationId xmlns:a16="http://schemas.microsoft.com/office/drawing/2014/main" id="{7E9EEA3E-45E3-0239-E69A-BE3F5FBC9AB7}"/>
              </a:ext>
            </a:extLst>
          </p:cNvPr>
          <p:cNvSpPr>
            <a:spLocks noGrp="1" noChangeArrowheads="1"/>
          </p:cNvSpPr>
          <p:nvPr>
            <p:ph type="ctrTitle"/>
          </p:nvPr>
        </p:nvSpPr>
        <p:spPr>
          <a:xfrm>
            <a:off x="609600" y="1066800"/>
            <a:ext cx="10165976" cy="2590800"/>
          </a:xfrm>
        </p:spPr>
        <p:txBody>
          <a:bodyPr/>
          <a:lstStyle/>
          <a:p>
            <a:pPr algn="l"/>
            <a:r>
              <a:rPr lang="en-US" altLang="en-US" sz="5400" b="1">
                <a:solidFill>
                  <a:schemeClr val="bg1"/>
                </a:solidFill>
              </a:rPr>
              <a:t>Office of Nuclear Energy Update</a:t>
            </a:r>
          </a:p>
        </p:txBody>
      </p:sp>
      <p:sp>
        <p:nvSpPr>
          <p:cNvPr id="20483" name="Subtitle 6">
            <a:extLst>
              <a:ext uri="{FF2B5EF4-FFF2-40B4-BE49-F238E27FC236}">
                <a16:creationId xmlns:a16="http://schemas.microsoft.com/office/drawing/2014/main" id="{681152D8-4998-8D5B-9854-96A67EBE53DE}"/>
              </a:ext>
            </a:extLst>
          </p:cNvPr>
          <p:cNvSpPr>
            <a:spLocks noGrp="1" noChangeArrowheads="1"/>
          </p:cNvSpPr>
          <p:nvPr>
            <p:ph type="subTitle" idx="1"/>
          </p:nvPr>
        </p:nvSpPr>
        <p:spPr>
          <a:xfrm>
            <a:off x="609600" y="3276600"/>
            <a:ext cx="8816975" cy="2209800"/>
          </a:xfrm>
        </p:spPr>
        <p:txBody>
          <a:bodyPr/>
          <a:lstStyle/>
          <a:p>
            <a:pPr algn="l"/>
            <a:endParaRPr lang="en-US" altLang="en-US" sz="2000" b="1" i="1">
              <a:solidFill>
                <a:schemeClr val="bg1"/>
              </a:solidFill>
            </a:endParaRPr>
          </a:p>
          <a:p>
            <a:pPr algn="l"/>
            <a:endParaRPr lang="en-US" altLang="en-US" sz="2000" b="1" i="1">
              <a:solidFill>
                <a:schemeClr val="bg1"/>
              </a:solidFill>
            </a:endParaRPr>
          </a:p>
          <a:p>
            <a:pPr algn="l"/>
            <a:r>
              <a:rPr lang="en-US" altLang="en-US" b="1">
                <a:solidFill>
                  <a:schemeClr val="bg1"/>
                </a:solidFill>
              </a:rPr>
              <a:t>Assistant Secretary Dr. Katy Huff</a:t>
            </a:r>
            <a:endParaRPr lang="en-US" altLang="en-US" b="1">
              <a:solidFill>
                <a:schemeClr val="bg1"/>
              </a:solidFill>
              <a:cs typeface="Calibri"/>
            </a:endParaRPr>
          </a:p>
          <a:p>
            <a:pPr algn="l"/>
            <a:r>
              <a:rPr lang="en-US" altLang="en-US" sz="2000" b="1" i="1">
                <a:solidFill>
                  <a:schemeClr val="bg1"/>
                </a:solidFill>
              </a:rPr>
              <a:t>				</a:t>
            </a:r>
            <a:endParaRPr lang="en-US" altLang="en-US" sz="2000" b="1">
              <a:solidFill>
                <a:schemeClr val="bg1"/>
              </a:solidFill>
            </a:endParaRPr>
          </a:p>
        </p:txBody>
      </p:sp>
    </p:spTree>
    <p:extLst>
      <p:ext uri="{BB962C8B-B14F-4D97-AF65-F5344CB8AC3E}">
        <p14:creationId xmlns:p14="http://schemas.microsoft.com/office/powerpoint/2010/main" val="3531093093"/>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51700C1-7A21-624E-A0E9-31329CFD172A}"/>
              </a:ext>
            </a:extLst>
          </p:cNvPr>
          <p:cNvSpPr>
            <a:spLocks noGrp="1"/>
          </p:cNvSpPr>
          <p:nvPr>
            <p:ph type="title"/>
          </p:nvPr>
        </p:nvSpPr>
        <p:spPr/>
        <p:txBody>
          <a:bodyPr/>
          <a:lstStyle/>
          <a:p>
            <a:r>
              <a:rPr lang="en-US"/>
              <a:t>Preparing for an Expanded Workforce</a:t>
            </a:r>
          </a:p>
        </p:txBody>
      </p:sp>
      <p:sp>
        <p:nvSpPr>
          <p:cNvPr id="3" name="Slide Number Placeholder 2">
            <a:extLst>
              <a:ext uri="{FF2B5EF4-FFF2-40B4-BE49-F238E27FC236}">
                <a16:creationId xmlns:a16="http://schemas.microsoft.com/office/drawing/2014/main" id="{5015EB1B-C370-3C9E-CBE8-A5F56677ED6C}"/>
              </a:ext>
            </a:extLst>
          </p:cNvPr>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46D584E9-81E4-493B-AD1D-A460B5445953}" type="slidenum">
              <a:rPr kumimoji="0" lang="en-US" sz="1267" b="0" i="0" u="none" strike="noStrike" kern="1200" cap="none" spc="0" normalizeH="0" baseline="0" noProof="0" smtClean="0">
                <a:ln>
                  <a:noFill/>
                </a:ln>
                <a:solidFill>
                  <a:srgbClr val="7F7F7F"/>
                </a:solidFill>
                <a:effectLst/>
                <a:uLnTx/>
                <a:uFillTx/>
                <a:latin typeface="Arial"/>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0</a:t>
            </a:fld>
            <a:endParaRPr kumimoji="0" lang="en-US" sz="1267" b="0" i="0" u="none" strike="noStrike" kern="1200" cap="none" spc="0" normalizeH="0" baseline="0" noProof="0">
              <a:ln>
                <a:noFill/>
              </a:ln>
              <a:solidFill>
                <a:srgbClr val="7F7F7F"/>
              </a:solidFill>
              <a:effectLst/>
              <a:uLnTx/>
              <a:uFillTx/>
              <a:latin typeface="Arial"/>
              <a:ea typeface="+mn-ea"/>
              <a:cs typeface="+mn-cs"/>
            </a:endParaRPr>
          </a:p>
        </p:txBody>
      </p:sp>
      <p:sp>
        <p:nvSpPr>
          <p:cNvPr id="5" name="TextBox 4">
            <a:extLst>
              <a:ext uri="{FF2B5EF4-FFF2-40B4-BE49-F238E27FC236}">
                <a16:creationId xmlns:a16="http://schemas.microsoft.com/office/drawing/2014/main" id="{76B17CC8-CE79-3315-BAFE-AE791F829795}"/>
              </a:ext>
            </a:extLst>
          </p:cNvPr>
          <p:cNvSpPr txBox="1"/>
          <p:nvPr/>
        </p:nvSpPr>
        <p:spPr>
          <a:xfrm>
            <a:off x="1994559" y="1332469"/>
            <a:ext cx="9222081" cy="416011"/>
          </a:xfrm>
          <a:prstGeom prst="rect">
            <a:avLst/>
          </a:prstGeom>
          <a:noFill/>
          <a:ln w="15875">
            <a:solidFill>
              <a:schemeClr val="accent1"/>
            </a:solidFill>
          </a:ln>
        </p:spPr>
        <p:txBody>
          <a:bodyPr wrap="square">
            <a:spAutoFit/>
          </a:bodyPr>
          <a:lstStyle/>
          <a:p>
            <a:pPr marL="0" marR="0" lvl="0" indent="0" algn="l" defTabSz="457200" rtl="0" eaLnBrk="1" fontAlgn="auto" latinLnBrk="0" hangingPunct="1">
              <a:lnSpc>
                <a:spcPct val="150000"/>
              </a:lnSpc>
              <a:spcBef>
                <a:spcPts val="600"/>
              </a:spcBef>
              <a:spcAft>
                <a:spcPts val="600"/>
              </a:spcAft>
              <a:buClrTx/>
              <a:buSzTx/>
              <a:buFontTx/>
              <a:buNone/>
              <a:tabLst/>
              <a:defRPr/>
            </a:pPr>
            <a:endParaRPr kumimoji="0" lang="en-US" sz="1600" b="0" i="0" u="none" strike="noStrike" kern="1200" cap="none" spc="0" normalizeH="0" baseline="0" noProof="0">
              <a:ln>
                <a:noFill/>
              </a:ln>
              <a:solidFill>
                <a:srgbClr val="211747"/>
              </a:solidFill>
              <a:effectLst/>
              <a:uLnTx/>
              <a:uFillTx/>
              <a:latin typeface="Arial"/>
              <a:ea typeface="Times New Roman" panose="02020603050405020304" pitchFamily="18" charset="0"/>
              <a:cs typeface="Times New Roman" panose="02020603050405020304" pitchFamily="18" charset="0"/>
            </a:endParaRPr>
          </a:p>
        </p:txBody>
      </p:sp>
      <p:pic>
        <p:nvPicPr>
          <p:cNvPr id="4" name="Picture 3" descr="Text&#10;&#10;Description automatically generated">
            <a:extLst>
              <a:ext uri="{FF2B5EF4-FFF2-40B4-BE49-F238E27FC236}">
                <a16:creationId xmlns:a16="http://schemas.microsoft.com/office/drawing/2014/main" id="{B0B77AB6-11FC-B2F7-4D6E-BCD92AE9B805}"/>
              </a:ext>
            </a:extLst>
          </p:cNvPr>
          <p:cNvPicPr>
            <a:picLocks noChangeAspect="1"/>
          </p:cNvPicPr>
          <p:nvPr/>
        </p:nvPicPr>
        <p:blipFill>
          <a:blip r:embed="rId2"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2521643" y="6154224"/>
            <a:ext cx="1337860" cy="769376"/>
          </a:xfrm>
          <a:prstGeom prst="rect">
            <a:avLst/>
          </a:prstGeom>
        </p:spPr>
      </p:pic>
      <p:sp>
        <p:nvSpPr>
          <p:cNvPr id="7" name="Rectangle 6">
            <a:extLst>
              <a:ext uri="{FF2B5EF4-FFF2-40B4-BE49-F238E27FC236}">
                <a16:creationId xmlns:a16="http://schemas.microsoft.com/office/drawing/2014/main" id="{21CB314D-79A8-3394-DF32-B37C41C17FE1}"/>
              </a:ext>
            </a:extLst>
          </p:cNvPr>
          <p:cNvSpPr/>
          <p:nvPr/>
        </p:nvSpPr>
        <p:spPr>
          <a:xfrm>
            <a:off x="0" y="1181311"/>
            <a:ext cx="12192000" cy="104185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81F96"/>
              </a:solidFill>
              <a:effectLst/>
              <a:uLnTx/>
              <a:uFillTx/>
              <a:latin typeface="Arial"/>
              <a:ea typeface="+mn-ea"/>
              <a:cs typeface="+mn-cs"/>
            </a:endParaRPr>
          </a:p>
        </p:txBody>
      </p:sp>
      <p:sp>
        <p:nvSpPr>
          <p:cNvPr id="8" name="TextBox 7">
            <a:extLst>
              <a:ext uri="{FF2B5EF4-FFF2-40B4-BE49-F238E27FC236}">
                <a16:creationId xmlns:a16="http://schemas.microsoft.com/office/drawing/2014/main" id="{1B43E83F-0EEE-4EB7-DCCF-7F0DF638BC6F}"/>
              </a:ext>
            </a:extLst>
          </p:cNvPr>
          <p:cNvSpPr txBox="1"/>
          <p:nvPr/>
        </p:nvSpPr>
        <p:spPr>
          <a:xfrm>
            <a:off x="1648328" y="1332101"/>
            <a:ext cx="9000772" cy="707886"/>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000" b="0" i="1" u="none" strike="noStrike" kern="1200" cap="none" spc="0" normalizeH="0" baseline="0" noProof="0">
                <a:ln>
                  <a:noFill/>
                </a:ln>
                <a:solidFill>
                  <a:prstClr val="white"/>
                </a:solidFill>
                <a:effectLst/>
                <a:uLnTx/>
                <a:uFillTx/>
                <a:latin typeface="Arial"/>
                <a:ea typeface="+mn-ea"/>
                <a:cs typeface="+mn-cs"/>
              </a:rPr>
              <a:t>To prepare for an expanded workforce, identifying critical skills gaps and funding training programs is key</a:t>
            </a:r>
          </a:p>
        </p:txBody>
      </p:sp>
      <p:sp>
        <p:nvSpPr>
          <p:cNvPr id="10" name="TextBox 9">
            <a:extLst>
              <a:ext uri="{FF2B5EF4-FFF2-40B4-BE49-F238E27FC236}">
                <a16:creationId xmlns:a16="http://schemas.microsoft.com/office/drawing/2014/main" id="{7F7CE0C6-168C-417A-5B95-37D1D50CE741}"/>
              </a:ext>
            </a:extLst>
          </p:cNvPr>
          <p:cNvSpPr txBox="1"/>
          <p:nvPr/>
        </p:nvSpPr>
        <p:spPr>
          <a:xfrm>
            <a:off x="1380155" y="2190777"/>
            <a:ext cx="9431689" cy="3823125"/>
          </a:xfrm>
          <a:prstGeom prst="rect">
            <a:avLst/>
          </a:prstGeom>
          <a:noFill/>
          <a:ln w="15875">
            <a:noFill/>
          </a:ln>
        </p:spPr>
        <p:txBody>
          <a:bodyPr wrap="square" lIns="182880" rIns="182880" anchor="ctr">
            <a:noAutofit/>
          </a:bodyPr>
          <a:lstStyle/>
          <a:p>
            <a:pPr marL="0" marR="0" lvl="0" indent="0" algn="l" defTabSz="457200" rtl="0" eaLnBrk="1" fontAlgn="auto" latinLnBrk="0" hangingPunct="1">
              <a:lnSpc>
                <a:spcPct val="150000"/>
              </a:lnSpc>
              <a:spcBef>
                <a:spcPts val="600"/>
              </a:spcBef>
              <a:spcAft>
                <a:spcPts val="600"/>
              </a:spcAft>
              <a:buClrTx/>
              <a:buSzTx/>
              <a:buFontTx/>
              <a:buNone/>
              <a:tabLst/>
              <a:defRPr/>
            </a:pPr>
            <a:r>
              <a:rPr kumimoji="0" lang="en-US" sz="1400" b="1" i="0" u="none" strike="noStrike" kern="1200" cap="none" spc="0" normalizeH="0" baseline="0" noProof="0">
                <a:ln>
                  <a:noFill/>
                </a:ln>
                <a:solidFill>
                  <a:srgbClr val="3B3B3C"/>
                </a:solidFill>
                <a:effectLst/>
                <a:uLnTx/>
                <a:uFillTx/>
                <a:latin typeface="Arial"/>
                <a:ea typeface="Times New Roman" panose="02020603050405020304" pitchFamily="18" charset="0"/>
                <a:cs typeface="+mn-cs"/>
              </a:rPr>
              <a:t>RECOMMENDATION 6.1</a:t>
            </a:r>
            <a:r>
              <a:rPr kumimoji="0" lang="en-US" sz="1400" b="0" i="0" u="none" strike="noStrike" kern="1200" cap="none" spc="0" normalizeH="0" baseline="0" noProof="0">
                <a:ln>
                  <a:noFill/>
                </a:ln>
                <a:solidFill>
                  <a:srgbClr val="3B3B3C"/>
                </a:solidFill>
                <a:effectLst/>
                <a:uLnTx/>
                <a:uFillTx/>
                <a:latin typeface="Arial"/>
                <a:ea typeface="Times New Roman" panose="02020603050405020304" pitchFamily="18" charset="0"/>
                <a:cs typeface="+mn-cs"/>
              </a:rPr>
              <a:t>: In anticipation of the necessary expansion in workforce to support more widespread deployment of nuclear technologies, the </a:t>
            </a:r>
            <a:r>
              <a:rPr kumimoji="0" lang="en-US" sz="1400" b="1" i="0" u="none" strike="noStrike" kern="1200" cap="none" spc="0" normalizeH="0" baseline="0" noProof="0">
                <a:ln>
                  <a:noFill/>
                </a:ln>
                <a:solidFill>
                  <a:srgbClr val="3B3B3C"/>
                </a:solidFill>
                <a:effectLst/>
                <a:uLnTx/>
                <a:uFillTx/>
                <a:latin typeface="Arial"/>
                <a:ea typeface="Times New Roman" panose="02020603050405020304" pitchFamily="18" charset="0"/>
                <a:cs typeface="+mn-cs"/>
              </a:rPr>
              <a:t>Department of Energy should form a cross-department (whole of government) partnership to address workforce needs (spanning the workforce from technician through PhD) that is comparable to initiatives like the multi-agency National Network for Manufacturing Innovation</a:t>
            </a:r>
            <a:r>
              <a:rPr kumimoji="0" lang="en-US" sz="1400" b="0" i="0" u="none" strike="noStrike" kern="1200" cap="none" spc="0" normalizeH="0" baseline="0" noProof="0">
                <a:ln>
                  <a:noFill/>
                </a:ln>
                <a:solidFill>
                  <a:srgbClr val="3B3B3C"/>
                </a:solidFill>
                <a:effectLst/>
                <a:uLnTx/>
                <a:uFillTx/>
                <a:latin typeface="Arial"/>
                <a:ea typeface="Times New Roman" panose="02020603050405020304" pitchFamily="18" charset="0"/>
                <a:cs typeface="+mn-cs"/>
              </a:rPr>
              <a:t>. The program would include the Departments of Labor, Education, Commerce, and State, and would team with labor organizations, existing construction craft training programs, industry, regulatory agencies, and other support organizations to identify gaps in critical skills and then fund training and development solutions that will close these gaps in time to support more rapid deployment. In carrying out these efforts, it will be important to take full advantage of existing efforts at universities, commercial nuclear facilities and national labs that already have well established training and workforce development infrastructure in place.</a:t>
            </a:r>
            <a:endParaRPr kumimoji="0" lang="en-US" sz="1400" b="0" i="0" u="none" strike="noStrike" kern="1200" cap="none" spc="0" normalizeH="0" baseline="0" noProof="0">
              <a:ln>
                <a:noFill/>
              </a:ln>
              <a:solidFill>
                <a:srgbClr val="211747"/>
              </a:solidFill>
              <a:effectLst/>
              <a:uLnTx/>
              <a:uFillTx/>
              <a:latin typeface="Arial"/>
              <a:ea typeface="Times New Roman" panose="02020603050405020304" pitchFamily="18" charset="0"/>
              <a:cs typeface="Times New Roman" panose="02020603050405020304" pitchFamily="18" charset="0"/>
            </a:endParaRPr>
          </a:p>
        </p:txBody>
      </p:sp>
      <p:pic>
        <p:nvPicPr>
          <p:cNvPr id="11" name="Graphic 10">
            <a:extLst>
              <a:ext uri="{FF2B5EF4-FFF2-40B4-BE49-F238E27FC236}">
                <a16:creationId xmlns:a16="http://schemas.microsoft.com/office/drawing/2014/main" id="{FC5EDD06-5B58-FEB9-8B32-026A57D81EC1}"/>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54707" y="1344754"/>
            <a:ext cx="652162" cy="652162"/>
          </a:xfrm>
          <a:prstGeom prst="rect">
            <a:avLst/>
          </a:prstGeom>
        </p:spPr>
      </p:pic>
    </p:spTree>
    <p:extLst>
      <p:ext uri="{BB962C8B-B14F-4D97-AF65-F5344CB8AC3E}">
        <p14:creationId xmlns:p14="http://schemas.microsoft.com/office/powerpoint/2010/main" val="1357432000"/>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51700C1-7A21-624E-A0E9-31329CFD172A}"/>
              </a:ext>
            </a:extLst>
          </p:cNvPr>
          <p:cNvSpPr>
            <a:spLocks noGrp="1"/>
          </p:cNvSpPr>
          <p:nvPr>
            <p:ph type="title"/>
          </p:nvPr>
        </p:nvSpPr>
        <p:spPr/>
        <p:txBody>
          <a:bodyPr/>
          <a:lstStyle/>
          <a:p>
            <a:r>
              <a:rPr lang="en-US"/>
              <a:t>Timely Updates to Regulatory Requirements</a:t>
            </a:r>
          </a:p>
        </p:txBody>
      </p:sp>
      <p:sp>
        <p:nvSpPr>
          <p:cNvPr id="3" name="Slide Number Placeholder 2">
            <a:extLst>
              <a:ext uri="{FF2B5EF4-FFF2-40B4-BE49-F238E27FC236}">
                <a16:creationId xmlns:a16="http://schemas.microsoft.com/office/drawing/2014/main" id="{5015EB1B-C370-3C9E-CBE8-A5F56677ED6C}"/>
              </a:ext>
            </a:extLst>
          </p:cNvPr>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46D584E9-81E4-493B-AD1D-A460B5445953}" type="slidenum">
              <a:rPr kumimoji="0" lang="en-US" sz="1267" b="0" i="0" u="none" strike="noStrike" kern="1200" cap="none" spc="0" normalizeH="0" baseline="0" noProof="0" smtClean="0">
                <a:ln>
                  <a:noFill/>
                </a:ln>
                <a:solidFill>
                  <a:srgbClr val="7F7F7F"/>
                </a:solidFill>
                <a:effectLst/>
                <a:uLnTx/>
                <a:uFillTx/>
                <a:latin typeface="Arial"/>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1</a:t>
            </a:fld>
            <a:endParaRPr kumimoji="0" lang="en-US" sz="1267" b="0" i="0" u="none" strike="noStrike" kern="1200" cap="none" spc="0" normalizeH="0" baseline="0" noProof="0">
              <a:ln>
                <a:noFill/>
              </a:ln>
              <a:solidFill>
                <a:srgbClr val="7F7F7F"/>
              </a:solidFill>
              <a:effectLst/>
              <a:uLnTx/>
              <a:uFillTx/>
              <a:latin typeface="Arial"/>
              <a:ea typeface="+mn-ea"/>
              <a:cs typeface="+mn-cs"/>
            </a:endParaRPr>
          </a:p>
        </p:txBody>
      </p:sp>
      <p:pic>
        <p:nvPicPr>
          <p:cNvPr id="4" name="Picture 3" descr="Text&#10;&#10;Description automatically generated">
            <a:extLst>
              <a:ext uri="{FF2B5EF4-FFF2-40B4-BE49-F238E27FC236}">
                <a16:creationId xmlns:a16="http://schemas.microsoft.com/office/drawing/2014/main" id="{05B429A4-56C7-9D91-2F60-ABE4897D84B6}"/>
              </a:ext>
            </a:extLst>
          </p:cNvPr>
          <p:cNvPicPr>
            <a:picLocks noChangeAspect="1"/>
          </p:cNvPicPr>
          <p:nvPr/>
        </p:nvPicPr>
        <p:blipFill>
          <a:blip r:embed="rId3"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2521643" y="6154224"/>
            <a:ext cx="1337860" cy="769376"/>
          </a:xfrm>
          <a:prstGeom prst="rect">
            <a:avLst/>
          </a:prstGeom>
        </p:spPr>
      </p:pic>
      <p:sp>
        <p:nvSpPr>
          <p:cNvPr id="7" name="Rectangle 6">
            <a:extLst>
              <a:ext uri="{FF2B5EF4-FFF2-40B4-BE49-F238E27FC236}">
                <a16:creationId xmlns:a16="http://schemas.microsoft.com/office/drawing/2014/main" id="{37D8F55A-8A96-27FE-A9F7-4906B82534BC}"/>
              </a:ext>
            </a:extLst>
          </p:cNvPr>
          <p:cNvSpPr/>
          <p:nvPr/>
        </p:nvSpPr>
        <p:spPr>
          <a:xfrm>
            <a:off x="0" y="1181311"/>
            <a:ext cx="12192000" cy="104185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81F96"/>
              </a:solidFill>
              <a:effectLst/>
              <a:uLnTx/>
              <a:uFillTx/>
              <a:latin typeface="Arial"/>
              <a:ea typeface="+mn-ea"/>
              <a:cs typeface="+mn-cs"/>
            </a:endParaRPr>
          </a:p>
        </p:txBody>
      </p:sp>
      <p:sp>
        <p:nvSpPr>
          <p:cNvPr id="8" name="TextBox 7">
            <a:extLst>
              <a:ext uri="{FF2B5EF4-FFF2-40B4-BE49-F238E27FC236}">
                <a16:creationId xmlns:a16="http://schemas.microsoft.com/office/drawing/2014/main" id="{DC63C708-281B-8422-8906-C7B46750B990}"/>
              </a:ext>
            </a:extLst>
          </p:cNvPr>
          <p:cNvSpPr txBox="1"/>
          <p:nvPr/>
        </p:nvSpPr>
        <p:spPr>
          <a:xfrm>
            <a:off x="1648328" y="1470330"/>
            <a:ext cx="9000772" cy="400110"/>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000" b="0" i="1" u="none" strike="noStrike" kern="1200" cap="none" spc="0" normalizeH="0" baseline="0" noProof="0">
                <a:ln>
                  <a:noFill/>
                </a:ln>
                <a:solidFill>
                  <a:prstClr val="white"/>
                </a:solidFill>
                <a:effectLst/>
                <a:uLnTx/>
                <a:uFillTx/>
                <a:latin typeface="Arial"/>
                <a:ea typeface="+mn-ea"/>
                <a:cs typeface="+mn-cs"/>
              </a:rPr>
              <a:t>Adequate staffing and funding is needed to expedite rulemaking</a:t>
            </a:r>
          </a:p>
        </p:txBody>
      </p:sp>
      <p:pic>
        <p:nvPicPr>
          <p:cNvPr id="11" name="Graphic 10">
            <a:extLst>
              <a:ext uri="{FF2B5EF4-FFF2-40B4-BE49-F238E27FC236}">
                <a16:creationId xmlns:a16="http://schemas.microsoft.com/office/drawing/2014/main" id="{B8597D0F-8C72-FBD6-5693-0FD839E20E25}"/>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662940" y="1287175"/>
            <a:ext cx="781109" cy="781109"/>
          </a:xfrm>
          <a:prstGeom prst="rect">
            <a:avLst/>
          </a:prstGeom>
        </p:spPr>
      </p:pic>
      <p:sp>
        <p:nvSpPr>
          <p:cNvPr id="12" name="TextBox 11">
            <a:extLst>
              <a:ext uri="{FF2B5EF4-FFF2-40B4-BE49-F238E27FC236}">
                <a16:creationId xmlns:a16="http://schemas.microsoft.com/office/drawing/2014/main" id="{E9B76C2C-DAFD-19D5-8308-5770820F8787}"/>
              </a:ext>
            </a:extLst>
          </p:cNvPr>
          <p:cNvSpPr txBox="1"/>
          <p:nvPr/>
        </p:nvSpPr>
        <p:spPr>
          <a:xfrm>
            <a:off x="556658" y="2693849"/>
            <a:ext cx="6036949" cy="3460375"/>
          </a:xfrm>
          <a:prstGeom prst="rect">
            <a:avLst/>
          </a:prstGeom>
          <a:noFill/>
          <a:ln w="15875">
            <a:noFill/>
          </a:ln>
        </p:spPr>
        <p:txBody>
          <a:bodyPr wrap="square" lIns="182880" rIns="182880" anchor="ctr">
            <a:noAutofit/>
          </a:bodyPr>
          <a:lstStyle/>
          <a:p>
            <a:pPr marL="0" marR="0" lvl="0" indent="0" algn="l" defTabSz="457200" rtl="0" eaLnBrk="1" fontAlgn="auto" latinLnBrk="0" hangingPunct="1">
              <a:lnSpc>
                <a:spcPct val="150000"/>
              </a:lnSpc>
              <a:spcBef>
                <a:spcPts val="600"/>
              </a:spcBef>
              <a:spcAft>
                <a:spcPts val="600"/>
              </a:spcAft>
              <a:buClrTx/>
              <a:buSzTx/>
              <a:buFontTx/>
              <a:buNone/>
              <a:tabLst/>
              <a:defRPr/>
            </a:pPr>
            <a:r>
              <a:rPr kumimoji="0" lang="en-US" sz="1400" b="1" i="0" u="none" strike="noStrike" kern="1200" cap="none" spc="0" normalizeH="0" baseline="0" noProof="0">
                <a:ln>
                  <a:noFill/>
                </a:ln>
                <a:solidFill>
                  <a:srgbClr val="3B3B3C"/>
                </a:solidFill>
                <a:effectLst/>
                <a:uLnTx/>
                <a:uFillTx/>
                <a:latin typeface="Arial"/>
                <a:ea typeface="Times New Roman" panose="02020603050405020304" pitchFamily="18" charset="0"/>
                <a:cs typeface="Times New Roman" panose="02020603050405020304" pitchFamily="18" charset="0"/>
              </a:rPr>
              <a:t>RECOMMENDATION 7.1</a:t>
            </a:r>
            <a:r>
              <a:rPr kumimoji="0" lang="en-US" sz="1400" b="0" i="0" u="none" strike="noStrike" kern="1200" cap="none" spc="0" normalizeH="0" baseline="0" noProof="0">
                <a:ln>
                  <a:noFill/>
                </a:ln>
                <a:solidFill>
                  <a:srgbClr val="3B3B3C"/>
                </a:solidFill>
                <a:effectLst/>
                <a:uLnTx/>
                <a:uFillTx/>
                <a:latin typeface="Arial"/>
                <a:ea typeface="Times New Roman" panose="02020603050405020304" pitchFamily="18" charset="0"/>
                <a:cs typeface="Times New Roman" panose="02020603050405020304" pitchFamily="18" charset="0"/>
              </a:rPr>
              <a:t>: Advanced reactors will not be commercialized if the regulatory requirements are not adjusted to accommodate their many differences from existing light water reactors. </a:t>
            </a:r>
            <a:r>
              <a:rPr kumimoji="0" lang="en-US" sz="1400" b="1" i="0" u="none" strike="noStrike" kern="1200" cap="none" spc="0" normalizeH="0" baseline="0" noProof="0">
                <a:ln>
                  <a:noFill/>
                </a:ln>
                <a:solidFill>
                  <a:srgbClr val="3B3B3C"/>
                </a:solidFill>
                <a:effectLst/>
                <a:uLnTx/>
                <a:uFillTx/>
                <a:latin typeface="Arial"/>
                <a:ea typeface="Times New Roman" panose="02020603050405020304" pitchFamily="18" charset="0"/>
                <a:cs typeface="Times New Roman" panose="02020603050405020304" pitchFamily="18" charset="0"/>
              </a:rPr>
              <a:t>A clear definition of the regulatory requirements for a new technology must be established promptly if timely deployment is to be achieved. </a:t>
            </a:r>
            <a:r>
              <a:rPr kumimoji="0" lang="en-US" sz="1400" b="0" i="0" u="none" strike="noStrike" kern="1200" cap="none" spc="0" normalizeH="0" baseline="0" noProof="0">
                <a:ln>
                  <a:noFill/>
                </a:ln>
                <a:solidFill>
                  <a:srgbClr val="3B3B3C"/>
                </a:solidFill>
                <a:effectLst/>
                <a:uLnTx/>
                <a:uFillTx/>
                <a:latin typeface="Arial"/>
                <a:ea typeface="Times New Roman" panose="02020603050405020304" pitchFamily="18" charset="0"/>
                <a:cs typeface="Times New Roman" panose="02020603050405020304" pitchFamily="18" charset="0"/>
              </a:rPr>
              <a:t>The NRC needs to enhance its capability to resolve the many issues with which it is and will be confronted. In recognition of the urgency for the NRC to prepare now, </a:t>
            </a:r>
            <a:r>
              <a:rPr kumimoji="0" lang="en-US" sz="1400" b="1" i="0" u="none" strike="noStrike" kern="1200" cap="none" spc="0" normalizeH="0" baseline="0" noProof="0">
                <a:ln>
                  <a:noFill/>
                </a:ln>
                <a:solidFill>
                  <a:srgbClr val="3B3B3C"/>
                </a:solidFill>
                <a:effectLst/>
                <a:uLnTx/>
                <a:uFillTx/>
                <a:latin typeface="Arial"/>
                <a:ea typeface="Times New Roman" panose="02020603050405020304" pitchFamily="18" charset="0"/>
                <a:cs typeface="Times New Roman" panose="02020603050405020304" pitchFamily="18" charset="0"/>
              </a:rPr>
              <a:t>Congress should provide increased resources on the order of 10s of millions of dollars per year to the NRC that are not drawn from fees paid by existing licensees and applicants.</a:t>
            </a:r>
          </a:p>
          <a:p>
            <a:pPr marL="0" marR="0" lvl="0" indent="0" algn="l" defTabSz="457200" rtl="0" eaLnBrk="1" fontAlgn="auto" latinLnBrk="0" hangingPunct="1">
              <a:lnSpc>
                <a:spcPct val="150000"/>
              </a:lnSpc>
              <a:spcBef>
                <a:spcPts val="600"/>
              </a:spcBef>
              <a:spcAft>
                <a:spcPts val="600"/>
              </a:spcAft>
              <a:buClrTx/>
              <a:buSzTx/>
              <a:buFontTx/>
              <a:buNone/>
              <a:tabLst/>
              <a:defRPr/>
            </a:pPr>
            <a:endParaRPr kumimoji="0" lang="en-US" sz="1400" b="1" i="0" u="none" strike="noStrike" kern="1200" cap="none" spc="0" normalizeH="0" baseline="0" noProof="0">
              <a:ln>
                <a:noFill/>
              </a:ln>
              <a:solidFill>
                <a:srgbClr val="3B3B3C"/>
              </a:solidFill>
              <a:effectLst/>
              <a:uLnTx/>
              <a:uFillTx/>
              <a:latin typeface="Arial"/>
              <a:ea typeface="Times New Roman" panose="02020603050405020304" pitchFamily="18" charset="0"/>
              <a:cs typeface="Times New Roman" panose="02020603050405020304" pitchFamily="18" charset="0"/>
            </a:endParaRPr>
          </a:p>
        </p:txBody>
      </p:sp>
      <p:sp>
        <p:nvSpPr>
          <p:cNvPr id="16" name="TextBox 15">
            <a:extLst>
              <a:ext uri="{FF2B5EF4-FFF2-40B4-BE49-F238E27FC236}">
                <a16:creationId xmlns:a16="http://schemas.microsoft.com/office/drawing/2014/main" id="{0B01A877-1866-41A4-4737-8915C39E7C6F}"/>
              </a:ext>
            </a:extLst>
          </p:cNvPr>
          <p:cNvSpPr txBox="1"/>
          <p:nvPr/>
        </p:nvSpPr>
        <p:spPr>
          <a:xfrm>
            <a:off x="6825718" y="2397937"/>
            <a:ext cx="4809624" cy="1668214"/>
          </a:xfrm>
          <a:prstGeom prst="rect">
            <a:avLst/>
          </a:prstGeom>
          <a:noFill/>
        </p:spPr>
        <p:txBody>
          <a:bodyPr wrap="square">
            <a:spAutoFit/>
          </a:bodyPr>
          <a:lstStyle/>
          <a:p>
            <a:pPr marL="0" marR="0" lvl="0" indent="0" algn="l" defTabSz="457200" rtl="0" eaLnBrk="1" fontAlgn="auto" latinLnBrk="0" hangingPunct="1">
              <a:lnSpc>
                <a:spcPct val="150000"/>
              </a:lnSpc>
              <a:spcBef>
                <a:spcPts val="0"/>
              </a:spcBef>
              <a:spcAft>
                <a:spcPts val="0"/>
              </a:spcAft>
              <a:buClrTx/>
              <a:buSzTx/>
              <a:buFontTx/>
              <a:buNone/>
              <a:tabLst/>
              <a:defRPr/>
            </a:pPr>
            <a:r>
              <a:rPr kumimoji="0" lang="en-US" sz="1400" b="1" i="0" u="none" strike="noStrike" kern="1200" cap="none" spc="0" normalizeH="0" baseline="0" noProof="0">
                <a:ln>
                  <a:noFill/>
                </a:ln>
                <a:solidFill>
                  <a:srgbClr val="3B3B3C"/>
                </a:solidFill>
                <a:effectLst/>
                <a:uLnTx/>
                <a:uFillTx/>
                <a:latin typeface="Arial"/>
                <a:ea typeface="Times New Roman" panose="02020603050405020304" pitchFamily="18" charset="0"/>
                <a:cs typeface="+mn-cs"/>
              </a:rPr>
              <a:t>RECOMMENDATION 7.4</a:t>
            </a:r>
            <a:r>
              <a:rPr kumimoji="0" lang="en-US" sz="1400" b="0" i="0" u="none" strike="noStrike" kern="1200" cap="none" spc="0" normalizeH="0" baseline="0" noProof="0">
                <a:ln>
                  <a:noFill/>
                </a:ln>
                <a:solidFill>
                  <a:srgbClr val="3B3B3C"/>
                </a:solidFill>
                <a:effectLst/>
                <a:uLnTx/>
                <a:uFillTx/>
                <a:latin typeface="Arial"/>
                <a:ea typeface="Times New Roman" panose="02020603050405020304" pitchFamily="18" charset="0"/>
                <a:cs typeface="+mn-cs"/>
              </a:rPr>
              <a:t>: The NRC should expedite the requirements and guidance governing siting and emergency planning zones (EPZs) in order to enable vendors to determine the restrictions that will govern the deployment of their reactors. </a:t>
            </a:r>
            <a:endParaRPr kumimoji="0" lang="en-US" sz="1400" b="0" i="0" u="none" strike="noStrike" kern="1200" cap="none" spc="0" normalizeH="0" baseline="0" noProof="0">
              <a:ln>
                <a:noFill/>
              </a:ln>
              <a:solidFill>
                <a:srgbClr val="211747"/>
              </a:solidFill>
              <a:effectLst/>
              <a:uLnTx/>
              <a:uFillTx/>
              <a:latin typeface="Arial"/>
              <a:ea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870578225"/>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D434BD6B-3A31-BA68-B196-26D6EC06C6B1}"/>
              </a:ext>
            </a:extLst>
          </p:cNvPr>
          <p:cNvSpPr/>
          <p:nvPr/>
        </p:nvSpPr>
        <p:spPr>
          <a:xfrm>
            <a:off x="0" y="1181311"/>
            <a:ext cx="12192000" cy="104185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81F96"/>
              </a:solidFill>
              <a:effectLst/>
              <a:uLnTx/>
              <a:uFillTx/>
              <a:latin typeface="Arial"/>
              <a:ea typeface="+mn-ea"/>
              <a:cs typeface="+mn-cs"/>
            </a:endParaRPr>
          </a:p>
        </p:txBody>
      </p:sp>
      <p:sp>
        <p:nvSpPr>
          <p:cNvPr id="8" name="TextBox 7">
            <a:extLst>
              <a:ext uri="{FF2B5EF4-FFF2-40B4-BE49-F238E27FC236}">
                <a16:creationId xmlns:a16="http://schemas.microsoft.com/office/drawing/2014/main" id="{B8093F69-1B44-957B-1391-E33B30C524A4}"/>
              </a:ext>
            </a:extLst>
          </p:cNvPr>
          <p:cNvSpPr txBox="1"/>
          <p:nvPr/>
        </p:nvSpPr>
        <p:spPr>
          <a:xfrm>
            <a:off x="1720518" y="1443762"/>
            <a:ext cx="9000772" cy="400110"/>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000" b="0" i="1" u="none" strike="noStrike" kern="1200" cap="none" spc="0" normalizeH="0" baseline="0" noProof="0">
                <a:ln>
                  <a:noFill/>
                </a:ln>
                <a:solidFill>
                  <a:prstClr val="white"/>
                </a:solidFill>
                <a:effectLst/>
                <a:uLnTx/>
                <a:uFillTx/>
                <a:latin typeface="Arial"/>
                <a:ea typeface="+mn-ea"/>
                <a:cs typeface="+mn-cs"/>
              </a:rPr>
              <a:t>Best practices for community engagement must be adopted.  These include:</a:t>
            </a:r>
          </a:p>
        </p:txBody>
      </p:sp>
      <p:sp>
        <p:nvSpPr>
          <p:cNvPr id="9" name="TextBox 8">
            <a:extLst>
              <a:ext uri="{FF2B5EF4-FFF2-40B4-BE49-F238E27FC236}">
                <a16:creationId xmlns:a16="http://schemas.microsoft.com/office/drawing/2014/main" id="{0BDD0A25-6C2D-8BD9-9F16-F73EF2E46B8B}"/>
              </a:ext>
            </a:extLst>
          </p:cNvPr>
          <p:cNvSpPr txBox="1"/>
          <p:nvPr/>
        </p:nvSpPr>
        <p:spPr>
          <a:xfrm>
            <a:off x="1937518" y="2053041"/>
            <a:ext cx="9431689" cy="3823125"/>
          </a:xfrm>
          <a:prstGeom prst="rect">
            <a:avLst/>
          </a:prstGeom>
          <a:noFill/>
          <a:ln w="15875">
            <a:noFill/>
          </a:ln>
        </p:spPr>
        <p:txBody>
          <a:bodyPr wrap="square" lIns="182880" rIns="182880" anchor="ctr">
            <a:noAutofit/>
          </a:bodyPr>
          <a:lstStyle/>
          <a:p>
            <a:pPr marL="285750" marR="0" lvl="0" indent="-285750" algn="l" defTabSz="4572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3B3B3C"/>
                </a:solidFill>
                <a:effectLst/>
                <a:uLnTx/>
                <a:uFillTx/>
                <a:latin typeface="Arial"/>
                <a:ea typeface="Times New Roman" panose="02020603050405020304" pitchFamily="18" charset="0"/>
                <a:cs typeface="+mn-cs"/>
              </a:rPr>
              <a:t>An overriding commitment to </a:t>
            </a:r>
            <a:r>
              <a:rPr kumimoji="0" lang="en-US" sz="1600" b="1" i="0" u="none" strike="noStrike" kern="1200" cap="none" spc="0" normalizeH="0" baseline="0" noProof="0">
                <a:ln>
                  <a:noFill/>
                </a:ln>
                <a:solidFill>
                  <a:srgbClr val="3B3B3C"/>
                </a:solidFill>
                <a:effectLst/>
                <a:uLnTx/>
                <a:uFillTx/>
                <a:latin typeface="Arial"/>
                <a:ea typeface="Times New Roman" panose="02020603050405020304" pitchFamily="18" charset="0"/>
                <a:cs typeface="+mn-cs"/>
              </a:rPr>
              <a:t>honesty,</a:t>
            </a:r>
            <a:r>
              <a:rPr kumimoji="0" lang="en-US" sz="1600" b="0" i="0" u="none" strike="noStrike" kern="1200" cap="none" spc="0" normalizeH="0" baseline="0" noProof="0">
                <a:ln>
                  <a:noFill/>
                </a:ln>
                <a:solidFill>
                  <a:srgbClr val="3B3B3C"/>
                </a:solidFill>
                <a:effectLst/>
                <a:uLnTx/>
                <a:uFillTx/>
                <a:latin typeface="Arial"/>
                <a:ea typeface="Times New Roman" panose="02020603050405020304" pitchFamily="18" charset="0"/>
                <a:cs typeface="+mn-cs"/>
              </a:rPr>
              <a:t> </a:t>
            </a:r>
            <a:r>
              <a:rPr kumimoji="0" lang="en-US" sz="1600" b="1" i="0" u="none" strike="noStrike" kern="1200" cap="none" spc="0" normalizeH="0" baseline="0" noProof="0">
                <a:ln>
                  <a:noFill/>
                </a:ln>
                <a:solidFill>
                  <a:srgbClr val="3B3B3C"/>
                </a:solidFill>
                <a:effectLst/>
                <a:uLnTx/>
                <a:uFillTx/>
                <a:latin typeface="Arial"/>
                <a:ea typeface="Times New Roman" panose="02020603050405020304" pitchFamily="18" charset="0"/>
                <a:cs typeface="+mn-cs"/>
              </a:rPr>
              <a:t>transparency</a:t>
            </a:r>
            <a:r>
              <a:rPr kumimoji="0" lang="en-US" sz="1600" b="0" i="0" u="none" strike="noStrike" kern="1200" cap="none" spc="0" normalizeH="0" baseline="0" noProof="0">
                <a:ln>
                  <a:noFill/>
                </a:ln>
                <a:solidFill>
                  <a:srgbClr val="3B3B3C"/>
                </a:solidFill>
                <a:effectLst/>
                <a:uLnTx/>
                <a:uFillTx/>
                <a:latin typeface="Arial"/>
                <a:ea typeface="Times New Roman" panose="02020603050405020304" pitchFamily="18" charset="0"/>
                <a:cs typeface="+mn-cs"/>
              </a:rPr>
              <a:t>, and </a:t>
            </a:r>
            <a:r>
              <a:rPr kumimoji="0" lang="en-US" sz="1600" b="1" i="0" u="none" strike="noStrike" kern="1200" cap="none" spc="0" normalizeH="0" baseline="0" noProof="0">
                <a:ln>
                  <a:noFill/>
                </a:ln>
                <a:solidFill>
                  <a:srgbClr val="3B3B3C"/>
                </a:solidFill>
                <a:effectLst/>
                <a:uLnTx/>
                <a:uFillTx/>
                <a:latin typeface="Arial"/>
                <a:ea typeface="Times New Roman" panose="02020603050405020304" pitchFamily="18" charset="0"/>
                <a:cs typeface="+mn-cs"/>
              </a:rPr>
              <a:t>consistency</a:t>
            </a:r>
            <a:r>
              <a:rPr kumimoji="0" lang="en-US" sz="1600" b="0" i="0" u="none" strike="noStrike" kern="1200" cap="none" spc="0" normalizeH="0" baseline="0" noProof="0">
                <a:ln>
                  <a:noFill/>
                </a:ln>
                <a:solidFill>
                  <a:srgbClr val="3B3B3C"/>
                </a:solidFill>
                <a:effectLst/>
                <a:uLnTx/>
                <a:uFillTx/>
                <a:latin typeface="Arial"/>
                <a:ea typeface="Times New Roman" panose="02020603050405020304" pitchFamily="18" charset="0"/>
                <a:cs typeface="+mn-cs"/>
              </a:rPr>
              <a:t> of communication</a:t>
            </a:r>
          </a:p>
          <a:p>
            <a:pPr marL="285750" marR="0" lvl="0" indent="-285750" algn="l" defTabSz="4572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3B3B3C"/>
                </a:solidFill>
                <a:effectLst/>
                <a:uLnTx/>
                <a:uFillTx/>
                <a:latin typeface="Arial"/>
                <a:ea typeface="Times New Roman" panose="02020603050405020304" pitchFamily="18" charset="0"/>
                <a:cs typeface="+mn-cs"/>
              </a:rPr>
              <a:t>A </a:t>
            </a:r>
            <a:r>
              <a:rPr kumimoji="0" lang="en-US" sz="1600" b="1" i="0" u="none" strike="noStrike" kern="1200" cap="none" spc="0" normalizeH="0" baseline="0" noProof="0">
                <a:ln>
                  <a:noFill/>
                </a:ln>
                <a:solidFill>
                  <a:srgbClr val="3B3B3C"/>
                </a:solidFill>
                <a:effectLst/>
                <a:uLnTx/>
                <a:uFillTx/>
                <a:latin typeface="Arial"/>
                <a:ea typeface="Times New Roman" panose="02020603050405020304" pitchFamily="18" charset="0"/>
                <a:cs typeface="+mn-cs"/>
              </a:rPr>
              <a:t>consent-based</a:t>
            </a:r>
            <a:r>
              <a:rPr kumimoji="0" lang="en-US" sz="1600" b="0" i="0" u="none" strike="noStrike" kern="1200" cap="none" spc="0" normalizeH="0" baseline="0" noProof="0">
                <a:ln>
                  <a:noFill/>
                </a:ln>
                <a:solidFill>
                  <a:srgbClr val="3B3B3C"/>
                </a:solidFill>
                <a:effectLst/>
                <a:uLnTx/>
                <a:uFillTx/>
                <a:latin typeface="Arial"/>
                <a:ea typeface="Times New Roman" panose="02020603050405020304" pitchFamily="18" charset="0"/>
                <a:cs typeface="+mn-cs"/>
              </a:rPr>
              <a:t>, participatory, and long-term process of site selection.</a:t>
            </a:r>
          </a:p>
          <a:p>
            <a:pPr marL="285750" marR="0" lvl="0" indent="-285750" algn="l" defTabSz="4572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3B3B3C"/>
                </a:solidFill>
                <a:effectLst/>
                <a:uLnTx/>
                <a:uFillTx/>
                <a:latin typeface="Arial"/>
                <a:ea typeface="Times New Roman" panose="02020603050405020304" pitchFamily="18" charset="0"/>
                <a:cs typeface="+mn-cs"/>
              </a:rPr>
              <a:t>The right for communities to </a:t>
            </a:r>
            <a:r>
              <a:rPr kumimoji="0" lang="en-US" sz="1600" b="1" i="0" u="none" strike="noStrike" kern="1200" cap="none" spc="0" normalizeH="0" baseline="0" noProof="0">
                <a:ln>
                  <a:noFill/>
                </a:ln>
                <a:solidFill>
                  <a:srgbClr val="3B3B3C"/>
                </a:solidFill>
                <a:effectLst/>
                <a:uLnTx/>
                <a:uFillTx/>
                <a:latin typeface="Arial"/>
                <a:ea typeface="Times New Roman" panose="02020603050405020304" pitchFamily="18" charset="0"/>
                <a:cs typeface="+mn-cs"/>
              </a:rPr>
              <a:t>veto</a:t>
            </a:r>
            <a:r>
              <a:rPr kumimoji="0" lang="en-US" sz="1600" b="0" i="0" u="none" strike="noStrike" kern="1200" cap="none" spc="0" normalizeH="0" baseline="0" noProof="0">
                <a:ln>
                  <a:noFill/>
                </a:ln>
                <a:solidFill>
                  <a:srgbClr val="3B3B3C"/>
                </a:solidFill>
                <a:effectLst/>
                <a:uLnTx/>
                <a:uFillTx/>
                <a:latin typeface="Arial"/>
                <a:ea typeface="Times New Roman" panose="02020603050405020304" pitchFamily="18" charset="0"/>
                <a:cs typeface="+mn-cs"/>
              </a:rPr>
              <a:t> or </a:t>
            </a:r>
            <a:r>
              <a:rPr kumimoji="0" lang="en-US" sz="1600" b="1" i="0" u="none" strike="noStrike" kern="1200" cap="none" spc="0" normalizeH="0" baseline="0" noProof="0">
                <a:ln>
                  <a:noFill/>
                </a:ln>
                <a:solidFill>
                  <a:srgbClr val="3B3B3C"/>
                </a:solidFill>
                <a:effectLst/>
                <a:uLnTx/>
                <a:uFillTx/>
                <a:latin typeface="Arial"/>
                <a:ea typeface="Times New Roman" panose="02020603050405020304" pitchFamily="18" charset="0"/>
                <a:cs typeface="+mn-cs"/>
              </a:rPr>
              <a:t>opt</a:t>
            </a:r>
            <a:r>
              <a:rPr kumimoji="0" lang="en-US" sz="1600" b="0" i="0" u="none" strike="noStrike" kern="1200" cap="none" spc="0" normalizeH="0" baseline="0" noProof="0">
                <a:ln>
                  <a:noFill/>
                </a:ln>
                <a:solidFill>
                  <a:srgbClr val="3B3B3C"/>
                </a:solidFill>
                <a:effectLst/>
                <a:uLnTx/>
                <a:uFillTx/>
                <a:latin typeface="Arial"/>
                <a:ea typeface="Times New Roman" panose="02020603050405020304" pitchFamily="18" charset="0"/>
                <a:cs typeface="+mn-cs"/>
              </a:rPr>
              <a:t> </a:t>
            </a:r>
            <a:r>
              <a:rPr kumimoji="0" lang="en-US" sz="1600" b="1" i="0" u="none" strike="noStrike" kern="1200" cap="none" spc="0" normalizeH="0" baseline="0" noProof="0">
                <a:ln>
                  <a:noFill/>
                </a:ln>
                <a:solidFill>
                  <a:srgbClr val="3B3B3C"/>
                </a:solidFill>
                <a:effectLst/>
                <a:uLnTx/>
                <a:uFillTx/>
                <a:latin typeface="Arial"/>
                <a:ea typeface="Times New Roman" panose="02020603050405020304" pitchFamily="18" charset="0"/>
                <a:cs typeface="+mn-cs"/>
              </a:rPr>
              <a:t>out</a:t>
            </a:r>
            <a:r>
              <a:rPr kumimoji="0" lang="en-US" sz="1600" b="0" i="0" u="none" strike="noStrike" kern="1200" cap="none" spc="0" normalizeH="0" baseline="0" noProof="0">
                <a:ln>
                  <a:noFill/>
                </a:ln>
                <a:solidFill>
                  <a:srgbClr val="3B3B3C"/>
                </a:solidFill>
                <a:effectLst/>
                <a:uLnTx/>
                <a:uFillTx/>
                <a:latin typeface="Arial"/>
                <a:ea typeface="Times New Roman" panose="02020603050405020304" pitchFamily="18" charset="0"/>
                <a:cs typeface="+mn-cs"/>
              </a:rPr>
              <a:t> until an agreed-upon milestone.</a:t>
            </a:r>
          </a:p>
          <a:p>
            <a:pPr marL="285750" marR="0" lvl="0" indent="-285750" algn="l" defTabSz="4572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3B3B3C"/>
                </a:solidFill>
                <a:effectLst/>
                <a:uLnTx/>
                <a:uFillTx/>
                <a:latin typeface="Arial"/>
                <a:ea typeface="Times New Roman" panose="02020603050405020304" pitchFamily="18" charset="0"/>
                <a:cs typeface="+mn-cs"/>
              </a:rPr>
              <a:t>Some form of socially acceptable </a:t>
            </a:r>
            <a:r>
              <a:rPr kumimoji="0" lang="en-US" sz="1600" b="1" i="0" u="none" strike="noStrike" kern="1200" cap="none" spc="0" normalizeH="0" baseline="0" noProof="0">
                <a:ln>
                  <a:noFill/>
                </a:ln>
                <a:solidFill>
                  <a:srgbClr val="3B3B3C"/>
                </a:solidFill>
                <a:effectLst/>
                <a:uLnTx/>
                <a:uFillTx/>
                <a:latin typeface="Arial"/>
                <a:ea typeface="Times New Roman" panose="02020603050405020304" pitchFamily="18" charset="0"/>
                <a:cs typeface="+mn-cs"/>
              </a:rPr>
              <a:t>compensation</a:t>
            </a:r>
            <a:r>
              <a:rPr kumimoji="0" lang="en-US" sz="1600" b="0" i="0" u="none" strike="noStrike" kern="1200" cap="none" spc="0" normalizeH="0" baseline="0" noProof="0">
                <a:ln>
                  <a:noFill/>
                </a:ln>
                <a:solidFill>
                  <a:srgbClr val="3B3B3C"/>
                </a:solidFill>
                <a:effectLst/>
                <a:uLnTx/>
                <a:uFillTx/>
                <a:latin typeface="Arial"/>
                <a:ea typeface="Times New Roman" panose="02020603050405020304" pitchFamily="18" charset="0"/>
                <a:cs typeface="+mn-cs"/>
              </a:rPr>
              <a:t> granted for affected communities. </a:t>
            </a:r>
          </a:p>
          <a:p>
            <a:pPr marL="285750" marR="0" lvl="0" indent="-285750" algn="l" defTabSz="4572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3B3B3C"/>
                </a:solidFill>
                <a:effectLst/>
                <a:uLnTx/>
                <a:uFillTx/>
                <a:latin typeface="Arial"/>
                <a:ea typeface="Times New Roman" panose="02020603050405020304" pitchFamily="18" charset="0"/>
                <a:cs typeface="+mn-cs"/>
              </a:rPr>
              <a:t>Partial funding for communities and public interest groups to conduct </a:t>
            </a:r>
            <a:r>
              <a:rPr kumimoji="0" lang="en-US" sz="1600" b="1" i="0" u="none" strike="noStrike" kern="1200" cap="none" spc="0" normalizeH="0" baseline="0" noProof="0">
                <a:ln>
                  <a:noFill/>
                </a:ln>
                <a:solidFill>
                  <a:srgbClr val="3B3B3C"/>
                </a:solidFill>
                <a:effectLst/>
                <a:uLnTx/>
                <a:uFillTx/>
                <a:latin typeface="Arial"/>
                <a:ea typeface="Times New Roman" panose="02020603050405020304" pitchFamily="18" charset="0"/>
                <a:cs typeface="+mn-cs"/>
              </a:rPr>
              <a:t>independent analyses</a:t>
            </a:r>
            <a:r>
              <a:rPr kumimoji="0" lang="en-US" sz="1600" b="0" i="0" u="none" strike="noStrike" kern="1200" cap="none" spc="0" normalizeH="0" baseline="0" noProof="0">
                <a:ln>
                  <a:noFill/>
                </a:ln>
                <a:solidFill>
                  <a:srgbClr val="3B3B3C"/>
                </a:solidFill>
                <a:effectLst/>
                <a:uLnTx/>
                <a:uFillTx/>
                <a:latin typeface="Arial"/>
                <a:ea typeface="Times New Roman" panose="02020603050405020304" pitchFamily="18" charset="0"/>
                <a:cs typeface="+mn-cs"/>
              </a:rPr>
              <a:t>.</a:t>
            </a:r>
          </a:p>
          <a:p>
            <a:pPr marL="285750" marR="0" lvl="0" indent="-285750" algn="l" defTabSz="4572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3B3B3C"/>
                </a:solidFill>
                <a:effectLst/>
                <a:uLnTx/>
                <a:uFillTx/>
                <a:latin typeface="Arial"/>
                <a:ea typeface="Times New Roman" panose="02020603050405020304" pitchFamily="18" charset="0"/>
                <a:cs typeface="+mn-cs"/>
              </a:rPr>
              <a:t>Retention of </a:t>
            </a:r>
            <a:r>
              <a:rPr kumimoji="0" lang="en-US" sz="1600" b="1" i="0" u="none" strike="noStrike" kern="1200" cap="none" spc="0" normalizeH="0" baseline="0" noProof="0">
                <a:ln>
                  <a:noFill/>
                </a:ln>
                <a:solidFill>
                  <a:srgbClr val="3B3B3C"/>
                </a:solidFill>
                <a:effectLst/>
                <a:uLnTx/>
                <a:uFillTx/>
                <a:latin typeface="Arial"/>
                <a:ea typeface="Times New Roman" panose="02020603050405020304" pitchFamily="18" charset="0"/>
                <a:cs typeface="+mn-cs"/>
              </a:rPr>
              <a:t>some control </a:t>
            </a:r>
            <a:r>
              <a:rPr kumimoji="0" lang="en-US" sz="1600" b="0" i="0" u="none" strike="noStrike" kern="1200" cap="none" spc="0" normalizeH="0" baseline="0" noProof="0">
                <a:ln>
                  <a:noFill/>
                </a:ln>
                <a:solidFill>
                  <a:srgbClr val="3B3B3C"/>
                </a:solidFill>
                <a:effectLst/>
                <a:uLnTx/>
                <a:uFillTx/>
                <a:latin typeface="Arial"/>
                <a:ea typeface="Times New Roman" panose="02020603050405020304" pitchFamily="18" charset="0"/>
                <a:cs typeface="+mn-cs"/>
              </a:rPr>
              <a:t>over a facility, perhaps through partnerships.</a:t>
            </a:r>
          </a:p>
          <a:p>
            <a:pPr marL="285750" marR="0" lvl="0" indent="-285750" algn="l" defTabSz="4572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3B3B3C"/>
                </a:solidFill>
                <a:effectLst/>
                <a:uLnTx/>
                <a:uFillTx/>
                <a:latin typeface="Arial"/>
                <a:ea typeface="Times New Roman" panose="02020603050405020304" pitchFamily="18" charset="0"/>
                <a:cs typeface="+mn-cs"/>
              </a:rPr>
              <a:t>There are </a:t>
            </a:r>
            <a:r>
              <a:rPr kumimoji="0" lang="en-US" sz="1600" b="1" i="0" u="none" strike="noStrike" kern="1200" cap="none" spc="0" normalizeH="0" baseline="0" noProof="0">
                <a:ln>
                  <a:noFill/>
                </a:ln>
                <a:solidFill>
                  <a:srgbClr val="3B3B3C"/>
                </a:solidFill>
                <a:effectLst/>
                <a:uLnTx/>
                <a:uFillTx/>
                <a:latin typeface="Arial"/>
                <a:ea typeface="Times New Roman" panose="02020603050405020304" pitchFamily="18" charset="0"/>
                <a:cs typeface="+mn-cs"/>
              </a:rPr>
              <a:t>no guarantees </a:t>
            </a:r>
            <a:r>
              <a:rPr kumimoji="0" lang="en-US" sz="1600" b="0" i="0" u="none" strike="noStrike" kern="1200" cap="none" spc="0" normalizeH="0" baseline="0" noProof="0">
                <a:ln>
                  <a:noFill/>
                </a:ln>
                <a:solidFill>
                  <a:srgbClr val="3B3B3C"/>
                </a:solidFill>
                <a:effectLst/>
                <a:uLnTx/>
                <a:uFillTx/>
                <a:latin typeface="Arial"/>
                <a:ea typeface="Times New Roman" panose="02020603050405020304" pitchFamily="18" charset="0"/>
                <a:cs typeface="+mn-cs"/>
              </a:rPr>
              <a:t>in siting: owners should be prepared to walk away.</a:t>
            </a:r>
          </a:p>
        </p:txBody>
      </p:sp>
      <p:sp>
        <p:nvSpPr>
          <p:cNvPr id="2" name="Title 1">
            <a:extLst>
              <a:ext uri="{FF2B5EF4-FFF2-40B4-BE49-F238E27FC236}">
                <a16:creationId xmlns:a16="http://schemas.microsoft.com/office/drawing/2014/main" id="{C51700C1-7A21-624E-A0E9-31329CFD172A}"/>
              </a:ext>
            </a:extLst>
          </p:cNvPr>
          <p:cNvSpPr>
            <a:spLocks noGrp="1"/>
          </p:cNvSpPr>
          <p:nvPr>
            <p:ph type="title"/>
          </p:nvPr>
        </p:nvSpPr>
        <p:spPr/>
        <p:txBody>
          <a:bodyPr/>
          <a:lstStyle/>
          <a:p>
            <a:r>
              <a:rPr lang="en-US"/>
              <a:t>Community Engagement and Societal Acceptance</a:t>
            </a:r>
          </a:p>
        </p:txBody>
      </p:sp>
      <p:sp>
        <p:nvSpPr>
          <p:cNvPr id="3" name="Slide Number Placeholder 2">
            <a:extLst>
              <a:ext uri="{FF2B5EF4-FFF2-40B4-BE49-F238E27FC236}">
                <a16:creationId xmlns:a16="http://schemas.microsoft.com/office/drawing/2014/main" id="{5015EB1B-C370-3C9E-CBE8-A5F56677ED6C}"/>
              </a:ext>
            </a:extLst>
          </p:cNvPr>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46D584E9-81E4-493B-AD1D-A460B5445953}" type="slidenum">
              <a:rPr kumimoji="0" lang="en-US" sz="1267" b="0" i="0" u="none" strike="noStrike" kern="1200" cap="none" spc="0" normalizeH="0" baseline="0" noProof="0" smtClean="0">
                <a:ln>
                  <a:noFill/>
                </a:ln>
                <a:solidFill>
                  <a:srgbClr val="7F7F7F"/>
                </a:solidFill>
                <a:effectLst/>
                <a:uLnTx/>
                <a:uFillTx/>
                <a:latin typeface="Arial"/>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2</a:t>
            </a:fld>
            <a:endParaRPr kumimoji="0" lang="en-US" sz="1267" b="0" i="0" u="none" strike="noStrike" kern="1200" cap="none" spc="0" normalizeH="0" baseline="0" noProof="0">
              <a:ln>
                <a:noFill/>
              </a:ln>
              <a:solidFill>
                <a:srgbClr val="7F7F7F"/>
              </a:solidFill>
              <a:effectLst/>
              <a:uLnTx/>
              <a:uFillTx/>
              <a:latin typeface="Arial"/>
              <a:ea typeface="+mn-ea"/>
              <a:cs typeface="+mn-cs"/>
            </a:endParaRPr>
          </a:p>
        </p:txBody>
      </p:sp>
      <p:pic>
        <p:nvPicPr>
          <p:cNvPr id="4" name="Picture 3" descr="Text&#10;&#10;Description automatically generated">
            <a:extLst>
              <a:ext uri="{FF2B5EF4-FFF2-40B4-BE49-F238E27FC236}">
                <a16:creationId xmlns:a16="http://schemas.microsoft.com/office/drawing/2014/main" id="{AE90F4AC-45CA-35F6-5E56-5CD2AA12C20A}"/>
              </a:ext>
            </a:extLst>
          </p:cNvPr>
          <p:cNvPicPr>
            <a:picLocks noChangeAspect="1"/>
          </p:cNvPicPr>
          <p:nvPr/>
        </p:nvPicPr>
        <p:blipFill>
          <a:blip r:embed="rId3"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2521643" y="6154224"/>
            <a:ext cx="1337860" cy="769376"/>
          </a:xfrm>
          <a:prstGeom prst="rect">
            <a:avLst/>
          </a:prstGeom>
        </p:spPr>
      </p:pic>
      <p:pic>
        <p:nvPicPr>
          <p:cNvPr id="12" name="Graphic 11">
            <a:extLst>
              <a:ext uri="{FF2B5EF4-FFF2-40B4-BE49-F238E27FC236}">
                <a16:creationId xmlns:a16="http://schemas.microsoft.com/office/drawing/2014/main" id="{1D47BAC6-2F4D-1252-EAC7-2D9E7D3E91B1}"/>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639774" y="1262510"/>
            <a:ext cx="869790" cy="869790"/>
          </a:xfrm>
          <a:prstGeom prst="rect">
            <a:avLst/>
          </a:prstGeom>
        </p:spPr>
      </p:pic>
    </p:spTree>
    <p:extLst>
      <p:ext uri="{BB962C8B-B14F-4D97-AF65-F5344CB8AC3E}">
        <p14:creationId xmlns:p14="http://schemas.microsoft.com/office/powerpoint/2010/main" val="3712909077"/>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51700C1-7A21-624E-A0E9-31329CFD172A}"/>
              </a:ext>
            </a:extLst>
          </p:cNvPr>
          <p:cNvSpPr>
            <a:spLocks noGrp="1"/>
          </p:cNvSpPr>
          <p:nvPr>
            <p:ph type="title"/>
          </p:nvPr>
        </p:nvSpPr>
        <p:spPr/>
        <p:txBody>
          <a:bodyPr/>
          <a:lstStyle/>
          <a:p>
            <a:r>
              <a:rPr lang="en-US"/>
              <a:t>Societal Acceptance: Making Best Practices Work</a:t>
            </a:r>
          </a:p>
        </p:txBody>
      </p:sp>
      <p:sp>
        <p:nvSpPr>
          <p:cNvPr id="3" name="Slide Number Placeholder 2">
            <a:extLst>
              <a:ext uri="{FF2B5EF4-FFF2-40B4-BE49-F238E27FC236}">
                <a16:creationId xmlns:a16="http://schemas.microsoft.com/office/drawing/2014/main" id="{5015EB1B-C370-3C9E-CBE8-A5F56677ED6C}"/>
              </a:ext>
            </a:extLst>
          </p:cNvPr>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46D584E9-81E4-493B-AD1D-A460B5445953}" type="slidenum">
              <a:rPr kumimoji="0" lang="en-US" sz="1267" b="0" i="0" u="none" strike="noStrike" kern="1200" cap="none" spc="0" normalizeH="0" baseline="0" noProof="0" smtClean="0">
                <a:ln>
                  <a:noFill/>
                </a:ln>
                <a:solidFill>
                  <a:srgbClr val="7F7F7F"/>
                </a:solidFill>
                <a:effectLst/>
                <a:uLnTx/>
                <a:uFillTx/>
                <a:latin typeface="Arial"/>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3</a:t>
            </a:fld>
            <a:endParaRPr kumimoji="0" lang="en-US" sz="1267" b="0" i="0" u="none" strike="noStrike" kern="1200" cap="none" spc="0" normalizeH="0" baseline="0" noProof="0">
              <a:ln>
                <a:noFill/>
              </a:ln>
              <a:solidFill>
                <a:srgbClr val="7F7F7F"/>
              </a:solidFill>
              <a:effectLst/>
              <a:uLnTx/>
              <a:uFillTx/>
              <a:latin typeface="Arial"/>
              <a:ea typeface="+mn-ea"/>
              <a:cs typeface="+mn-cs"/>
            </a:endParaRPr>
          </a:p>
        </p:txBody>
      </p:sp>
      <p:sp>
        <p:nvSpPr>
          <p:cNvPr id="5" name="TextBox 4">
            <a:extLst>
              <a:ext uri="{FF2B5EF4-FFF2-40B4-BE49-F238E27FC236}">
                <a16:creationId xmlns:a16="http://schemas.microsoft.com/office/drawing/2014/main" id="{76B17CC8-CE79-3315-BAFE-AE791F829795}"/>
              </a:ext>
            </a:extLst>
          </p:cNvPr>
          <p:cNvSpPr txBox="1"/>
          <p:nvPr/>
        </p:nvSpPr>
        <p:spPr>
          <a:xfrm>
            <a:off x="1233923" y="2726226"/>
            <a:ext cx="10069062" cy="2637710"/>
          </a:xfrm>
          <a:prstGeom prst="rect">
            <a:avLst/>
          </a:prstGeom>
          <a:noFill/>
          <a:ln w="15875">
            <a:noFill/>
          </a:ln>
        </p:spPr>
        <p:txBody>
          <a:bodyPr wrap="square">
            <a:spAutoFit/>
          </a:bodyPr>
          <a:lstStyle/>
          <a:p>
            <a:pPr marL="0" marR="0" lvl="0" indent="0" algn="l" defTabSz="457200" rtl="0" eaLnBrk="1" fontAlgn="auto" latinLnBrk="0" hangingPunct="1">
              <a:lnSpc>
                <a:spcPct val="150000"/>
              </a:lnSpc>
              <a:spcBef>
                <a:spcPts val="600"/>
              </a:spcBef>
              <a:spcAft>
                <a:spcPts val="600"/>
              </a:spcAft>
              <a:buClrTx/>
              <a:buSzTx/>
              <a:buFontTx/>
              <a:buNone/>
              <a:tabLst/>
              <a:defRPr/>
            </a:pPr>
            <a:r>
              <a:rPr kumimoji="0" lang="en-US" sz="1400" b="1" i="0" u="none" strike="noStrike" kern="1200" cap="none" spc="0" normalizeH="0" baseline="0" noProof="0">
                <a:ln>
                  <a:noFill/>
                </a:ln>
                <a:solidFill>
                  <a:srgbClr val="3B3B3C"/>
                </a:solidFill>
                <a:effectLst/>
                <a:uLnTx/>
                <a:uFillTx/>
                <a:latin typeface="Arial"/>
                <a:ea typeface="Times New Roman" panose="02020603050405020304" pitchFamily="18" charset="0"/>
                <a:cs typeface="+mn-cs"/>
              </a:rPr>
              <a:t>RECOMMENDATION 8.5</a:t>
            </a:r>
            <a:r>
              <a:rPr kumimoji="0" lang="en-US" sz="1400" b="0" i="0" u="none" strike="noStrike" kern="1200" cap="none" spc="0" normalizeH="0" baseline="0" noProof="0">
                <a:ln>
                  <a:noFill/>
                </a:ln>
                <a:solidFill>
                  <a:srgbClr val="3B3B3C"/>
                </a:solidFill>
                <a:effectLst/>
                <a:uLnTx/>
                <a:uFillTx/>
                <a:latin typeface="Arial"/>
                <a:ea typeface="Times New Roman" panose="02020603050405020304" pitchFamily="18" charset="0"/>
                <a:cs typeface="+mn-cs"/>
              </a:rPr>
              <a:t>: The developers and future owners that represent the advanced nuclear industry must adopt a consent-based approach to designing, siting, and operating new facilities. The siting approach will have to be adjusted for a particular place, time, and culture. </a:t>
            </a:r>
            <a:r>
              <a:rPr kumimoji="0" lang="en-US" sz="1400" b="1" i="0" u="none" strike="noStrike" kern="1200" cap="none" spc="0" normalizeH="0" baseline="0" noProof="0">
                <a:ln>
                  <a:noFill/>
                </a:ln>
                <a:solidFill>
                  <a:srgbClr val="3B3B3C"/>
                </a:solidFill>
                <a:effectLst/>
                <a:uLnTx/>
                <a:uFillTx/>
                <a:latin typeface="Arial"/>
                <a:ea typeface="Times New Roman" panose="02020603050405020304" pitchFamily="18" charset="0"/>
                <a:cs typeface="+mn-cs"/>
              </a:rPr>
              <a:t>Following best practices will require additional time and financial resources to be allotted to successfully site and construct new nuclear power facilities, and the industry must account for these costs in their plans</a:t>
            </a:r>
            <a:r>
              <a:rPr kumimoji="0" lang="en-US" sz="1400" b="0" i="0" u="none" strike="noStrike" kern="1200" cap="none" spc="0" normalizeH="0" baseline="0" noProof="0">
                <a:ln>
                  <a:noFill/>
                </a:ln>
                <a:solidFill>
                  <a:srgbClr val="3B3B3C"/>
                </a:solidFill>
                <a:effectLst/>
                <a:uLnTx/>
                <a:uFillTx/>
                <a:latin typeface="Arial"/>
                <a:ea typeface="Times New Roman" panose="02020603050405020304" pitchFamily="18" charset="0"/>
                <a:cs typeface="+mn-cs"/>
              </a:rPr>
              <a:t>. The industry should be willing to fully engage with a community, hear their concerns and needs and be ready to address them, including adjusting plans. While this would raise the likelihood of successful deployment, it is not a guarantee of success. Additionally, the industry, guided by experts in consent-based processes, should capture best siting practices in guidance documents or standards.</a:t>
            </a:r>
            <a:endParaRPr kumimoji="0" lang="en-US" sz="1400" b="0" i="0" u="none" strike="noStrike" kern="1200" cap="none" spc="0" normalizeH="0" baseline="0" noProof="0">
              <a:ln>
                <a:noFill/>
              </a:ln>
              <a:solidFill>
                <a:srgbClr val="211747"/>
              </a:solidFill>
              <a:effectLst/>
              <a:uLnTx/>
              <a:uFillTx/>
              <a:latin typeface="Arial"/>
              <a:ea typeface="Times New Roman" panose="02020603050405020304" pitchFamily="18" charset="0"/>
              <a:cs typeface="Times New Roman" panose="02020603050405020304" pitchFamily="18" charset="0"/>
            </a:endParaRPr>
          </a:p>
        </p:txBody>
      </p:sp>
      <p:pic>
        <p:nvPicPr>
          <p:cNvPr id="4" name="Picture 3" descr="Text&#10;&#10;Description automatically generated">
            <a:extLst>
              <a:ext uri="{FF2B5EF4-FFF2-40B4-BE49-F238E27FC236}">
                <a16:creationId xmlns:a16="http://schemas.microsoft.com/office/drawing/2014/main" id="{D6B711FA-9D5C-A245-56B2-B471769B2BF1}"/>
              </a:ext>
            </a:extLst>
          </p:cNvPr>
          <p:cNvPicPr>
            <a:picLocks noChangeAspect="1"/>
          </p:cNvPicPr>
          <p:nvPr/>
        </p:nvPicPr>
        <p:blipFill>
          <a:blip r:embed="rId3"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2521643" y="6154224"/>
            <a:ext cx="1337860" cy="769376"/>
          </a:xfrm>
          <a:prstGeom prst="rect">
            <a:avLst/>
          </a:prstGeom>
        </p:spPr>
      </p:pic>
      <p:sp>
        <p:nvSpPr>
          <p:cNvPr id="6" name="Rectangle 5">
            <a:extLst>
              <a:ext uri="{FF2B5EF4-FFF2-40B4-BE49-F238E27FC236}">
                <a16:creationId xmlns:a16="http://schemas.microsoft.com/office/drawing/2014/main" id="{1C746AF7-F413-667C-7893-8E4559493678}"/>
              </a:ext>
            </a:extLst>
          </p:cNvPr>
          <p:cNvSpPr/>
          <p:nvPr/>
        </p:nvSpPr>
        <p:spPr>
          <a:xfrm>
            <a:off x="0" y="1181311"/>
            <a:ext cx="12192000" cy="104185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81F96"/>
              </a:solidFill>
              <a:effectLst/>
              <a:uLnTx/>
              <a:uFillTx/>
              <a:latin typeface="Arial"/>
              <a:ea typeface="+mn-ea"/>
              <a:cs typeface="+mn-cs"/>
            </a:endParaRPr>
          </a:p>
        </p:txBody>
      </p:sp>
      <p:sp>
        <p:nvSpPr>
          <p:cNvPr id="7" name="TextBox 6">
            <a:extLst>
              <a:ext uri="{FF2B5EF4-FFF2-40B4-BE49-F238E27FC236}">
                <a16:creationId xmlns:a16="http://schemas.microsoft.com/office/drawing/2014/main" id="{CA7E94A4-C3CF-C85F-AF99-4760F9FE8D52}"/>
              </a:ext>
            </a:extLst>
          </p:cNvPr>
          <p:cNvSpPr txBox="1"/>
          <p:nvPr/>
        </p:nvSpPr>
        <p:spPr>
          <a:xfrm>
            <a:off x="1636297" y="1467144"/>
            <a:ext cx="9264314" cy="400110"/>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000" b="0" i="1" u="none" strike="noStrike" kern="1200" cap="none" spc="0" normalizeH="0" baseline="0" noProof="0">
                <a:ln>
                  <a:noFill/>
                </a:ln>
                <a:solidFill>
                  <a:prstClr val="white"/>
                </a:solidFill>
                <a:effectLst/>
                <a:uLnTx/>
                <a:uFillTx/>
                <a:latin typeface="Arial"/>
                <a:ea typeface="+mn-ea"/>
                <a:cs typeface="+mn-cs"/>
              </a:rPr>
              <a:t>Community engagement should be incorporated from design through operation</a:t>
            </a:r>
          </a:p>
        </p:txBody>
      </p:sp>
      <p:pic>
        <p:nvPicPr>
          <p:cNvPr id="8" name="Graphic 7">
            <a:extLst>
              <a:ext uri="{FF2B5EF4-FFF2-40B4-BE49-F238E27FC236}">
                <a16:creationId xmlns:a16="http://schemas.microsoft.com/office/drawing/2014/main" id="{8B623A3B-091C-62E1-BE9C-7D63BCFD3D7B}"/>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639774" y="1262510"/>
            <a:ext cx="869790" cy="869790"/>
          </a:xfrm>
          <a:prstGeom prst="rect">
            <a:avLst/>
          </a:prstGeom>
        </p:spPr>
      </p:pic>
    </p:spTree>
    <p:extLst>
      <p:ext uri="{BB962C8B-B14F-4D97-AF65-F5344CB8AC3E}">
        <p14:creationId xmlns:p14="http://schemas.microsoft.com/office/powerpoint/2010/main" val="3714614366"/>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9B79C67F-F853-384F-75ED-C437D3FF84F6}"/>
              </a:ext>
            </a:extLst>
          </p:cNvPr>
          <p:cNvSpPr/>
          <p:nvPr/>
        </p:nvSpPr>
        <p:spPr>
          <a:xfrm>
            <a:off x="0" y="1181311"/>
            <a:ext cx="12192000" cy="104185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81F96"/>
              </a:solidFill>
              <a:effectLst/>
              <a:uLnTx/>
              <a:uFillTx/>
              <a:latin typeface="Arial"/>
              <a:ea typeface="+mn-ea"/>
              <a:cs typeface="+mn-cs"/>
            </a:endParaRPr>
          </a:p>
        </p:txBody>
      </p:sp>
      <p:sp>
        <p:nvSpPr>
          <p:cNvPr id="12" name="TextBox 11">
            <a:extLst>
              <a:ext uri="{FF2B5EF4-FFF2-40B4-BE49-F238E27FC236}">
                <a16:creationId xmlns:a16="http://schemas.microsoft.com/office/drawing/2014/main" id="{9A856770-866A-3701-524F-98AE64C638C2}"/>
              </a:ext>
            </a:extLst>
          </p:cNvPr>
          <p:cNvSpPr txBox="1"/>
          <p:nvPr/>
        </p:nvSpPr>
        <p:spPr>
          <a:xfrm>
            <a:off x="1636297" y="1358859"/>
            <a:ext cx="9264314" cy="707886"/>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000" b="0" i="1" u="none" strike="noStrike" kern="1200" cap="none" spc="0" normalizeH="0" baseline="0" noProof="0">
                <a:ln>
                  <a:noFill/>
                </a:ln>
                <a:solidFill>
                  <a:prstClr val="white"/>
                </a:solidFill>
                <a:effectLst/>
                <a:uLnTx/>
                <a:uFillTx/>
                <a:latin typeface="Arial"/>
                <a:ea typeface="+mn-ea"/>
                <a:cs typeface="+mn-cs"/>
              </a:rPr>
              <a:t>State and private support is crucial for safeguards, international deployment, and competitiveness </a:t>
            </a:r>
          </a:p>
        </p:txBody>
      </p:sp>
      <p:sp>
        <p:nvSpPr>
          <p:cNvPr id="2" name="Title 1">
            <a:extLst>
              <a:ext uri="{FF2B5EF4-FFF2-40B4-BE49-F238E27FC236}">
                <a16:creationId xmlns:a16="http://schemas.microsoft.com/office/drawing/2014/main" id="{C51700C1-7A21-624E-A0E9-31329CFD172A}"/>
              </a:ext>
            </a:extLst>
          </p:cNvPr>
          <p:cNvSpPr>
            <a:spLocks noGrp="1"/>
          </p:cNvSpPr>
          <p:nvPr>
            <p:ph type="title"/>
          </p:nvPr>
        </p:nvSpPr>
        <p:spPr/>
        <p:txBody>
          <a:bodyPr/>
          <a:lstStyle/>
          <a:p>
            <a:r>
              <a:rPr lang="en-US"/>
              <a:t>Government Support in International Markets</a:t>
            </a:r>
          </a:p>
        </p:txBody>
      </p:sp>
      <p:sp>
        <p:nvSpPr>
          <p:cNvPr id="3" name="Slide Number Placeholder 2">
            <a:extLst>
              <a:ext uri="{FF2B5EF4-FFF2-40B4-BE49-F238E27FC236}">
                <a16:creationId xmlns:a16="http://schemas.microsoft.com/office/drawing/2014/main" id="{5015EB1B-C370-3C9E-CBE8-A5F56677ED6C}"/>
              </a:ext>
            </a:extLst>
          </p:cNvPr>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46D584E9-81E4-493B-AD1D-A460B5445953}" type="slidenum">
              <a:rPr kumimoji="0" lang="en-US" sz="1267" b="0" i="0" u="none" strike="noStrike" kern="1200" cap="none" spc="0" normalizeH="0" baseline="0" noProof="0" smtClean="0">
                <a:ln>
                  <a:noFill/>
                </a:ln>
                <a:solidFill>
                  <a:srgbClr val="7F7F7F"/>
                </a:solidFill>
                <a:effectLst/>
                <a:uLnTx/>
                <a:uFillTx/>
                <a:latin typeface="Arial"/>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4</a:t>
            </a:fld>
            <a:endParaRPr kumimoji="0" lang="en-US" sz="1267" b="0" i="0" u="none" strike="noStrike" kern="1200" cap="none" spc="0" normalizeH="0" baseline="0" noProof="0">
              <a:ln>
                <a:noFill/>
              </a:ln>
              <a:solidFill>
                <a:srgbClr val="7F7F7F"/>
              </a:solidFill>
              <a:effectLst/>
              <a:uLnTx/>
              <a:uFillTx/>
              <a:latin typeface="Arial"/>
              <a:ea typeface="+mn-ea"/>
              <a:cs typeface="+mn-cs"/>
            </a:endParaRPr>
          </a:p>
        </p:txBody>
      </p:sp>
      <p:sp>
        <p:nvSpPr>
          <p:cNvPr id="5" name="TextBox 4">
            <a:extLst>
              <a:ext uri="{FF2B5EF4-FFF2-40B4-BE49-F238E27FC236}">
                <a16:creationId xmlns:a16="http://schemas.microsoft.com/office/drawing/2014/main" id="{76B17CC8-CE79-3315-BAFE-AE791F829795}"/>
              </a:ext>
            </a:extLst>
          </p:cNvPr>
          <p:cNvSpPr txBox="1"/>
          <p:nvPr/>
        </p:nvSpPr>
        <p:spPr>
          <a:xfrm>
            <a:off x="590121" y="2682610"/>
            <a:ext cx="5678333" cy="2960875"/>
          </a:xfrm>
          <a:prstGeom prst="rect">
            <a:avLst/>
          </a:prstGeom>
          <a:noFill/>
          <a:ln w="15875">
            <a:noFill/>
          </a:ln>
        </p:spPr>
        <p:txBody>
          <a:bodyPr wrap="square">
            <a:spAutoFit/>
          </a:bodyPr>
          <a:lstStyle/>
          <a:p>
            <a:pPr marL="0" marR="0" lvl="0" indent="0" algn="l" defTabSz="457200" rtl="0" eaLnBrk="1" fontAlgn="auto" latinLnBrk="0" hangingPunct="1">
              <a:lnSpc>
                <a:spcPct val="150000"/>
              </a:lnSpc>
              <a:spcBef>
                <a:spcPts val="600"/>
              </a:spcBef>
              <a:spcAft>
                <a:spcPts val="600"/>
              </a:spcAft>
              <a:buClrTx/>
              <a:buSzTx/>
              <a:buFontTx/>
              <a:buNone/>
              <a:tabLst/>
              <a:defRPr/>
            </a:pPr>
            <a:r>
              <a:rPr kumimoji="0" lang="en-US" sz="1400" b="1" i="0" u="none" strike="noStrike" kern="1200" cap="none" spc="0" normalizeH="0" baseline="0" noProof="0">
                <a:ln>
                  <a:noFill/>
                </a:ln>
                <a:solidFill>
                  <a:srgbClr val="3B3B3C"/>
                </a:solidFill>
                <a:effectLst/>
                <a:uLnTx/>
                <a:uFillTx/>
                <a:latin typeface="Arial"/>
                <a:ea typeface="Times New Roman" panose="02020603050405020304" pitchFamily="18" charset="0"/>
                <a:cs typeface="+mn-cs"/>
              </a:rPr>
              <a:t>RECOMMENDATION 9.5:</a:t>
            </a:r>
            <a:r>
              <a:rPr kumimoji="0" lang="en-US" sz="1400" b="0" i="0" u="none" strike="noStrike" kern="1200" cap="none" spc="0" normalizeH="0" baseline="0" noProof="0">
                <a:ln>
                  <a:noFill/>
                </a:ln>
                <a:solidFill>
                  <a:srgbClr val="3B3B3C"/>
                </a:solidFill>
                <a:effectLst/>
                <a:uLnTx/>
                <a:uFillTx/>
                <a:latin typeface="Arial"/>
                <a:ea typeface="Times New Roman" panose="02020603050405020304" pitchFamily="18" charset="0"/>
                <a:cs typeface="+mn-cs"/>
              </a:rPr>
              <a:t> The United States should develop a plan for </a:t>
            </a:r>
            <a:r>
              <a:rPr kumimoji="0" lang="en-US" sz="1400" b="1" i="0" u="none" strike="noStrike" kern="1200" cap="none" spc="0" normalizeH="0" baseline="0" noProof="0">
                <a:ln>
                  <a:noFill/>
                </a:ln>
                <a:solidFill>
                  <a:srgbClr val="3B3B3C"/>
                </a:solidFill>
                <a:effectLst/>
                <a:uLnTx/>
                <a:uFillTx/>
                <a:latin typeface="Arial"/>
                <a:ea typeface="Times New Roman" panose="02020603050405020304" pitchFamily="18" charset="0"/>
                <a:cs typeface="+mn-cs"/>
              </a:rPr>
              <a:t>increased and sustained long-term financial and technical support for capacity building in partner countries</a:t>
            </a:r>
            <a:r>
              <a:rPr kumimoji="0" lang="en-US" sz="1400" b="0" i="0" u="none" strike="noStrike" kern="1200" cap="none" spc="0" normalizeH="0" baseline="0" noProof="0">
                <a:ln>
                  <a:noFill/>
                </a:ln>
                <a:solidFill>
                  <a:srgbClr val="3B3B3C"/>
                </a:solidFill>
                <a:effectLst/>
                <a:uLnTx/>
                <a:uFillTx/>
                <a:latin typeface="Arial"/>
                <a:ea typeface="Times New Roman" panose="02020603050405020304" pitchFamily="18" charset="0"/>
                <a:cs typeface="+mn-cs"/>
              </a:rPr>
              <a:t>, including cost requirements for using U.S. national labs and universities as training platforms. This plan should include partnering with U.S. reactor vendors to develop a safety, safeguards and security “package,” where the United States and the vendor could offer customized support to a host country for developing and implementing new safety, security and safeguards arrangements.</a:t>
            </a:r>
            <a:endParaRPr kumimoji="0" lang="en-US" sz="1400" b="0" i="0" u="none" strike="noStrike" kern="1200" cap="none" spc="0" normalizeH="0" baseline="0" noProof="0">
              <a:ln>
                <a:noFill/>
              </a:ln>
              <a:solidFill>
                <a:srgbClr val="211747"/>
              </a:solidFill>
              <a:effectLst/>
              <a:uLnTx/>
              <a:uFillTx/>
              <a:latin typeface="Arial"/>
              <a:ea typeface="Times New Roman" panose="02020603050405020304" pitchFamily="18" charset="0"/>
              <a:cs typeface="Times New Roman" panose="02020603050405020304" pitchFamily="18" charset="0"/>
            </a:endParaRPr>
          </a:p>
        </p:txBody>
      </p:sp>
      <p:sp>
        <p:nvSpPr>
          <p:cNvPr id="8" name="TextBox 7">
            <a:extLst>
              <a:ext uri="{FF2B5EF4-FFF2-40B4-BE49-F238E27FC236}">
                <a16:creationId xmlns:a16="http://schemas.microsoft.com/office/drawing/2014/main" id="{18C69C77-4721-6471-FB9C-A21868758DA4}"/>
              </a:ext>
            </a:extLst>
          </p:cNvPr>
          <p:cNvSpPr txBox="1"/>
          <p:nvPr/>
        </p:nvSpPr>
        <p:spPr>
          <a:xfrm>
            <a:off x="6946804" y="2682610"/>
            <a:ext cx="4528108" cy="2637710"/>
          </a:xfrm>
          <a:prstGeom prst="rect">
            <a:avLst/>
          </a:prstGeom>
          <a:noFill/>
          <a:ln w="15875">
            <a:noFill/>
          </a:ln>
        </p:spPr>
        <p:txBody>
          <a:bodyPr wrap="square">
            <a:spAutoFit/>
          </a:bodyPr>
          <a:lstStyle/>
          <a:p>
            <a:pPr marL="0" marR="0" lvl="0" indent="0" algn="l" defTabSz="457200" rtl="0" eaLnBrk="1" fontAlgn="auto" latinLnBrk="0" hangingPunct="1">
              <a:lnSpc>
                <a:spcPct val="150000"/>
              </a:lnSpc>
              <a:spcBef>
                <a:spcPts val="0"/>
              </a:spcBef>
              <a:spcAft>
                <a:spcPts val="0"/>
              </a:spcAft>
              <a:buClrTx/>
              <a:buSzTx/>
              <a:buFontTx/>
              <a:buNone/>
              <a:tabLst/>
              <a:defRPr/>
            </a:pPr>
            <a:r>
              <a:rPr kumimoji="0" lang="en-US" sz="1400" b="1" i="0" u="none" strike="noStrike" kern="1200" cap="none" spc="0" normalizeH="0" baseline="0" noProof="0">
                <a:ln>
                  <a:noFill/>
                </a:ln>
                <a:solidFill>
                  <a:srgbClr val="3B3B3C"/>
                </a:solidFill>
                <a:effectLst/>
                <a:uLnTx/>
                <a:uFillTx/>
                <a:latin typeface="Arial"/>
                <a:ea typeface="Times New Roman" panose="02020603050405020304" pitchFamily="18" charset="0"/>
                <a:cs typeface="+mn-cs"/>
              </a:rPr>
              <a:t>RECOMMENDATION 10.2:</a:t>
            </a:r>
            <a:r>
              <a:rPr kumimoji="0" lang="en-US" sz="1400" b="0" i="0" u="none" strike="noStrike" kern="1200" cap="none" spc="0" normalizeH="0" baseline="0" noProof="0">
                <a:ln>
                  <a:noFill/>
                </a:ln>
                <a:solidFill>
                  <a:srgbClr val="3B3B3C"/>
                </a:solidFill>
                <a:effectLst/>
                <a:uLnTx/>
                <a:uFillTx/>
                <a:latin typeface="Arial"/>
                <a:ea typeface="Times New Roman" panose="02020603050405020304" pitchFamily="18" charset="0"/>
                <a:cs typeface="+mn-cs"/>
              </a:rPr>
              <a:t>.</a:t>
            </a:r>
            <a:r>
              <a:rPr kumimoji="0" lang="en-US" sz="1400" b="1" i="0" u="none" strike="noStrike" kern="1200" cap="none" spc="0" normalizeH="0" baseline="0" noProof="0">
                <a:ln>
                  <a:noFill/>
                </a:ln>
                <a:solidFill>
                  <a:srgbClr val="3B3B3C"/>
                </a:solidFill>
                <a:effectLst/>
                <a:uLnTx/>
                <a:uFillTx/>
                <a:latin typeface="Arial"/>
                <a:ea typeface="Times New Roman" panose="02020603050405020304" pitchFamily="18" charset="0"/>
                <a:cs typeface="+mn-cs"/>
              </a:rPr>
              <a:t> </a:t>
            </a:r>
            <a:r>
              <a:rPr kumimoji="0" lang="en-US" sz="1400" b="0" i="0" u="none" strike="noStrike" kern="1200" cap="none" spc="0" normalizeH="0" baseline="0" noProof="0">
                <a:ln>
                  <a:noFill/>
                </a:ln>
                <a:solidFill>
                  <a:srgbClr val="3B3B3C"/>
                </a:solidFill>
                <a:effectLst/>
                <a:uLnTx/>
                <a:uFillTx/>
                <a:latin typeface="Arial"/>
                <a:ea typeface="Times New Roman" panose="02020603050405020304" pitchFamily="18" charset="0"/>
                <a:cs typeface="+mn-cs"/>
              </a:rPr>
              <a:t>International nuclear projects by US exporters are likely to require a financing package that reflects a blending of federal grants, loans, and loan guarantees along with various forms of private equity and debt financing. </a:t>
            </a:r>
            <a:r>
              <a:rPr kumimoji="0" lang="en-US" sz="1400" b="1" i="0" u="none" strike="noStrike" kern="1200" cap="none" spc="0" normalizeH="0" baseline="0" noProof="0">
                <a:ln>
                  <a:noFill/>
                </a:ln>
                <a:solidFill>
                  <a:srgbClr val="3B3B3C"/>
                </a:solidFill>
                <a:effectLst/>
                <a:uLnTx/>
                <a:uFillTx/>
                <a:latin typeface="Arial"/>
                <a:ea typeface="Times New Roman" panose="02020603050405020304" pitchFamily="18" charset="0"/>
                <a:cs typeface="+mn-cs"/>
              </a:rPr>
              <a:t>The Executive Branch should work with the private sector to build an effective and competitive financing package for US exporters.</a:t>
            </a:r>
            <a:endParaRPr kumimoji="0" lang="en-US" sz="1400" b="1" i="0" u="none" strike="noStrike" kern="1200" cap="none" spc="0" normalizeH="0" baseline="0" noProof="0">
              <a:ln>
                <a:noFill/>
              </a:ln>
              <a:solidFill>
                <a:srgbClr val="3B3B3C"/>
              </a:solidFill>
              <a:effectLst/>
              <a:uLnTx/>
              <a:uFillTx/>
              <a:latin typeface="Arial"/>
              <a:ea typeface="+mn-ea"/>
              <a:cs typeface="+mn-cs"/>
            </a:endParaRPr>
          </a:p>
        </p:txBody>
      </p:sp>
      <p:pic>
        <p:nvPicPr>
          <p:cNvPr id="4" name="Picture 3" descr="Text&#10;&#10;Description automatically generated">
            <a:extLst>
              <a:ext uri="{FF2B5EF4-FFF2-40B4-BE49-F238E27FC236}">
                <a16:creationId xmlns:a16="http://schemas.microsoft.com/office/drawing/2014/main" id="{5F72824F-7FCA-4AFE-DD0B-09AB4A4106E6}"/>
              </a:ext>
            </a:extLst>
          </p:cNvPr>
          <p:cNvPicPr>
            <a:picLocks noChangeAspect="1"/>
          </p:cNvPicPr>
          <p:nvPr/>
        </p:nvPicPr>
        <p:blipFill>
          <a:blip r:embed="rId2"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2521643" y="6154224"/>
            <a:ext cx="1337860" cy="769376"/>
          </a:xfrm>
          <a:prstGeom prst="rect">
            <a:avLst/>
          </a:prstGeom>
        </p:spPr>
      </p:pic>
      <p:pic>
        <p:nvPicPr>
          <p:cNvPr id="14" name="Graphic 13">
            <a:extLst>
              <a:ext uri="{FF2B5EF4-FFF2-40B4-BE49-F238E27FC236}">
                <a16:creationId xmlns:a16="http://schemas.microsoft.com/office/drawing/2014/main" id="{DD4DCFFA-AA2C-6138-E245-D7618E62948B}"/>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62940" y="1246445"/>
            <a:ext cx="911583" cy="911583"/>
          </a:xfrm>
          <a:prstGeom prst="rect">
            <a:avLst/>
          </a:prstGeom>
        </p:spPr>
      </p:pic>
    </p:spTree>
    <p:extLst>
      <p:ext uri="{BB962C8B-B14F-4D97-AF65-F5344CB8AC3E}">
        <p14:creationId xmlns:p14="http://schemas.microsoft.com/office/powerpoint/2010/main" val="363174651"/>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141" name="Picture 2" descr="Modern connect for web marketing design graphic Vector Image">
            <a:extLst>
              <a:ext uri="{FF2B5EF4-FFF2-40B4-BE49-F238E27FC236}">
                <a16:creationId xmlns:a16="http://schemas.microsoft.com/office/drawing/2014/main" id="{D6085B10-C407-29D6-40E3-16FB57A0827E}"/>
              </a:ext>
            </a:extLst>
          </p:cNvPr>
          <p:cNvPicPr>
            <a:picLocks noChangeAspect="1" noChangeArrowheads="1"/>
          </p:cNvPicPr>
          <p:nvPr/>
        </p:nvPicPr>
        <p:blipFill rotWithShape="1">
          <a:blip r:embed="rId3">
            <a:duotone>
              <a:schemeClr val="accent2">
                <a:shade val="45000"/>
                <a:satMod val="135000"/>
              </a:schemeClr>
              <a:prstClr val="white"/>
            </a:duotone>
            <a:alphaModFix amt="20000"/>
            <a:extLst>
              <a:ext uri="{28A0092B-C50C-407E-A947-70E740481C1C}">
                <a14:useLocalDpi xmlns:a14="http://schemas.microsoft.com/office/drawing/2010/main" val="0"/>
              </a:ext>
            </a:extLst>
          </a:blip>
          <a:srcRect b="24306"/>
          <a:stretch/>
        </p:blipFill>
        <p:spPr bwMode="auto">
          <a:xfrm>
            <a:off x="-1330270" y="2191"/>
            <a:ext cx="13588903" cy="7009205"/>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2" descr="Text&#10;&#10;Description automatically generated">
            <a:extLst>
              <a:ext uri="{FF2B5EF4-FFF2-40B4-BE49-F238E27FC236}">
                <a16:creationId xmlns:a16="http://schemas.microsoft.com/office/drawing/2014/main" id="{4513D81C-69D4-07F8-F52C-F78192E5575B}"/>
              </a:ext>
            </a:extLst>
          </p:cNvPr>
          <p:cNvPicPr>
            <a:picLocks noChangeAspect="1"/>
          </p:cNvPicPr>
          <p:nvPr/>
        </p:nvPicPr>
        <p:blipFill>
          <a:blip r:embed="rId4"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2521643" y="6154224"/>
            <a:ext cx="1337860" cy="769376"/>
          </a:xfrm>
          <a:prstGeom prst="rect">
            <a:avLst/>
          </a:prstGeom>
        </p:spPr>
      </p:pic>
      <p:sp>
        <p:nvSpPr>
          <p:cNvPr id="2" name="Title 1">
            <a:extLst>
              <a:ext uri="{FF2B5EF4-FFF2-40B4-BE49-F238E27FC236}">
                <a16:creationId xmlns:a16="http://schemas.microsoft.com/office/drawing/2014/main" id="{8EAA11AD-8D0A-C73F-A222-83E4951B80A3}"/>
              </a:ext>
            </a:extLst>
          </p:cNvPr>
          <p:cNvSpPr>
            <a:spLocks noGrp="1"/>
          </p:cNvSpPr>
          <p:nvPr>
            <p:ph type="title"/>
          </p:nvPr>
        </p:nvSpPr>
        <p:spPr/>
        <p:txBody>
          <a:bodyPr/>
          <a:lstStyle/>
          <a:p>
            <a:r>
              <a:rPr lang="en-US"/>
              <a:t>Sustained Effort, Robust Financial Support, and Prompt Regulatory Updates are Key</a:t>
            </a:r>
          </a:p>
        </p:txBody>
      </p:sp>
      <p:sp>
        <p:nvSpPr>
          <p:cNvPr id="3107" name="TextBox 3106">
            <a:extLst>
              <a:ext uri="{FF2B5EF4-FFF2-40B4-BE49-F238E27FC236}">
                <a16:creationId xmlns:a16="http://schemas.microsoft.com/office/drawing/2014/main" id="{59111DDA-D6B9-F2B6-4306-DCED3A918997}"/>
              </a:ext>
            </a:extLst>
          </p:cNvPr>
          <p:cNvSpPr txBox="1"/>
          <p:nvPr/>
        </p:nvSpPr>
        <p:spPr>
          <a:xfrm>
            <a:off x="7470532" y="930283"/>
            <a:ext cx="3700052" cy="400110"/>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FF0000"/>
                </a:solidFill>
                <a:effectLst/>
                <a:uLnTx/>
                <a:uFillTx/>
                <a:latin typeface="Arial"/>
                <a:ea typeface="+mn-ea"/>
                <a:cs typeface="+mn-cs"/>
              </a:rPr>
              <a:t>…but </a:t>
            </a:r>
            <a:r>
              <a:rPr kumimoji="0" lang="en-US" sz="2000" b="1" i="0" u="sng" strike="noStrike" kern="1200" cap="none" spc="0" normalizeH="0" baseline="0" noProof="0">
                <a:ln>
                  <a:noFill/>
                </a:ln>
                <a:solidFill>
                  <a:srgbClr val="FF0000"/>
                </a:solidFill>
                <a:effectLst/>
                <a:uLnTx/>
                <a:uFillTx/>
                <a:latin typeface="Arial"/>
                <a:ea typeface="+mn-ea"/>
                <a:cs typeface="+mn-cs"/>
              </a:rPr>
              <a:t>every</a:t>
            </a:r>
            <a:r>
              <a:rPr kumimoji="0" lang="en-US" sz="2000" b="1" i="0" u="none" strike="noStrike" kern="1200" cap="none" spc="0" normalizeH="0" baseline="0" noProof="0">
                <a:ln>
                  <a:noFill/>
                </a:ln>
                <a:solidFill>
                  <a:srgbClr val="FF0000"/>
                </a:solidFill>
                <a:effectLst/>
                <a:uLnTx/>
                <a:uFillTx/>
                <a:latin typeface="Arial"/>
                <a:ea typeface="+mn-ea"/>
                <a:cs typeface="+mn-cs"/>
              </a:rPr>
              <a:t> variable matters!</a:t>
            </a:r>
          </a:p>
        </p:txBody>
      </p:sp>
      <p:grpSp>
        <p:nvGrpSpPr>
          <p:cNvPr id="53" name="Group 52">
            <a:extLst>
              <a:ext uri="{FF2B5EF4-FFF2-40B4-BE49-F238E27FC236}">
                <a16:creationId xmlns:a16="http://schemas.microsoft.com/office/drawing/2014/main" id="{5D63223F-8A3C-85F2-162E-00EC60583938}"/>
              </a:ext>
            </a:extLst>
          </p:cNvPr>
          <p:cNvGrpSpPr/>
          <p:nvPr/>
        </p:nvGrpSpPr>
        <p:grpSpPr>
          <a:xfrm>
            <a:off x="1435366" y="1666197"/>
            <a:ext cx="1905000" cy="1230085"/>
            <a:chOff x="4093030" y="5540829"/>
            <a:chExt cx="1905000" cy="1230085"/>
          </a:xfrm>
          <a:solidFill>
            <a:schemeClr val="accent1"/>
          </a:solidFill>
        </p:grpSpPr>
        <p:sp>
          <p:nvSpPr>
            <p:cNvPr id="54" name="Rectangle 53">
              <a:extLst>
                <a:ext uri="{FF2B5EF4-FFF2-40B4-BE49-F238E27FC236}">
                  <a16:creationId xmlns:a16="http://schemas.microsoft.com/office/drawing/2014/main" id="{23F5853F-E799-FA89-9A9A-9A987C0DA553}"/>
                </a:ext>
              </a:extLst>
            </p:cNvPr>
            <p:cNvSpPr/>
            <p:nvPr/>
          </p:nvSpPr>
          <p:spPr>
            <a:xfrm>
              <a:off x="4093030" y="5540829"/>
              <a:ext cx="1905000" cy="1230085"/>
            </a:xfrm>
            <a:prstGeom prst="rect">
              <a:avLst/>
            </a:prstGeom>
            <a:grp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55" name="TextBox 54">
              <a:extLst>
                <a:ext uri="{FF2B5EF4-FFF2-40B4-BE49-F238E27FC236}">
                  <a16:creationId xmlns:a16="http://schemas.microsoft.com/office/drawing/2014/main" id="{C411087B-B22D-BAB6-F46F-DF220D1B1C52}"/>
                </a:ext>
              </a:extLst>
            </p:cNvPr>
            <p:cNvSpPr txBox="1"/>
            <p:nvPr/>
          </p:nvSpPr>
          <p:spPr>
            <a:xfrm>
              <a:off x="4152760" y="6188529"/>
              <a:ext cx="1812612" cy="523220"/>
            </a:xfrm>
            <a:prstGeom prst="rect">
              <a:avLst/>
            </a:prstGeom>
            <a:grpFill/>
            <a:ln>
              <a:noFill/>
            </a:ln>
          </p:spPr>
          <p:txBody>
            <a:bodyPr wrap="non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Arial"/>
                  <a:ea typeface="+mn-ea"/>
                  <a:cs typeface="+mn-cs"/>
                </a:rPr>
                <a:t>Reactor Technology </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Arial"/>
                  <a:ea typeface="+mn-ea"/>
                  <a:cs typeface="+mn-cs"/>
                </a:rPr>
                <a:t>Research</a:t>
              </a:r>
            </a:p>
          </p:txBody>
        </p:sp>
      </p:grpSp>
      <p:grpSp>
        <p:nvGrpSpPr>
          <p:cNvPr id="56" name="Group 55">
            <a:extLst>
              <a:ext uri="{FF2B5EF4-FFF2-40B4-BE49-F238E27FC236}">
                <a16:creationId xmlns:a16="http://schemas.microsoft.com/office/drawing/2014/main" id="{128F82BE-2506-D99E-0580-652B4F1FA363}"/>
              </a:ext>
            </a:extLst>
          </p:cNvPr>
          <p:cNvGrpSpPr/>
          <p:nvPr/>
        </p:nvGrpSpPr>
        <p:grpSpPr>
          <a:xfrm>
            <a:off x="3728569" y="1661681"/>
            <a:ext cx="1905000" cy="1230085"/>
            <a:chOff x="6203833" y="5540829"/>
            <a:chExt cx="1905000" cy="1230085"/>
          </a:xfrm>
          <a:solidFill>
            <a:schemeClr val="accent1"/>
          </a:solidFill>
        </p:grpSpPr>
        <p:sp>
          <p:nvSpPr>
            <p:cNvPr id="57" name="Rectangle 56">
              <a:extLst>
                <a:ext uri="{FF2B5EF4-FFF2-40B4-BE49-F238E27FC236}">
                  <a16:creationId xmlns:a16="http://schemas.microsoft.com/office/drawing/2014/main" id="{4E76E193-CFA4-9941-4BE6-BEFC4AFEC9B9}"/>
                </a:ext>
              </a:extLst>
            </p:cNvPr>
            <p:cNvSpPr/>
            <p:nvPr/>
          </p:nvSpPr>
          <p:spPr>
            <a:xfrm>
              <a:off x="6203833" y="5540829"/>
              <a:ext cx="1905000" cy="1230085"/>
            </a:xfrm>
            <a:prstGeom prst="rect">
              <a:avLst/>
            </a:prstGeom>
            <a:grpFill/>
            <a:ln w="254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58" name="TextBox 57">
              <a:extLst>
                <a:ext uri="{FF2B5EF4-FFF2-40B4-BE49-F238E27FC236}">
                  <a16:creationId xmlns:a16="http://schemas.microsoft.com/office/drawing/2014/main" id="{1003A442-024B-EC10-D923-EC557221FD61}"/>
                </a:ext>
              </a:extLst>
            </p:cNvPr>
            <p:cNvSpPr txBox="1"/>
            <p:nvPr/>
          </p:nvSpPr>
          <p:spPr>
            <a:xfrm>
              <a:off x="6312191" y="6183086"/>
              <a:ext cx="1688283" cy="307777"/>
            </a:xfrm>
            <a:prstGeom prst="rect">
              <a:avLst/>
            </a:prstGeom>
            <a:grp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Arial"/>
                  <a:ea typeface="+mn-ea"/>
                  <a:cs typeface="+mn-cs"/>
                </a:rPr>
                <a:t>Safety Regulations</a:t>
              </a:r>
            </a:p>
          </p:txBody>
        </p:sp>
      </p:grpSp>
      <p:grpSp>
        <p:nvGrpSpPr>
          <p:cNvPr id="59" name="Group 58">
            <a:extLst>
              <a:ext uri="{FF2B5EF4-FFF2-40B4-BE49-F238E27FC236}">
                <a16:creationId xmlns:a16="http://schemas.microsoft.com/office/drawing/2014/main" id="{21D2A3C3-8AC3-0264-2E98-F2B87B97D890}"/>
              </a:ext>
            </a:extLst>
          </p:cNvPr>
          <p:cNvGrpSpPr/>
          <p:nvPr/>
        </p:nvGrpSpPr>
        <p:grpSpPr>
          <a:xfrm>
            <a:off x="8360425" y="4900532"/>
            <a:ext cx="1905000" cy="1230085"/>
            <a:chOff x="8370286" y="5540829"/>
            <a:chExt cx="1905000" cy="1230085"/>
          </a:xfrm>
          <a:solidFill>
            <a:schemeClr val="accent1"/>
          </a:solidFill>
        </p:grpSpPr>
        <p:sp>
          <p:nvSpPr>
            <p:cNvPr id="3108" name="Rectangle 3107">
              <a:extLst>
                <a:ext uri="{FF2B5EF4-FFF2-40B4-BE49-F238E27FC236}">
                  <a16:creationId xmlns:a16="http://schemas.microsoft.com/office/drawing/2014/main" id="{3591483B-CE59-30BE-B0CF-AE1F34073DF2}"/>
                </a:ext>
              </a:extLst>
            </p:cNvPr>
            <p:cNvSpPr/>
            <p:nvPr/>
          </p:nvSpPr>
          <p:spPr>
            <a:xfrm>
              <a:off x="8370286" y="5540829"/>
              <a:ext cx="1905000" cy="1230085"/>
            </a:xfrm>
            <a:prstGeom prst="rect">
              <a:avLst/>
            </a:prstGeom>
            <a:grpFill/>
            <a:ln w="254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3109" name="TextBox 3108">
              <a:extLst>
                <a:ext uri="{FF2B5EF4-FFF2-40B4-BE49-F238E27FC236}">
                  <a16:creationId xmlns:a16="http://schemas.microsoft.com/office/drawing/2014/main" id="{EE6B7364-7774-FBCC-9EA3-7514CAEC85E2}"/>
                </a:ext>
              </a:extLst>
            </p:cNvPr>
            <p:cNvSpPr txBox="1"/>
            <p:nvPr/>
          </p:nvSpPr>
          <p:spPr>
            <a:xfrm>
              <a:off x="8713484" y="6126029"/>
              <a:ext cx="1218603" cy="523220"/>
            </a:xfrm>
            <a:prstGeom prst="rect">
              <a:avLst/>
            </a:prstGeom>
            <a:grp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Arial"/>
                  <a:ea typeface="+mn-ea"/>
                  <a:cs typeface="+mn-cs"/>
                </a:rPr>
                <a:t>International </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Arial"/>
                  <a:ea typeface="+mn-ea"/>
                  <a:cs typeface="+mn-cs"/>
                </a:rPr>
                <a:t>Marketing</a:t>
              </a:r>
            </a:p>
          </p:txBody>
        </p:sp>
      </p:grpSp>
      <p:grpSp>
        <p:nvGrpSpPr>
          <p:cNvPr id="3110" name="Group 3109">
            <a:extLst>
              <a:ext uri="{FF2B5EF4-FFF2-40B4-BE49-F238E27FC236}">
                <a16:creationId xmlns:a16="http://schemas.microsoft.com/office/drawing/2014/main" id="{6B5A24F4-9E7E-B8C3-8FF4-F32F6E7ECE94}"/>
              </a:ext>
            </a:extLst>
          </p:cNvPr>
          <p:cNvGrpSpPr/>
          <p:nvPr/>
        </p:nvGrpSpPr>
        <p:grpSpPr>
          <a:xfrm>
            <a:off x="3744361" y="4924139"/>
            <a:ext cx="1905000" cy="1230085"/>
            <a:chOff x="1835208" y="5510986"/>
            <a:chExt cx="1905000" cy="1230085"/>
          </a:xfrm>
          <a:solidFill>
            <a:schemeClr val="accent1"/>
          </a:solidFill>
        </p:grpSpPr>
        <p:sp>
          <p:nvSpPr>
            <p:cNvPr id="3111" name="Rectangle 3110">
              <a:extLst>
                <a:ext uri="{FF2B5EF4-FFF2-40B4-BE49-F238E27FC236}">
                  <a16:creationId xmlns:a16="http://schemas.microsoft.com/office/drawing/2014/main" id="{C30A83F2-DA23-D635-5E19-FCD6E59CAFD9}"/>
                </a:ext>
              </a:extLst>
            </p:cNvPr>
            <p:cNvSpPr/>
            <p:nvPr/>
          </p:nvSpPr>
          <p:spPr>
            <a:xfrm>
              <a:off x="1835208" y="5510986"/>
              <a:ext cx="1905000" cy="1230085"/>
            </a:xfrm>
            <a:prstGeom prst="rect">
              <a:avLst/>
            </a:prstGeom>
            <a:grpFill/>
            <a:ln w="254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3112" name="TextBox 3111">
              <a:extLst>
                <a:ext uri="{FF2B5EF4-FFF2-40B4-BE49-F238E27FC236}">
                  <a16:creationId xmlns:a16="http://schemas.microsoft.com/office/drawing/2014/main" id="{D8DF2104-949F-5186-1E51-813D188C453E}"/>
                </a:ext>
              </a:extLst>
            </p:cNvPr>
            <p:cNvSpPr txBox="1"/>
            <p:nvPr/>
          </p:nvSpPr>
          <p:spPr>
            <a:xfrm>
              <a:off x="2307448" y="6246017"/>
              <a:ext cx="960519" cy="307777"/>
            </a:xfrm>
            <a:prstGeom prst="rect">
              <a:avLst/>
            </a:prstGeom>
            <a:grp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Arial"/>
                  <a:ea typeface="+mn-ea"/>
                  <a:cs typeface="+mn-cs"/>
                </a:rPr>
                <a:t>Financing</a:t>
              </a:r>
            </a:p>
          </p:txBody>
        </p:sp>
      </p:grpSp>
      <p:grpSp>
        <p:nvGrpSpPr>
          <p:cNvPr id="3113" name="Group 3112">
            <a:extLst>
              <a:ext uri="{FF2B5EF4-FFF2-40B4-BE49-F238E27FC236}">
                <a16:creationId xmlns:a16="http://schemas.microsoft.com/office/drawing/2014/main" id="{1704474A-9680-E647-6CEB-4577E001B38F}"/>
              </a:ext>
            </a:extLst>
          </p:cNvPr>
          <p:cNvGrpSpPr/>
          <p:nvPr/>
        </p:nvGrpSpPr>
        <p:grpSpPr>
          <a:xfrm>
            <a:off x="4913353" y="3365972"/>
            <a:ext cx="1905000" cy="1246465"/>
            <a:chOff x="6203833" y="5540829"/>
            <a:chExt cx="1905000" cy="1246465"/>
          </a:xfrm>
          <a:solidFill>
            <a:schemeClr val="accent1"/>
          </a:solidFill>
        </p:grpSpPr>
        <p:sp>
          <p:nvSpPr>
            <p:cNvPr id="3114" name="Rectangle 3113">
              <a:extLst>
                <a:ext uri="{FF2B5EF4-FFF2-40B4-BE49-F238E27FC236}">
                  <a16:creationId xmlns:a16="http://schemas.microsoft.com/office/drawing/2014/main" id="{5D428AAD-6C63-3FB5-D25C-9CA9842DDB63}"/>
                </a:ext>
              </a:extLst>
            </p:cNvPr>
            <p:cNvSpPr/>
            <p:nvPr/>
          </p:nvSpPr>
          <p:spPr>
            <a:xfrm>
              <a:off x="6203833" y="5540829"/>
              <a:ext cx="1905000" cy="1230085"/>
            </a:xfrm>
            <a:prstGeom prst="rect">
              <a:avLst/>
            </a:prstGeom>
            <a:grpFill/>
            <a:ln w="254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3115" name="TextBox 3114">
              <a:extLst>
                <a:ext uri="{FF2B5EF4-FFF2-40B4-BE49-F238E27FC236}">
                  <a16:creationId xmlns:a16="http://schemas.microsoft.com/office/drawing/2014/main" id="{D16C88F1-1FB5-FDD2-08ED-9AFCA556D23A}"/>
                </a:ext>
              </a:extLst>
            </p:cNvPr>
            <p:cNvSpPr txBox="1"/>
            <p:nvPr/>
          </p:nvSpPr>
          <p:spPr>
            <a:xfrm>
              <a:off x="6312191" y="6048630"/>
              <a:ext cx="1796642" cy="738664"/>
            </a:xfrm>
            <a:prstGeom prst="rect">
              <a:avLst/>
            </a:prstGeom>
            <a:grp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Arial"/>
                  <a:ea typeface="+mn-ea"/>
                  <a:cs typeface="+mn-cs"/>
                </a:rPr>
                <a:t>Federal Funding from Design to Deployment</a:t>
              </a:r>
            </a:p>
          </p:txBody>
        </p:sp>
      </p:grpSp>
      <p:grpSp>
        <p:nvGrpSpPr>
          <p:cNvPr id="3116" name="Group 3115">
            <a:extLst>
              <a:ext uri="{FF2B5EF4-FFF2-40B4-BE49-F238E27FC236}">
                <a16:creationId xmlns:a16="http://schemas.microsoft.com/office/drawing/2014/main" id="{823D97FF-B807-7A7F-8444-480000B8E7CF}"/>
              </a:ext>
            </a:extLst>
          </p:cNvPr>
          <p:cNvGrpSpPr/>
          <p:nvPr/>
        </p:nvGrpSpPr>
        <p:grpSpPr>
          <a:xfrm>
            <a:off x="6010737" y="1676441"/>
            <a:ext cx="1905000" cy="1230085"/>
            <a:chOff x="8370286" y="5540829"/>
            <a:chExt cx="1905000" cy="1230085"/>
          </a:xfrm>
          <a:solidFill>
            <a:schemeClr val="accent1"/>
          </a:solidFill>
        </p:grpSpPr>
        <p:sp>
          <p:nvSpPr>
            <p:cNvPr id="3117" name="Rectangle 3116">
              <a:extLst>
                <a:ext uri="{FF2B5EF4-FFF2-40B4-BE49-F238E27FC236}">
                  <a16:creationId xmlns:a16="http://schemas.microsoft.com/office/drawing/2014/main" id="{505FD818-ADA5-CE6C-B6AF-CAED1D4C9F40}"/>
                </a:ext>
              </a:extLst>
            </p:cNvPr>
            <p:cNvSpPr/>
            <p:nvPr/>
          </p:nvSpPr>
          <p:spPr>
            <a:xfrm>
              <a:off x="8370286" y="5540829"/>
              <a:ext cx="1905000" cy="1230085"/>
            </a:xfrm>
            <a:prstGeom prst="rect">
              <a:avLst/>
            </a:prstGeom>
            <a:grpFill/>
            <a:ln w="254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3118" name="TextBox 3117">
              <a:extLst>
                <a:ext uri="{FF2B5EF4-FFF2-40B4-BE49-F238E27FC236}">
                  <a16:creationId xmlns:a16="http://schemas.microsoft.com/office/drawing/2014/main" id="{54ED31B2-B828-4AED-16C8-C4DEA7763E56}"/>
                </a:ext>
              </a:extLst>
            </p:cNvPr>
            <p:cNvSpPr txBox="1"/>
            <p:nvPr/>
          </p:nvSpPr>
          <p:spPr>
            <a:xfrm>
              <a:off x="8370286" y="6126029"/>
              <a:ext cx="1905000" cy="523220"/>
            </a:xfrm>
            <a:prstGeom prst="rect">
              <a:avLst/>
            </a:prstGeom>
            <a:grp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Arial"/>
                  <a:ea typeface="+mn-ea"/>
                  <a:cs typeface="+mn-cs"/>
                </a:rPr>
                <a:t>Project Management and Construction</a:t>
              </a:r>
            </a:p>
          </p:txBody>
        </p:sp>
      </p:grpSp>
      <p:grpSp>
        <p:nvGrpSpPr>
          <p:cNvPr id="3119" name="Group 3118">
            <a:extLst>
              <a:ext uri="{FF2B5EF4-FFF2-40B4-BE49-F238E27FC236}">
                <a16:creationId xmlns:a16="http://schemas.microsoft.com/office/drawing/2014/main" id="{CB18BE41-F865-40CE-9789-8544D75B3F71}"/>
              </a:ext>
            </a:extLst>
          </p:cNvPr>
          <p:cNvGrpSpPr/>
          <p:nvPr/>
        </p:nvGrpSpPr>
        <p:grpSpPr>
          <a:xfrm>
            <a:off x="6089206" y="4921752"/>
            <a:ext cx="1905000" cy="1230085"/>
            <a:chOff x="8370286" y="5540829"/>
            <a:chExt cx="1905000" cy="1230085"/>
          </a:xfrm>
          <a:solidFill>
            <a:schemeClr val="accent1"/>
          </a:solidFill>
        </p:grpSpPr>
        <p:sp>
          <p:nvSpPr>
            <p:cNvPr id="3120" name="Rectangle 3119">
              <a:extLst>
                <a:ext uri="{FF2B5EF4-FFF2-40B4-BE49-F238E27FC236}">
                  <a16:creationId xmlns:a16="http://schemas.microsoft.com/office/drawing/2014/main" id="{B5D576A7-3B01-893B-3C5C-F5AAF06A8482}"/>
                </a:ext>
              </a:extLst>
            </p:cNvPr>
            <p:cNvSpPr/>
            <p:nvPr/>
          </p:nvSpPr>
          <p:spPr>
            <a:xfrm>
              <a:off x="8370286" y="5540829"/>
              <a:ext cx="1905000" cy="1230085"/>
            </a:xfrm>
            <a:prstGeom prst="rect">
              <a:avLst/>
            </a:prstGeom>
            <a:grpFill/>
            <a:ln w="254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3121" name="TextBox 3120">
              <a:extLst>
                <a:ext uri="{FF2B5EF4-FFF2-40B4-BE49-F238E27FC236}">
                  <a16:creationId xmlns:a16="http://schemas.microsoft.com/office/drawing/2014/main" id="{EB9ADF2E-853D-4262-9F5E-0E793899793A}"/>
                </a:ext>
              </a:extLst>
            </p:cNvPr>
            <p:cNvSpPr txBox="1"/>
            <p:nvPr/>
          </p:nvSpPr>
          <p:spPr>
            <a:xfrm>
              <a:off x="8370286" y="6126029"/>
              <a:ext cx="1905000" cy="523220"/>
            </a:xfrm>
            <a:prstGeom prst="rect">
              <a:avLst/>
            </a:prstGeom>
            <a:grp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Arial"/>
                  <a:ea typeface="+mn-ea"/>
                  <a:cs typeface="+mn-cs"/>
                </a:rPr>
                <a:t>Security and Safeguards</a:t>
              </a:r>
            </a:p>
          </p:txBody>
        </p:sp>
      </p:grpSp>
      <p:grpSp>
        <p:nvGrpSpPr>
          <p:cNvPr id="3122" name="Group 3121">
            <a:extLst>
              <a:ext uri="{FF2B5EF4-FFF2-40B4-BE49-F238E27FC236}">
                <a16:creationId xmlns:a16="http://schemas.microsoft.com/office/drawing/2014/main" id="{55BB1532-76E6-296E-097E-1246902FA7FD}"/>
              </a:ext>
            </a:extLst>
          </p:cNvPr>
          <p:cNvGrpSpPr/>
          <p:nvPr/>
        </p:nvGrpSpPr>
        <p:grpSpPr>
          <a:xfrm>
            <a:off x="7301745" y="3350614"/>
            <a:ext cx="1905000" cy="1230085"/>
            <a:chOff x="8370286" y="5540829"/>
            <a:chExt cx="1905000" cy="1230085"/>
          </a:xfrm>
          <a:solidFill>
            <a:schemeClr val="accent1"/>
          </a:solidFill>
        </p:grpSpPr>
        <p:sp>
          <p:nvSpPr>
            <p:cNvPr id="3123" name="Rectangle 3122">
              <a:extLst>
                <a:ext uri="{FF2B5EF4-FFF2-40B4-BE49-F238E27FC236}">
                  <a16:creationId xmlns:a16="http://schemas.microsoft.com/office/drawing/2014/main" id="{FF154A7C-5264-5D92-1908-5EBE89F461B0}"/>
                </a:ext>
              </a:extLst>
            </p:cNvPr>
            <p:cNvSpPr/>
            <p:nvPr/>
          </p:nvSpPr>
          <p:spPr>
            <a:xfrm>
              <a:off x="8370286" y="5540829"/>
              <a:ext cx="1905000" cy="1230085"/>
            </a:xfrm>
            <a:prstGeom prst="rect">
              <a:avLst/>
            </a:prstGeom>
            <a:grpFill/>
            <a:ln w="254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3124" name="TextBox 3123">
              <a:extLst>
                <a:ext uri="{FF2B5EF4-FFF2-40B4-BE49-F238E27FC236}">
                  <a16:creationId xmlns:a16="http://schemas.microsoft.com/office/drawing/2014/main" id="{CCCBB1E1-D270-E934-4B2A-330F62069CC0}"/>
                </a:ext>
              </a:extLst>
            </p:cNvPr>
            <p:cNvSpPr txBox="1"/>
            <p:nvPr/>
          </p:nvSpPr>
          <p:spPr>
            <a:xfrm>
              <a:off x="8370286" y="6021275"/>
              <a:ext cx="1905000" cy="738664"/>
            </a:xfrm>
            <a:prstGeom prst="rect">
              <a:avLst/>
            </a:prstGeom>
            <a:grp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Arial"/>
                  <a:ea typeface="+mn-ea"/>
                  <a:cs typeface="+mn-cs"/>
                </a:rPr>
                <a:t>Community Engagement and Acceptance</a:t>
              </a:r>
            </a:p>
          </p:txBody>
        </p:sp>
      </p:grpSp>
      <p:grpSp>
        <p:nvGrpSpPr>
          <p:cNvPr id="3125" name="Group 3124">
            <a:extLst>
              <a:ext uri="{FF2B5EF4-FFF2-40B4-BE49-F238E27FC236}">
                <a16:creationId xmlns:a16="http://schemas.microsoft.com/office/drawing/2014/main" id="{186345A9-D825-7913-9908-5E25205290DA}"/>
              </a:ext>
            </a:extLst>
          </p:cNvPr>
          <p:cNvGrpSpPr/>
          <p:nvPr/>
        </p:nvGrpSpPr>
        <p:grpSpPr>
          <a:xfrm>
            <a:off x="2524961" y="3354903"/>
            <a:ext cx="1905000" cy="1230085"/>
            <a:chOff x="8370286" y="5540829"/>
            <a:chExt cx="1905000" cy="1230085"/>
          </a:xfrm>
          <a:solidFill>
            <a:schemeClr val="accent1"/>
          </a:solidFill>
        </p:grpSpPr>
        <p:sp>
          <p:nvSpPr>
            <p:cNvPr id="3126" name="Rectangle 3125">
              <a:extLst>
                <a:ext uri="{FF2B5EF4-FFF2-40B4-BE49-F238E27FC236}">
                  <a16:creationId xmlns:a16="http://schemas.microsoft.com/office/drawing/2014/main" id="{84D9A1D2-F0FF-EDA5-AB3C-4E1280BD70F3}"/>
                </a:ext>
              </a:extLst>
            </p:cNvPr>
            <p:cNvSpPr/>
            <p:nvPr/>
          </p:nvSpPr>
          <p:spPr>
            <a:xfrm>
              <a:off x="8370286" y="5540829"/>
              <a:ext cx="1905000" cy="1230085"/>
            </a:xfrm>
            <a:prstGeom prst="rect">
              <a:avLst/>
            </a:prstGeom>
            <a:grpFill/>
            <a:ln w="254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3127" name="TextBox 3126">
              <a:extLst>
                <a:ext uri="{FF2B5EF4-FFF2-40B4-BE49-F238E27FC236}">
                  <a16:creationId xmlns:a16="http://schemas.microsoft.com/office/drawing/2014/main" id="{C3BB65EC-BA2D-0C38-C27B-BD3D070EC4DF}"/>
                </a:ext>
              </a:extLst>
            </p:cNvPr>
            <p:cNvSpPr txBox="1"/>
            <p:nvPr/>
          </p:nvSpPr>
          <p:spPr>
            <a:xfrm>
              <a:off x="8370286" y="6075705"/>
              <a:ext cx="1905000" cy="523220"/>
            </a:xfrm>
            <a:prstGeom prst="rect">
              <a:avLst/>
            </a:prstGeom>
            <a:grp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Arial"/>
                  <a:ea typeface="+mn-ea"/>
                  <a:cs typeface="+mn-cs"/>
                </a:rPr>
                <a:t>Alternative </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Arial"/>
                  <a:ea typeface="+mn-ea"/>
                  <a:cs typeface="+mn-cs"/>
                </a:rPr>
                <a:t>Applications</a:t>
              </a:r>
            </a:p>
          </p:txBody>
        </p:sp>
      </p:grpSp>
      <p:pic>
        <p:nvPicPr>
          <p:cNvPr id="3128" name="Graphic 3127">
            <a:extLst>
              <a:ext uri="{FF2B5EF4-FFF2-40B4-BE49-F238E27FC236}">
                <a16:creationId xmlns:a16="http://schemas.microsoft.com/office/drawing/2014/main" id="{9D293E96-FB4F-67B5-E558-6424B6A66E97}"/>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2017823" y="1696723"/>
            <a:ext cx="657303" cy="657303"/>
          </a:xfrm>
          <a:prstGeom prst="rect">
            <a:avLst/>
          </a:prstGeom>
        </p:spPr>
      </p:pic>
      <p:pic>
        <p:nvPicPr>
          <p:cNvPr id="3129" name="Graphic 3128">
            <a:extLst>
              <a:ext uri="{FF2B5EF4-FFF2-40B4-BE49-F238E27FC236}">
                <a16:creationId xmlns:a16="http://schemas.microsoft.com/office/drawing/2014/main" id="{AB66578D-50ED-721D-B34F-14D1C3F5BE4A}"/>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4347137" y="1696723"/>
            <a:ext cx="715406" cy="715406"/>
          </a:xfrm>
          <a:prstGeom prst="rect">
            <a:avLst/>
          </a:prstGeom>
        </p:spPr>
      </p:pic>
      <p:pic>
        <p:nvPicPr>
          <p:cNvPr id="3130" name="Graphic 3129">
            <a:extLst>
              <a:ext uri="{FF2B5EF4-FFF2-40B4-BE49-F238E27FC236}">
                <a16:creationId xmlns:a16="http://schemas.microsoft.com/office/drawing/2014/main" id="{E82C9A61-9BD7-0B8A-CA4C-7335CBE58DCC}"/>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6603376" y="1747522"/>
            <a:ext cx="551280" cy="551280"/>
          </a:xfrm>
          <a:prstGeom prst="rect">
            <a:avLst/>
          </a:prstGeom>
        </p:spPr>
      </p:pic>
      <p:grpSp>
        <p:nvGrpSpPr>
          <p:cNvPr id="3131" name="Group 3130">
            <a:extLst>
              <a:ext uri="{FF2B5EF4-FFF2-40B4-BE49-F238E27FC236}">
                <a16:creationId xmlns:a16="http://schemas.microsoft.com/office/drawing/2014/main" id="{F6F24873-5725-B99C-D008-CCEF2E6C803F}"/>
              </a:ext>
            </a:extLst>
          </p:cNvPr>
          <p:cNvGrpSpPr/>
          <p:nvPr/>
        </p:nvGrpSpPr>
        <p:grpSpPr>
          <a:xfrm>
            <a:off x="8292905" y="1674808"/>
            <a:ext cx="1905000" cy="1230085"/>
            <a:chOff x="8139422" y="1693287"/>
            <a:chExt cx="1905000" cy="1230085"/>
          </a:xfrm>
        </p:grpSpPr>
        <p:sp>
          <p:nvSpPr>
            <p:cNvPr id="3132" name="Rectangle 3131">
              <a:extLst>
                <a:ext uri="{FF2B5EF4-FFF2-40B4-BE49-F238E27FC236}">
                  <a16:creationId xmlns:a16="http://schemas.microsoft.com/office/drawing/2014/main" id="{AB9F93C1-6278-9622-DA89-9D36EF18CE89}"/>
                </a:ext>
              </a:extLst>
            </p:cNvPr>
            <p:cNvSpPr/>
            <p:nvPr/>
          </p:nvSpPr>
          <p:spPr>
            <a:xfrm>
              <a:off x="8139422" y="1693287"/>
              <a:ext cx="1905000" cy="1230085"/>
            </a:xfrm>
            <a:prstGeom prst="rect">
              <a:avLst/>
            </a:prstGeom>
            <a:solidFill>
              <a:schemeClr val="accent1"/>
            </a:solidFill>
            <a:ln w="254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3133" name="TextBox 3132">
              <a:extLst>
                <a:ext uri="{FF2B5EF4-FFF2-40B4-BE49-F238E27FC236}">
                  <a16:creationId xmlns:a16="http://schemas.microsoft.com/office/drawing/2014/main" id="{B1B5491D-C2CC-40FD-92F6-BACD54E981BE}"/>
                </a:ext>
              </a:extLst>
            </p:cNvPr>
            <p:cNvSpPr txBox="1"/>
            <p:nvPr/>
          </p:nvSpPr>
          <p:spPr>
            <a:xfrm>
              <a:off x="8139422" y="2431464"/>
              <a:ext cx="1905000" cy="307777"/>
            </a:xfrm>
            <a:prstGeom prst="rect">
              <a:avLst/>
            </a:prstGeom>
            <a:solidFill>
              <a:schemeClr val="accent1"/>
            </a:solid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Arial"/>
                  <a:ea typeface="+mn-ea"/>
                  <a:cs typeface="+mn-cs"/>
                </a:rPr>
                <a:t>Workforce</a:t>
              </a:r>
            </a:p>
          </p:txBody>
        </p:sp>
        <p:pic>
          <p:nvPicPr>
            <p:cNvPr id="3134" name="Graphic 3133">
              <a:extLst>
                <a:ext uri="{FF2B5EF4-FFF2-40B4-BE49-F238E27FC236}">
                  <a16:creationId xmlns:a16="http://schemas.microsoft.com/office/drawing/2014/main" id="{865F572E-0C30-E792-D711-1B28194A8FCE}"/>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8789277" y="1768166"/>
              <a:ext cx="617153" cy="617153"/>
            </a:xfrm>
            <a:prstGeom prst="rect">
              <a:avLst/>
            </a:prstGeom>
          </p:spPr>
        </p:pic>
      </p:grpSp>
      <p:pic>
        <p:nvPicPr>
          <p:cNvPr id="3135" name="Graphic 3134">
            <a:extLst>
              <a:ext uri="{FF2B5EF4-FFF2-40B4-BE49-F238E27FC236}">
                <a16:creationId xmlns:a16="http://schemas.microsoft.com/office/drawing/2014/main" id="{21512F74-49A7-8937-52E1-514DE90F33D9}"/>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3223175" y="3378772"/>
            <a:ext cx="613752" cy="613752"/>
          </a:xfrm>
          <a:prstGeom prst="rect">
            <a:avLst/>
          </a:prstGeom>
        </p:spPr>
      </p:pic>
      <p:pic>
        <p:nvPicPr>
          <p:cNvPr id="3136" name="Graphic 3135">
            <a:extLst>
              <a:ext uri="{FF2B5EF4-FFF2-40B4-BE49-F238E27FC236}">
                <a16:creationId xmlns:a16="http://schemas.microsoft.com/office/drawing/2014/main" id="{404CDA70-FF6B-6978-3E75-10A148730785}"/>
              </a:ext>
            </a:extLst>
          </p:cNvPr>
          <p:cNvPicPr>
            <a:picLocks noChangeAspect="1"/>
          </p:cNvPicPr>
          <p:nvPr/>
        </p:nvPicPr>
        <p:blipFill>
          <a:blip r:embed="rId15" cstate="print">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5617664" y="3413474"/>
            <a:ext cx="462042" cy="462042"/>
          </a:xfrm>
          <a:prstGeom prst="rect">
            <a:avLst/>
          </a:prstGeom>
        </p:spPr>
      </p:pic>
      <p:pic>
        <p:nvPicPr>
          <p:cNvPr id="3137" name="Graphic 3136">
            <a:extLst>
              <a:ext uri="{FF2B5EF4-FFF2-40B4-BE49-F238E27FC236}">
                <a16:creationId xmlns:a16="http://schemas.microsoft.com/office/drawing/2014/main" id="{CE9C6013-372A-C50C-3385-DC8C93DE1911}"/>
              </a:ext>
            </a:extLst>
          </p:cNvPr>
          <p:cNvPicPr>
            <a:picLocks noChangeAspect="1"/>
          </p:cNvPicPr>
          <p:nvPr/>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7915737" y="3344257"/>
            <a:ext cx="640934" cy="640934"/>
          </a:xfrm>
          <a:prstGeom prst="rect">
            <a:avLst/>
          </a:prstGeom>
        </p:spPr>
      </p:pic>
      <p:pic>
        <p:nvPicPr>
          <p:cNvPr id="3138" name="Graphic 3137">
            <a:extLst>
              <a:ext uri="{FF2B5EF4-FFF2-40B4-BE49-F238E27FC236}">
                <a16:creationId xmlns:a16="http://schemas.microsoft.com/office/drawing/2014/main" id="{625E8908-3E41-6095-1890-EE72B4DFD790}"/>
              </a:ext>
            </a:extLst>
          </p:cNvPr>
          <p:cNvPicPr>
            <a:picLocks noChangeAspect="1"/>
          </p:cNvPicPr>
          <p:nvPr/>
        </p:nvPicPr>
        <p:blipFill>
          <a:blip r:embed="rId19">
            <a:extLst>
              <a:ext uri="{28A0092B-C50C-407E-A947-70E740481C1C}">
                <a14:useLocalDpi xmlns:a14="http://schemas.microsoft.com/office/drawing/2010/main" val="0"/>
              </a:ext>
              <a:ext uri="{96DAC541-7B7A-43D3-8B79-37D633B846F1}">
                <asvg:svgBlip xmlns:asvg="http://schemas.microsoft.com/office/drawing/2016/SVG/main" r:embed="rId20"/>
              </a:ext>
            </a:extLst>
          </a:blip>
          <a:stretch>
            <a:fillRect/>
          </a:stretch>
        </p:blipFill>
        <p:spPr>
          <a:xfrm>
            <a:off x="4337029" y="4980660"/>
            <a:ext cx="688077" cy="688077"/>
          </a:xfrm>
          <a:prstGeom prst="rect">
            <a:avLst/>
          </a:prstGeom>
        </p:spPr>
      </p:pic>
      <p:pic>
        <p:nvPicPr>
          <p:cNvPr id="3139" name="Graphic 3138">
            <a:extLst>
              <a:ext uri="{FF2B5EF4-FFF2-40B4-BE49-F238E27FC236}">
                <a16:creationId xmlns:a16="http://schemas.microsoft.com/office/drawing/2014/main" id="{73990806-1AA6-4C43-E349-788EB35AD237}"/>
              </a:ext>
            </a:extLst>
          </p:cNvPr>
          <p:cNvPicPr>
            <a:picLocks noChangeAspect="1"/>
          </p:cNvPicPr>
          <p:nvPr/>
        </p:nvPicPr>
        <p:blipFill>
          <a:blip r:embed="rId21">
            <a:extLst>
              <a:ext uri="{28A0092B-C50C-407E-A947-70E740481C1C}">
                <a14:useLocalDpi xmlns:a14="http://schemas.microsoft.com/office/drawing/2010/main" val="0"/>
              </a:ext>
              <a:ext uri="{96DAC541-7B7A-43D3-8B79-37D633B846F1}">
                <asvg:svgBlip xmlns:asvg="http://schemas.microsoft.com/office/drawing/2016/SVG/main" r:embed="rId22"/>
              </a:ext>
            </a:extLst>
          </a:blip>
          <a:stretch>
            <a:fillRect/>
          </a:stretch>
        </p:blipFill>
        <p:spPr>
          <a:xfrm>
            <a:off x="6778525" y="5013574"/>
            <a:ext cx="523220" cy="523220"/>
          </a:xfrm>
          <a:prstGeom prst="rect">
            <a:avLst/>
          </a:prstGeom>
        </p:spPr>
      </p:pic>
      <p:pic>
        <p:nvPicPr>
          <p:cNvPr id="3140" name="Graphic 3139">
            <a:extLst>
              <a:ext uri="{FF2B5EF4-FFF2-40B4-BE49-F238E27FC236}">
                <a16:creationId xmlns:a16="http://schemas.microsoft.com/office/drawing/2014/main" id="{520B6F09-F089-5D3D-F025-E73D9501629D}"/>
              </a:ext>
            </a:extLst>
          </p:cNvPr>
          <p:cNvPicPr>
            <a:picLocks noChangeAspect="1"/>
          </p:cNvPicPr>
          <p:nvPr/>
        </p:nvPicPr>
        <p:blipFill>
          <a:blip r:embed="rId19">
            <a:extLst>
              <a:ext uri="{28A0092B-C50C-407E-A947-70E740481C1C}">
                <a14:useLocalDpi xmlns:a14="http://schemas.microsoft.com/office/drawing/2010/main" val="0"/>
              </a:ext>
              <a:ext uri="{96DAC541-7B7A-43D3-8B79-37D633B846F1}">
                <asvg:svgBlip xmlns:asvg="http://schemas.microsoft.com/office/drawing/2016/SVG/main" r:embed="rId20"/>
              </a:ext>
            </a:extLst>
          </a:blip>
          <a:stretch>
            <a:fillRect/>
          </a:stretch>
        </p:blipFill>
        <p:spPr>
          <a:xfrm>
            <a:off x="8901366" y="4889557"/>
            <a:ext cx="688077" cy="688077"/>
          </a:xfrm>
          <a:prstGeom prst="rect">
            <a:avLst/>
          </a:prstGeom>
        </p:spPr>
      </p:pic>
    </p:spTree>
    <p:extLst>
      <p:ext uri="{BB962C8B-B14F-4D97-AF65-F5344CB8AC3E}">
        <p14:creationId xmlns:p14="http://schemas.microsoft.com/office/powerpoint/2010/main" val="2565908220"/>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Placeholder 4"/>
          <p:cNvPicPr>
            <a:picLocks noGrp="1" noChangeAspect="1"/>
          </p:cNvPicPr>
          <p:nvPr>
            <p:ph type="pic" sz="quarter" idx="13"/>
          </p:nvPr>
        </p:nvPicPr>
        <p:blipFill>
          <a:blip r:embed="rId3">
            <a:extLst>
              <a:ext uri="{28A0092B-C50C-407E-A947-70E740481C1C}">
                <a14:useLocalDpi xmlns:a14="http://schemas.microsoft.com/office/drawing/2010/main" val="0"/>
              </a:ext>
            </a:extLst>
          </a:blip>
          <a:srcRect t="13857" b="13857"/>
          <a:stretch/>
        </p:blipFill>
        <p:spPr/>
      </p:pic>
      <p:sp>
        <p:nvSpPr>
          <p:cNvPr id="3" name="Text Placeholder 2"/>
          <p:cNvSpPr>
            <a:spLocks noGrp="1"/>
          </p:cNvSpPr>
          <p:nvPr>
            <p:ph type="body" sz="quarter" idx="14"/>
          </p:nvPr>
        </p:nvSpPr>
        <p:spPr/>
        <p:txBody>
          <a:bodyPr/>
          <a:lstStyle/>
          <a:p>
            <a:pPr algn="l"/>
            <a:r>
              <a:rPr lang="en-US" sz="2400"/>
              <a:t>Given the urgent need to respond to climate change, </a:t>
            </a:r>
            <a:r>
              <a:rPr lang="en-US" sz="2400" b="1"/>
              <a:t>it is important to advance the commercialization of all low-carbon technologies</a:t>
            </a:r>
            <a:r>
              <a:rPr lang="en-US" sz="2400"/>
              <a:t>.  In order for advanced reactors to contribute significantly to a decarbonized energy system, there are many challenges that must be overcome. </a:t>
            </a:r>
          </a:p>
          <a:p>
            <a:pPr marL="0" indent="0" algn="l">
              <a:buNone/>
            </a:pPr>
            <a:endParaRPr lang="en-US" sz="2400"/>
          </a:p>
          <a:p>
            <a:pPr marL="0" indent="0" algn="l">
              <a:buNone/>
            </a:pPr>
            <a:r>
              <a:rPr lang="en-US" sz="2400"/>
              <a:t>This will require </a:t>
            </a:r>
            <a:r>
              <a:rPr lang="en-US" sz="2400" b="1"/>
              <a:t>sustained effort and robust financial support</a:t>
            </a:r>
            <a:r>
              <a:rPr lang="en-US" sz="2400"/>
              <a:t> by the Congress, federal agencies, the nuclear industry, and the financial community. </a:t>
            </a:r>
          </a:p>
        </p:txBody>
      </p:sp>
      <p:sp>
        <p:nvSpPr>
          <p:cNvPr id="2" name="Slide Number Placeholder 1"/>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46D584E9-81E4-493B-AD1D-A460B5445953}" type="slidenum">
              <a:rPr kumimoji="0" lang="en-US" sz="1267" b="0" i="0" u="none" strike="noStrike" kern="1200" cap="none" spc="0" normalizeH="0" baseline="0" noProof="0" smtClean="0">
                <a:ln>
                  <a:noFill/>
                </a:ln>
                <a:solidFill>
                  <a:srgbClr val="7F7F7F"/>
                </a:solidFill>
                <a:effectLst/>
                <a:uLnTx/>
                <a:uFillTx/>
                <a:latin typeface="Arial"/>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6</a:t>
            </a:fld>
            <a:endParaRPr kumimoji="0" lang="en-US" sz="1267" b="0" i="0" u="none" strike="noStrike" kern="1200" cap="none" spc="0" normalizeH="0" baseline="0" noProof="0">
              <a:ln>
                <a:noFill/>
              </a:ln>
              <a:solidFill>
                <a:srgbClr val="7F7F7F"/>
              </a:solidFill>
              <a:effectLst/>
              <a:uLnTx/>
              <a:uFillTx/>
              <a:latin typeface="Arial"/>
              <a:ea typeface="+mn-ea"/>
              <a:cs typeface="+mn-cs"/>
            </a:endParaRPr>
          </a:p>
        </p:txBody>
      </p:sp>
      <p:pic>
        <p:nvPicPr>
          <p:cNvPr id="4" name="Picture 3" descr="Text&#10;&#10;Description automatically generated">
            <a:extLst>
              <a:ext uri="{FF2B5EF4-FFF2-40B4-BE49-F238E27FC236}">
                <a16:creationId xmlns:a16="http://schemas.microsoft.com/office/drawing/2014/main" id="{9EF75B43-CED5-D928-CB10-7AF52539CC6E}"/>
              </a:ext>
            </a:extLst>
          </p:cNvPr>
          <p:cNvPicPr>
            <a:picLocks noChangeAspect="1"/>
          </p:cNvPicPr>
          <p:nvPr/>
        </p:nvPicPr>
        <p:blipFill>
          <a:blip r:embed="rId4"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2521643" y="6154224"/>
            <a:ext cx="1337860" cy="769376"/>
          </a:xfrm>
          <a:prstGeom prst="rect">
            <a:avLst/>
          </a:prstGeom>
        </p:spPr>
      </p:pic>
      <p:sp>
        <p:nvSpPr>
          <p:cNvPr id="6" name="Rectangle 5">
            <a:extLst>
              <a:ext uri="{FF2B5EF4-FFF2-40B4-BE49-F238E27FC236}">
                <a16:creationId xmlns:a16="http://schemas.microsoft.com/office/drawing/2014/main" id="{A2D87A5B-EF13-02B3-10F5-C8AD6F3397DB}"/>
              </a:ext>
            </a:extLst>
          </p:cNvPr>
          <p:cNvSpPr/>
          <p:nvPr/>
        </p:nvSpPr>
        <p:spPr>
          <a:xfrm>
            <a:off x="11593015" y="3329354"/>
            <a:ext cx="596900" cy="352864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Tree>
    <p:extLst>
      <p:ext uri="{BB962C8B-B14F-4D97-AF65-F5344CB8AC3E}">
        <p14:creationId xmlns:p14="http://schemas.microsoft.com/office/powerpoint/2010/main" val="2522421146"/>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Title 5">
            <a:extLst>
              <a:ext uri="{FF2B5EF4-FFF2-40B4-BE49-F238E27FC236}">
                <a16:creationId xmlns:a16="http://schemas.microsoft.com/office/drawing/2014/main" id="{7E9EEA3E-45E3-0239-E69A-BE3F5FBC9AB7}"/>
              </a:ext>
            </a:extLst>
          </p:cNvPr>
          <p:cNvSpPr>
            <a:spLocks noGrp="1" noChangeArrowheads="1"/>
          </p:cNvSpPr>
          <p:nvPr>
            <p:ph type="ctrTitle"/>
          </p:nvPr>
        </p:nvSpPr>
        <p:spPr>
          <a:xfrm>
            <a:off x="609600" y="1066800"/>
            <a:ext cx="10165976" cy="2590800"/>
          </a:xfrm>
        </p:spPr>
        <p:txBody>
          <a:bodyPr/>
          <a:lstStyle/>
          <a:p>
            <a:pPr algn="l"/>
            <a:r>
              <a:rPr lang="en-US" altLang="en-US" sz="5400" b="1">
                <a:solidFill>
                  <a:schemeClr val="bg1"/>
                </a:solidFill>
              </a:rPr>
              <a:t>Briefing on the National Academies of Science Fuel Cycle  Report</a:t>
            </a:r>
          </a:p>
        </p:txBody>
      </p:sp>
      <p:sp>
        <p:nvSpPr>
          <p:cNvPr id="20483" name="Subtitle 6">
            <a:extLst>
              <a:ext uri="{FF2B5EF4-FFF2-40B4-BE49-F238E27FC236}">
                <a16:creationId xmlns:a16="http://schemas.microsoft.com/office/drawing/2014/main" id="{681152D8-4998-8D5B-9854-96A67EBE53DE}"/>
              </a:ext>
            </a:extLst>
          </p:cNvPr>
          <p:cNvSpPr>
            <a:spLocks noGrp="1" noChangeArrowheads="1"/>
          </p:cNvSpPr>
          <p:nvPr>
            <p:ph type="subTitle" idx="1"/>
          </p:nvPr>
        </p:nvSpPr>
        <p:spPr>
          <a:xfrm>
            <a:off x="609600" y="3276600"/>
            <a:ext cx="8816975" cy="2209800"/>
          </a:xfrm>
        </p:spPr>
        <p:txBody>
          <a:bodyPr/>
          <a:lstStyle/>
          <a:p>
            <a:pPr algn="l"/>
            <a:endParaRPr lang="en-US" altLang="en-US" sz="2000" b="1">
              <a:solidFill>
                <a:schemeClr val="bg1"/>
              </a:solidFill>
              <a:cs typeface="Calibri"/>
            </a:endParaRPr>
          </a:p>
          <a:p>
            <a:pPr algn="l"/>
            <a:endParaRPr lang="en-US" altLang="en-US" sz="2000" b="1">
              <a:solidFill>
                <a:schemeClr val="bg1"/>
              </a:solidFill>
              <a:cs typeface="Calibri"/>
            </a:endParaRPr>
          </a:p>
          <a:p>
            <a:pPr algn="l"/>
            <a:r>
              <a:rPr lang="en-US" altLang="en-US" b="1">
                <a:solidFill>
                  <a:schemeClr val="bg1"/>
                </a:solidFill>
                <a:cs typeface="Calibri"/>
              </a:rPr>
              <a:t>Paul Dickman</a:t>
            </a:r>
            <a:endParaRPr lang="en-US">
              <a:solidFill>
                <a:schemeClr val="bg1"/>
              </a:solidFill>
            </a:endParaRPr>
          </a:p>
          <a:p>
            <a:pPr algn="l"/>
            <a:endParaRPr lang="en-US" altLang="en-US" b="1">
              <a:solidFill>
                <a:schemeClr val="bg1"/>
              </a:solidFill>
              <a:cs typeface="Calibri"/>
            </a:endParaRPr>
          </a:p>
          <a:p>
            <a:pPr algn="l"/>
            <a:r>
              <a:rPr lang="en-US" altLang="en-US" sz="2000" b="1" i="1">
                <a:solidFill>
                  <a:schemeClr val="bg1"/>
                </a:solidFill>
              </a:rPr>
              <a:t>				</a:t>
            </a:r>
            <a:endParaRPr lang="en-US" altLang="en-US" sz="2000" b="1">
              <a:solidFill>
                <a:schemeClr val="bg1"/>
              </a:solidFill>
            </a:endParaRPr>
          </a:p>
        </p:txBody>
      </p:sp>
    </p:spTree>
    <p:extLst>
      <p:ext uri="{BB962C8B-B14F-4D97-AF65-F5344CB8AC3E}">
        <p14:creationId xmlns:p14="http://schemas.microsoft.com/office/powerpoint/2010/main" val="2138765917"/>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Placeholder 8"/>
          <p:cNvPicPr>
            <a:picLocks noGrp="1" noChangeAspect="1"/>
          </p:cNvPicPr>
          <p:nvPr>
            <p:ph type="pic" sz="quarter" idx="11"/>
          </p:nvPr>
        </p:nvPicPr>
        <p:blipFill>
          <a:blip r:embed="rId2">
            <a:extLst>
              <a:ext uri="{28A0092B-C50C-407E-A947-70E740481C1C}">
                <a14:useLocalDpi xmlns:a14="http://schemas.microsoft.com/office/drawing/2010/main" val="0"/>
              </a:ext>
            </a:extLst>
          </a:blip>
          <a:srcRect t="16818" b="16818"/>
          <a:stretch>
            <a:fillRect/>
          </a:stretch>
        </p:blipFill>
        <p:spPr/>
      </p:pic>
      <p:sp>
        <p:nvSpPr>
          <p:cNvPr id="5" name="Text Placeholder 4"/>
          <p:cNvSpPr>
            <a:spLocks noGrp="1"/>
          </p:cNvSpPr>
          <p:nvPr>
            <p:ph type="body" sz="quarter" idx="10"/>
          </p:nvPr>
        </p:nvSpPr>
        <p:spPr>
          <a:xfrm>
            <a:off x="0" y="1563078"/>
            <a:ext cx="7888778" cy="5294921"/>
          </a:xfrm>
        </p:spPr>
        <p:txBody>
          <a:bodyPr/>
          <a:lstStyle/>
          <a:p>
            <a:r>
              <a:rPr lang="en-US" sz="3600" b="1"/>
              <a:t>Merits and Viability of Different Nuclear Fuel Cycles and Technology Options and the Waste Aspects of Advanced Nuclear Reactors</a:t>
            </a:r>
            <a:endParaRPr lang="en-US" sz="3600"/>
          </a:p>
        </p:txBody>
      </p:sp>
      <p:sp>
        <p:nvSpPr>
          <p:cNvPr id="4" name="Subtitle 3"/>
          <p:cNvSpPr>
            <a:spLocks noGrp="1"/>
          </p:cNvSpPr>
          <p:nvPr>
            <p:ph type="subTitle" idx="1"/>
          </p:nvPr>
        </p:nvSpPr>
        <p:spPr>
          <a:xfrm>
            <a:off x="637734" y="5127193"/>
            <a:ext cx="6461760" cy="1304524"/>
          </a:xfrm>
        </p:spPr>
        <p:txBody>
          <a:bodyPr/>
          <a:lstStyle/>
          <a:p>
            <a:r>
              <a:rPr lang="en-US" sz="1500"/>
              <a:t>Janice Dunn Lee, Chair </a:t>
            </a:r>
          </a:p>
          <a:p>
            <a:r>
              <a:rPr lang="en-US" sz="1500"/>
              <a:t>Patricia A. Baisden, Vice Chair</a:t>
            </a:r>
          </a:p>
          <a:p>
            <a:r>
              <a:rPr lang="en-US" sz="1500"/>
              <a:t>Paul Dickman, Committee Member </a:t>
            </a:r>
          </a:p>
          <a:p>
            <a:r>
              <a:rPr lang="en-US" sz="1500"/>
              <a:t>Charles D. Ferguson, Study Director </a:t>
            </a:r>
          </a:p>
        </p:txBody>
      </p:sp>
      <p:sp>
        <p:nvSpPr>
          <p:cNvPr id="7" name="Text Placeholder 6"/>
          <p:cNvSpPr>
            <a:spLocks noGrp="1"/>
          </p:cNvSpPr>
          <p:nvPr>
            <p:ph type="body" sz="quarter" idx="12"/>
          </p:nvPr>
        </p:nvSpPr>
        <p:spPr>
          <a:xfrm>
            <a:off x="7995920" y="6515586"/>
            <a:ext cx="3222413" cy="156133"/>
          </a:xfrm>
        </p:spPr>
        <p:txBody>
          <a:bodyPr/>
          <a:lstStyle/>
          <a:p>
            <a:r>
              <a:rPr lang="en-US"/>
              <a:t>Consensus Study Report Briefing</a:t>
            </a:r>
          </a:p>
        </p:txBody>
      </p:sp>
      <p:pic>
        <p:nvPicPr>
          <p:cNvPr id="11" name="Picture 10"/>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0" y="-59183"/>
            <a:ext cx="5221235" cy="1463043"/>
          </a:xfrm>
          <a:prstGeom prst="rect">
            <a:avLst/>
          </a:prstGeom>
        </p:spPr>
      </p:pic>
    </p:spTree>
    <p:extLst>
      <p:ext uri="{BB962C8B-B14F-4D97-AF65-F5344CB8AC3E}">
        <p14:creationId xmlns:p14="http://schemas.microsoft.com/office/powerpoint/2010/main" val="898790602"/>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Placeholder 8"/>
          <p:cNvPicPr>
            <a:picLocks noGrp="1" noChangeAspect="1"/>
          </p:cNvPicPr>
          <p:nvPr>
            <p:ph type="pic" sz="quarter" idx="13"/>
          </p:nvPr>
        </p:nvPicPr>
        <p:blipFill>
          <a:blip r:embed="rId3">
            <a:extLst>
              <a:ext uri="{28A0092B-C50C-407E-A947-70E740481C1C}">
                <a14:useLocalDpi xmlns:a14="http://schemas.microsoft.com/office/drawing/2010/main" val="0"/>
              </a:ext>
            </a:extLst>
          </a:blip>
          <a:srcRect t="32411" b="32411"/>
          <a:stretch>
            <a:fillRect/>
          </a:stretch>
        </p:blipFill>
        <p:spPr/>
      </p:pic>
      <p:sp>
        <p:nvSpPr>
          <p:cNvPr id="3" name="Text Placeholder 2"/>
          <p:cNvSpPr>
            <a:spLocks noGrp="1"/>
          </p:cNvSpPr>
          <p:nvPr>
            <p:ph type="body" sz="quarter" idx="14"/>
          </p:nvPr>
        </p:nvSpPr>
        <p:spPr/>
        <p:txBody>
          <a:bodyPr/>
          <a:lstStyle/>
          <a:p>
            <a:endParaRPr lang="en-US"/>
          </a:p>
          <a:p>
            <a:r>
              <a:rPr lang="en-US"/>
              <a:t>Statement of task:</a:t>
            </a:r>
          </a:p>
          <a:p>
            <a:r>
              <a:rPr lang="en-US" sz="3200">
                <a:solidFill>
                  <a:schemeClr val="accent2"/>
                </a:solidFill>
                <a:effectLst/>
                <a:latin typeface="Times New Roman" panose="02020603050405020304" pitchFamily="18" charset="0"/>
                <a:ea typeface="Calibri" panose="020F0502020204030204" pitchFamily="34" charset="0"/>
              </a:rPr>
              <a:t>Evaluate</a:t>
            </a:r>
            <a:r>
              <a:rPr lang="en-US" sz="3200">
                <a:effectLst/>
                <a:latin typeface="Times New Roman" panose="02020603050405020304" pitchFamily="18" charset="0"/>
                <a:ea typeface="Calibri" panose="020F0502020204030204" pitchFamily="34" charset="0"/>
              </a:rPr>
              <a:t> the merits and viability of </a:t>
            </a:r>
            <a:r>
              <a:rPr lang="en-US">
                <a:solidFill>
                  <a:schemeClr val="accent2"/>
                </a:solidFill>
                <a:latin typeface="Times New Roman" panose="02020603050405020304" pitchFamily="18" charset="0"/>
              </a:rPr>
              <a:t>different nuclear fuel cycles</a:t>
            </a:r>
            <a:r>
              <a:rPr lang="en-US" sz="3200">
                <a:effectLst/>
                <a:latin typeface="Times New Roman" panose="02020603050405020304" pitchFamily="18" charset="0"/>
                <a:ea typeface="Calibri" panose="020F0502020204030204" pitchFamily="34" charset="0"/>
              </a:rPr>
              <a:t>, including ones that may use </a:t>
            </a:r>
            <a:r>
              <a:rPr lang="en-US" sz="3200">
                <a:solidFill>
                  <a:schemeClr val="accent2"/>
                </a:solidFill>
                <a:effectLst/>
                <a:latin typeface="Times New Roman" panose="02020603050405020304" pitchFamily="18" charset="0"/>
                <a:ea typeface="Calibri" panose="020F0502020204030204" pitchFamily="34" charset="0"/>
              </a:rPr>
              <a:t>reprocessing</a:t>
            </a:r>
            <a:r>
              <a:rPr lang="en-US" sz="3200">
                <a:effectLst/>
                <a:latin typeface="Times New Roman" panose="02020603050405020304" pitchFamily="18" charset="0"/>
                <a:ea typeface="Calibri" panose="020F0502020204030204" pitchFamily="34" charset="0"/>
              </a:rPr>
              <a:t>, for both </a:t>
            </a:r>
            <a:r>
              <a:rPr lang="en-US" sz="3200">
                <a:solidFill>
                  <a:schemeClr val="accent2"/>
                </a:solidFill>
                <a:effectLst/>
                <a:latin typeface="Times New Roman" panose="02020603050405020304" pitchFamily="18" charset="0"/>
                <a:ea typeface="Calibri" panose="020F0502020204030204" pitchFamily="34" charset="0"/>
              </a:rPr>
              <a:t>existing and advanced </a:t>
            </a:r>
            <a:r>
              <a:rPr lang="en-US" sz="3200">
                <a:effectLst/>
                <a:latin typeface="Times New Roman" panose="02020603050405020304" pitchFamily="18" charset="0"/>
                <a:ea typeface="Calibri" panose="020F0502020204030204" pitchFamily="34" charset="0"/>
              </a:rPr>
              <a:t>reactor technology. </a:t>
            </a:r>
            <a:endParaRPr lang="en-US" sz="3200"/>
          </a:p>
        </p:txBody>
      </p:sp>
      <p:sp>
        <p:nvSpPr>
          <p:cNvPr id="2" name="Slide Number Placeholder 1"/>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F687C33-47E0-407C-B61F-DB8DDD78F4C7}" type="slidenum">
              <a:rPr kumimoji="0" lang="en-US" sz="1267" b="0" i="0" u="none" strike="noStrike" kern="1200" cap="none" spc="0" normalizeH="0" baseline="0" noProof="0" smtClean="0">
                <a:ln>
                  <a:noFill/>
                </a:ln>
                <a:solidFill>
                  <a:srgbClr val="7F7F7F"/>
                </a:solidFill>
                <a:effectLst/>
                <a:uLnTx/>
                <a:uFillTx/>
                <a:latin typeface="Arial"/>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9</a:t>
            </a:fld>
            <a:endParaRPr kumimoji="0" lang="en-US" sz="1267" b="0" i="0" u="none" strike="noStrike" kern="1200" cap="none" spc="0" normalizeH="0" baseline="0" noProof="0">
              <a:ln>
                <a:noFill/>
              </a:ln>
              <a:solidFill>
                <a:srgbClr val="7F7F7F"/>
              </a:solidFill>
              <a:effectLst/>
              <a:uLnTx/>
              <a:uFillTx/>
              <a:latin typeface="Arial"/>
              <a:ea typeface="+mn-ea"/>
              <a:cs typeface="+mn-cs"/>
            </a:endParaRPr>
          </a:p>
        </p:txBody>
      </p:sp>
    </p:spTree>
    <p:extLst>
      <p:ext uri="{BB962C8B-B14F-4D97-AF65-F5344CB8AC3E}">
        <p14:creationId xmlns:p14="http://schemas.microsoft.com/office/powerpoint/2010/main" val="127349703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Title 5">
            <a:extLst>
              <a:ext uri="{FF2B5EF4-FFF2-40B4-BE49-F238E27FC236}">
                <a16:creationId xmlns:a16="http://schemas.microsoft.com/office/drawing/2014/main" id="{7E9EEA3E-45E3-0239-E69A-BE3F5FBC9AB7}"/>
              </a:ext>
            </a:extLst>
          </p:cNvPr>
          <p:cNvSpPr>
            <a:spLocks noGrp="1" noChangeArrowheads="1"/>
          </p:cNvSpPr>
          <p:nvPr>
            <p:ph type="ctrTitle"/>
          </p:nvPr>
        </p:nvSpPr>
        <p:spPr>
          <a:xfrm>
            <a:off x="609600" y="1066800"/>
            <a:ext cx="10165976" cy="2590800"/>
          </a:xfrm>
        </p:spPr>
        <p:txBody>
          <a:bodyPr/>
          <a:lstStyle/>
          <a:p>
            <a:pPr algn="l"/>
            <a:r>
              <a:rPr lang="en-US" altLang="en-US" sz="5400" b="1">
                <a:solidFill>
                  <a:schemeClr val="bg1"/>
                </a:solidFill>
              </a:rPr>
              <a:t>Briefing on the Nuclear Energy Liftoff Reports</a:t>
            </a:r>
          </a:p>
        </p:txBody>
      </p:sp>
      <p:sp>
        <p:nvSpPr>
          <p:cNvPr id="20483" name="Subtitle 6">
            <a:extLst>
              <a:ext uri="{FF2B5EF4-FFF2-40B4-BE49-F238E27FC236}">
                <a16:creationId xmlns:a16="http://schemas.microsoft.com/office/drawing/2014/main" id="{681152D8-4998-8D5B-9854-96A67EBE53DE}"/>
              </a:ext>
            </a:extLst>
          </p:cNvPr>
          <p:cNvSpPr>
            <a:spLocks noGrp="1" noChangeArrowheads="1"/>
          </p:cNvSpPr>
          <p:nvPr>
            <p:ph type="subTitle" idx="1"/>
          </p:nvPr>
        </p:nvSpPr>
        <p:spPr>
          <a:xfrm>
            <a:off x="609600" y="3276600"/>
            <a:ext cx="8816975" cy="2209800"/>
          </a:xfrm>
        </p:spPr>
        <p:txBody>
          <a:bodyPr/>
          <a:lstStyle/>
          <a:p>
            <a:pPr algn="l"/>
            <a:endParaRPr lang="en-US" altLang="en-US" sz="2000" b="1" i="1">
              <a:solidFill>
                <a:schemeClr val="bg1"/>
              </a:solidFill>
            </a:endParaRPr>
          </a:p>
          <a:p>
            <a:pPr algn="l"/>
            <a:endParaRPr lang="en-US" altLang="en-US" sz="2000" b="1" i="1">
              <a:solidFill>
                <a:schemeClr val="bg1"/>
              </a:solidFill>
            </a:endParaRPr>
          </a:p>
          <a:p>
            <a:pPr algn="l"/>
            <a:r>
              <a:rPr lang="en-US" altLang="en-US" b="1">
                <a:solidFill>
                  <a:schemeClr val="bg1"/>
                </a:solidFill>
              </a:rPr>
              <a:t>Julie Kozeracki</a:t>
            </a:r>
          </a:p>
          <a:p>
            <a:pPr algn="l"/>
            <a:r>
              <a:rPr lang="en-US" altLang="en-US" b="1">
                <a:solidFill>
                  <a:schemeClr val="bg1"/>
                </a:solidFill>
              </a:rPr>
              <a:t>Senior Advisor, Loan Programs Office</a:t>
            </a:r>
          </a:p>
          <a:p>
            <a:pPr algn="l"/>
            <a:r>
              <a:rPr lang="en-US" altLang="en-US" sz="2000" b="1" i="1">
                <a:solidFill>
                  <a:schemeClr val="bg1"/>
                </a:solidFill>
              </a:rPr>
              <a:t>				</a:t>
            </a:r>
            <a:endParaRPr lang="en-US" altLang="en-US" sz="2000" b="1">
              <a:solidFill>
                <a:schemeClr val="bg1"/>
              </a:solidFill>
            </a:endParaRPr>
          </a:p>
        </p:txBody>
      </p:sp>
    </p:spTree>
    <p:extLst>
      <p:ext uri="{BB962C8B-B14F-4D97-AF65-F5344CB8AC3E}">
        <p14:creationId xmlns:p14="http://schemas.microsoft.com/office/powerpoint/2010/main" val="3372493057"/>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About the Study – Committee</a:t>
            </a:r>
          </a:p>
        </p:txBody>
      </p:sp>
      <p:grpSp>
        <p:nvGrpSpPr>
          <p:cNvPr id="4" name="Group 3"/>
          <p:cNvGrpSpPr/>
          <p:nvPr/>
        </p:nvGrpSpPr>
        <p:grpSpPr>
          <a:xfrm>
            <a:off x="1202268" y="1016671"/>
            <a:ext cx="4091185" cy="5128088"/>
            <a:chOff x="457200" y="1243182"/>
            <a:chExt cx="4091185" cy="5108036"/>
          </a:xfrm>
        </p:grpSpPr>
        <p:sp>
          <p:nvSpPr>
            <p:cNvPr id="5" name="TextBox 4"/>
            <p:cNvSpPr txBox="1"/>
            <p:nvPr/>
          </p:nvSpPr>
          <p:spPr>
            <a:xfrm>
              <a:off x="457200" y="1243182"/>
              <a:ext cx="3686715" cy="536503"/>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500" b="1" i="0" u="none" strike="noStrike" kern="1200" cap="none" spc="0" normalizeH="0" baseline="0" noProof="0">
                  <a:ln>
                    <a:noFill/>
                  </a:ln>
                  <a:solidFill>
                    <a:srgbClr val="3B3B3C"/>
                  </a:solidFill>
                  <a:effectLst/>
                  <a:uLnTx/>
                  <a:uFillTx/>
                  <a:latin typeface="Arial"/>
                  <a:ea typeface="+mn-ea"/>
                  <a:cs typeface="Times New Roman" panose="02020603050405020304" pitchFamily="18" charset="0"/>
                </a:rPr>
                <a:t>Janice Dunn Lee </a:t>
              </a:r>
              <a:r>
                <a:rPr kumimoji="0" lang="en-US" sz="1500" b="0" i="0" u="none" strike="noStrike" kern="1200" cap="none" spc="0" normalizeH="0" baseline="0" noProof="0">
                  <a:ln>
                    <a:noFill/>
                  </a:ln>
                  <a:solidFill>
                    <a:srgbClr val="3B3B3C"/>
                  </a:solidFill>
                  <a:effectLst/>
                  <a:uLnTx/>
                  <a:uFillTx/>
                  <a:latin typeface="Arial"/>
                  <a:ea typeface="+mn-ea"/>
                  <a:cs typeface="Times New Roman" panose="02020603050405020304" pitchFamily="18" charset="0"/>
                </a:rPr>
                <a:t>(Chair)</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3B3B3C"/>
                  </a:solidFill>
                  <a:effectLst/>
                  <a:uLnTx/>
                  <a:uFillTx/>
                  <a:latin typeface="Arial"/>
                  <a:ea typeface="+mn-ea"/>
                  <a:cs typeface="Times New Roman" panose="02020603050405020304" pitchFamily="18" charset="0"/>
                </a:rPr>
                <a:t>International Atomic Energy Agency (retired)</a:t>
              </a:r>
            </a:p>
          </p:txBody>
        </p:sp>
        <p:sp>
          <p:nvSpPr>
            <p:cNvPr id="6" name="TextBox 5"/>
            <p:cNvSpPr txBox="1"/>
            <p:nvPr/>
          </p:nvSpPr>
          <p:spPr>
            <a:xfrm>
              <a:off x="457200" y="2539955"/>
              <a:ext cx="3418243" cy="551832"/>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500" b="1" i="0" u="none" strike="noStrike" kern="1200" cap="none" spc="0" normalizeH="0" baseline="0" noProof="0">
                  <a:ln>
                    <a:noFill/>
                  </a:ln>
                  <a:solidFill>
                    <a:srgbClr val="3B3B3C"/>
                  </a:solidFill>
                  <a:effectLst/>
                  <a:uLnTx/>
                  <a:uFillTx/>
                  <a:latin typeface="Arial"/>
                  <a:ea typeface="+mn-ea"/>
                  <a:cs typeface="Times New Roman" panose="02020603050405020304" pitchFamily="18" charset="0"/>
                </a:rPr>
                <a:t>Rodney C. Ewing </a:t>
              </a:r>
              <a:r>
                <a:rPr kumimoji="0" lang="en-US" sz="1500" b="0" i="0" u="none" strike="noStrike" kern="1200" cap="none" spc="0" normalizeH="0" baseline="0" noProof="0">
                  <a:ln>
                    <a:noFill/>
                  </a:ln>
                  <a:solidFill>
                    <a:srgbClr val="3B3B3C"/>
                  </a:solidFill>
                  <a:effectLst/>
                  <a:uLnTx/>
                  <a:uFillTx/>
                  <a:latin typeface="Arial"/>
                  <a:ea typeface="+mn-ea"/>
                  <a:cs typeface="Times New Roman" panose="02020603050405020304" pitchFamily="18" charset="0"/>
                </a:rPr>
                <a:t>(Vice Chair, NAE)</a:t>
              </a:r>
              <a:r>
                <a:rPr kumimoji="0" lang="en-US" sz="1500" b="0" i="0" u="none" strike="noStrike" kern="1200" cap="none" spc="0" normalizeH="0" baseline="30000" noProof="0">
                  <a:ln>
                    <a:noFill/>
                  </a:ln>
                  <a:solidFill>
                    <a:srgbClr val="3B3B3C"/>
                  </a:solidFill>
                  <a:effectLst/>
                  <a:uLnTx/>
                  <a:uFillTx/>
                  <a:latin typeface="Arial"/>
                  <a:ea typeface="+mn-ea"/>
                  <a:cs typeface="Times New Roman" panose="02020603050405020304" pitchFamily="18" charset="0"/>
                </a:rPr>
                <a:t>1</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3B3B3C"/>
                  </a:solidFill>
                  <a:effectLst/>
                  <a:uLnTx/>
                  <a:uFillTx/>
                  <a:latin typeface="Arial"/>
                  <a:ea typeface="+mn-ea"/>
                  <a:cs typeface="Times New Roman" panose="02020603050405020304" pitchFamily="18" charset="0"/>
                </a:rPr>
                <a:t>Stanford University</a:t>
              </a:r>
            </a:p>
          </p:txBody>
        </p:sp>
        <p:sp>
          <p:nvSpPr>
            <p:cNvPr id="7" name="TextBox 6"/>
            <p:cNvSpPr txBox="1"/>
            <p:nvPr/>
          </p:nvSpPr>
          <p:spPr>
            <a:xfrm>
              <a:off x="457200" y="1891569"/>
              <a:ext cx="4091185" cy="536503"/>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500" b="1" i="0" u="none" strike="noStrike" kern="1200" cap="none" spc="0" normalizeH="0" baseline="0" noProof="0">
                  <a:ln>
                    <a:noFill/>
                  </a:ln>
                  <a:solidFill>
                    <a:srgbClr val="3B3B3C"/>
                  </a:solidFill>
                  <a:effectLst/>
                  <a:uLnTx/>
                  <a:uFillTx/>
                  <a:latin typeface="Arial"/>
                  <a:ea typeface="+mn-ea"/>
                  <a:cs typeface="Times New Roman" panose="02020603050405020304" pitchFamily="18" charset="0"/>
                </a:rPr>
                <a:t>Patricia </a:t>
              </a:r>
              <a:r>
                <a:rPr kumimoji="0" lang="en-US" sz="1500" b="1" i="0" u="none" strike="noStrike" kern="1200" cap="none" spc="0" normalizeH="0" baseline="0" noProof="0" err="1">
                  <a:ln>
                    <a:noFill/>
                  </a:ln>
                  <a:solidFill>
                    <a:srgbClr val="3B3B3C"/>
                  </a:solidFill>
                  <a:effectLst/>
                  <a:uLnTx/>
                  <a:uFillTx/>
                  <a:latin typeface="Arial"/>
                  <a:ea typeface="+mn-ea"/>
                  <a:cs typeface="Times New Roman" panose="02020603050405020304" pitchFamily="18" charset="0"/>
                </a:rPr>
                <a:t>Baisden</a:t>
              </a:r>
              <a:r>
                <a:rPr kumimoji="0" lang="en-US" sz="1500" b="1" i="0" u="none" strike="noStrike" kern="1200" cap="none" spc="0" normalizeH="0" baseline="0" noProof="0">
                  <a:ln>
                    <a:noFill/>
                  </a:ln>
                  <a:solidFill>
                    <a:srgbClr val="3B3B3C"/>
                  </a:solidFill>
                  <a:effectLst/>
                  <a:uLnTx/>
                  <a:uFillTx/>
                  <a:latin typeface="Arial"/>
                  <a:ea typeface="+mn-ea"/>
                  <a:cs typeface="Times New Roman" panose="02020603050405020304" pitchFamily="18" charset="0"/>
                </a:rPr>
                <a:t> </a:t>
              </a:r>
              <a:r>
                <a:rPr kumimoji="0" lang="en-US" sz="1500" b="0" i="0" u="none" strike="noStrike" kern="1200" cap="none" spc="0" normalizeH="0" baseline="0" noProof="0">
                  <a:ln>
                    <a:noFill/>
                  </a:ln>
                  <a:solidFill>
                    <a:srgbClr val="3B3B3C"/>
                  </a:solidFill>
                  <a:effectLst/>
                  <a:uLnTx/>
                  <a:uFillTx/>
                  <a:latin typeface="Arial"/>
                  <a:ea typeface="+mn-ea"/>
                  <a:cs typeface="Times New Roman" panose="02020603050405020304" pitchFamily="18" charset="0"/>
                </a:rPr>
                <a:t>(Vice Chair)</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3B3B3C"/>
                  </a:solidFill>
                  <a:effectLst/>
                  <a:uLnTx/>
                  <a:uFillTx/>
                  <a:latin typeface="Arial"/>
                  <a:ea typeface="+mn-ea"/>
                  <a:cs typeface="Times New Roman" panose="02020603050405020304" pitchFamily="18" charset="0"/>
                </a:rPr>
                <a:t>Lawrence Livermore National Laboratory (retired)</a:t>
              </a:r>
            </a:p>
          </p:txBody>
        </p:sp>
        <p:sp>
          <p:nvSpPr>
            <p:cNvPr id="8" name="TextBox 7"/>
            <p:cNvSpPr txBox="1"/>
            <p:nvPr/>
          </p:nvSpPr>
          <p:spPr>
            <a:xfrm>
              <a:off x="457200" y="3203671"/>
              <a:ext cx="2564869" cy="536503"/>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500" b="1" i="0" u="none" strike="noStrike" kern="1200" cap="none" spc="0" normalizeH="0" baseline="0" noProof="0">
                  <a:ln>
                    <a:noFill/>
                  </a:ln>
                  <a:solidFill>
                    <a:srgbClr val="3B3B3C"/>
                  </a:solidFill>
                  <a:effectLst/>
                  <a:uLnTx/>
                  <a:uFillTx/>
                  <a:latin typeface="Arial"/>
                  <a:ea typeface="+mn-ea"/>
                  <a:cs typeface="Times New Roman" panose="02020603050405020304" pitchFamily="18" charset="0"/>
                </a:rPr>
                <a:t>Margaret S.Y. Chu </a:t>
              </a:r>
              <a:r>
                <a:rPr kumimoji="0" lang="en-US" sz="1500" b="0" i="0" u="none" strike="noStrike" kern="1200" cap="none" spc="0" normalizeH="0" baseline="0" noProof="0">
                  <a:ln>
                    <a:noFill/>
                  </a:ln>
                  <a:solidFill>
                    <a:srgbClr val="3B3B3C"/>
                  </a:solidFill>
                  <a:effectLst/>
                  <a:uLnTx/>
                  <a:uFillTx/>
                  <a:latin typeface="Arial"/>
                  <a:ea typeface="+mn-ea"/>
                  <a:cs typeface="Times New Roman" panose="02020603050405020304" pitchFamily="18" charset="0"/>
                </a:rPr>
                <a:t>(NAE)</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3B3B3C"/>
                  </a:solidFill>
                  <a:effectLst/>
                  <a:uLnTx/>
                  <a:uFillTx/>
                  <a:latin typeface="Arial"/>
                  <a:ea typeface="+mn-ea"/>
                  <a:cs typeface="Times New Roman" panose="02020603050405020304" pitchFamily="18" charset="0"/>
                </a:rPr>
                <a:t>M.S. Chu and Associates LLC</a:t>
              </a:r>
            </a:p>
          </p:txBody>
        </p:sp>
        <p:sp>
          <p:nvSpPr>
            <p:cNvPr id="9" name="TextBox 8"/>
            <p:cNvSpPr txBox="1"/>
            <p:nvPr/>
          </p:nvSpPr>
          <p:spPr>
            <a:xfrm>
              <a:off x="457200" y="3852058"/>
              <a:ext cx="2472152" cy="536503"/>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500" b="1" i="0" u="none" strike="noStrike" kern="1200" cap="none" spc="0" normalizeH="0" baseline="0" noProof="0">
                  <a:ln>
                    <a:noFill/>
                  </a:ln>
                  <a:solidFill>
                    <a:srgbClr val="3B3B3C"/>
                  </a:solidFill>
                  <a:effectLst/>
                  <a:uLnTx/>
                  <a:uFillTx/>
                  <a:latin typeface="Arial"/>
                  <a:ea typeface="+mn-ea"/>
                  <a:cs typeface="Times New Roman" panose="02020603050405020304" pitchFamily="18" charset="0"/>
                </a:rPr>
                <a:t>Paul T. </a:t>
              </a:r>
              <a:r>
                <a:rPr kumimoji="0" lang="en-US" sz="1500" b="1" i="0" u="none" strike="noStrike" kern="1200" cap="none" spc="0" normalizeH="0" baseline="0" noProof="0" err="1">
                  <a:ln>
                    <a:noFill/>
                  </a:ln>
                  <a:solidFill>
                    <a:srgbClr val="3B3B3C"/>
                  </a:solidFill>
                  <a:effectLst/>
                  <a:uLnTx/>
                  <a:uFillTx/>
                  <a:latin typeface="Arial"/>
                  <a:ea typeface="+mn-ea"/>
                  <a:cs typeface="Times New Roman" panose="02020603050405020304" pitchFamily="18" charset="0"/>
                </a:rPr>
                <a:t>Dickman</a:t>
              </a:r>
              <a:endParaRPr kumimoji="0" lang="en-US" sz="1500" b="0" i="0" u="none" strike="noStrike" kern="1200" cap="none" spc="0" normalizeH="0" baseline="0" noProof="0">
                <a:ln>
                  <a:noFill/>
                </a:ln>
                <a:solidFill>
                  <a:srgbClr val="3B3B3C"/>
                </a:solidFill>
                <a:effectLst/>
                <a:uLnTx/>
                <a:uFillTx/>
                <a:latin typeface="Arial"/>
                <a:ea typeface="+mn-ea"/>
                <a:cs typeface="Times New Roman" panose="02020603050405020304" pitchFamily="18" charset="0"/>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3B3B3C"/>
                  </a:solidFill>
                  <a:effectLst/>
                  <a:uLnTx/>
                  <a:uFillTx/>
                  <a:latin typeface="Arial"/>
                  <a:ea typeface="+mn-ea"/>
                  <a:cs typeface="Times New Roman" panose="02020603050405020304" pitchFamily="18" charset="0"/>
                </a:rPr>
                <a:t>Argonne National Laboratory</a:t>
              </a:r>
            </a:p>
          </p:txBody>
        </p:sp>
        <p:sp>
          <p:nvSpPr>
            <p:cNvPr id="10" name="TextBox 9"/>
            <p:cNvSpPr txBox="1"/>
            <p:nvPr/>
          </p:nvSpPr>
          <p:spPr>
            <a:xfrm>
              <a:off x="457200" y="5166326"/>
              <a:ext cx="1936749" cy="536503"/>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500" b="1" i="0" u="none" strike="noStrike" kern="1200" cap="none" spc="0" normalizeH="0" baseline="0" noProof="0">
                  <a:ln>
                    <a:noFill/>
                  </a:ln>
                  <a:solidFill>
                    <a:srgbClr val="3B3B3C"/>
                  </a:solidFill>
                  <a:effectLst/>
                  <a:uLnTx/>
                  <a:uFillTx/>
                  <a:latin typeface="Arial"/>
                  <a:ea typeface="+mn-ea"/>
                  <a:cs typeface="Times New Roman" panose="02020603050405020304" pitchFamily="18" charset="0"/>
                </a:rPr>
                <a:t>John C. Lee</a:t>
              </a:r>
              <a:r>
                <a:rPr kumimoji="0" lang="en-US" sz="1500" b="0" i="0" u="none" strike="noStrike" kern="1200" cap="none" spc="0" normalizeH="0" baseline="30000" noProof="0">
                  <a:ln>
                    <a:noFill/>
                  </a:ln>
                  <a:solidFill>
                    <a:srgbClr val="3B3B3C"/>
                  </a:solidFill>
                  <a:effectLst/>
                  <a:uLnTx/>
                  <a:uFillTx/>
                  <a:latin typeface="Arial"/>
                  <a:ea typeface="+mn-ea"/>
                  <a:cs typeface="Times New Roman" panose="02020603050405020304" pitchFamily="18" charset="0"/>
                </a:rPr>
                <a:t>2</a:t>
              </a:r>
              <a:endParaRPr kumimoji="0" lang="en-US" sz="1500" b="0" i="0" u="none" strike="noStrike" kern="1200" cap="none" spc="0" normalizeH="0" baseline="0" noProof="0">
                <a:ln>
                  <a:noFill/>
                </a:ln>
                <a:solidFill>
                  <a:srgbClr val="3B3B3C"/>
                </a:solidFill>
                <a:effectLst/>
                <a:uLnTx/>
                <a:uFillTx/>
                <a:latin typeface="Arial"/>
                <a:ea typeface="+mn-ea"/>
                <a:cs typeface="Times New Roman" panose="02020603050405020304" pitchFamily="18" charset="0"/>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3B3B3C"/>
                  </a:solidFill>
                  <a:effectLst/>
                  <a:uLnTx/>
                  <a:uFillTx/>
                  <a:latin typeface="Arial"/>
                  <a:ea typeface="+mn-ea"/>
                  <a:cs typeface="Times New Roman" panose="02020603050405020304" pitchFamily="18" charset="0"/>
                </a:rPr>
                <a:t>University of Michigan</a:t>
              </a:r>
            </a:p>
          </p:txBody>
        </p:sp>
        <p:sp>
          <p:nvSpPr>
            <p:cNvPr id="11" name="TextBox 10"/>
            <p:cNvSpPr txBox="1"/>
            <p:nvPr/>
          </p:nvSpPr>
          <p:spPr>
            <a:xfrm>
              <a:off x="457200" y="5814715"/>
              <a:ext cx="2593980" cy="536503"/>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500" b="1" i="0" u="none" strike="noStrike" kern="1200" cap="none" spc="0" normalizeH="0" baseline="0" noProof="0">
                  <a:ln>
                    <a:noFill/>
                  </a:ln>
                  <a:solidFill>
                    <a:srgbClr val="3B3B3C"/>
                  </a:solidFill>
                  <a:effectLst/>
                  <a:uLnTx/>
                  <a:uFillTx/>
                  <a:latin typeface="Arial"/>
                  <a:ea typeface="+mn-ea"/>
                  <a:cs typeface="Times New Roman" panose="02020603050405020304" pitchFamily="18" charset="0"/>
                </a:rPr>
                <a:t>Edwin S. Lyman</a:t>
              </a:r>
              <a:endParaRPr kumimoji="0" lang="en-US" sz="1500" b="0" i="0" u="none" strike="noStrike" kern="1200" cap="none" spc="0" normalizeH="0" baseline="0" noProof="0">
                <a:ln>
                  <a:noFill/>
                </a:ln>
                <a:solidFill>
                  <a:srgbClr val="3B3B3C"/>
                </a:solidFill>
                <a:effectLst/>
                <a:uLnTx/>
                <a:uFillTx/>
                <a:latin typeface="Arial"/>
                <a:ea typeface="+mn-ea"/>
                <a:cs typeface="Times New Roman" panose="02020603050405020304" pitchFamily="18" charset="0"/>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3B3B3C"/>
                  </a:solidFill>
                  <a:effectLst/>
                  <a:uLnTx/>
                  <a:uFillTx/>
                  <a:latin typeface="Arial"/>
                  <a:ea typeface="+mn-ea"/>
                  <a:cs typeface="Times New Roman" panose="02020603050405020304" pitchFamily="18" charset="0"/>
                </a:rPr>
                <a:t>Union of Concerned Scientists</a:t>
              </a:r>
            </a:p>
          </p:txBody>
        </p:sp>
        <p:sp>
          <p:nvSpPr>
            <p:cNvPr id="12" name="TextBox 11"/>
            <p:cNvSpPr txBox="1"/>
            <p:nvPr/>
          </p:nvSpPr>
          <p:spPr>
            <a:xfrm>
              <a:off x="457200" y="4500444"/>
              <a:ext cx="1659429" cy="553998"/>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500" b="1" i="0" u="none" strike="noStrike" kern="1200" cap="none" spc="0" normalizeH="0" baseline="0" noProof="0">
                  <a:ln>
                    <a:noFill/>
                  </a:ln>
                  <a:solidFill>
                    <a:srgbClr val="3B3B3C"/>
                  </a:solidFill>
                  <a:effectLst/>
                  <a:uLnTx/>
                  <a:uFillTx/>
                  <a:latin typeface="Arial"/>
                  <a:ea typeface="+mn-ea"/>
                  <a:cs typeface="Times New Roman" panose="02020603050405020304" pitchFamily="18" charset="0"/>
                </a:rPr>
                <a:t>Craig S. Hansen</a:t>
              </a:r>
              <a:endParaRPr kumimoji="0" lang="en-US" sz="1500" b="0" i="0" u="none" strike="noStrike" kern="1200" cap="none" spc="0" normalizeH="0" baseline="0" noProof="0">
                <a:ln>
                  <a:noFill/>
                </a:ln>
                <a:solidFill>
                  <a:srgbClr val="3B3B3C"/>
                </a:solidFill>
                <a:effectLst/>
                <a:uLnTx/>
                <a:uFillTx/>
                <a:latin typeface="Arial"/>
                <a:ea typeface="+mn-ea"/>
                <a:cs typeface="Times New Roman" panose="02020603050405020304" pitchFamily="18" charset="0"/>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3B3B3C"/>
                  </a:solidFill>
                  <a:effectLst/>
                  <a:uLnTx/>
                  <a:uFillTx/>
                  <a:latin typeface="Arial"/>
                  <a:ea typeface="+mn-ea"/>
                  <a:cs typeface="Times New Roman" panose="02020603050405020304" pitchFamily="18" charset="0"/>
                </a:rPr>
                <a:t>Cadence, Inc.</a:t>
              </a:r>
            </a:p>
          </p:txBody>
        </p:sp>
      </p:grpSp>
      <p:grpSp>
        <p:nvGrpSpPr>
          <p:cNvPr id="13" name="Group 12"/>
          <p:cNvGrpSpPr/>
          <p:nvPr/>
        </p:nvGrpSpPr>
        <p:grpSpPr>
          <a:xfrm>
            <a:off x="6196870" y="1022331"/>
            <a:ext cx="3167855" cy="5122428"/>
            <a:chOff x="5480412" y="1187846"/>
            <a:chExt cx="3167855" cy="5122428"/>
          </a:xfrm>
        </p:grpSpPr>
        <p:sp>
          <p:nvSpPr>
            <p:cNvPr id="14" name="TextBox 13"/>
            <p:cNvSpPr txBox="1"/>
            <p:nvPr/>
          </p:nvSpPr>
          <p:spPr>
            <a:xfrm>
              <a:off x="5514074" y="1187846"/>
              <a:ext cx="2525050" cy="538609"/>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500" b="1" i="0" u="none" strike="noStrike" kern="1200" cap="none" spc="0" normalizeH="0" baseline="0" noProof="0">
                  <a:ln>
                    <a:noFill/>
                  </a:ln>
                  <a:solidFill>
                    <a:srgbClr val="3B3B3C"/>
                  </a:solidFill>
                  <a:effectLst/>
                  <a:uLnTx/>
                  <a:uFillTx/>
                  <a:latin typeface="Arial"/>
                  <a:ea typeface="+mn-ea"/>
                  <a:cs typeface="Times New Roman" panose="02020603050405020304" pitchFamily="18" charset="0"/>
                </a:rPr>
                <a:t>Allison M. Macfarlane</a:t>
              </a:r>
              <a:endParaRPr kumimoji="0" lang="en-US" sz="1500" b="0" i="0" u="none" strike="noStrike" kern="1200" cap="none" spc="0" normalizeH="0" baseline="0" noProof="0">
                <a:ln>
                  <a:noFill/>
                </a:ln>
                <a:solidFill>
                  <a:srgbClr val="3B3B3C"/>
                </a:solidFill>
                <a:effectLst/>
                <a:uLnTx/>
                <a:uFillTx/>
                <a:latin typeface="Arial"/>
                <a:ea typeface="+mn-ea"/>
                <a:cs typeface="Times New Roman" panose="02020603050405020304" pitchFamily="18" charset="0"/>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3B3B3C"/>
                  </a:solidFill>
                  <a:effectLst/>
                  <a:uLnTx/>
                  <a:uFillTx/>
                  <a:latin typeface="Arial"/>
                  <a:ea typeface="+mn-ea"/>
                  <a:cs typeface="Times New Roman" panose="02020603050405020304" pitchFamily="18" charset="0"/>
                </a:rPr>
                <a:t>University of British Columbia</a:t>
              </a:r>
            </a:p>
          </p:txBody>
        </p:sp>
        <p:sp>
          <p:nvSpPr>
            <p:cNvPr id="15" name="TextBox 14"/>
            <p:cNvSpPr txBox="1"/>
            <p:nvPr/>
          </p:nvSpPr>
          <p:spPr>
            <a:xfrm>
              <a:off x="5514074" y="1776725"/>
              <a:ext cx="1819729" cy="553998"/>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500" b="1" i="0" u="none" strike="noStrike" kern="1200" cap="none" spc="0" normalizeH="0" baseline="0" noProof="0">
                  <a:ln>
                    <a:noFill/>
                  </a:ln>
                  <a:solidFill>
                    <a:srgbClr val="3B3B3C"/>
                  </a:solidFill>
                  <a:effectLst/>
                  <a:uLnTx/>
                  <a:uFillTx/>
                  <a:latin typeface="Arial"/>
                  <a:ea typeface="+mn-ea"/>
                  <a:cs typeface="Times New Roman" panose="02020603050405020304" pitchFamily="18" charset="0"/>
                </a:rPr>
                <a:t>Albert J. </a:t>
              </a:r>
              <a:r>
                <a:rPr kumimoji="0" lang="en-US" sz="1500" b="1" i="0" u="none" strike="noStrike" kern="1200" cap="none" spc="0" normalizeH="0" baseline="0" noProof="0" err="1">
                  <a:ln>
                    <a:noFill/>
                  </a:ln>
                  <a:solidFill>
                    <a:srgbClr val="3B3B3C"/>
                  </a:solidFill>
                  <a:effectLst/>
                  <a:uLnTx/>
                  <a:uFillTx/>
                  <a:latin typeface="Arial"/>
                  <a:ea typeface="+mn-ea"/>
                  <a:cs typeface="Times New Roman" panose="02020603050405020304" pitchFamily="18" charset="0"/>
                </a:rPr>
                <a:t>Machiels</a:t>
              </a:r>
              <a:endParaRPr kumimoji="0" lang="en-US" sz="1500" b="0" i="0" u="none" strike="noStrike" kern="1200" cap="none" spc="0" normalizeH="0" baseline="0" noProof="0">
                <a:ln>
                  <a:noFill/>
                </a:ln>
                <a:solidFill>
                  <a:srgbClr val="3B3B3C"/>
                </a:solidFill>
                <a:effectLst/>
                <a:uLnTx/>
                <a:uFillTx/>
                <a:latin typeface="Arial"/>
                <a:ea typeface="+mn-ea"/>
                <a:cs typeface="Times New Roman" panose="02020603050405020304" pitchFamily="18" charset="0"/>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3B3B3C"/>
                  </a:solidFill>
                  <a:effectLst/>
                  <a:uLnTx/>
                  <a:uFillTx/>
                  <a:latin typeface="Arial"/>
                  <a:ea typeface="+mn-ea"/>
                  <a:cs typeface="Times New Roman" panose="02020603050405020304" pitchFamily="18" charset="0"/>
                </a:rPr>
                <a:t>EPRI (retired)</a:t>
              </a:r>
            </a:p>
          </p:txBody>
        </p:sp>
        <p:sp>
          <p:nvSpPr>
            <p:cNvPr id="16" name="TextBox 15"/>
            <p:cNvSpPr txBox="1"/>
            <p:nvPr/>
          </p:nvSpPr>
          <p:spPr>
            <a:xfrm>
              <a:off x="5480412" y="2380993"/>
              <a:ext cx="3119765" cy="754053"/>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500" b="1" i="0" u="none" strike="noStrike" kern="1200" cap="none" spc="0" normalizeH="0" baseline="0" noProof="0">
                  <a:ln>
                    <a:noFill/>
                  </a:ln>
                  <a:solidFill>
                    <a:srgbClr val="3B3B3C"/>
                  </a:solidFill>
                  <a:effectLst/>
                  <a:uLnTx/>
                  <a:uFillTx/>
                  <a:latin typeface="Arial"/>
                  <a:ea typeface="+mn-ea"/>
                  <a:cs typeface="Times New Roman" panose="02020603050405020304" pitchFamily="18" charset="0"/>
                </a:rPr>
                <a:t>Christophe </a:t>
              </a:r>
              <a:r>
                <a:rPr kumimoji="0" lang="en-US" sz="1500" b="1" i="0" u="none" strike="noStrike" kern="1200" cap="none" spc="0" normalizeH="0" baseline="0" noProof="0" err="1">
                  <a:ln>
                    <a:noFill/>
                  </a:ln>
                  <a:solidFill>
                    <a:srgbClr val="3B3B3C"/>
                  </a:solidFill>
                  <a:effectLst/>
                  <a:uLnTx/>
                  <a:uFillTx/>
                  <a:latin typeface="Arial"/>
                  <a:ea typeface="+mn-ea"/>
                  <a:cs typeface="Times New Roman" panose="02020603050405020304" pitchFamily="18" charset="0"/>
                </a:rPr>
                <a:t>Poinssot</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fr-FR" sz="1400" b="0" i="0" u="none" strike="noStrike" kern="1200" cap="none" spc="0" normalizeH="0" baseline="0" noProof="0">
                  <a:ln>
                    <a:noFill/>
                  </a:ln>
                  <a:solidFill>
                    <a:srgbClr val="3B3B3C"/>
                  </a:solidFill>
                  <a:effectLst/>
                  <a:uLnTx/>
                  <a:uFillTx/>
                  <a:latin typeface="Arial"/>
                  <a:ea typeface="+mn-ea"/>
                  <a:cs typeface="Times New Roman" panose="02020603050405020304" pitchFamily="18" charset="0"/>
                </a:rPr>
                <a:t>Bureau de Recherches Géologiques </a:t>
              </a:r>
              <a:br>
                <a:rPr kumimoji="0" lang="fr-FR" sz="1400" b="0" i="0" u="none" strike="noStrike" kern="1200" cap="none" spc="0" normalizeH="0" baseline="0" noProof="0">
                  <a:ln>
                    <a:noFill/>
                  </a:ln>
                  <a:solidFill>
                    <a:srgbClr val="3B3B3C"/>
                  </a:solidFill>
                  <a:effectLst/>
                  <a:uLnTx/>
                  <a:uFillTx/>
                  <a:latin typeface="Arial"/>
                  <a:ea typeface="+mn-ea"/>
                  <a:cs typeface="Times New Roman" panose="02020603050405020304" pitchFamily="18" charset="0"/>
                </a:rPr>
              </a:br>
              <a:r>
                <a:rPr kumimoji="0" lang="fr-FR" sz="1400" b="0" i="0" u="none" strike="noStrike" kern="1200" cap="none" spc="0" normalizeH="0" baseline="0" noProof="0">
                  <a:ln>
                    <a:noFill/>
                  </a:ln>
                  <a:solidFill>
                    <a:srgbClr val="3B3B3C"/>
                  </a:solidFill>
                  <a:effectLst/>
                  <a:uLnTx/>
                  <a:uFillTx/>
                  <a:latin typeface="Arial"/>
                  <a:ea typeface="+mn-ea"/>
                  <a:cs typeface="Times New Roman" panose="02020603050405020304" pitchFamily="18" charset="0"/>
                </a:rPr>
                <a:t>et Minières</a:t>
              </a:r>
              <a:endParaRPr kumimoji="0" lang="en-US" sz="1400" b="0" i="0" u="none" strike="noStrike" kern="1200" cap="none" spc="0" normalizeH="0" baseline="0" noProof="0">
                <a:ln>
                  <a:noFill/>
                </a:ln>
                <a:solidFill>
                  <a:srgbClr val="3B3B3C"/>
                </a:solidFill>
                <a:effectLst/>
                <a:uLnTx/>
                <a:uFillTx/>
                <a:latin typeface="Arial"/>
                <a:ea typeface="+mn-ea"/>
                <a:cs typeface="Times New Roman" panose="02020603050405020304" pitchFamily="18" charset="0"/>
              </a:endParaRPr>
            </a:p>
          </p:txBody>
        </p:sp>
        <p:sp>
          <p:nvSpPr>
            <p:cNvPr id="17" name="TextBox 16"/>
            <p:cNvSpPr txBox="1"/>
            <p:nvPr/>
          </p:nvSpPr>
          <p:spPr>
            <a:xfrm>
              <a:off x="5480412" y="3185316"/>
              <a:ext cx="2980303" cy="754053"/>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500" b="1" i="0" u="none" strike="noStrike" kern="1200" cap="none" spc="0" normalizeH="0" baseline="0" noProof="0">
                  <a:ln>
                    <a:noFill/>
                  </a:ln>
                  <a:solidFill>
                    <a:srgbClr val="3B3B3C"/>
                  </a:solidFill>
                  <a:effectLst/>
                  <a:uLnTx/>
                  <a:uFillTx/>
                  <a:latin typeface="Arial"/>
                  <a:ea typeface="+mn-ea"/>
                  <a:cs typeface="Times New Roman" panose="02020603050405020304" pitchFamily="18" charset="0"/>
                </a:rPr>
                <a:t>Jeffrey D. </a:t>
              </a:r>
              <a:r>
                <a:rPr kumimoji="0" lang="en-US" sz="1500" b="1" i="0" u="none" strike="noStrike" kern="1200" cap="none" spc="0" normalizeH="0" baseline="0" noProof="0" err="1">
                  <a:ln>
                    <a:noFill/>
                  </a:ln>
                  <a:solidFill>
                    <a:srgbClr val="3B3B3C"/>
                  </a:solidFill>
                  <a:effectLst/>
                  <a:uLnTx/>
                  <a:uFillTx/>
                  <a:latin typeface="Arial"/>
                  <a:ea typeface="+mn-ea"/>
                  <a:cs typeface="Times New Roman" panose="02020603050405020304" pitchFamily="18" charset="0"/>
                </a:rPr>
                <a:t>Semancik</a:t>
              </a:r>
              <a:endParaRPr kumimoji="0" lang="en-US" sz="1500" b="0" i="0" u="none" strike="noStrike" kern="1200" cap="none" spc="0" normalizeH="0" baseline="0" noProof="0">
                <a:ln>
                  <a:noFill/>
                </a:ln>
                <a:solidFill>
                  <a:srgbClr val="3B3B3C"/>
                </a:solidFill>
                <a:effectLst/>
                <a:uLnTx/>
                <a:uFillTx/>
                <a:latin typeface="Arial"/>
                <a:ea typeface="+mn-ea"/>
                <a:cs typeface="Times New Roman" panose="02020603050405020304" pitchFamily="18" charset="0"/>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3B3B3C"/>
                  </a:solidFill>
                  <a:effectLst/>
                  <a:uLnTx/>
                  <a:uFillTx/>
                  <a:latin typeface="Arial"/>
                  <a:ea typeface="+mn-ea"/>
                  <a:cs typeface="Times New Roman" panose="02020603050405020304" pitchFamily="18" charset="0"/>
                </a:rPr>
                <a:t>Connecticut Department of Energy </a:t>
              </a:r>
              <a:br>
                <a:rPr kumimoji="0" lang="en-US" sz="1400" b="0" i="0" u="none" strike="noStrike" kern="1200" cap="none" spc="0" normalizeH="0" baseline="0" noProof="0">
                  <a:ln>
                    <a:noFill/>
                  </a:ln>
                  <a:solidFill>
                    <a:srgbClr val="3B3B3C"/>
                  </a:solidFill>
                  <a:effectLst/>
                  <a:uLnTx/>
                  <a:uFillTx/>
                  <a:latin typeface="Arial"/>
                  <a:ea typeface="+mn-ea"/>
                  <a:cs typeface="Times New Roman" panose="02020603050405020304" pitchFamily="18" charset="0"/>
                </a:rPr>
              </a:br>
              <a:r>
                <a:rPr kumimoji="0" lang="en-US" sz="1400" b="0" i="0" u="none" strike="noStrike" kern="1200" cap="none" spc="0" normalizeH="0" baseline="0" noProof="0">
                  <a:ln>
                    <a:noFill/>
                  </a:ln>
                  <a:solidFill>
                    <a:srgbClr val="3B3B3C"/>
                  </a:solidFill>
                  <a:effectLst/>
                  <a:uLnTx/>
                  <a:uFillTx/>
                  <a:latin typeface="Arial"/>
                  <a:ea typeface="+mn-ea"/>
                  <a:cs typeface="Times New Roman" panose="02020603050405020304" pitchFamily="18" charset="0"/>
                </a:rPr>
                <a:t>and Environmental Protection</a:t>
              </a:r>
            </a:p>
          </p:txBody>
        </p:sp>
        <p:sp>
          <p:nvSpPr>
            <p:cNvPr id="18" name="TextBox 17"/>
            <p:cNvSpPr txBox="1"/>
            <p:nvPr/>
          </p:nvSpPr>
          <p:spPr>
            <a:xfrm>
              <a:off x="5480412" y="3989639"/>
              <a:ext cx="3167855" cy="538609"/>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500" b="1" i="0" u="none" strike="noStrike" kern="1200" cap="none" spc="0" normalizeH="0" baseline="0" noProof="0">
                  <a:ln>
                    <a:noFill/>
                  </a:ln>
                  <a:solidFill>
                    <a:srgbClr val="3B3B3C"/>
                  </a:solidFill>
                  <a:effectLst/>
                  <a:uLnTx/>
                  <a:uFillTx/>
                  <a:latin typeface="Arial"/>
                  <a:ea typeface="+mn-ea"/>
                  <a:cs typeface="Times New Roman" panose="02020603050405020304" pitchFamily="18" charset="0"/>
                </a:rPr>
                <a:t>Ken B. Sorenson</a:t>
              </a:r>
              <a:endParaRPr kumimoji="0" lang="en-US" sz="1500" b="0" i="0" u="none" strike="noStrike" kern="1200" cap="none" spc="0" normalizeH="0" baseline="0" noProof="0">
                <a:ln>
                  <a:noFill/>
                </a:ln>
                <a:solidFill>
                  <a:srgbClr val="3B3B3C"/>
                </a:solidFill>
                <a:effectLst/>
                <a:uLnTx/>
                <a:uFillTx/>
                <a:latin typeface="Arial"/>
                <a:ea typeface="+mn-ea"/>
                <a:cs typeface="Times New Roman" panose="02020603050405020304" pitchFamily="18" charset="0"/>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3B3B3C"/>
                  </a:solidFill>
                  <a:effectLst/>
                  <a:uLnTx/>
                  <a:uFillTx/>
                  <a:latin typeface="Arial"/>
                  <a:ea typeface="+mn-ea"/>
                  <a:cs typeface="Times New Roman" panose="02020603050405020304" pitchFamily="18" charset="0"/>
                </a:rPr>
                <a:t>Sandia National Laboratories (retired)</a:t>
              </a:r>
            </a:p>
          </p:txBody>
        </p:sp>
        <p:sp>
          <p:nvSpPr>
            <p:cNvPr id="19" name="TextBox 18"/>
            <p:cNvSpPr txBox="1"/>
            <p:nvPr/>
          </p:nvSpPr>
          <p:spPr>
            <a:xfrm>
              <a:off x="5480412" y="4578518"/>
              <a:ext cx="2773516" cy="538609"/>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500" b="1" i="0" u="none" strike="noStrike" kern="1200" cap="none" spc="0" normalizeH="0" baseline="0" noProof="0">
                  <a:ln>
                    <a:noFill/>
                  </a:ln>
                  <a:solidFill>
                    <a:srgbClr val="3B3B3C"/>
                  </a:solidFill>
                  <a:effectLst/>
                  <a:uLnTx/>
                  <a:uFillTx/>
                  <a:latin typeface="Arial"/>
                  <a:ea typeface="+mn-ea"/>
                  <a:cs typeface="Times New Roman" panose="02020603050405020304" pitchFamily="18" charset="0"/>
                </a:rPr>
                <a:t>Jasmina Vujic</a:t>
              </a:r>
              <a:r>
                <a:rPr kumimoji="0" lang="en-US" sz="1500" b="0" i="0" u="none" strike="noStrike" kern="1200" cap="none" spc="0" normalizeH="0" baseline="30000" noProof="0">
                  <a:ln>
                    <a:noFill/>
                  </a:ln>
                  <a:solidFill>
                    <a:srgbClr val="3B3B3C"/>
                  </a:solidFill>
                  <a:effectLst/>
                  <a:uLnTx/>
                  <a:uFillTx/>
                  <a:latin typeface="Arial"/>
                  <a:ea typeface="+mn-ea"/>
                  <a:cs typeface="Times New Roman" panose="02020603050405020304" pitchFamily="18" charset="0"/>
                </a:rPr>
                <a:t>2</a:t>
              </a:r>
              <a:endParaRPr kumimoji="0" lang="en-US" sz="1500" b="0" i="0" u="none" strike="noStrike" kern="1200" cap="none" spc="0" normalizeH="0" baseline="0" noProof="0">
                <a:ln>
                  <a:noFill/>
                </a:ln>
                <a:solidFill>
                  <a:srgbClr val="3B3B3C"/>
                </a:solidFill>
                <a:effectLst/>
                <a:uLnTx/>
                <a:uFillTx/>
                <a:latin typeface="Arial"/>
                <a:ea typeface="+mn-ea"/>
                <a:cs typeface="Times New Roman" panose="02020603050405020304" pitchFamily="18" charset="0"/>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3B3B3C"/>
                  </a:solidFill>
                  <a:effectLst/>
                  <a:uLnTx/>
                  <a:uFillTx/>
                  <a:latin typeface="Arial"/>
                  <a:ea typeface="+mn-ea"/>
                  <a:cs typeface="Times New Roman" panose="02020603050405020304" pitchFamily="18" charset="0"/>
                </a:rPr>
                <a:t>University of California, Berkeley</a:t>
              </a:r>
            </a:p>
          </p:txBody>
        </p:sp>
        <p:sp>
          <p:nvSpPr>
            <p:cNvPr id="20" name="TextBox 19"/>
            <p:cNvSpPr txBox="1"/>
            <p:nvPr/>
          </p:nvSpPr>
          <p:spPr>
            <a:xfrm>
              <a:off x="5480412" y="5167397"/>
              <a:ext cx="1766830" cy="538609"/>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500" b="1" i="0" u="none" strike="noStrike" kern="1200" cap="none" spc="0" normalizeH="0" baseline="0" noProof="0">
                  <a:ln>
                    <a:noFill/>
                  </a:ln>
                  <a:solidFill>
                    <a:srgbClr val="3B3B3C"/>
                  </a:solidFill>
                  <a:effectLst/>
                  <a:uLnTx/>
                  <a:uFillTx/>
                  <a:latin typeface="Arial"/>
                  <a:ea typeface="+mn-ea"/>
                  <a:cs typeface="Times New Roman" panose="02020603050405020304" pitchFamily="18" charset="0"/>
                </a:rPr>
                <a:t>Nathalie A. Wall</a:t>
              </a:r>
              <a:endParaRPr kumimoji="0" lang="en-US" sz="1500" b="0" i="0" u="none" strike="noStrike" kern="1200" cap="none" spc="0" normalizeH="0" baseline="0" noProof="0">
                <a:ln>
                  <a:noFill/>
                </a:ln>
                <a:solidFill>
                  <a:srgbClr val="3B3B3C"/>
                </a:solidFill>
                <a:effectLst/>
                <a:uLnTx/>
                <a:uFillTx/>
                <a:latin typeface="Arial"/>
                <a:ea typeface="+mn-ea"/>
                <a:cs typeface="Times New Roman" panose="02020603050405020304" pitchFamily="18" charset="0"/>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3B3B3C"/>
                  </a:solidFill>
                  <a:effectLst/>
                  <a:uLnTx/>
                  <a:uFillTx/>
                  <a:latin typeface="Arial"/>
                  <a:ea typeface="+mn-ea"/>
                  <a:cs typeface="Times New Roman" panose="02020603050405020304" pitchFamily="18" charset="0"/>
                </a:rPr>
                <a:t>University of Florida</a:t>
              </a:r>
            </a:p>
          </p:txBody>
        </p:sp>
        <p:sp>
          <p:nvSpPr>
            <p:cNvPr id="21" name="TextBox 20"/>
            <p:cNvSpPr txBox="1"/>
            <p:nvPr/>
          </p:nvSpPr>
          <p:spPr>
            <a:xfrm>
              <a:off x="5480412" y="5756276"/>
              <a:ext cx="1938095" cy="553998"/>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500" b="1" i="0" u="none" strike="noStrike" kern="1200" cap="none" spc="0" normalizeH="0" baseline="0" noProof="0">
                  <a:ln>
                    <a:noFill/>
                  </a:ln>
                  <a:solidFill>
                    <a:srgbClr val="3B3B3C"/>
                  </a:solidFill>
                  <a:effectLst/>
                  <a:uLnTx/>
                  <a:uFillTx/>
                  <a:latin typeface="Arial"/>
                  <a:ea typeface="+mn-ea"/>
                  <a:cs typeface="Times New Roman" panose="02020603050405020304" pitchFamily="18" charset="0"/>
                </a:rPr>
                <a:t>Houston G. Wood</a:t>
              </a:r>
              <a:r>
                <a:rPr kumimoji="0" lang="en-US" sz="1500" b="0" i="0" u="none" strike="noStrike" kern="1200" cap="none" spc="0" normalizeH="0" baseline="30000" noProof="0">
                  <a:ln>
                    <a:noFill/>
                  </a:ln>
                  <a:solidFill>
                    <a:srgbClr val="3B3B3C"/>
                  </a:solidFill>
                  <a:effectLst/>
                  <a:uLnTx/>
                  <a:uFillTx/>
                  <a:latin typeface="Arial"/>
                  <a:ea typeface="+mn-ea"/>
                  <a:cs typeface="Times New Roman" panose="02020603050405020304" pitchFamily="18" charset="0"/>
                </a:rPr>
                <a:t>3</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3B3B3C"/>
                  </a:solidFill>
                  <a:effectLst/>
                  <a:uLnTx/>
                  <a:uFillTx/>
                  <a:latin typeface="Arial"/>
                  <a:ea typeface="+mn-ea"/>
                  <a:cs typeface="Times New Roman" panose="02020603050405020304" pitchFamily="18" charset="0"/>
                </a:rPr>
                <a:t>University of Virginia</a:t>
              </a:r>
            </a:p>
          </p:txBody>
        </p:sp>
      </p:grpSp>
      <p:sp>
        <p:nvSpPr>
          <p:cNvPr id="22" name="TextBox 21"/>
          <p:cNvSpPr txBox="1"/>
          <p:nvPr/>
        </p:nvSpPr>
        <p:spPr>
          <a:xfrm>
            <a:off x="6439884" y="6400412"/>
            <a:ext cx="4631396" cy="276999"/>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30000" noProof="0">
                <a:ln>
                  <a:noFill/>
                </a:ln>
                <a:solidFill>
                  <a:srgbClr val="3B3B3C"/>
                </a:solidFill>
                <a:effectLst/>
                <a:uLnTx/>
                <a:uFillTx/>
                <a:latin typeface="Arial"/>
                <a:ea typeface="+mn-ea"/>
                <a:cs typeface="+mn-cs"/>
              </a:rPr>
              <a:t>1</a:t>
            </a:r>
            <a:r>
              <a:rPr kumimoji="0" lang="en-US" sz="1200" b="0" i="0" u="none" strike="noStrike" kern="1200" cap="none" spc="0" normalizeH="0" baseline="0" noProof="0">
                <a:ln>
                  <a:noFill/>
                </a:ln>
                <a:solidFill>
                  <a:srgbClr val="3B3B3C"/>
                </a:solidFill>
                <a:effectLst/>
                <a:uLnTx/>
                <a:uFillTx/>
                <a:latin typeface="Arial"/>
                <a:ea typeface="+mn-ea"/>
                <a:cs typeface="+mn-cs"/>
              </a:rPr>
              <a:t> Until July 2022; </a:t>
            </a:r>
            <a:r>
              <a:rPr kumimoji="0" lang="en-US" sz="1200" b="0" i="0" u="none" strike="noStrike" kern="1200" cap="none" spc="0" normalizeH="0" baseline="30000" noProof="0">
                <a:ln>
                  <a:noFill/>
                </a:ln>
                <a:solidFill>
                  <a:srgbClr val="3B3B3C"/>
                </a:solidFill>
                <a:effectLst/>
                <a:uLnTx/>
                <a:uFillTx/>
                <a:latin typeface="Arial"/>
                <a:ea typeface="+mn-ea"/>
                <a:cs typeface="+mn-cs"/>
              </a:rPr>
              <a:t>2</a:t>
            </a:r>
            <a:r>
              <a:rPr kumimoji="0" lang="en-US" sz="1200" b="0" i="0" u="none" strike="noStrike" kern="1200" cap="none" spc="0" normalizeH="0" baseline="0" noProof="0">
                <a:ln>
                  <a:noFill/>
                </a:ln>
                <a:solidFill>
                  <a:srgbClr val="3B3B3C"/>
                </a:solidFill>
                <a:effectLst/>
                <a:uLnTx/>
                <a:uFillTx/>
                <a:latin typeface="Arial"/>
                <a:ea typeface="+mn-ea"/>
                <a:cs typeface="+mn-cs"/>
              </a:rPr>
              <a:t> Until September 2022; </a:t>
            </a:r>
            <a:r>
              <a:rPr kumimoji="0" lang="en-US" sz="1200" b="0" i="0" u="none" strike="noStrike" kern="1200" cap="none" spc="0" normalizeH="0" baseline="30000" noProof="0">
                <a:ln>
                  <a:noFill/>
                </a:ln>
                <a:solidFill>
                  <a:srgbClr val="3B3B3C"/>
                </a:solidFill>
                <a:effectLst/>
                <a:uLnTx/>
                <a:uFillTx/>
                <a:latin typeface="Arial"/>
                <a:ea typeface="+mn-ea"/>
                <a:cs typeface="+mn-cs"/>
              </a:rPr>
              <a:t>3</a:t>
            </a:r>
            <a:r>
              <a:rPr kumimoji="0" lang="en-US" sz="1200" b="0" i="0" u="none" strike="noStrike" kern="1200" cap="none" spc="0" normalizeH="0" baseline="0" noProof="0">
                <a:ln>
                  <a:noFill/>
                </a:ln>
                <a:solidFill>
                  <a:srgbClr val="3B3B3C"/>
                </a:solidFill>
                <a:effectLst/>
                <a:uLnTx/>
                <a:uFillTx/>
                <a:latin typeface="Arial"/>
                <a:ea typeface="+mn-ea"/>
                <a:cs typeface="+mn-cs"/>
              </a:rPr>
              <a:t> Until September 2021</a:t>
            </a:r>
          </a:p>
        </p:txBody>
      </p:sp>
      <p:pic>
        <p:nvPicPr>
          <p:cNvPr id="1026" name="Picture 2" descr="File:International Atomic Energy Agency Logo.svg - Wikimedia ..."/>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31796" y="1057375"/>
            <a:ext cx="368958" cy="457200"/>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Lawrence Livermore National Laboratory (LLNL) - Livermore ..."/>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98851" y="1765979"/>
            <a:ext cx="914400" cy="352044"/>
          </a:xfrm>
          <a:prstGeom prst="rect">
            <a:avLst/>
          </a:prstGeom>
          <a:noFill/>
          <a:extLst>
            <a:ext uri="{909E8E84-426E-40DD-AFC4-6F175D3DCCD1}">
              <a14:hiddenFill xmlns:a14="http://schemas.microsoft.com/office/drawing/2010/main">
                <a:solidFill>
                  <a:srgbClr val="FFFFFF"/>
                </a:solidFill>
              </a14:hiddenFill>
            </a:ext>
          </a:extLst>
        </p:spPr>
      </p:pic>
      <p:pic>
        <p:nvPicPr>
          <p:cNvPr id="1036" name="Picture 12" descr="Stanford University Logo, symbol, meaning, history, 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298851" y="2330749"/>
            <a:ext cx="914400" cy="514350"/>
          </a:xfrm>
          <a:prstGeom prst="rect">
            <a:avLst/>
          </a:prstGeom>
          <a:noFill/>
          <a:extLst>
            <a:ext uri="{909E8E84-426E-40DD-AFC4-6F175D3DCCD1}">
              <a14:hiddenFill xmlns:a14="http://schemas.microsoft.com/office/drawing/2010/main">
                <a:solidFill>
                  <a:srgbClr val="FFFFFF"/>
                </a:solidFill>
              </a14:hiddenFill>
            </a:ext>
          </a:extLst>
        </p:spPr>
      </p:pic>
      <p:pic>
        <p:nvPicPr>
          <p:cNvPr id="1038" name="Picture 14" descr="Margaret S.Y. Chu"/>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298851" y="3076462"/>
            <a:ext cx="914400" cy="337832"/>
          </a:xfrm>
          <a:prstGeom prst="rect">
            <a:avLst/>
          </a:prstGeom>
          <a:noFill/>
          <a:extLst>
            <a:ext uri="{909E8E84-426E-40DD-AFC4-6F175D3DCCD1}">
              <a14:hiddenFill xmlns:a14="http://schemas.microsoft.com/office/drawing/2010/main">
                <a:solidFill>
                  <a:srgbClr val="FFFFFF"/>
                </a:solidFill>
              </a14:hiddenFill>
            </a:ext>
          </a:extLst>
        </p:spPr>
      </p:pic>
      <p:pic>
        <p:nvPicPr>
          <p:cNvPr id="1042" name="Picture 18" descr="File:Argonnelablogo.PNG - Wikimedia Commons"/>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274596" y="3725173"/>
            <a:ext cx="914400" cy="319674"/>
          </a:xfrm>
          <a:prstGeom prst="rect">
            <a:avLst/>
          </a:prstGeom>
          <a:noFill/>
          <a:extLst>
            <a:ext uri="{909E8E84-426E-40DD-AFC4-6F175D3DCCD1}">
              <a14:hiddenFill xmlns:a14="http://schemas.microsoft.com/office/drawing/2010/main">
                <a:solidFill>
                  <a:srgbClr val="FFFFFF"/>
                </a:solidFill>
              </a14:hiddenFill>
            </a:ext>
          </a:extLst>
        </p:spPr>
      </p:pic>
      <p:pic>
        <p:nvPicPr>
          <p:cNvPr id="1044" name="Picture 20" descr="Logos – Brand &amp; Visual Identity"/>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643554" y="4981813"/>
            <a:ext cx="457200" cy="485413"/>
          </a:xfrm>
          <a:prstGeom prst="rect">
            <a:avLst/>
          </a:prstGeom>
          <a:noFill/>
          <a:extLst>
            <a:ext uri="{909E8E84-426E-40DD-AFC4-6F175D3DCCD1}">
              <a14:hiddenFill xmlns:a14="http://schemas.microsoft.com/office/drawing/2010/main">
                <a:solidFill>
                  <a:srgbClr val="FFFFFF"/>
                </a:solidFill>
              </a14:hiddenFill>
            </a:ext>
          </a:extLst>
        </p:spPr>
      </p:pic>
      <p:pic>
        <p:nvPicPr>
          <p:cNvPr id="1046" name="Picture 22" descr="Union of Concerned Scientists"/>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298851" y="5635424"/>
            <a:ext cx="914400" cy="480060"/>
          </a:xfrm>
          <a:prstGeom prst="rect">
            <a:avLst/>
          </a:prstGeom>
          <a:noFill/>
          <a:extLst>
            <a:ext uri="{909E8E84-426E-40DD-AFC4-6F175D3DCCD1}">
              <a14:hiddenFill xmlns:a14="http://schemas.microsoft.com/office/drawing/2010/main">
                <a:solidFill>
                  <a:srgbClr val="FFFFFF"/>
                </a:solidFill>
              </a14:hiddenFill>
            </a:ext>
          </a:extLst>
        </p:spPr>
      </p:pic>
      <p:pic>
        <p:nvPicPr>
          <p:cNvPr id="1050" name="Picture 26" descr="UBC Logo - University of British Columbia | University logo ..."/>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9711619" y="1056720"/>
            <a:ext cx="457200" cy="457200"/>
          </a:xfrm>
          <a:prstGeom prst="rect">
            <a:avLst/>
          </a:prstGeom>
          <a:noFill/>
          <a:extLst>
            <a:ext uri="{909E8E84-426E-40DD-AFC4-6F175D3DCCD1}">
              <a14:hiddenFill xmlns:a14="http://schemas.microsoft.com/office/drawing/2010/main">
                <a:solidFill>
                  <a:srgbClr val="FFFFFF"/>
                </a:solidFill>
              </a14:hiddenFill>
            </a:ext>
          </a:extLst>
        </p:spPr>
      </p:pic>
      <p:pic>
        <p:nvPicPr>
          <p:cNvPr id="1052" name="Picture 28" descr="EPRI names Mansoor as new CEO"/>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9528739" y="1625511"/>
            <a:ext cx="822960" cy="534390"/>
          </a:xfrm>
          <a:prstGeom prst="rect">
            <a:avLst/>
          </a:prstGeom>
          <a:noFill/>
          <a:extLst>
            <a:ext uri="{909E8E84-426E-40DD-AFC4-6F175D3DCCD1}">
              <a14:hiddenFill xmlns:a14="http://schemas.microsoft.com/office/drawing/2010/main">
                <a:solidFill>
                  <a:srgbClr val="FFFFFF"/>
                </a:solidFill>
              </a14:hiddenFill>
            </a:ext>
          </a:extLst>
        </p:spPr>
      </p:pic>
      <p:pic>
        <p:nvPicPr>
          <p:cNvPr id="1058" name="Picture 34" descr="Connecticut Department of Energy &amp; Environmental Protection ..."/>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9665899" y="3143408"/>
            <a:ext cx="548640" cy="548640"/>
          </a:xfrm>
          <a:prstGeom prst="rect">
            <a:avLst/>
          </a:prstGeom>
          <a:noFill/>
          <a:extLst>
            <a:ext uri="{909E8E84-426E-40DD-AFC4-6F175D3DCCD1}">
              <a14:hiddenFill xmlns:a14="http://schemas.microsoft.com/office/drawing/2010/main">
                <a:solidFill>
                  <a:srgbClr val="FFFFFF"/>
                </a:solidFill>
              </a14:hiddenFill>
            </a:ext>
          </a:extLst>
        </p:spPr>
      </p:pic>
      <p:pic>
        <p:nvPicPr>
          <p:cNvPr id="1060" name="Picture 36" descr="Sandia National Laboratories Logo PNG Transparent &amp; SVG ..."/>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9528739" y="3703982"/>
            <a:ext cx="822960" cy="822960"/>
          </a:xfrm>
          <a:prstGeom prst="rect">
            <a:avLst/>
          </a:prstGeom>
          <a:noFill/>
          <a:extLst>
            <a:ext uri="{909E8E84-426E-40DD-AFC4-6F175D3DCCD1}">
              <a14:hiddenFill xmlns:a14="http://schemas.microsoft.com/office/drawing/2010/main">
                <a:solidFill>
                  <a:srgbClr val="FFFFFF"/>
                </a:solidFill>
              </a14:hiddenFill>
            </a:ext>
          </a:extLst>
        </p:spPr>
      </p:pic>
      <p:pic>
        <p:nvPicPr>
          <p:cNvPr id="1062" name="Picture 38" descr="University of California, Berkeley - Wikipedia"/>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9665899" y="4428402"/>
            <a:ext cx="548640" cy="548640"/>
          </a:xfrm>
          <a:prstGeom prst="rect">
            <a:avLst/>
          </a:prstGeom>
          <a:noFill/>
          <a:extLst>
            <a:ext uri="{909E8E84-426E-40DD-AFC4-6F175D3DCCD1}">
              <a14:hiddenFill xmlns:a14="http://schemas.microsoft.com/office/drawing/2010/main">
                <a:solidFill>
                  <a:srgbClr val="FFFFFF"/>
                </a:solidFill>
              </a14:hiddenFill>
            </a:ext>
          </a:extLst>
        </p:spPr>
      </p:pic>
      <p:pic>
        <p:nvPicPr>
          <p:cNvPr id="1064" name="Picture 40" descr="University of Florida Logo and symbol, meaning, history, PNG ..."/>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9452539" y="4981016"/>
            <a:ext cx="975360" cy="548640"/>
          </a:xfrm>
          <a:prstGeom prst="rect">
            <a:avLst/>
          </a:prstGeom>
          <a:noFill/>
          <a:extLst>
            <a:ext uri="{909E8E84-426E-40DD-AFC4-6F175D3DCCD1}">
              <a14:hiddenFill xmlns:a14="http://schemas.microsoft.com/office/drawing/2010/main">
                <a:solidFill>
                  <a:srgbClr val="FFFFFF"/>
                </a:solidFill>
              </a14:hiddenFill>
            </a:ext>
          </a:extLst>
        </p:spPr>
      </p:pic>
      <p:pic>
        <p:nvPicPr>
          <p:cNvPr id="1066" name="Picture 42" descr="University of Virginia Logo, history, meaning, symbol, PNG"/>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9483019" y="5570889"/>
            <a:ext cx="914400" cy="514350"/>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2"/>
          <p:cNvPicPr>
            <a:picLocks noChangeAspect="1"/>
          </p:cNvPicPr>
          <p:nvPr/>
        </p:nvPicPr>
        <p:blipFill>
          <a:blip r:embed="rId16"/>
          <a:stretch>
            <a:fillRect/>
          </a:stretch>
        </p:blipFill>
        <p:spPr>
          <a:xfrm>
            <a:off x="9391579" y="2371177"/>
            <a:ext cx="1097280" cy="381484"/>
          </a:xfrm>
          <a:prstGeom prst="rect">
            <a:avLst/>
          </a:prstGeom>
        </p:spPr>
      </p:pic>
      <p:sp>
        <p:nvSpPr>
          <p:cNvPr id="23" name="Slide Number Placeholder 22"/>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F687C33-47E0-407C-B61F-DB8DDD78F4C7}" type="slidenum">
              <a:rPr kumimoji="0" lang="en-US" sz="1267" b="0" i="0" u="none" strike="noStrike" kern="1200" cap="none" spc="0" normalizeH="0" baseline="0" noProof="0" smtClean="0">
                <a:ln>
                  <a:noFill/>
                </a:ln>
                <a:solidFill>
                  <a:srgbClr val="7F7F7F"/>
                </a:solidFill>
                <a:effectLst/>
                <a:uLnTx/>
                <a:uFillTx/>
                <a:latin typeface="Arial"/>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50</a:t>
            </a:fld>
            <a:endParaRPr kumimoji="0" lang="en-US" sz="1267" b="0" i="0" u="none" strike="noStrike" kern="1200" cap="none" spc="0" normalizeH="0" baseline="0" noProof="0">
              <a:ln>
                <a:noFill/>
              </a:ln>
              <a:solidFill>
                <a:srgbClr val="7F7F7F"/>
              </a:solidFill>
              <a:effectLst/>
              <a:uLnTx/>
              <a:uFillTx/>
              <a:latin typeface="Arial"/>
              <a:ea typeface="+mn-ea"/>
              <a:cs typeface="+mn-cs"/>
            </a:endParaRPr>
          </a:p>
        </p:txBody>
      </p:sp>
    </p:spTree>
    <p:extLst>
      <p:ext uri="{BB962C8B-B14F-4D97-AF65-F5344CB8AC3E}">
        <p14:creationId xmlns:p14="http://schemas.microsoft.com/office/powerpoint/2010/main" val="3510889141"/>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Information Gathering</a:t>
            </a:r>
          </a:p>
        </p:txBody>
      </p:sp>
      <p:sp>
        <p:nvSpPr>
          <p:cNvPr id="3" name="Content Placeholder 2"/>
          <p:cNvSpPr>
            <a:spLocks noGrp="1"/>
          </p:cNvSpPr>
          <p:nvPr>
            <p:ph idx="1"/>
          </p:nvPr>
        </p:nvSpPr>
        <p:spPr>
          <a:xfrm>
            <a:off x="662940" y="1295557"/>
            <a:ext cx="9691024" cy="4514117"/>
          </a:xfrm>
        </p:spPr>
        <p:txBody>
          <a:bodyPr/>
          <a:lstStyle/>
          <a:p>
            <a:r>
              <a:rPr lang="en-US" sz="1800"/>
              <a:t>The committee held </a:t>
            </a:r>
            <a:r>
              <a:rPr lang="en-US" sz="1800">
                <a:solidFill>
                  <a:schemeClr val="accent2"/>
                </a:solidFill>
              </a:rPr>
              <a:t>12 public information-gathering </a:t>
            </a:r>
            <a:r>
              <a:rPr lang="en-US" sz="1800"/>
              <a:t>sessions between September 2020 and December 2021, hearing from over </a:t>
            </a:r>
            <a:r>
              <a:rPr lang="en-US" sz="1800">
                <a:solidFill>
                  <a:schemeClr val="accent2"/>
                </a:solidFill>
              </a:rPr>
              <a:t>80 speakers from academia, government, and industry</a:t>
            </a:r>
            <a:r>
              <a:rPr lang="en-US" sz="1800"/>
              <a:t>.</a:t>
            </a:r>
          </a:p>
          <a:p>
            <a:r>
              <a:rPr lang="en-US" sz="1800"/>
              <a:t>Presentations covered the following topics: </a:t>
            </a:r>
          </a:p>
          <a:p>
            <a:pPr lvl="1"/>
            <a:r>
              <a:rPr lang="en-US" sz="1400"/>
              <a:t>DOE and Congressional perspective on the report tasking </a:t>
            </a:r>
          </a:p>
          <a:p>
            <a:pPr lvl="1"/>
            <a:r>
              <a:rPr lang="en-US" sz="1400"/>
              <a:t>Reactor and fuel cycle plans of advanced reactor developers </a:t>
            </a:r>
          </a:p>
          <a:p>
            <a:pPr lvl="1"/>
            <a:r>
              <a:rPr lang="en-US" sz="1400"/>
              <a:t>Advanced fuel fabrication, including HALEU needs and availability</a:t>
            </a:r>
          </a:p>
          <a:p>
            <a:pPr lvl="1"/>
            <a:r>
              <a:rPr lang="en-US" sz="1400"/>
              <a:t>Nonproliferation, safeguards, security, and material accounting/attractiveness for advanced fuel cycles and reactors </a:t>
            </a:r>
          </a:p>
          <a:p>
            <a:pPr lvl="1"/>
            <a:r>
              <a:rPr lang="en-US" sz="1400"/>
              <a:t>Waste generation from advanced reactors and waste management/disposal considerations for advanced fuel cycles</a:t>
            </a:r>
          </a:p>
          <a:p>
            <a:pPr lvl="1"/>
            <a:r>
              <a:rPr lang="en-US" sz="1400"/>
              <a:t>Fuel cycle and versatile test reactor programs at INL and ANL, trends in fuel cycle workforce</a:t>
            </a:r>
          </a:p>
          <a:p>
            <a:pPr lvl="1"/>
            <a:r>
              <a:rPr lang="en-US" sz="1400"/>
              <a:t>French perspective on reprocessing and waste management </a:t>
            </a:r>
          </a:p>
          <a:p>
            <a:pPr lvl="1"/>
            <a:r>
              <a:rPr lang="en-US" sz="1400"/>
              <a:t>U.S. R&amp;D on reprocessing technologies </a:t>
            </a:r>
          </a:p>
          <a:p>
            <a:pPr lvl="1"/>
            <a:r>
              <a:rPr lang="en-US" sz="1400"/>
              <a:t>International advanced reactor and fuel cycle programs (Gen-IV Forum, Russia, France, Canada, China)</a:t>
            </a:r>
          </a:p>
          <a:p>
            <a:pPr lvl="1"/>
            <a:r>
              <a:rPr lang="en-US" sz="1400"/>
              <a:t>Utility perspective on advanced nuclear reactors and fuel cycles </a:t>
            </a:r>
          </a:p>
          <a:p>
            <a:pPr lvl="1"/>
            <a:endParaRPr lang="en-US"/>
          </a:p>
        </p:txBody>
      </p:sp>
      <p:sp>
        <p:nvSpPr>
          <p:cNvPr id="4" name="Slide Number Placeholder 3"/>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F687C33-47E0-407C-B61F-DB8DDD78F4C7}" type="slidenum">
              <a:rPr kumimoji="0" lang="en-US" sz="1267" b="0" i="0" u="none" strike="noStrike" kern="1200" cap="none" spc="0" normalizeH="0" baseline="0" noProof="0" smtClean="0">
                <a:ln>
                  <a:noFill/>
                </a:ln>
                <a:solidFill>
                  <a:srgbClr val="7F7F7F"/>
                </a:solidFill>
                <a:effectLst/>
                <a:uLnTx/>
                <a:uFillTx/>
                <a:latin typeface="Arial"/>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51</a:t>
            </a:fld>
            <a:endParaRPr kumimoji="0" lang="en-US" sz="1267" b="0" i="0" u="none" strike="noStrike" kern="1200" cap="none" spc="0" normalizeH="0" baseline="0" noProof="0">
              <a:ln>
                <a:noFill/>
              </a:ln>
              <a:solidFill>
                <a:srgbClr val="7F7F7F"/>
              </a:solidFill>
              <a:effectLst/>
              <a:uLnTx/>
              <a:uFillTx/>
              <a:latin typeface="Arial"/>
              <a:ea typeface="+mn-ea"/>
              <a:cs typeface="+mn-cs"/>
            </a:endParaRPr>
          </a:p>
        </p:txBody>
      </p:sp>
    </p:spTree>
    <p:extLst>
      <p:ext uri="{BB962C8B-B14F-4D97-AF65-F5344CB8AC3E}">
        <p14:creationId xmlns:p14="http://schemas.microsoft.com/office/powerpoint/2010/main" val="2481342689"/>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Placeholder 7"/>
          <p:cNvPicPr>
            <a:picLocks noGrp="1" noChangeAspect="1"/>
          </p:cNvPicPr>
          <p:nvPr>
            <p:ph type="pic" sz="quarter" idx="13"/>
          </p:nvPr>
        </p:nvPicPr>
        <p:blipFill>
          <a:blip r:embed="rId2">
            <a:extLst>
              <a:ext uri="{28A0092B-C50C-407E-A947-70E740481C1C}">
                <a14:useLocalDpi xmlns:a14="http://schemas.microsoft.com/office/drawing/2010/main" val="0"/>
              </a:ext>
            </a:extLst>
          </a:blip>
          <a:srcRect t="32411" b="32411"/>
          <a:stretch>
            <a:fillRect/>
          </a:stretch>
        </p:blipFill>
        <p:spPr/>
      </p:pic>
      <p:sp>
        <p:nvSpPr>
          <p:cNvPr id="10" name="Text Placeholder 9"/>
          <p:cNvSpPr>
            <a:spLocks noGrp="1"/>
          </p:cNvSpPr>
          <p:nvPr>
            <p:ph type="body" sz="quarter" idx="14"/>
          </p:nvPr>
        </p:nvSpPr>
        <p:spPr>
          <a:solidFill>
            <a:schemeClr val="tx2"/>
          </a:solidFill>
        </p:spPr>
        <p:txBody>
          <a:bodyPr/>
          <a:lstStyle/>
          <a:p>
            <a:r>
              <a:rPr lang="en-US" sz="3400" b="1">
                <a:solidFill>
                  <a:schemeClr val="bg1"/>
                </a:solidFill>
              </a:rPr>
              <a:t>Report Overview and</a:t>
            </a:r>
          </a:p>
          <a:p>
            <a:r>
              <a:rPr lang="en-US" sz="3400" b="1">
                <a:solidFill>
                  <a:schemeClr val="bg1"/>
                </a:solidFill>
              </a:rPr>
              <a:t>Select Findings and Recommendations</a:t>
            </a:r>
          </a:p>
        </p:txBody>
      </p:sp>
      <p:sp>
        <p:nvSpPr>
          <p:cNvPr id="2" name="Slide Number Placeholder 1"/>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F687C33-47E0-407C-B61F-DB8DDD78F4C7}" type="slidenum">
              <a:rPr kumimoji="0" lang="en-US" sz="1267" b="0" i="0" u="none" strike="noStrike" kern="1200" cap="none" spc="0" normalizeH="0" baseline="0" noProof="0" smtClean="0">
                <a:ln>
                  <a:noFill/>
                </a:ln>
                <a:solidFill>
                  <a:srgbClr val="7F7F7F"/>
                </a:solidFill>
                <a:effectLst/>
                <a:uLnTx/>
                <a:uFillTx/>
                <a:latin typeface="Arial"/>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52</a:t>
            </a:fld>
            <a:endParaRPr kumimoji="0" lang="en-US" sz="1267" b="0" i="0" u="none" strike="noStrike" kern="1200" cap="none" spc="0" normalizeH="0" baseline="0" noProof="0">
              <a:ln>
                <a:noFill/>
              </a:ln>
              <a:solidFill>
                <a:srgbClr val="7F7F7F"/>
              </a:solidFill>
              <a:effectLst/>
              <a:uLnTx/>
              <a:uFillTx/>
              <a:latin typeface="Arial"/>
              <a:ea typeface="+mn-ea"/>
              <a:cs typeface="+mn-cs"/>
            </a:endParaRPr>
          </a:p>
        </p:txBody>
      </p:sp>
    </p:spTree>
    <p:extLst>
      <p:ext uri="{BB962C8B-B14F-4D97-AF65-F5344CB8AC3E}">
        <p14:creationId xmlns:p14="http://schemas.microsoft.com/office/powerpoint/2010/main" val="1326829176"/>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6" name="Group 25"/>
          <p:cNvGrpSpPr/>
          <p:nvPr/>
        </p:nvGrpSpPr>
        <p:grpSpPr>
          <a:xfrm>
            <a:off x="436724" y="2251818"/>
            <a:ext cx="10367172" cy="2243748"/>
            <a:chOff x="436724" y="2085666"/>
            <a:chExt cx="10367172" cy="2243748"/>
          </a:xfrm>
        </p:grpSpPr>
        <p:grpSp>
          <p:nvGrpSpPr>
            <p:cNvPr id="3" name="Group 2"/>
            <p:cNvGrpSpPr/>
            <p:nvPr/>
          </p:nvGrpSpPr>
          <p:grpSpPr>
            <a:xfrm>
              <a:off x="436724" y="2085666"/>
              <a:ext cx="10367172" cy="2243748"/>
              <a:chOff x="179310" y="2570657"/>
              <a:chExt cx="10367172" cy="2243748"/>
            </a:xfrm>
          </p:grpSpPr>
          <p:pic>
            <p:nvPicPr>
              <p:cNvPr id="21" name="Picture 20"/>
              <p:cNvPicPr>
                <a:picLocks noChangeAspect="1"/>
              </p:cNvPicPr>
              <p:nvPr/>
            </p:nvPicPr>
            <p:blipFill rotWithShape="1">
              <a:blip r:embed="rId2"/>
              <a:srcRect t="25116" r="31114"/>
              <a:stretch/>
            </p:blipFill>
            <p:spPr>
              <a:xfrm>
                <a:off x="179310" y="2572706"/>
                <a:ext cx="6298890" cy="2241699"/>
              </a:xfrm>
              <a:prstGeom prst="rect">
                <a:avLst/>
              </a:prstGeom>
            </p:spPr>
          </p:pic>
          <p:pic>
            <p:nvPicPr>
              <p:cNvPr id="22" name="Picture 21"/>
              <p:cNvPicPr>
                <a:picLocks noChangeAspect="1"/>
              </p:cNvPicPr>
              <p:nvPr/>
            </p:nvPicPr>
            <p:blipFill rotWithShape="1">
              <a:blip r:embed="rId2"/>
              <a:srcRect l="68886" t="25046" r="13528" b="2"/>
              <a:stretch/>
            </p:blipFill>
            <p:spPr>
              <a:xfrm>
                <a:off x="6478201" y="2570657"/>
                <a:ext cx="1608083" cy="2243748"/>
              </a:xfrm>
              <a:prstGeom prst="rect">
                <a:avLst/>
              </a:prstGeom>
            </p:spPr>
          </p:pic>
          <p:pic>
            <p:nvPicPr>
              <p:cNvPr id="23" name="Picture 22"/>
              <p:cNvPicPr>
                <a:picLocks noChangeAspect="1"/>
              </p:cNvPicPr>
              <p:nvPr/>
            </p:nvPicPr>
            <p:blipFill rotWithShape="1">
              <a:blip r:embed="rId2"/>
              <a:srcRect l="73095" t="25303" r="-1"/>
              <a:stretch/>
            </p:blipFill>
            <p:spPr>
              <a:xfrm>
                <a:off x="8086284" y="2578315"/>
                <a:ext cx="2460198" cy="2236090"/>
              </a:xfrm>
              <a:prstGeom prst="rect">
                <a:avLst/>
              </a:prstGeom>
            </p:spPr>
          </p:pic>
        </p:grpSp>
        <p:sp>
          <p:nvSpPr>
            <p:cNvPr id="24" name="TextBox 23"/>
            <p:cNvSpPr txBox="1"/>
            <p:nvPr/>
          </p:nvSpPr>
          <p:spPr>
            <a:xfrm>
              <a:off x="7067855" y="2865120"/>
              <a:ext cx="1029449" cy="269304"/>
            </a:xfrm>
            <a:prstGeom prst="rect">
              <a:avLst/>
            </a:prstGeom>
            <a:solidFill>
              <a:schemeClr val="bg1"/>
            </a:solid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150" b="1" i="0" u="none" strike="noStrike" kern="1200" cap="none" spc="0" normalizeH="0" baseline="0" noProof="0">
                  <a:ln>
                    <a:noFill/>
                  </a:ln>
                  <a:solidFill>
                    <a:srgbClr val="3B3B3C"/>
                  </a:solidFill>
                  <a:effectLst/>
                  <a:uLnTx/>
                  <a:uFillTx/>
                  <a:latin typeface="Arial"/>
                  <a:ea typeface="+mn-ea"/>
                  <a:cs typeface="+mn-cs"/>
                </a:rPr>
                <a:t>Wet storage</a:t>
              </a:r>
            </a:p>
          </p:txBody>
        </p:sp>
        <p:sp>
          <p:nvSpPr>
            <p:cNvPr id="25" name="TextBox 24"/>
            <p:cNvSpPr txBox="1"/>
            <p:nvPr/>
          </p:nvSpPr>
          <p:spPr>
            <a:xfrm>
              <a:off x="8286838" y="2865119"/>
              <a:ext cx="1003801" cy="269304"/>
            </a:xfrm>
            <a:prstGeom prst="rect">
              <a:avLst/>
            </a:prstGeom>
            <a:solidFill>
              <a:schemeClr val="bg1"/>
            </a:solid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150" b="1" i="0" u="none" strike="noStrike" kern="1200" cap="none" spc="0" normalizeH="0" baseline="0" noProof="0">
                  <a:ln>
                    <a:noFill/>
                  </a:ln>
                  <a:solidFill>
                    <a:srgbClr val="3B3B3C"/>
                  </a:solidFill>
                  <a:effectLst/>
                  <a:uLnTx/>
                  <a:uFillTx/>
                  <a:latin typeface="Arial"/>
                  <a:ea typeface="+mn-ea"/>
                  <a:cs typeface="+mn-cs"/>
                </a:rPr>
                <a:t>Dry storage</a:t>
              </a:r>
            </a:p>
          </p:txBody>
        </p:sp>
      </p:grpSp>
      <p:sp>
        <p:nvSpPr>
          <p:cNvPr id="2" name="Title 1"/>
          <p:cNvSpPr>
            <a:spLocks noGrp="1"/>
          </p:cNvSpPr>
          <p:nvPr>
            <p:ph type="title"/>
          </p:nvPr>
        </p:nvSpPr>
        <p:spPr>
          <a:xfrm>
            <a:off x="662940" y="436881"/>
            <a:ext cx="10061887" cy="858676"/>
          </a:xfrm>
        </p:spPr>
        <p:txBody>
          <a:bodyPr/>
          <a:lstStyle/>
          <a:p>
            <a:r>
              <a:rPr lang="en-US"/>
              <a:t>Where are we now? </a:t>
            </a:r>
            <a:br>
              <a:rPr lang="en-US"/>
            </a:br>
            <a:r>
              <a:rPr lang="en-US" sz="2400"/>
              <a:t>Status of Fuel Cycle for Light Water Reactors (LWRs) in the United States </a:t>
            </a:r>
          </a:p>
        </p:txBody>
      </p:sp>
      <p:sp>
        <p:nvSpPr>
          <p:cNvPr id="16" name="TextBox 15"/>
          <p:cNvSpPr txBox="1"/>
          <p:nvPr/>
        </p:nvSpPr>
        <p:spPr>
          <a:xfrm>
            <a:off x="7383490" y="5376480"/>
            <a:ext cx="2757638" cy="830997"/>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4148C2"/>
                </a:solidFill>
                <a:effectLst/>
                <a:uLnTx/>
                <a:uFillTx/>
                <a:latin typeface="Arial"/>
                <a:ea typeface="+mn-ea"/>
                <a:cs typeface="+mn-cs"/>
              </a:rPr>
              <a:t>Dry storage is default endpoint for managing spent nuclear fuel</a:t>
            </a:r>
          </a:p>
        </p:txBody>
      </p:sp>
      <p:grpSp>
        <p:nvGrpSpPr>
          <p:cNvPr id="11" name="Group 10"/>
          <p:cNvGrpSpPr/>
          <p:nvPr/>
        </p:nvGrpSpPr>
        <p:grpSpPr>
          <a:xfrm>
            <a:off x="9076776" y="2380924"/>
            <a:ext cx="1727120" cy="2133888"/>
            <a:chOff x="8348672" y="2761673"/>
            <a:chExt cx="1727120" cy="2133888"/>
          </a:xfrm>
        </p:grpSpPr>
        <p:sp>
          <p:nvSpPr>
            <p:cNvPr id="9" name="Rectangle 8"/>
            <p:cNvSpPr/>
            <p:nvPr/>
          </p:nvSpPr>
          <p:spPr>
            <a:xfrm>
              <a:off x="8766182" y="2761673"/>
              <a:ext cx="1309610" cy="2133888"/>
            </a:xfrm>
            <a:prstGeom prst="rect">
              <a:avLst/>
            </a:prstGeom>
            <a:solidFill>
              <a:schemeClr val="bg1">
                <a:lumMod val="85000"/>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10" name="Rectangle 9"/>
            <p:cNvSpPr/>
            <p:nvPr/>
          </p:nvSpPr>
          <p:spPr>
            <a:xfrm>
              <a:off x="8348672" y="4257041"/>
              <a:ext cx="417509" cy="638520"/>
            </a:xfrm>
            <a:prstGeom prst="rect">
              <a:avLst/>
            </a:prstGeom>
            <a:solidFill>
              <a:schemeClr val="bg1">
                <a:lumMod val="85000"/>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grpSp>
      <p:grpSp>
        <p:nvGrpSpPr>
          <p:cNvPr id="27" name="Group 26"/>
          <p:cNvGrpSpPr/>
          <p:nvPr/>
        </p:nvGrpSpPr>
        <p:grpSpPr>
          <a:xfrm>
            <a:off x="510629" y="2361678"/>
            <a:ext cx="3713919" cy="2133888"/>
            <a:chOff x="510629" y="2195526"/>
            <a:chExt cx="3713919" cy="2133888"/>
          </a:xfrm>
        </p:grpSpPr>
        <p:sp>
          <p:nvSpPr>
            <p:cNvPr id="7" name="Rectangle 6"/>
            <p:cNvSpPr/>
            <p:nvPr/>
          </p:nvSpPr>
          <p:spPr>
            <a:xfrm>
              <a:off x="1659777" y="2195526"/>
              <a:ext cx="837572" cy="2133888"/>
            </a:xfrm>
            <a:prstGeom prst="rect">
              <a:avLst/>
            </a:prstGeom>
            <a:solidFill>
              <a:schemeClr val="bg1">
                <a:lumMod val="85000"/>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12" name="Rectangle 11"/>
            <p:cNvSpPr/>
            <p:nvPr/>
          </p:nvSpPr>
          <p:spPr>
            <a:xfrm>
              <a:off x="2497349" y="3688006"/>
              <a:ext cx="417509" cy="641408"/>
            </a:xfrm>
            <a:prstGeom prst="rect">
              <a:avLst/>
            </a:prstGeom>
            <a:solidFill>
              <a:schemeClr val="bg1">
                <a:lumMod val="85000"/>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grpSp>
          <p:nvGrpSpPr>
            <p:cNvPr id="6" name="Group 5">
              <a:extLst>
                <a:ext uri="{FF2B5EF4-FFF2-40B4-BE49-F238E27FC236}">
                  <a16:creationId xmlns:a16="http://schemas.microsoft.com/office/drawing/2014/main" id="{52A19DD9-984B-4F81-B322-7B15EA8EA3BE}"/>
                </a:ext>
              </a:extLst>
            </p:cNvPr>
            <p:cNvGrpSpPr/>
            <p:nvPr/>
          </p:nvGrpSpPr>
          <p:grpSpPr>
            <a:xfrm>
              <a:off x="2497349" y="2195526"/>
              <a:ext cx="1727199" cy="2133888"/>
              <a:chOff x="2997199" y="2761673"/>
              <a:chExt cx="1727199" cy="2133888"/>
            </a:xfrm>
          </p:grpSpPr>
          <p:sp>
            <p:nvSpPr>
              <p:cNvPr id="5" name="Rectangle 4"/>
              <p:cNvSpPr/>
              <p:nvPr/>
            </p:nvSpPr>
            <p:spPr>
              <a:xfrm>
                <a:off x="2997199" y="2761673"/>
                <a:ext cx="1727199" cy="1489593"/>
              </a:xfrm>
              <a:prstGeom prst="rect">
                <a:avLst/>
              </a:prstGeom>
              <a:solidFill>
                <a:schemeClr val="bg1">
                  <a:alpha val="7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18" name="Rectangle 17"/>
              <p:cNvSpPr/>
              <p:nvPr/>
            </p:nvSpPr>
            <p:spPr>
              <a:xfrm>
                <a:off x="3414708" y="4254153"/>
                <a:ext cx="1309690" cy="641408"/>
              </a:xfrm>
              <a:prstGeom prst="rect">
                <a:avLst/>
              </a:prstGeom>
              <a:solidFill>
                <a:schemeClr val="bg1">
                  <a:alpha val="7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grpSp>
        <p:sp>
          <p:nvSpPr>
            <p:cNvPr id="19" name="Rectangle 18"/>
            <p:cNvSpPr/>
            <p:nvPr/>
          </p:nvSpPr>
          <p:spPr>
            <a:xfrm>
              <a:off x="1348201" y="2195526"/>
              <a:ext cx="311576" cy="1489594"/>
            </a:xfrm>
            <a:prstGeom prst="rect">
              <a:avLst/>
            </a:prstGeom>
            <a:solidFill>
              <a:schemeClr val="bg1">
                <a:lumMod val="85000"/>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grpSp>
          <p:nvGrpSpPr>
            <p:cNvPr id="8" name="Group 7">
              <a:extLst>
                <a:ext uri="{FF2B5EF4-FFF2-40B4-BE49-F238E27FC236}">
                  <a16:creationId xmlns:a16="http://schemas.microsoft.com/office/drawing/2014/main" id="{B98FCF0D-A167-4B4C-953A-AC382F8B2A37}"/>
                </a:ext>
              </a:extLst>
            </p:cNvPr>
            <p:cNvGrpSpPr/>
            <p:nvPr/>
          </p:nvGrpSpPr>
          <p:grpSpPr>
            <a:xfrm>
              <a:off x="510629" y="2298973"/>
              <a:ext cx="1134227" cy="2030440"/>
              <a:chOff x="1010479" y="2865120"/>
              <a:chExt cx="1134227" cy="2030440"/>
            </a:xfrm>
          </p:grpSpPr>
          <p:sp>
            <p:nvSpPr>
              <p:cNvPr id="17" name="Rectangle 16"/>
              <p:cNvSpPr/>
              <p:nvPr/>
            </p:nvSpPr>
            <p:spPr>
              <a:xfrm>
                <a:off x="1010479" y="2865120"/>
                <a:ext cx="822651" cy="2030440"/>
              </a:xfrm>
              <a:prstGeom prst="rect">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20" name="Rectangle 19"/>
              <p:cNvSpPr/>
              <p:nvPr/>
            </p:nvSpPr>
            <p:spPr>
              <a:xfrm>
                <a:off x="1833130" y="4253729"/>
                <a:ext cx="311576" cy="641831"/>
              </a:xfrm>
              <a:prstGeom prst="rect">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grpSp>
      </p:grpSp>
      <p:cxnSp>
        <p:nvCxnSpPr>
          <p:cNvPr id="4" name="Straight Arrow Connector 3"/>
          <p:cNvCxnSpPr/>
          <p:nvPr/>
        </p:nvCxnSpPr>
        <p:spPr>
          <a:xfrm flipV="1">
            <a:off x="8762309" y="4607059"/>
            <a:ext cx="0" cy="731520"/>
          </a:xfrm>
          <a:prstGeom prst="straightConnector1">
            <a:avLst/>
          </a:prstGeom>
          <a:ln w="76200">
            <a:solidFill>
              <a:schemeClr val="accent2"/>
            </a:solidFill>
            <a:tailEnd type="triangle"/>
          </a:ln>
        </p:spPr>
        <p:style>
          <a:lnRef idx="1">
            <a:schemeClr val="accent1"/>
          </a:lnRef>
          <a:fillRef idx="0">
            <a:schemeClr val="accent1"/>
          </a:fillRef>
          <a:effectRef idx="0">
            <a:schemeClr val="accent1"/>
          </a:effectRef>
          <a:fontRef idx="minor">
            <a:schemeClr val="tx1"/>
          </a:fontRef>
        </p:style>
      </p:cxnSp>
      <p:grpSp>
        <p:nvGrpSpPr>
          <p:cNvPr id="31" name="Group 30"/>
          <p:cNvGrpSpPr/>
          <p:nvPr/>
        </p:nvGrpSpPr>
        <p:grpSpPr>
          <a:xfrm>
            <a:off x="1048310" y="1873282"/>
            <a:ext cx="9144000" cy="2276067"/>
            <a:chOff x="1048310" y="1873282"/>
            <a:chExt cx="9144000" cy="2276067"/>
          </a:xfrm>
        </p:grpSpPr>
        <p:pic>
          <p:nvPicPr>
            <p:cNvPr id="28" name="Picture 27"/>
            <p:cNvPicPr>
              <a:picLocks noChangeAspect="1"/>
            </p:cNvPicPr>
            <p:nvPr/>
          </p:nvPicPr>
          <p:blipFill rotWithShape="1">
            <a:blip r:embed="rId2"/>
            <a:srcRect b="83931"/>
            <a:stretch/>
          </p:blipFill>
          <p:spPr>
            <a:xfrm>
              <a:off x="1048310" y="1873282"/>
              <a:ext cx="9144000" cy="481035"/>
            </a:xfrm>
            <a:prstGeom prst="rect">
              <a:avLst/>
            </a:prstGeom>
          </p:spPr>
        </p:pic>
        <p:sp>
          <p:nvSpPr>
            <p:cNvPr id="29" name="Rectangle 28"/>
            <p:cNvSpPr/>
            <p:nvPr/>
          </p:nvSpPr>
          <p:spPr>
            <a:xfrm>
              <a:off x="8314395" y="3851271"/>
              <a:ext cx="172326" cy="298078"/>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grpSp>
      <p:sp>
        <p:nvSpPr>
          <p:cNvPr id="30" name="TextBox 29">
            <a:extLst>
              <a:ext uri="{FF2B5EF4-FFF2-40B4-BE49-F238E27FC236}">
                <a16:creationId xmlns:a16="http://schemas.microsoft.com/office/drawing/2014/main" id="{29CE2AFD-607A-4C81-8DAD-2E60DE89492B}"/>
              </a:ext>
            </a:extLst>
          </p:cNvPr>
          <p:cNvSpPr txBox="1"/>
          <p:nvPr/>
        </p:nvSpPr>
        <p:spPr>
          <a:xfrm>
            <a:off x="3092535" y="2029039"/>
            <a:ext cx="5464829" cy="338554"/>
          </a:xfrm>
          <a:prstGeom prst="rect">
            <a:avLst/>
          </a:prstGeom>
          <a:solidFill>
            <a:schemeClr val="bg1"/>
          </a:solid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3B3B3C"/>
                </a:solidFill>
                <a:effectLst/>
                <a:uLnTx/>
                <a:uFillTx/>
                <a:latin typeface="Arial"/>
                <a:ea typeface="+mn-ea"/>
                <a:cs typeface="+mn-cs"/>
              </a:rPr>
              <a:t>Once-through fuel cycle for LWRs with LEU-based fuel</a:t>
            </a:r>
          </a:p>
        </p:txBody>
      </p:sp>
      <p:sp>
        <p:nvSpPr>
          <p:cNvPr id="32" name="Rectangle 31"/>
          <p:cNvSpPr/>
          <p:nvPr/>
        </p:nvSpPr>
        <p:spPr>
          <a:xfrm>
            <a:off x="441716" y="5149061"/>
            <a:ext cx="2105018" cy="400109"/>
          </a:xfrm>
          <a:prstGeom prst="rect">
            <a:avLst/>
          </a:prstGeom>
          <a:solidFill>
            <a:schemeClr val="bg1">
              <a:lumMod val="85000"/>
              <a:alpha val="70000"/>
            </a:schemeClr>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white">
                    <a:lumMod val="50000"/>
                  </a:prstClr>
                </a:solidFill>
                <a:effectLst/>
                <a:uLnTx/>
                <a:uFillTx/>
                <a:latin typeface="Arial"/>
                <a:ea typeface="+mn-ea"/>
                <a:cs typeface="+mn-cs"/>
              </a:rPr>
              <a:t>no domestic capacity</a:t>
            </a:r>
          </a:p>
        </p:txBody>
      </p:sp>
      <p:sp>
        <p:nvSpPr>
          <p:cNvPr id="33" name="Rectangle 32"/>
          <p:cNvSpPr/>
          <p:nvPr/>
        </p:nvSpPr>
        <p:spPr>
          <a:xfrm>
            <a:off x="441716" y="5596517"/>
            <a:ext cx="2522527" cy="380770"/>
          </a:xfrm>
          <a:prstGeom prst="rect">
            <a:avLst/>
          </a:prstGeom>
          <a:solidFill>
            <a:schemeClr val="bg1">
              <a:alpha val="70000"/>
            </a:schemeClr>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white">
                    <a:lumMod val="65000"/>
                  </a:prstClr>
                </a:solidFill>
                <a:effectLst/>
                <a:uLnTx/>
                <a:uFillTx/>
                <a:latin typeface="Arial"/>
                <a:ea typeface="+mn-ea"/>
                <a:cs typeface="+mn-cs"/>
              </a:rPr>
              <a:t>partial domestic capacity</a:t>
            </a:r>
          </a:p>
        </p:txBody>
      </p:sp>
      <p:sp>
        <p:nvSpPr>
          <p:cNvPr id="13" name="Slide Number Placeholder 12"/>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F687C33-47E0-407C-B61F-DB8DDD78F4C7}" type="slidenum">
              <a:rPr kumimoji="0" lang="en-US" sz="1267" b="0" i="0" u="none" strike="noStrike" kern="1200" cap="none" spc="0" normalizeH="0" baseline="0" noProof="0" smtClean="0">
                <a:ln>
                  <a:noFill/>
                </a:ln>
                <a:solidFill>
                  <a:srgbClr val="7F7F7F"/>
                </a:solidFill>
                <a:effectLst/>
                <a:uLnTx/>
                <a:uFillTx/>
                <a:latin typeface="Arial"/>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53</a:t>
            </a:fld>
            <a:endParaRPr kumimoji="0" lang="en-US" sz="1267" b="0" i="0" u="none" strike="noStrike" kern="1200" cap="none" spc="0" normalizeH="0" baseline="0" noProof="0">
              <a:ln>
                <a:noFill/>
              </a:ln>
              <a:solidFill>
                <a:srgbClr val="7F7F7F"/>
              </a:solidFill>
              <a:effectLst/>
              <a:uLnTx/>
              <a:uFillTx/>
              <a:latin typeface="Arial"/>
              <a:ea typeface="+mn-ea"/>
              <a:cs typeface="+mn-cs"/>
            </a:endParaRPr>
          </a:p>
        </p:txBody>
      </p:sp>
    </p:spTree>
    <p:extLst>
      <p:ext uri="{BB962C8B-B14F-4D97-AF65-F5344CB8AC3E}">
        <p14:creationId xmlns:p14="http://schemas.microsoft.com/office/powerpoint/2010/main" val="4088763775"/>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13"/>
          <p:cNvPicPr>
            <a:picLocks noChangeAspect="1"/>
          </p:cNvPicPr>
          <p:nvPr/>
        </p:nvPicPr>
        <p:blipFill rotWithShape="1">
          <a:blip r:embed="rId3"/>
          <a:srcRect t="3222"/>
          <a:stretch/>
        </p:blipFill>
        <p:spPr>
          <a:xfrm>
            <a:off x="249054" y="1342904"/>
            <a:ext cx="8112776" cy="4572000"/>
          </a:xfrm>
          <a:prstGeom prst="rect">
            <a:avLst/>
          </a:prstGeom>
        </p:spPr>
      </p:pic>
      <p:sp>
        <p:nvSpPr>
          <p:cNvPr id="2" name="Title 1"/>
          <p:cNvSpPr>
            <a:spLocks noGrp="1"/>
          </p:cNvSpPr>
          <p:nvPr>
            <p:ph type="title"/>
          </p:nvPr>
        </p:nvSpPr>
        <p:spPr/>
        <p:txBody>
          <a:bodyPr/>
          <a:lstStyle/>
          <a:p>
            <a:r>
              <a:rPr lang="en-US"/>
              <a:t>Where could we go? </a:t>
            </a:r>
            <a:br>
              <a:rPr lang="en-US"/>
            </a:br>
            <a:r>
              <a:rPr lang="en-US" sz="2400"/>
              <a:t>Fuel cycle option with reprocessing for existing LWRs</a:t>
            </a:r>
          </a:p>
        </p:txBody>
      </p:sp>
      <p:sp>
        <p:nvSpPr>
          <p:cNvPr id="12" name="Rectangle 11"/>
          <p:cNvSpPr/>
          <p:nvPr/>
        </p:nvSpPr>
        <p:spPr>
          <a:xfrm>
            <a:off x="441716" y="5149061"/>
            <a:ext cx="2105018" cy="400109"/>
          </a:xfrm>
          <a:prstGeom prst="rect">
            <a:avLst/>
          </a:prstGeom>
          <a:solidFill>
            <a:schemeClr val="bg1">
              <a:lumMod val="85000"/>
              <a:alpha val="70000"/>
            </a:schemeClr>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white">
                    <a:lumMod val="50000"/>
                  </a:prstClr>
                </a:solidFill>
                <a:effectLst/>
                <a:uLnTx/>
                <a:uFillTx/>
                <a:latin typeface="Arial"/>
                <a:ea typeface="+mn-ea"/>
                <a:cs typeface="+mn-cs"/>
              </a:rPr>
              <a:t>no domestic capacity</a:t>
            </a:r>
          </a:p>
        </p:txBody>
      </p:sp>
      <p:sp>
        <p:nvSpPr>
          <p:cNvPr id="13" name="Rectangle 12"/>
          <p:cNvSpPr/>
          <p:nvPr/>
        </p:nvSpPr>
        <p:spPr>
          <a:xfrm>
            <a:off x="441716" y="5596517"/>
            <a:ext cx="2522527" cy="380770"/>
          </a:xfrm>
          <a:prstGeom prst="rect">
            <a:avLst/>
          </a:prstGeom>
          <a:solidFill>
            <a:schemeClr val="bg1">
              <a:alpha val="70000"/>
            </a:schemeClr>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white">
                    <a:lumMod val="65000"/>
                  </a:prstClr>
                </a:solidFill>
                <a:effectLst/>
                <a:uLnTx/>
                <a:uFillTx/>
                <a:latin typeface="Arial"/>
                <a:ea typeface="+mn-ea"/>
                <a:cs typeface="+mn-cs"/>
              </a:rPr>
              <a:t>partial domestic capacity</a:t>
            </a:r>
          </a:p>
        </p:txBody>
      </p:sp>
      <p:sp>
        <p:nvSpPr>
          <p:cNvPr id="19" name="Rectangle 18"/>
          <p:cNvSpPr/>
          <p:nvPr/>
        </p:nvSpPr>
        <p:spPr>
          <a:xfrm>
            <a:off x="8361830" y="2225811"/>
            <a:ext cx="3309158" cy="2862322"/>
          </a:xfrm>
          <a:prstGeom prst="rect">
            <a:avLst/>
          </a:prstGeom>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1" i="1" u="none" strike="noStrike" kern="1200" cap="none" spc="0" normalizeH="0" baseline="0" noProof="0">
                <a:ln>
                  <a:noFill/>
                </a:ln>
                <a:solidFill>
                  <a:srgbClr val="4148C2"/>
                </a:solidFill>
                <a:effectLst/>
                <a:uLnTx/>
                <a:uFillTx/>
                <a:latin typeface="Arial"/>
                <a:ea typeface="+mn-ea"/>
                <a:cs typeface="+mn-cs"/>
              </a:rPr>
              <a:t>From Finding 2:</a:t>
            </a:r>
            <a:r>
              <a:rPr kumimoji="0" lang="en-US" sz="1800" b="0" i="1" u="none" strike="noStrike" kern="1200" cap="none" spc="0" normalizeH="0" baseline="0" noProof="0">
                <a:ln>
                  <a:noFill/>
                </a:ln>
                <a:solidFill>
                  <a:srgbClr val="4148C2"/>
                </a:solidFill>
                <a:effectLst/>
                <a:uLnTx/>
                <a:uFillTx/>
                <a:latin typeface="Arial"/>
                <a:ea typeface="+mn-ea"/>
                <a:cs typeface="+mn-cs"/>
              </a:rPr>
              <a:t> </a:t>
            </a:r>
            <a:br>
              <a:rPr kumimoji="0" lang="en-US" sz="1800" b="0" i="1" u="none" strike="noStrike" kern="1200" cap="none" spc="0" normalizeH="0" baseline="0" noProof="0">
                <a:ln>
                  <a:noFill/>
                </a:ln>
                <a:solidFill>
                  <a:srgbClr val="4148C2"/>
                </a:solidFill>
                <a:effectLst/>
                <a:uLnTx/>
                <a:uFillTx/>
                <a:latin typeface="Arial"/>
                <a:ea typeface="+mn-ea"/>
                <a:cs typeface="+mn-cs"/>
              </a:rPr>
            </a:br>
            <a:r>
              <a:rPr kumimoji="0" lang="en-US" sz="1800" b="0" i="0" u="none" strike="noStrike" kern="1200" cap="none" spc="0" normalizeH="0" baseline="0" noProof="0">
                <a:ln>
                  <a:noFill/>
                </a:ln>
                <a:solidFill>
                  <a:srgbClr val="3B3B3C"/>
                </a:solidFill>
                <a:effectLst/>
                <a:uLnTx/>
                <a:uFillTx/>
                <a:latin typeface="Arial"/>
                <a:ea typeface="+mn-ea"/>
                <a:cs typeface="+mn-cs"/>
              </a:rPr>
              <a:t>Mono-recycling fuel cycle with existing LWRs as LWR-MOX (mixed oxide) fuel would add cost to power generation with no significant benefits, given the projected abundant supply of natural U and relatively low cost of U enrichment for the foreseeable future.</a:t>
            </a:r>
          </a:p>
        </p:txBody>
      </p:sp>
      <p:grpSp>
        <p:nvGrpSpPr>
          <p:cNvPr id="4" name="Group 3"/>
          <p:cNvGrpSpPr/>
          <p:nvPr/>
        </p:nvGrpSpPr>
        <p:grpSpPr>
          <a:xfrm>
            <a:off x="249054" y="1808214"/>
            <a:ext cx="7957128" cy="4098733"/>
            <a:chOff x="316430" y="1684621"/>
            <a:chExt cx="7957128" cy="4098733"/>
          </a:xfrm>
        </p:grpSpPr>
        <p:sp>
          <p:nvSpPr>
            <p:cNvPr id="10" name="Rectangle 9"/>
            <p:cNvSpPr/>
            <p:nvPr/>
          </p:nvSpPr>
          <p:spPr>
            <a:xfrm>
              <a:off x="7063748" y="2043852"/>
              <a:ext cx="1209810" cy="3007982"/>
            </a:xfrm>
            <a:prstGeom prst="rect">
              <a:avLst/>
            </a:prstGeom>
            <a:solidFill>
              <a:schemeClr val="bg1">
                <a:lumMod val="85000"/>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11" name="Rectangle 10"/>
            <p:cNvSpPr/>
            <p:nvPr/>
          </p:nvSpPr>
          <p:spPr>
            <a:xfrm>
              <a:off x="4708012" y="3064932"/>
              <a:ext cx="2355736" cy="1991070"/>
            </a:xfrm>
            <a:prstGeom prst="rect">
              <a:avLst/>
            </a:prstGeom>
            <a:solidFill>
              <a:schemeClr val="bg1">
                <a:lumMod val="85000"/>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15" name="Rectangle 14"/>
            <p:cNvSpPr/>
            <p:nvPr/>
          </p:nvSpPr>
          <p:spPr>
            <a:xfrm>
              <a:off x="4708119" y="5051834"/>
              <a:ext cx="989008" cy="731520"/>
            </a:xfrm>
            <a:prstGeom prst="rect">
              <a:avLst/>
            </a:prstGeom>
            <a:solidFill>
              <a:schemeClr val="bg1">
                <a:lumMod val="85000"/>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16" name="Rectangle 15"/>
            <p:cNvSpPr/>
            <p:nvPr/>
          </p:nvSpPr>
          <p:spPr>
            <a:xfrm>
              <a:off x="5602275" y="2043852"/>
              <a:ext cx="577517" cy="487095"/>
            </a:xfrm>
            <a:prstGeom prst="rect">
              <a:avLst/>
            </a:prstGeom>
            <a:solidFill>
              <a:schemeClr val="bg1">
                <a:lumMod val="85000"/>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18" name="Rectangle 17"/>
            <p:cNvSpPr/>
            <p:nvPr/>
          </p:nvSpPr>
          <p:spPr>
            <a:xfrm>
              <a:off x="1498564" y="1684621"/>
              <a:ext cx="670937" cy="1625906"/>
            </a:xfrm>
            <a:prstGeom prst="rect">
              <a:avLst/>
            </a:prstGeom>
            <a:solidFill>
              <a:schemeClr val="bg1">
                <a:lumMod val="85000"/>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20" name="Rectangle 19"/>
            <p:cNvSpPr/>
            <p:nvPr/>
          </p:nvSpPr>
          <p:spPr>
            <a:xfrm>
              <a:off x="2168180" y="2792035"/>
              <a:ext cx="312897" cy="518492"/>
            </a:xfrm>
            <a:prstGeom prst="rect">
              <a:avLst/>
            </a:prstGeom>
            <a:solidFill>
              <a:schemeClr val="bg1">
                <a:lumMod val="85000"/>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21" name="Rectangle 20"/>
            <p:cNvSpPr/>
            <p:nvPr/>
          </p:nvSpPr>
          <p:spPr>
            <a:xfrm>
              <a:off x="316430" y="1684621"/>
              <a:ext cx="809366" cy="1625906"/>
            </a:xfrm>
            <a:prstGeom prst="rect">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22" name="Rectangle 21"/>
            <p:cNvSpPr/>
            <p:nvPr/>
          </p:nvSpPr>
          <p:spPr>
            <a:xfrm>
              <a:off x="1138396" y="1684621"/>
              <a:ext cx="366039" cy="1104526"/>
            </a:xfrm>
            <a:prstGeom prst="rect">
              <a:avLst/>
            </a:prstGeom>
            <a:solidFill>
              <a:schemeClr val="bg1">
                <a:lumMod val="85000"/>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23" name="Rectangle 22"/>
            <p:cNvSpPr/>
            <p:nvPr/>
          </p:nvSpPr>
          <p:spPr>
            <a:xfrm>
              <a:off x="1125796" y="2791611"/>
              <a:ext cx="361454" cy="518916"/>
            </a:xfrm>
            <a:prstGeom prst="rect">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24" name="Rectangle 23"/>
            <p:cNvSpPr/>
            <p:nvPr/>
          </p:nvSpPr>
          <p:spPr>
            <a:xfrm>
              <a:off x="2172866" y="1684621"/>
              <a:ext cx="1308666" cy="1085552"/>
            </a:xfrm>
            <a:prstGeom prst="rect">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25" name="Rectangle 24"/>
            <p:cNvSpPr/>
            <p:nvPr/>
          </p:nvSpPr>
          <p:spPr>
            <a:xfrm>
              <a:off x="2473126" y="2757158"/>
              <a:ext cx="1098441" cy="553369"/>
            </a:xfrm>
            <a:prstGeom prst="rect">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grpSp>
      <p:sp>
        <p:nvSpPr>
          <p:cNvPr id="26" name="Rectangle 25">
            <a:extLst>
              <a:ext uri="{FF2B5EF4-FFF2-40B4-BE49-F238E27FC236}">
                <a16:creationId xmlns:a16="http://schemas.microsoft.com/office/drawing/2014/main" id="{03540BB1-0449-4171-AE0C-5BC9266E324A}"/>
              </a:ext>
            </a:extLst>
          </p:cNvPr>
          <p:cNvSpPr/>
          <p:nvPr/>
        </p:nvSpPr>
        <p:spPr>
          <a:xfrm>
            <a:off x="5727407" y="5242296"/>
            <a:ext cx="5538670" cy="1200329"/>
          </a:xfrm>
          <a:prstGeom prst="rect">
            <a:avLst/>
          </a:prstGeom>
          <a:solidFill>
            <a:schemeClr val="accent2">
              <a:lumMod val="20000"/>
              <a:lumOff val="80000"/>
            </a:schemeClr>
          </a:solidFill>
          <a:ln w="19050">
            <a:solidFill>
              <a:schemeClr val="accent2"/>
            </a:solidFill>
          </a:ln>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3B3B3C"/>
                </a:solidFill>
                <a:effectLst/>
                <a:uLnTx/>
                <a:uFillTx/>
                <a:latin typeface="Arial"/>
                <a:ea typeface="+mn-ea"/>
                <a:cs typeface="+mn-cs"/>
              </a:rPr>
              <a:t>Spent LWR-MOX fuel: </a:t>
            </a:r>
            <a:r>
              <a:rPr kumimoji="0" lang="en-US" sz="1800" b="0" i="0" u="none" strike="noStrike" kern="1200" cap="none" spc="0" normalizeH="0" baseline="0" noProof="0">
                <a:ln>
                  <a:noFill/>
                </a:ln>
                <a:solidFill>
                  <a:srgbClr val="3B3B3C"/>
                </a:solidFill>
                <a:effectLst/>
                <a:uLnTx/>
                <a:uFillTx/>
                <a:latin typeface="Arial"/>
                <a:ea typeface="+mn-ea"/>
                <a:cs typeface="+mn-cs"/>
              </a:rPr>
              <a:t>higher fissile inventory and minor actinides than spent UOX, giving rise to higher decay heat, potential for criticality, and radiation source term</a:t>
            </a:r>
          </a:p>
        </p:txBody>
      </p:sp>
      <p:sp>
        <p:nvSpPr>
          <p:cNvPr id="27" name="Rectangle: Rounded Corners 4">
            <a:extLst>
              <a:ext uri="{FF2B5EF4-FFF2-40B4-BE49-F238E27FC236}">
                <a16:creationId xmlns:a16="http://schemas.microsoft.com/office/drawing/2014/main" id="{51A56EDA-1DD9-4FFB-BA96-977A22F460FC}"/>
              </a:ext>
            </a:extLst>
          </p:cNvPr>
          <p:cNvSpPr/>
          <p:nvPr/>
        </p:nvSpPr>
        <p:spPr>
          <a:xfrm>
            <a:off x="4651498" y="3434120"/>
            <a:ext cx="2344874" cy="1714941"/>
          </a:xfrm>
          <a:prstGeom prst="roundRect">
            <a:avLst/>
          </a:prstGeom>
          <a:noFill/>
          <a:ln w="571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3429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Arial"/>
              <a:ea typeface="+mn-ea"/>
              <a:cs typeface="+mn-cs"/>
            </a:endParaRPr>
          </a:p>
        </p:txBody>
      </p:sp>
      <p:sp>
        <p:nvSpPr>
          <p:cNvPr id="3" name="Slide Number Placeholder 2"/>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F687C33-47E0-407C-B61F-DB8DDD78F4C7}" type="slidenum">
              <a:rPr kumimoji="0" lang="en-US" sz="1267" b="0" i="0" u="none" strike="noStrike" kern="1200" cap="none" spc="0" normalizeH="0" baseline="0" noProof="0" smtClean="0">
                <a:ln>
                  <a:noFill/>
                </a:ln>
                <a:solidFill>
                  <a:srgbClr val="7F7F7F"/>
                </a:solidFill>
                <a:effectLst/>
                <a:uLnTx/>
                <a:uFillTx/>
                <a:latin typeface="Arial"/>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54</a:t>
            </a:fld>
            <a:endParaRPr kumimoji="0" lang="en-US" sz="1267" b="0" i="0" u="none" strike="noStrike" kern="1200" cap="none" spc="0" normalizeH="0" baseline="0" noProof="0">
              <a:ln>
                <a:noFill/>
              </a:ln>
              <a:solidFill>
                <a:srgbClr val="7F7F7F"/>
              </a:solidFill>
              <a:effectLst/>
              <a:uLnTx/>
              <a:uFillTx/>
              <a:latin typeface="Arial"/>
              <a:ea typeface="+mn-ea"/>
              <a:cs typeface="+mn-cs"/>
            </a:endParaRPr>
          </a:p>
        </p:txBody>
      </p:sp>
    </p:spTree>
    <p:extLst>
      <p:ext uri="{BB962C8B-B14F-4D97-AF65-F5344CB8AC3E}">
        <p14:creationId xmlns:p14="http://schemas.microsoft.com/office/powerpoint/2010/main" val="100111239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9"/>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p:bldP spid="26" grpId="0" animBg="1"/>
    </p:bld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What advanced reactor designs did the committee consider? </a:t>
            </a:r>
          </a:p>
        </p:txBody>
      </p:sp>
      <p:sp>
        <p:nvSpPr>
          <p:cNvPr id="9" name="TextBox 8"/>
          <p:cNvSpPr txBox="1"/>
          <p:nvPr/>
        </p:nvSpPr>
        <p:spPr>
          <a:xfrm>
            <a:off x="662940" y="1633571"/>
            <a:ext cx="5937558" cy="4339650"/>
          </a:xfrm>
          <a:prstGeom prst="rect">
            <a:avLst/>
          </a:prstGeom>
          <a:noFill/>
        </p:spPr>
        <p:txBody>
          <a:bodyPr wrap="square" numCol="1" rtlCol="0">
            <a:spAutoFit/>
          </a:bodyPr>
          <a:lstStyle/>
          <a:p>
            <a:pPr marL="285750" marR="0" lvl="0" indent="-285750" algn="l" defTabSz="4572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3B3B3C"/>
                </a:solidFill>
                <a:effectLst/>
                <a:uLnTx/>
                <a:uFillTx/>
                <a:latin typeface="Arial"/>
                <a:ea typeface="+mn-ea"/>
                <a:cs typeface="+mn-cs"/>
              </a:rPr>
              <a:t>Small Modular Light Water Reactor (LWR-SMR)</a:t>
            </a:r>
          </a:p>
          <a:p>
            <a:pPr marL="285750" marR="0" lvl="0" indent="-285750" algn="l" defTabSz="4572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3B3B3C"/>
                </a:solidFill>
                <a:effectLst/>
                <a:uLnTx/>
                <a:uFillTx/>
                <a:latin typeface="Arial"/>
                <a:ea typeface="+mn-ea"/>
                <a:cs typeface="+mn-cs"/>
              </a:rPr>
              <a:t>Liquid-metal-cooled Fast Reactor (LMFR)</a:t>
            </a:r>
          </a:p>
          <a:p>
            <a:pPr marL="742950" marR="0" lvl="1" indent="-285750" algn="l" defTabSz="4572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3B3B3C"/>
                </a:solidFill>
                <a:effectLst/>
                <a:uLnTx/>
                <a:uFillTx/>
                <a:latin typeface="Arial"/>
                <a:ea typeface="+mn-ea"/>
                <a:cs typeface="+mn-cs"/>
              </a:rPr>
              <a:t>Sodium-cooled Fast Reactor (SFR)</a:t>
            </a:r>
          </a:p>
          <a:p>
            <a:pPr marL="742950" marR="0" lvl="1" indent="-285750" algn="l" defTabSz="4572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3B3B3C"/>
                </a:solidFill>
                <a:effectLst/>
                <a:uLnTx/>
                <a:uFillTx/>
                <a:latin typeface="Arial"/>
                <a:ea typeface="+mn-ea"/>
                <a:cs typeface="+mn-cs"/>
              </a:rPr>
              <a:t>Lead-cooled Fast reactor (LFR)</a:t>
            </a:r>
          </a:p>
          <a:p>
            <a:pPr marL="285750" marR="0" lvl="0" indent="-285750" algn="l" defTabSz="4572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3B3B3C"/>
                </a:solidFill>
                <a:effectLst/>
                <a:uLnTx/>
                <a:uFillTx/>
                <a:latin typeface="Arial"/>
                <a:ea typeface="+mn-ea"/>
                <a:cs typeface="+mn-cs"/>
              </a:rPr>
              <a:t>High-Temperature Reactor (HTR)</a:t>
            </a:r>
          </a:p>
          <a:p>
            <a:pPr marL="742950" marR="0" lvl="1" indent="-285750" algn="l" defTabSz="4572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3B3B3C"/>
                </a:solidFill>
                <a:effectLst/>
                <a:uLnTx/>
                <a:uFillTx/>
                <a:latin typeface="Arial"/>
                <a:ea typeface="+mn-ea"/>
                <a:cs typeface="+mn-cs"/>
              </a:rPr>
              <a:t>Gas-cooled High Temperature Reactor (HTGR)</a:t>
            </a:r>
          </a:p>
          <a:p>
            <a:pPr marL="742950" marR="0" lvl="1" indent="-285750" algn="l" defTabSz="4572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3B3B3C"/>
                </a:solidFill>
                <a:effectLst/>
                <a:uLnTx/>
                <a:uFillTx/>
                <a:latin typeface="Arial"/>
                <a:ea typeface="+mn-ea"/>
                <a:cs typeface="+mn-cs"/>
              </a:rPr>
              <a:t>Fluoride salt-cooled High Temperature Reactor (FHR)</a:t>
            </a:r>
          </a:p>
          <a:p>
            <a:pPr marL="285750" marR="0" lvl="0" indent="-285750" algn="l" defTabSz="4572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3B3B3C"/>
                </a:solidFill>
                <a:effectLst/>
                <a:uLnTx/>
                <a:uFillTx/>
                <a:latin typeface="Arial"/>
                <a:ea typeface="+mn-ea"/>
                <a:cs typeface="+mn-cs"/>
              </a:rPr>
              <a:t>Gas-Cooled Fast Reactor (GFR)</a:t>
            </a:r>
          </a:p>
          <a:p>
            <a:pPr marL="285750" marR="0" lvl="0" indent="-285750" algn="l" defTabSz="4572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3B3B3C"/>
                </a:solidFill>
                <a:effectLst/>
                <a:uLnTx/>
                <a:uFillTx/>
                <a:latin typeface="Arial"/>
                <a:ea typeface="+mn-ea"/>
                <a:cs typeface="+mn-cs"/>
              </a:rPr>
              <a:t>Molten Salt Fueled Reactor (MSR) – MS fueled and cooled</a:t>
            </a:r>
          </a:p>
          <a:p>
            <a:pPr marL="742950" marR="0" lvl="1" indent="-285750" algn="l" defTabSz="4572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3B3B3C"/>
                </a:solidFill>
                <a:effectLst/>
                <a:uLnTx/>
                <a:uFillTx/>
                <a:latin typeface="Arial"/>
                <a:ea typeface="+mn-ea"/>
                <a:cs typeface="+mn-cs"/>
              </a:rPr>
              <a:t>Fluoride based (F-MSR)</a:t>
            </a:r>
          </a:p>
          <a:p>
            <a:pPr marL="742950" marR="0" lvl="1" indent="-285750" algn="l" defTabSz="4572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3B3B3C"/>
                </a:solidFill>
                <a:effectLst/>
                <a:uLnTx/>
                <a:uFillTx/>
                <a:latin typeface="Arial"/>
                <a:ea typeface="+mn-ea"/>
                <a:cs typeface="+mn-cs"/>
              </a:rPr>
              <a:t>Chloride-based (Cl-MSR)</a:t>
            </a:r>
          </a:p>
        </p:txBody>
      </p:sp>
      <p:pic>
        <p:nvPicPr>
          <p:cNvPr id="6" name="Picture 5"/>
          <p:cNvPicPr>
            <a:picLocks noChangeAspect="1"/>
          </p:cNvPicPr>
          <p:nvPr/>
        </p:nvPicPr>
        <p:blipFill rotWithShape="1">
          <a:blip r:embed="rId2" cstate="print">
            <a:extLst>
              <a:ext uri="{28A0092B-C50C-407E-A947-70E740481C1C}">
                <a14:useLocalDpi xmlns:a14="http://schemas.microsoft.com/office/drawing/2010/main" val="0"/>
              </a:ext>
            </a:extLst>
          </a:blip>
          <a:srcRect l="4563" t="4297" r="3795" b="4592"/>
          <a:stretch/>
        </p:blipFill>
        <p:spPr>
          <a:xfrm>
            <a:off x="7037823" y="1038675"/>
            <a:ext cx="4297680" cy="5529443"/>
          </a:xfrm>
          <a:prstGeom prst="rect">
            <a:avLst/>
          </a:prstGeom>
        </p:spPr>
      </p:pic>
      <p:sp>
        <p:nvSpPr>
          <p:cNvPr id="3" name="Slide Number Placeholder 2"/>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F687C33-47E0-407C-B61F-DB8DDD78F4C7}" type="slidenum">
              <a:rPr kumimoji="0" lang="en-US" sz="1267" b="0" i="0" u="none" strike="noStrike" kern="1200" cap="none" spc="0" normalizeH="0" baseline="0" noProof="0" smtClean="0">
                <a:ln>
                  <a:noFill/>
                </a:ln>
                <a:solidFill>
                  <a:srgbClr val="7F7F7F"/>
                </a:solidFill>
                <a:effectLst/>
                <a:uLnTx/>
                <a:uFillTx/>
                <a:latin typeface="Arial"/>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55</a:t>
            </a:fld>
            <a:endParaRPr kumimoji="0" lang="en-US" sz="1267" b="0" i="0" u="none" strike="noStrike" kern="1200" cap="none" spc="0" normalizeH="0" baseline="0" noProof="0">
              <a:ln>
                <a:noFill/>
              </a:ln>
              <a:solidFill>
                <a:srgbClr val="7F7F7F"/>
              </a:solidFill>
              <a:effectLst/>
              <a:uLnTx/>
              <a:uFillTx/>
              <a:latin typeface="Arial"/>
              <a:ea typeface="+mn-ea"/>
              <a:cs typeface="+mn-cs"/>
            </a:endParaRPr>
          </a:p>
        </p:txBody>
      </p:sp>
    </p:spTree>
    <p:extLst>
      <p:ext uri="{BB962C8B-B14F-4D97-AF65-F5344CB8AC3E}">
        <p14:creationId xmlns:p14="http://schemas.microsoft.com/office/powerpoint/2010/main" val="74554077"/>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What advanced reactor designs did the committee consider? </a:t>
            </a:r>
          </a:p>
        </p:txBody>
      </p:sp>
      <p:graphicFrame>
        <p:nvGraphicFramePr>
          <p:cNvPr id="8" name="Table 7"/>
          <p:cNvGraphicFramePr>
            <a:graphicFrameLocks noGrp="1"/>
          </p:cNvGraphicFramePr>
          <p:nvPr/>
        </p:nvGraphicFramePr>
        <p:xfrm>
          <a:off x="483476" y="1386191"/>
          <a:ext cx="10831696" cy="4694752"/>
        </p:xfrm>
        <a:graphic>
          <a:graphicData uri="http://schemas.openxmlformats.org/drawingml/2006/table">
            <a:tbl>
              <a:tblPr firstRow="1" bandRow="1">
                <a:tableStyleId>{69012ECD-51FC-41F1-AA8D-1B2483CD663E}</a:tableStyleId>
              </a:tblPr>
              <a:tblGrid>
                <a:gridCol w="1114295">
                  <a:extLst>
                    <a:ext uri="{9D8B030D-6E8A-4147-A177-3AD203B41FA5}">
                      <a16:colId xmlns:a16="http://schemas.microsoft.com/office/drawing/2014/main" val="508414082"/>
                    </a:ext>
                  </a:extLst>
                </a:gridCol>
                <a:gridCol w="1439896">
                  <a:extLst>
                    <a:ext uri="{9D8B030D-6E8A-4147-A177-3AD203B41FA5}">
                      <a16:colId xmlns:a16="http://schemas.microsoft.com/office/drawing/2014/main" val="1377245176"/>
                    </a:ext>
                  </a:extLst>
                </a:gridCol>
                <a:gridCol w="2002863">
                  <a:extLst>
                    <a:ext uri="{9D8B030D-6E8A-4147-A177-3AD203B41FA5}">
                      <a16:colId xmlns:a16="http://schemas.microsoft.com/office/drawing/2014/main" val="3706776391"/>
                    </a:ext>
                  </a:extLst>
                </a:gridCol>
                <a:gridCol w="2022421">
                  <a:extLst>
                    <a:ext uri="{9D8B030D-6E8A-4147-A177-3AD203B41FA5}">
                      <a16:colId xmlns:a16="http://schemas.microsoft.com/office/drawing/2014/main" val="1876312709"/>
                    </a:ext>
                  </a:extLst>
                </a:gridCol>
                <a:gridCol w="1776249">
                  <a:extLst>
                    <a:ext uri="{9D8B030D-6E8A-4147-A177-3AD203B41FA5}">
                      <a16:colId xmlns:a16="http://schemas.microsoft.com/office/drawing/2014/main" val="1816340421"/>
                    </a:ext>
                  </a:extLst>
                </a:gridCol>
                <a:gridCol w="2475972">
                  <a:extLst>
                    <a:ext uri="{9D8B030D-6E8A-4147-A177-3AD203B41FA5}">
                      <a16:colId xmlns:a16="http://schemas.microsoft.com/office/drawing/2014/main" val="3111728626"/>
                    </a:ext>
                  </a:extLst>
                </a:gridCol>
              </a:tblGrid>
              <a:tr h="424504">
                <a:tc>
                  <a:txBody>
                    <a:bodyPr/>
                    <a:lstStyle/>
                    <a:p>
                      <a:endParaRPr lang="en-US"/>
                    </a:p>
                  </a:txBody>
                  <a:tcPr>
                    <a:lnR w="12700" cap="flat" cmpd="sng" algn="ctr">
                      <a:solidFill>
                        <a:schemeClr val="tx1"/>
                      </a:solidFill>
                      <a:prstDash val="solid"/>
                      <a:round/>
                      <a:headEnd type="none" w="med" len="med"/>
                      <a:tailEnd type="none" w="med" len="med"/>
                    </a:lnR>
                  </a:tcPr>
                </a:tc>
                <a:tc>
                  <a:txBody>
                    <a:bodyPr/>
                    <a:lstStyle/>
                    <a:p>
                      <a:pPr algn="l"/>
                      <a:r>
                        <a:rPr lang="en-US" sz="1400"/>
                        <a:t>LWR-SMR</a:t>
                      </a:r>
                    </a:p>
                  </a:txBody>
                  <a:tcPr anchor="ctr">
                    <a:lnL w="12700" cap="flat" cmpd="sng" algn="ctr">
                      <a:solidFill>
                        <a:schemeClr val="tx1"/>
                      </a:solidFill>
                      <a:prstDash val="solid"/>
                      <a:round/>
                      <a:headEnd type="none" w="med" len="med"/>
                      <a:tailEnd type="none" w="med" len="med"/>
                    </a:lnL>
                  </a:tcPr>
                </a:tc>
                <a:tc>
                  <a:txBody>
                    <a:bodyPr/>
                    <a:lstStyle/>
                    <a:p>
                      <a:r>
                        <a:rPr lang="en-US" sz="1400"/>
                        <a:t>LMFR</a:t>
                      </a:r>
                    </a:p>
                  </a:txBody>
                  <a:tcPr anchor="ctr"/>
                </a:tc>
                <a:tc>
                  <a:txBody>
                    <a:bodyPr/>
                    <a:lstStyle/>
                    <a:p>
                      <a:r>
                        <a:rPr lang="en-US" sz="1400"/>
                        <a:t>HTR</a:t>
                      </a:r>
                    </a:p>
                  </a:txBody>
                  <a:tcPr anchor="ctr"/>
                </a:tc>
                <a:tc>
                  <a:txBody>
                    <a:bodyPr/>
                    <a:lstStyle/>
                    <a:p>
                      <a:r>
                        <a:rPr lang="en-US" sz="1400"/>
                        <a:t>GFR</a:t>
                      </a:r>
                    </a:p>
                  </a:txBody>
                  <a:tcPr anchor="ctr"/>
                </a:tc>
                <a:tc>
                  <a:txBody>
                    <a:bodyPr/>
                    <a:lstStyle/>
                    <a:p>
                      <a:r>
                        <a:rPr lang="en-US" sz="1400"/>
                        <a:t>F or Cl</a:t>
                      </a:r>
                      <a:r>
                        <a:rPr lang="en-US" sz="1400" baseline="0"/>
                        <a:t> – MSR </a:t>
                      </a:r>
                      <a:endParaRPr lang="en-US" sz="1400"/>
                    </a:p>
                  </a:txBody>
                  <a:tcPr anchor="ctr"/>
                </a:tc>
                <a:extLst>
                  <a:ext uri="{0D108BD9-81ED-4DB2-BD59-A6C34878D82A}">
                    <a16:rowId xmlns:a16="http://schemas.microsoft.com/office/drawing/2014/main" val="298607321"/>
                  </a:ext>
                </a:extLst>
              </a:tr>
              <a:tr h="0">
                <a:tc>
                  <a:txBody>
                    <a:bodyPr/>
                    <a:lstStyle/>
                    <a:p>
                      <a:r>
                        <a:rPr lang="en-US" sz="1400"/>
                        <a:t>Coolant</a:t>
                      </a:r>
                    </a:p>
                  </a:txBody>
                  <a:tcPr anchor="ctr">
                    <a:lnR w="12700" cap="flat" cmpd="sng" algn="ctr">
                      <a:solidFill>
                        <a:schemeClr val="tx1"/>
                      </a:solidFill>
                      <a:prstDash val="solid"/>
                      <a:round/>
                      <a:headEnd type="none" w="med" len="med"/>
                      <a:tailEnd type="none" w="med" len="med"/>
                    </a:lnR>
                  </a:tcPr>
                </a:tc>
                <a:tc>
                  <a:txBody>
                    <a:bodyPr/>
                    <a:lstStyle/>
                    <a:p>
                      <a:r>
                        <a:rPr lang="en-US" sz="1400"/>
                        <a:t>Light water</a:t>
                      </a:r>
                    </a:p>
                  </a:txBody>
                  <a:tcPr anchor="ctr">
                    <a:lnL w="12700" cap="flat" cmpd="sng" algn="ctr">
                      <a:solidFill>
                        <a:schemeClr val="tx1"/>
                      </a:solidFill>
                      <a:prstDash val="solid"/>
                      <a:round/>
                      <a:headEnd type="none" w="med" len="med"/>
                      <a:tailEnd type="none" w="med" len="med"/>
                    </a:lnL>
                    <a:noFill/>
                  </a:tcPr>
                </a:tc>
                <a:tc>
                  <a:txBody>
                    <a:bodyPr/>
                    <a:lstStyle/>
                    <a:p>
                      <a:r>
                        <a:rPr lang="en-US" sz="1400"/>
                        <a:t>Liq. Na or </a:t>
                      </a:r>
                      <a:r>
                        <a:rPr lang="en-US" sz="1400" err="1"/>
                        <a:t>Pb</a:t>
                      </a:r>
                      <a:endParaRPr lang="en-US" sz="1400"/>
                    </a:p>
                  </a:txBody>
                  <a:tcPr anchor="ctr">
                    <a:noFill/>
                  </a:tcPr>
                </a:tc>
                <a:tc>
                  <a:txBody>
                    <a:bodyPr/>
                    <a:lstStyle/>
                    <a:p>
                      <a:r>
                        <a:rPr lang="en-US" sz="1400"/>
                        <a:t>Helium;</a:t>
                      </a:r>
                      <a:r>
                        <a:rPr lang="en-US" sz="1400" baseline="0"/>
                        <a:t> </a:t>
                      </a:r>
                      <a:r>
                        <a:rPr lang="en-US" sz="1400" err="1"/>
                        <a:t>FLiBe</a:t>
                      </a:r>
                      <a:r>
                        <a:rPr lang="en-US" sz="1400" baseline="0"/>
                        <a:t> molten salt</a:t>
                      </a:r>
                      <a:endParaRPr lang="en-US" sz="1400"/>
                    </a:p>
                  </a:txBody>
                  <a:tcPr anchor="ctr">
                    <a:noFill/>
                  </a:tcPr>
                </a:tc>
                <a:tc>
                  <a:txBody>
                    <a:bodyPr/>
                    <a:lstStyle/>
                    <a:p>
                      <a:r>
                        <a:rPr lang="en-US" sz="1400"/>
                        <a:t>Helium</a:t>
                      </a:r>
                    </a:p>
                  </a:txBody>
                  <a:tcPr anchor="ctr">
                    <a:noFill/>
                  </a:tcPr>
                </a:tc>
                <a:tc>
                  <a:txBody>
                    <a:bodyPr/>
                    <a:lstStyle/>
                    <a:p>
                      <a:r>
                        <a:rPr lang="en-US" sz="1400"/>
                        <a:t>NaF-BeF</a:t>
                      </a:r>
                      <a:r>
                        <a:rPr lang="en-US" sz="1400" baseline="-25000"/>
                        <a:t>2</a:t>
                      </a:r>
                      <a:r>
                        <a:rPr lang="en-US" sz="1400" baseline="0"/>
                        <a:t>; </a:t>
                      </a:r>
                      <a:r>
                        <a:rPr lang="en-US" sz="1400" baseline="30000"/>
                        <a:t>7</a:t>
                      </a:r>
                      <a:r>
                        <a:rPr lang="en-US" sz="1400" baseline="0"/>
                        <a:t>LiF-BeF</a:t>
                      </a:r>
                      <a:r>
                        <a:rPr lang="en-US" sz="1400" baseline="-25000"/>
                        <a:t>2</a:t>
                      </a:r>
                      <a:r>
                        <a:rPr lang="en-US" sz="1400" baseline="0"/>
                        <a:t>; Cl salt (</a:t>
                      </a:r>
                      <a:r>
                        <a:rPr lang="en-US" sz="1400" baseline="30000"/>
                        <a:t>37</a:t>
                      </a:r>
                      <a:r>
                        <a:rPr lang="en-US" sz="1400" baseline="0"/>
                        <a:t>Cl), MgCl</a:t>
                      </a:r>
                      <a:r>
                        <a:rPr lang="en-US" sz="1400" baseline="-25000"/>
                        <a:t>2</a:t>
                      </a:r>
                      <a:r>
                        <a:rPr lang="en-US" sz="1400" baseline="0"/>
                        <a:t>/</a:t>
                      </a:r>
                      <a:r>
                        <a:rPr lang="en-US" sz="1400" baseline="0" err="1"/>
                        <a:t>NaCl</a:t>
                      </a:r>
                      <a:r>
                        <a:rPr lang="en-US" sz="1400" baseline="0"/>
                        <a:t> (</a:t>
                      </a:r>
                      <a:r>
                        <a:rPr lang="en-US" sz="1400" baseline="30000"/>
                        <a:t>37</a:t>
                      </a:r>
                      <a:r>
                        <a:rPr lang="en-US" sz="1400" baseline="0"/>
                        <a:t>Cl)</a:t>
                      </a:r>
                    </a:p>
                  </a:txBody>
                  <a:tcPr anchor="ctr">
                    <a:noFill/>
                  </a:tcPr>
                </a:tc>
                <a:extLst>
                  <a:ext uri="{0D108BD9-81ED-4DB2-BD59-A6C34878D82A}">
                    <a16:rowId xmlns:a16="http://schemas.microsoft.com/office/drawing/2014/main" val="1325794444"/>
                  </a:ext>
                </a:extLst>
              </a:tr>
              <a:tr h="0">
                <a:tc>
                  <a:txBody>
                    <a:bodyPr/>
                    <a:lstStyle/>
                    <a:p>
                      <a:r>
                        <a:rPr lang="en-US" sz="1400"/>
                        <a:t>Fuel Type</a:t>
                      </a:r>
                    </a:p>
                  </a:txBody>
                  <a:tcPr anchor="ctr">
                    <a:lnR w="12700" cap="flat" cmpd="sng" algn="ctr">
                      <a:solidFill>
                        <a:schemeClr val="tx1"/>
                      </a:solidFill>
                      <a:prstDash val="solid"/>
                      <a:round/>
                      <a:headEnd type="none" w="med" len="med"/>
                      <a:tailEnd type="none" w="med" len="med"/>
                    </a:lnR>
                  </a:tcPr>
                </a:tc>
                <a:tc>
                  <a:txBody>
                    <a:bodyPr/>
                    <a:lstStyle/>
                    <a:p>
                      <a:r>
                        <a:rPr lang="en-US" sz="1400"/>
                        <a:t>U-oxide, </a:t>
                      </a:r>
                      <a:r>
                        <a:rPr lang="en-US" sz="1400" err="1"/>
                        <a:t>Zr</a:t>
                      </a:r>
                      <a:r>
                        <a:rPr lang="en-US" sz="1400"/>
                        <a:t> clad</a:t>
                      </a:r>
                    </a:p>
                  </a:txBody>
                  <a:tcPr anchor="ctr">
                    <a:lnL w="12700" cap="flat" cmpd="sng" algn="ctr">
                      <a:solidFill>
                        <a:schemeClr val="tx1"/>
                      </a:solidFill>
                      <a:prstDash val="solid"/>
                      <a:round/>
                      <a:headEnd type="none" w="med" len="med"/>
                      <a:tailEnd type="none" w="med" len="med"/>
                    </a:lnL>
                    <a:noFill/>
                  </a:tcPr>
                </a:tc>
                <a:tc>
                  <a:txBody>
                    <a:bodyPr/>
                    <a:lstStyle/>
                    <a:p>
                      <a:r>
                        <a:rPr lang="en-US" sz="1400"/>
                        <a:t>U-metal</a:t>
                      </a:r>
                      <a:r>
                        <a:rPr lang="en-US" sz="1400" baseline="0"/>
                        <a:t> alloy/Steel clad; UN (</a:t>
                      </a:r>
                      <a:r>
                        <a:rPr lang="en-US" sz="1400" baseline="30000"/>
                        <a:t>15</a:t>
                      </a:r>
                      <a:r>
                        <a:rPr lang="en-US" sz="1400" baseline="0"/>
                        <a:t>N)/Steel clad</a:t>
                      </a:r>
                      <a:endParaRPr lang="en-US" sz="1400"/>
                    </a:p>
                  </a:txBody>
                  <a:tcPr anchor="ctr">
                    <a:noFill/>
                  </a:tcPr>
                </a:tc>
                <a:tc>
                  <a:txBody>
                    <a:bodyPr/>
                    <a:lstStyle/>
                    <a:p>
                      <a:r>
                        <a:rPr lang="en-US" sz="1400"/>
                        <a:t>UCO TRISO pebble</a:t>
                      </a:r>
                    </a:p>
                  </a:txBody>
                  <a:tcPr anchor="ctr">
                    <a:noFill/>
                  </a:tcPr>
                </a:tc>
                <a:tc>
                  <a:txBody>
                    <a:bodyPr/>
                    <a:lstStyle/>
                    <a:p>
                      <a:r>
                        <a:rPr lang="en-US" sz="1400"/>
                        <a:t>UC/</a:t>
                      </a:r>
                      <a:r>
                        <a:rPr lang="en-US" sz="1400" err="1"/>
                        <a:t>SiC</a:t>
                      </a:r>
                      <a:r>
                        <a:rPr lang="en-US" sz="1400"/>
                        <a:t> clad</a:t>
                      </a:r>
                    </a:p>
                  </a:txBody>
                  <a:tcPr anchor="ctr">
                    <a:noFill/>
                  </a:tcPr>
                </a:tc>
                <a:tc>
                  <a:txBody>
                    <a:bodyPr/>
                    <a:lstStyle/>
                    <a:p>
                      <a:r>
                        <a:rPr lang="en-US" sz="1400"/>
                        <a:t>Liq.</a:t>
                      </a:r>
                      <a:r>
                        <a:rPr lang="en-US" sz="1400" baseline="0"/>
                        <a:t> U or </a:t>
                      </a:r>
                      <a:r>
                        <a:rPr lang="en-US" sz="1400" baseline="0" err="1"/>
                        <a:t>Th</a:t>
                      </a:r>
                      <a:r>
                        <a:rPr lang="en-US" sz="1400" baseline="0"/>
                        <a:t> fluoride; liq. U or Pu chloride; </a:t>
                      </a:r>
                      <a:r>
                        <a:rPr lang="en-US" sz="1400" baseline="0" err="1"/>
                        <a:t>Moltex</a:t>
                      </a:r>
                      <a:r>
                        <a:rPr lang="en-US" sz="1400" baseline="0"/>
                        <a:t> static fuel pins</a:t>
                      </a:r>
                      <a:endParaRPr lang="en-US" sz="1400"/>
                    </a:p>
                  </a:txBody>
                  <a:tcPr anchor="ctr">
                    <a:noFill/>
                  </a:tcPr>
                </a:tc>
                <a:extLst>
                  <a:ext uri="{0D108BD9-81ED-4DB2-BD59-A6C34878D82A}">
                    <a16:rowId xmlns:a16="http://schemas.microsoft.com/office/drawing/2014/main" val="3991828298"/>
                  </a:ext>
                </a:extLst>
              </a:tr>
              <a:tr h="0">
                <a:tc>
                  <a:txBody>
                    <a:bodyPr/>
                    <a:lstStyle/>
                    <a:p>
                      <a:r>
                        <a:rPr lang="en-US" sz="1400"/>
                        <a:t>Enrichment</a:t>
                      </a:r>
                    </a:p>
                  </a:txBody>
                  <a:tcPr anchor="ctr">
                    <a:lnR w="12700" cap="flat" cmpd="sng" algn="ctr">
                      <a:solidFill>
                        <a:schemeClr val="tx1"/>
                      </a:solidFill>
                      <a:prstDash val="solid"/>
                      <a:round/>
                      <a:headEnd type="none" w="med" len="med"/>
                      <a:tailEnd type="none" w="med" len="med"/>
                    </a:lnR>
                  </a:tcPr>
                </a:tc>
                <a:tc>
                  <a:txBody>
                    <a:bodyPr/>
                    <a:lstStyle/>
                    <a:p>
                      <a:r>
                        <a:rPr lang="en-US" sz="1400"/>
                        <a:t>LEU</a:t>
                      </a:r>
                    </a:p>
                  </a:txBody>
                  <a:tcPr anchor="ctr">
                    <a:lnL w="12700" cap="flat" cmpd="sng" algn="ctr">
                      <a:solidFill>
                        <a:schemeClr val="tx1"/>
                      </a:solidFill>
                      <a:prstDash val="solid"/>
                      <a:round/>
                      <a:headEnd type="none" w="med" len="med"/>
                      <a:tailEnd type="none" w="med" len="med"/>
                    </a:lnL>
                    <a:noFill/>
                  </a:tcPr>
                </a:tc>
                <a:tc>
                  <a:txBody>
                    <a:bodyPr/>
                    <a:lstStyle/>
                    <a:p>
                      <a:r>
                        <a:rPr lang="en-US" sz="1400"/>
                        <a:t>HALEU</a:t>
                      </a:r>
                    </a:p>
                  </a:txBody>
                  <a:tcPr anchor="ctr">
                    <a:noFill/>
                  </a:tcPr>
                </a:tc>
                <a:tc>
                  <a:txBody>
                    <a:bodyPr/>
                    <a:lstStyle/>
                    <a:p>
                      <a:r>
                        <a:rPr lang="en-US" sz="1400"/>
                        <a:t>HALEU</a:t>
                      </a:r>
                    </a:p>
                  </a:txBody>
                  <a:tcPr anchor="ctr">
                    <a:noFill/>
                  </a:tcPr>
                </a:tc>
                <a:tc>
                  <a:txBody>
                    <a:bodyPr/>
                    <a:lstStyle/>
                    <a:p>
                      <a:r>
                        <a:rPr lang="en-US" sz="1400"/>
                        <a:t>HALEU</a:t>
                      </a:r>
                    </a:p>
                  </a:txBody>
                  <a:tcPr anchor="ctr">
                    <a:noFill/>
                  </a:tcPr>
                </a:tc>
                <a:tc>
                  <a:txBody>
                    <a:bodyPr/>
                    <a:lstStyle/>
                    <a:p>
                      <a:r>
                        <a:rPr lang="en-US" sz="1400"/>
                        <a:t>LEU, DU,</a:t>
                      </a:r>
                      <a:r>
                        <a:rPr lang="en-US" sz="1400" baseline="0"/>
                        <a:t> or HALEU</a:t>
                      </a:r>
                      <a:endParaRPr lang="en-US" sz="1400"/>
                    </a:p>
                  </a:txBody>
                  <a:tcPr anchor="ctr">
                    <a:noFill/>
                  </a:tcPr>
                </a:tc>
                <a:extLst>
                  <a:ext uri="{0D108BD9-81ED-4DB2-BD59-A6C34878D82A}">
                    <a16:rowId xmlns:a16="http://schemas.microsoft.com/office/drawing/2014/main" val="3906219017"/>
                  </a:ext>
                </a:extLst>
              </a:tr>
              <a:tr h="0">
                <a:tc>
                  <a:txBody>
                    <a:bodyPr/>
                    <a:lstStyle/>
                    <a:p>
                      <a:r>
                        <a:rPr lang="en-US" sz="1400"/>
                        <a:t>Spectrum</a:t>
                      </a:r>
                    </a:p>
                  </a:txBody>
                  <a:tcPr anchor="ctr">
                    <a:lnR w="12700" cap="flat" cmpd="sng" algn="ctr">
                      <a:solidFill>
                        <a:schemeClr val="tx1"/>
                      </a:solidFill>
                      <a:prstDash val="solid"/>
                      <a:round/>
                      <a:headEnd type="none" w="med" len="med"/>
                      <a:tailEnd type="none" w="med" len="med"/>
                    </a:lnR>
                  </a:tcPr>
                </a:tc>
                <a:tc>
                  <a:txBody>
                    <a:bodyPr/>
                    <a:lstStyle/>
                    <a:p>
                      <a:r>
                        <a:rPr lang="en-US" sz="1400"/>
                        <a:t>Thermal</a:t>
                      </a:r>
                    </a:p>
                  </a:txBody>
                  <a:tcPr anchor="ctr">
                    <a:lnL w="12700" cap="flat" cmpd="sng" algn="ctr">
                      <a:solidFill>
                        <a:schemeClr val="tx1"/>
                      </a:solidFill>
                      <a:prstDash val="solid"/>
                      <a:round/>
                      <a:headEnd type="none" w="med" len="med"/>
                      <a:tailEnd type="none" w="med" len="med"/>
                    </a:lnL>
                    <a:noFill/>
                  </a:tcPr>
                </a:tc>
                <a:tc>
                  <a:txBody>
                    <a:bodyPr/>
                    <a:lstStyle/>
                    <a:p>
                      <a:r>
                        <a:rPr lang="en-US" sz="1400"/>
                        <a:t>Fast</a:t>
                      </a:r>
                    </a:p>
                  </a:txBody>
                  <a:tcPr anchor="ctr">
                    <a:noFill/>
                  </a:tcPr>
                </a:tc>
                <a:tc>
                  <a:txBody>
                    <a:bodyPr/>
                    <a:lstStyle/>
                    <a:p>
                      <a:r>
                        <a:rPr lang="en-US" sz="1400"/>
                        <a:t>Thermal</a:t>
                      </a:r>
                    </a:p>
                  </a:txBody>
                  <a:tcPr anchor="ctr">
                    <a:noFill/>
                  </a:tcPr>
                </a:tc>
                <a:tc>
                  <a:txBody>
                    <a:bodyPr/>
                    <a:lstStyle/>
                    <a:p>
                      <a:r>
                        <a:rPr lang="en-US" sz="1400"/>
                        <a:t>Fast</a:t>
                      </a:r>
                    </a:p>
                  </a:txBody>
                  <a:tcPr anchor="ctr">
                    <a:noFill/>
                  </a:tcPr>
                </a:tc>
                <a:tc>
                  <a:txBody>
                    <a:bodyPr/>
                    <a:lstStyle/>
                    <a:p>
                      <a:r>
                        <a:rPr lang="en-US" sz="1400"/>
                        <a:t>Thermal</a:t>
                      </a:r>
                      <a:r>
                        <a:rPr lang="en-US" sz="1400" baseline="0"/>
                        <a:t> or Fast</a:t>
                      </a:r>
                      <a:endParaRPr lang="en-US" sz="1400"/>
                    </a:p>
                  </a:txBody>
                  <a:tcPr anchor="ctr">
                    <a:noFill/>
                  </a:tcPr>
                </a:tc>
                <a:extLst>
                  <a:ext uri="{0D108BD9-81ED-4DB2-BD59-A6C34878D82A}">
                    <a16:rowId xmlns:a16="http://schemas.microsoft.com/office/drawing/2014/main" val="414296563"/>
                  </a:ext>
                </a:extLst>
              </a:tr>
              <a:tr h="521208">
                <a:tc>
                  <a:txBody>
                    <a:bodyPr/>
                    <a:lstStyle/>
                    <a:p>
                      <a:r>
                        <a:rPr lang="en-US" sz="1400"/>
                        <a:t>Proposed FC</a:t>
                      </a:r>
                    </a:p>
                  </a:txBody>
                  <a:tcPr anchor="ctr">
                    <a:lnR w="12700" cap="flat" cmpd="sng" algn="ctr">
                      <a:solidFill>
                        <a:schemeClr val="tx1"/>
                      </a:solidFill>
                      <a:prstDash val="solid"/>
                      <a:round/>
                      <a:headEnd type="none" w="med" len="med"/>
                      <a:tailEnd type="none" w="med" len="med"/>
                    </a:lnR>
                  </a:tcPr>
                </a:tc>
                <a:tc>
                  <a:txBody>
                    <a:bodyPr/>
                    <a:lstStyle/>
                    <a:p>
                      <a:r>
                        <a:rPr lang="en-US" sz="1400"/>
                        <a:t>OTC</a:t>
                      </a:r>
                    </a:p>
                  </a:txBody>
                  <a:tcPr anchor="ctr">
                    <a:lnL w="12700" cap="flat" cmpd="sng" algn="ctr">
                      <a:solidFill>
                        <a:schemeClr val="tx1"/>
                      </a:solidFill>
                      <a:prstDash val="solid"/>
                      <a:round/>
                      <a:headEnd type="none" w="med" len="med"/>
                      <a:tailEnd type="none" w="med" len="med"/>
                    </a:lnL>
                    <a:noFill/>
                  </a:tcPr>
                </a:tc>
                <a:tc>
                  <a:txBody>
                    <a:bodyPr/>
                    <a:lstStyle/>
                    <a:p>
                      <a:r>
                        <a:rPr lang="en-US" sz="1400"/>
                        <a:t>OTC* </a:t>
                      </a:r>
                      <a:r>
                        <a:rPr lang="en-US" sz="1400">
                          <a:sym typeface="Wingdings" panose="05000000000000000000" pitchFamily="2" charset="2"/>
                        </a:rPr>
                        <a:t> CFC</a:t>
                      </a:r>
                      <a:endParaRPr lang="en-US" sz="1400"/>
                    </a:p>
                  </a:txBody>
                  <a:tcPr anchor="ctr">
                    <a:noFill/>
                  </a:tcPr>
                </a:tc>
                <a:tc>
                  <a:txBody>
                    <a:bodyPr/>
                    <a:lstStyle/>
                    <a:p>
                      <a:r>
                        <a:rPr lang="en-US" sz="1400"/>
                        <a:t>OTC*</a:t>
                      </a:r>
                    </a:p>
                  </a:txBody>
                  <a:tcPr anchor="ctr">
                    <a:noFill/>
                  </a:tcPr>
                </a:tc>
                <a:tc>
                  <a:txBody>
                    <a:bodyPr/>
                    <a:lstStyle/>
                    <a:p>
                      <a:r>
                        <a:rPr lang="en-US" sz="1400"/>
                        <a:t>OTC* </a:t>
                      </a:r>
                      <a:r>
                        <a:rPr lang="en-US" sz="1400">
                          <a:sym typeface="Wingdings" panose="05000000000000000000" pitchFamily="2" charset="2"/>
                        </a:rPr>
                        <a:t> CFC</a:t>
                      </a:r>
                      <a:endParaRPr lang="en-US" sz="1400"/>
                    </a:p>
                  </a:txBody>
                  <a:tcPr anchor="ctr">
                    <a:noFill/>
                  </a:tcPr>
                </a:tc>
                <a:tc>
                  <a:txBody>
                    <a:bodyPr/>
                    <a:lstStyle/>
                    <a:p>
                      <a:r>
                        <a:rPr lang="en-US" sz="1400"/>
                        <a:t>OTC*</a:t>
                      </a:r>
                      <a:r>
                        <a:rPr lang="en-US" sz="1400" baseline="0"/>
                        <a:t> </a:t>
                      </a:r>
                      <a:r>
                        <a:rPr lang="en-US" sz="1400" baseline="0">
                          <a:sym typeface="Wingdings" panose="05000000000000000000" pitchFamily="2" charset="2"/>
                        </a:rPr>
                        <a:t> modified OTC  CFC</a:t>
                      </a:r>
                      <a:endParaRPr lang="en-US" sz="1400"/>
                    </a:p>
                  </a:txBody>
                  <a:tcPr anchor="ctr">
                    <a:noFill/>
                  </a:tcPr>
                </a:tc>
                <a:extLst>
                  <a:ext uri="{0D108BD9-81ED-4DB2-BD59-A6C34878D82A}">
                    <a16:rowId xmlns:a16="http://schemas.microsoft.com/office/drawing/2014/main" val="1270023870"/>
                  </a:ext>
                </a:extLst>
              </a:tr>
              <a:tr h="521208">
                <a:tc>
                  <a:txBody>
                    <a:bodyPr/>
                    <a:lstStyle/>
                    <a:p>
                      <a:r>
                        <a:rPr lang="en-US" sz="1400"/>
                        <a:t>Waste</a:t>
                      </a:r>
                    </a:p>
                  </a:txBody>
                  <a:tcPr anchor="ctr">
                    <a:lnR w="12700" cap="flat" cmpd="sng" algn="ctr">
                      <a:solidFill>
                        <a:schemeClr val="tx1"/>
                      </a:solidFill>
                      <a:prstDash val="solid"/>
                      <a:round/>
                      <a:headEnd type="none" w="med" len="med"/>
                      <a:tailEnd type="none" w="med" len="med"/>
                    </a:lnR>
                  </a:tcPr>
                </a:tc>
                <a:tc>
                  <a:txBody>
                    <a:bodyPr/>
                    <a:lstStyle/>
                    <a:p>
                      <a:r>
                        <a:rPr lang="en-US" sz="1400"/>
                        <a:t>LWR spent U-oxide</a:t>
                      </a:r>
                      <a:r>
                        <a:rPr lang="en-US" sz="1400" baseline="0"/>
                        <a:t> assemblies</a:t>
                      </a:r>
                      <a:endParaRPr lang="en-US" sz="1400"/>
                    </a:p>
                  </a:txBody>
                  <a:tcPr anchor="ctr">
                    <a:lnL w="12700" cap="flat" cmpd="sng" algn="ctr">
                      <a:solidFill>
                        <a:schemeClr val="tx1"/>
                      </a:solidFill>
                      <a:prstDash val="solid"/>
                      <a:round/>
                      <a:headEnd type="none" w="med" len="med"/>
                      <a:tailEnd type="none" w="med" len="med"/>
                    </a:lnL>
                    <a:noFill/>
                  </a:tcPr>
                </a:tc>
                <a:tc>
                  <a:txBody>
                    <a:bodyPr/>
                    <a:lstStyle/>
                    <a:p>
                      <a:r>
                        <a:rPr lang="en-US" sz="1400" err="1"/>
                        <a:t>Irrad</a:t>
                      </a:r>
                      <a:r>
                        <a:rPr lang="en-US" sz="1400"/>
                        <a:t>. Na or </a:t>
                      </a:r>
                      <a:r>
                        <a:rPr lang="en-US" sz="1400" err="1"/>
                        <a:t>Pb</a:t>
                      </a:r>
                      <a:r>
                        <a:rPr lang="en-US" sz="1400"/>
                        <a:t>; U metal or UN spent fuel with FP &amp;</a:t>
                      </a:r>
                      <a:r>
                        <a:rPr lang="en-US" sz="1400" baseline="0"/>
                        <a:t> residual MA</a:t>
                      </a:r>
                      <a:endParaRPr lang="en-US" sz="1400"/>
                    </a:p>
                  </a:txBody>
                  <a:tcPr anchor="ctr">
                    <a:noFill/>
                  </a:tcPr>
                </a:tc>
                <a:tc>
                  <a:txBody>
                    <a:bodyPr/>
                    <a:lstStyle/>
                    <a:p>
                      <a:r>
                        <a:rPr lang="en-US" sz="1400"/>
                        <a:t>Spent TRISO with FP and MA, dust, F salt; tritium</a:t>
                      </a:r>
                    </a:p>
                  </a:txBody>
                  <a:tcPr anchor="ctr">
                    <a:noFill/>
                  </a:tcPr>
                </a:tc>
                <a:tc>
                  <a:txBody>
                    <a:bodyPr/>
                    <a:lstStyle/>
                    <a:p>
                      <a:r>
                        <a:rPr lang="en-US" sz="1400"/>
                        <a:t>Spent UC/</a:t>
                      </a:r>
                      <a:r>
                        <a:rPr lang="en-US" sz="1400" err="1"/>
                        <a:t>SiC</a:t>
                      </a:r>
                      <a:r>
                        <a:rPr lang="en-US" sz="1400"/>
                        <a:t> clad fuel; recycle with residual MA and FP to waste</a:t>
                      </a:r>
                    </a:p>
                  </a:txBody>
                  <a:tcPr anchor="ctr">
                    <a:noFill/>
                  </a:tcPr>
                </a:tc>
                <a:tc>
                  <a:txBody>
                    <a:bodyPr/>
                    <a:lstStyle/>
                    <a:p>
                      <a:r>
                        <a:rPr lang="en-US" sz="1400"/>
                        <a:t>FP noble gas off-gas, F- or Cl-fuel salt with FP &amp; residual</a:t>
                      </a:r>
                      <a:r>
                        <a:rPr lang="en-US" sz="1400" baseline="0"/>
                        <a:t> MA, tritium, graphite</a:t>
                      </a:r>
                      <a:endParaRPr lang="en-US" sz="1400"/>
                    </a:p>
                  </a:txBody>
                  <a:tcPr anchor="ctr">
                    <a:noFill/>
                  </a:tcPr>
                </a:tc>
                <a:extLst>
                  <a:ext uri="{0D108BD9-81ED-4DB2-BD59-A6C34878D82A}">
                    <a16:rowId xmlns:a16="http://schemas.microsoft.com/office/drawing/2014/main" val="1159873398"/>
                  </a:ext>
                </a:extLst>
              </a:tr>
              <a:tr h="521208">
                <a:tc>
                  <a:txBody>
                    <a:bodyPr/>
                    <a:lstStyle/>
                    <a:p>
                      <a:r>
                        <a:rPr lang="en-US" sz="1400"/>
                        <a:t>Example(s)</a:t>
                      </a:r>
                    </a:p>
                  </a:txBody>
                  <a:tcPr anchor="ctr">
                    <a:lnR w="12700" cap="flat" cmpd="sng" algn="ctr">
                      <a:solidFill>
                        <a:schemeClr val="tx1"/>
                      </a:solidFill>
                      <a:prstDash val="solid"/>
                      <a:round/>
                      <a:headEnd type="none" w="med" len="med"/>
                      <a:tailEnd type="none" w="med" len="med"/>
                    </a:lnR>
                  </a:tcPr>
                </a:tc>
                <a:tc>
                  <a:txBody>
                    <a:bodyPr/>
                    <a:lstStyle/>
                    <a:p>
                      <a:r>
                        <a:rPr lang="en-US" sz="1400" err="1"/>
                        <a:t>NuScale</a:t>
                      </a:r>
                      <a:r>
                        <a:rPr lang="en-US" sz="1400"/>
                        <a:t>; GE-H; BWXT</a:t>
                      </a:r>
                    </a:p>
                  </a:txBody>
                  <a:tcPr anchor="ctr">
                    <a:lnL w="12700" cap="flat" cmpd="sng" algn="ctr">
                      <a:solidFill>
                        <a:schemeClr val="tx1"/>
                      </a:solidFill>
                      <a:prstDash val="solid"/>
                      <a:round/>
                      <a:headEnd type="none" w="med" len="med"/>
                      <a:tailEnd type="none" w="med" len="med"/>
                    </a:lnL>
                    <a:noFill/>
                  </a:tcPr>
                </a:tc>
                <a:tc>
                  <a:txBody>
                    <a:bodyPr/>
                    <a:lstStyle/>
                    <a:p>
                      <a:r>
                        <a:rPr lang="en-US" sz="1400" err="1"/>
                        <a:t>Natrium</a:t>
                      </a:r>
                      <a:r>
                        <a:rPr lang="en-US" sz="1400"/>
                        <a:t>-SFR; ARC-100; </a:t>
                      </a:r>
                      <a:r>
                        <a:rPr lang="en-US" sz="1400" err="1"/>
                        <a:t>LeadCold</a:t>
                      </a:r>
                      <a:r>
                        <a:rPr lang="en-US" sz="1400"/>
                        <a:t> Sealer 55; Westinghouse LFR</a:t>
                      </a:r>
                    </a:p>
                  </a:txBody>
                  <a:tcPr anchor="ctr">
                    <a:noFill/>
                  </a:tcPr>
                </a:tc>
                <a:tc>
                  <a:txBody>
                    <a:bodyPr/>
                    <a:lstStyle/>
                    <a:p>
                      <a:r>
                        <a:rPr lang="en-US" sz="1400"/>
                        <a:t>X-energy Xe-100; </a:t>
                      </a:r>
                      <a:r>
                        <a:rPr lang="en-US" sz="1400" err="1"/>
                        <a:t>Framatome</a:t>
                      </a:r>
                      <a:r>
                        <a:rPr lang="en-US" sz="1400"/>
                        <a:t> SC-HTGR; Kairos KP-X-FHR</a:t>
                      </a:r>
                    </a:p>
                  </a:txBody>
                  <a:tcPr anchor="ctr">
                    <a:noFill/>
                  </a:tcPr>
                </a:tc>
                <a:tc>
                  <a:txBody>
                    <a:bodyPr/>
                    <a:lstStyle/>
                    <a:p>
                      <a:r>
                        <a:rPr lang="en-US" sz="1400"/>
                        <a:t>General</a:t>
                      </a:r>
                      <a:r>
                        <a:rPr lang="en-US" sz="1400" baseline="0"/>
                        <a:t> Atomics EM</a:t>
                      </a:r>
                      <a:r>
                        <a:rPr lang="en-US" sz="1400" baseline="30000"/>
                        <a:t>2</a:t>
                      </a:r>
                    </a:p>
                  </a:txBody>
                  <a:tcPr anchor="ctr">
                    <a:noFill/>
                  </a:tcPr>
                </a:tc>
                <a:tc>
                  <a:txBody>
                    <a:bodyPr/>
                    <a:lstStyle/>
                    <a:p>
                      <a:r>
                        <a:rPr lang="en-US" sz="1400"/>
                        <a:t>Terrestrial Energy IMSR-400</a:t>
                      </a:r>
                      <a:r>
                        <a:rPr lang="en-US" sz="1400" baseline="0"/>
                        <a:t>; </a:t>
                      </a:r>
                      <a:r>
                        <a:rPr lang="en-US" sz="1400" baseline="0" err="1"/>
                        <a:t>ThorCon</a:t>
                      </a:r>
                      <a:r>
                        <a:rPr lang="en-US" sz="1400" baseline="0"/>
                        <a:t>; </a:t>
                      </a:r>
                      <a:r>
                        <a:rPr lang="en-US" sz="1400" baseline="0" err="1"/>
                        <a:t>Flibe</a:t>
                      </a:r>
                      <a:r>
                        <a:rPr lang="en-US" sz="1400" baseline="0"/>
                        <a:t> Energy; </a:t>
                      </a:r>
                      <a:r>
                        <a:rPr lang="en-US" sz="1400" baseline="0" err="1"/>
                        <a:t>TerraPower</a:t>
                      </a:r>
                      <a:r>
                        <a:rPr lang="en-US" sz="1400" baseline="0"/>
                        <a:t> MCFR; </a:t>
                      </a:r>
                      <a:r>
                        <a:rPr lang="en-US" sz="1400" baseline="0" err="1"/>
                        <a:t>Moltex</a:t>
                      </a:r>
                      <a:r>
                        <a:rPr lang="en-US" sz="1400" baseline="0"/>
                        <a:t> Stable Salt </a:t>
                      </a:r>
                      <a:r>
                        <a:rPr lang="en-US" sz="1400" baseline="0" err="1"/>
                        <a:t>Wasteburner</a:t>
                      </a:r>
                      <a:endParaRPr lang="en-US" sz="1400"/>
                    </a:p>
                  </a:txBody>
                  <a:tcPr anchor="ctr">
                    <a:noFill/>
                  </a:tcPr>
                </a:tc>
                <a:extLst>
                  <a:ext uri="{0D108BD9-81ED-4DB2-BD59-A6C34878D82A}">
                    <a16:rowId xmlns:a16="http://schemas.microsoft.com/office/drawing/2014/main" val="875607810"/>
                  </a:ext>
                </a:extLst>
              </a:tr>
            </a:tbl>
          </a:graphicData>
        </a:graphic>
      </p:graphicFrame>
      <p:grpSp>
        <p:nvGrpSpPr>
          <p:cNvPr id="9" name="Group 8"/>
          <p:cNvGrpSpPr/>
          <p:nvPr/>
        </p:nvGrpSpPr>
        <p:grpSpPr>
          <a:xfrm>
            <a:off x="578860" y="6137050"/>
            <a:ext cx="6199582" cy="276999"/>
            <a:chOff x="662940" y="6158070"/>
            <a:chExt cx="6199582" cy="276999"/>
          </a:xfrm>
        </p:grpSpPr>
        <p:sp>
          <p:nvSpPr>
            <p:cNvPr id="11" name="TextBox 10"/>
            <p:cNvSpPr txBox="1"/>
            <p:nvPr/>
          </p:nvSpPr>
          <p:spPr>
            <a:xfrm>
              <a:off x="662940" y="6158070"/>
              <a:ext cx="6199582" cy="276999"/>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3B3B3C"/>
                  </a:solidFill>
                  <a:effectLst/>
                  <a:uLnTx/>
                  <a:uFillTx/>
                  <a:latin typeface="Arial"/>
                  <a:ea typeface="+mn-ea"/>
                  <a:cs typeface="+mn-cs"/>
                </a:rPr>
                <a:t>OTC = Once-through cycle; * = increased burnup;       = different from baseline fuel cycle</a:t>
              </a:r>
              <a:endParaRPr kumimoji="0" lang="en-US" sz="1200" b="0" i="0" u="none" strike="noStrike" kern="1200" cap="none" spc="0" normalizeH="0" baseline="0" noProof="0">
                <a:ln>
                  <a:noFill/>
                </a:ln>
                <a:solidFill>
                  <a:srgbClr val="3B3B3C"/>
                </a:solidFill>
                <a:effectLst/>
                <a:highlight>
                  <a:srgbClr val="FFFF00"/>
                </a:highlight>
                <a:uLnTx/>
                <a:uFillTx/>
                <a:latin typeface="Arial"/>
                <a:ea typeface="+mn-ea"/>
                <a:cs typeface="+mn-cs"/>
              </a:endParaRPr>
            </a:p>
          </p:txBody>
        </p:sp>
        <p:sp>
          <p:nvSpPr>
            <p:cNvPr id="14" name="Rectangle 13"/>
            <p:cNvSpPr/>
            <p:nvPr/>
          </p:nvSpPr>
          <p:spPr>
            <a:xfrm>
              <a:off x="4157611" y="6197346"/>
              <a:ext cx="222069" cy="204352"/>
            </a:xfrm>
            <a:prstGeom prst="rect">
              <a:avLst/>
            </a:prstGeom>
            <a:solidFill>
              <a:schemeClr val="bg1">
                <a:lumMod val="85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grpSp>
      <p:sp>
        <p:nvSpPr>
          <p:cNvPr id="4" name="Rectangle 3"/>
          <p:cNvSpPr/>
          <p:nvPr/>
        </p:nvSpPr>
        <p:spPr>
          <a:xfrm>
            <a:off x="483476" y="3678621"/>
            <a:ext cx="10831696" cy="504496"/>
          </a:xfrm>
          <a:prstGeom prst="rect">
            <a:avLst/>
          </a:prstGeom>
          <a:solidFill>
            <a:schemeClr val="accent5">
              <a:lumMod val="60000"/>
              <a:lumOff val="40000"/>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13" name="Rectangle 12"/>
          <p:cNvSpPr/>
          <p:nvPr/>
        </p:nvSpPr>
        <p:spPr>
          <a:xfrm>
            <a:off x="483476" y="3075948"/>
            <a:ext cx="10831696" cy="273050"/>
          </a:xfrm>
          <a:prstGeom prst="rect">
            <a:avLst/>
          </a:prstGeom>
          <a:solidFill>
            <a:schemeClr val="accent3">
              <a:lumMod val="40000"/>
              <a:lumOff val="60000"/>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12" name="Rectangle: Rounded Corners 4">
            <a:extLst>
              <a:ext uri="{FF2B5EF4-FFF2-40B4-BE49-F238E27FC236}">
                <a16:creationId xmlns:a16="http://schemas.microsoft.com/office/drawing/2014/main" id="{51A56EDA-1DD9-4FFB-BA96-977A22F460FC}"/>
              </a:ext>
            </a:extLst>
          </p:cNvPr>
          <p:cNvSpPr/>
          <p:nvPr/>
        </p:nvSpPr>
        <p:spPr>
          <a:xfrm>
            <a:off x="1498395" y="1351664"/>
            <a:ext cx="1549605" cy="4729279"/>
          </a:xfrm>
          <a:prstGeom prst="roundRect">
            <a:avLst/>
          </a:prstGeom>
          <a:noFill/>
          <a:ln w="571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3429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Arial"/>
              <a:ea typeface="+mn-ea"/>
              <a:cs typeface="+mn-cs"/>
            </a:endParaRPr>
          </a:p>
        </p:txBody>
      </p:sp>
      <p:sp>
        <p:nvSpPr>
          <p:cNvPr id="3" name="TextBox 2"/>
          <p:cNvSpPr txBox="1"/>
          <p:nvPr/>
        </p:nvSpPr>
        <p:spPr>
          <a:xfrm rot="19822798">
            <a:off x="1468328" y="2146896"/>
            <a:ext cx="1609736" cy="430887"/>
          </a:xfrm>
          <a:prstGeom prst="rect">
            <a:avLst/>
          </a:prstGeom>
          <a:solidFill>
            <a:schemeClr val="bg1">
              <a:alpha val="70000"/>
            </a:schemeClr>
          </a:solid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200" b="1" i="0" u="none" strike="noStrike" kern="1200" cap="none" spc="0" normalizeH="0" baseline="0" noProof="0">
                <a:ln>
                  <a:noFill/>
                </a:ln>
                <a:solidFill>
                  <a:srgbClr val="FF0000"/>
                </a:solidFill>
                <a:effectLst/>
                <a:uLnTx/>
                <a:uFillTx/>
                <a:latin typeface="Arial"/>
                <a:ea typeface="+mn-ea"/>
                <a:cs typeface="+mn-cs"/>
              </a:rPr>
              <a:t>BASELINE</a:t>
            </a:r>
          </a:p>
        </p:txBody>
      </p:sp>
      <p:sp>
        <p:nvSpPr>
          <p:cNvPr id="15" name="Arrow: Right 15">
            <a:extLst>
              <a:ext uri="{FF2B5EF4-FFF2-40B4-BE49-F238E27FC236}">
                <a16:creationId xmlns:a16="http://schemas.microsoft.com/office/drawing/2014/main" id="{A60C51D3-20EC-401C-BBD5-9B29CAD10726}"/>
              </a:ext>
            </a:extLst>
          </p:cNvPr>
          <p:cNvSpPr/>
          <p:nvPr/>
        </p:nvSpPr>
        <p:spPr>
          <a:xfrm>
            <a:off x="0" y="3786117"/>
            <a:ext cx="488633" cy="242888"/>
          </a:xfrm>
          <a:prstGeom prst="rightArrow">
            <a:avLst/>
          </a:prstGeom>
          <a:solidFill>
            <a:schemeClr val="accent5">
              <a:lumMod val="75000"/>
            </a:schemeClr>
          </a:solidFill>
          <a:ln>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3429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Arial"/>
              <a:ea typeface="+mn-ea"/>
              <a:cs typeface="+mn-cs"/>
            </a:endParaRPr>
          </a:p>
        </p:txBody>
      </p:sp>
      <p:sp>
        <p:nvSpPr>
          <p:cNvPr id="16" name="Arrow: Right 17">
            <a:extLst>
              <a:ext uri="{FF2B5EF4-FFF2-40B4-BE49-F238E27FC236}">
                <a16:creationId xmlns:a16="http://schemas.microsoft.com/office/drawing/2014/main" id="{235354E1-0877-46D7-8F0E-938D625FFE72}"/>
              </a:ext>
            </a:extLst>
          </p:cNvPr>
          <p:cNvSpPr/>
          <p:nvPr/>
        </p:nvSpPr>
        <p:spPr>
          <a:xfrm rot="10800000">
            <a:off x="11315172" y="3073204"/>
            <a:ext cx="488633" cy="242888"/>
          </a:xfrm>
          <a:prstGeom prst="rightArrow">
            <a:avLst/>
          </a:prstGeom>
          <a:solidFill>
            <a:schemeClr val="accent3">
              <a:lumMod val="75000"/>
            </a:schemeClr>
          </a:solidFill>
          <a:ln>
            <a:solidFill>
              <a:schemeClr val="accent3">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3429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Arial"/>
              <a:ea typeface="+mn-ea"/>
              <a:cs typeface="+mn-cs"/>
            </a:endParaRPr>
          </a:p>
        </p:txBody>
      </p:sp>
      <p:sp>
        <p:nvSpPr>
          <p:cNvPr id="5" name="Slide Number Placeholder 4"/>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F687C33-47E0-407C-B61F-DB8DDD78F4C7}" type="slidenum">
              <a:rPr kumimoji="0" lang="en-US" sz="1267" b="0" i="0" u="none" strike="noStrike" kern="1200" cap="none" spc="0" normalizeH="0" baseline="0" noProof="0" smtClean="0">
                <a:ln>
                  <a:noFill/>
                </a:ln>
                <a:solidFill>
                  <a:srgbClr val="7F7F7F"/>
                </a:solidFill>
                <a:effectLst/>
                <a:uLnTx/>
                <a:uFillTx/>
                <a:latin typeface="Arial"/>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56</a:t>
            </a:fld>
            <a:endParaRPr kumimoji="0" lang="en-US" sz="1267" b="0" i="0" u="none" strike="noStrike" kern="1200" cap="none" spc="0" normalizeH="0" baseline="0" noProof="0">
              <a:ln>
                <a:noFill/>
              </a:ln>
              <a:solidFill>
                <a:srgbClr val="7F7F7F"/>
              </a:solidFill>
              <a:effectLst/>
              <a:uLnTx/>
              <a:uFillTx/>
              <a:latin typeface="Arial"/>
              <a:ea typeface="+mn-ea"/>
              <a:cs typeface="+mn-cs"/>
            </a:endParaRPr>
          </a:p>
        </p:txBody>
      </p:sp>
    </p:spTree>
    <p:extLst>
      <p:ext uri="{BB962C8B-B14F-4D97-AF65-F5344CB8AC3E}">
        <p14:creationId xmlns:p14="http://schemas.microsoft.com/office/powerpoint/2010/main" val="184238401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5"/>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4"/>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16"/>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1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13" grpId="0" animBg="1"/>
      <p:bldP spid="12" grpId="0" animBg="1"/>
      <p:bldP spid="3" grpId="0" animBg="1"/>
      <p:bldP spid="15" grpId="0" animBg="1"/>
      <p:bldP spid="16" grpId="0" animBg="1"/>
    </p:bld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1438B424-6D18-40F3-912C-B1AF263B65AB}"/>
              </a:ext>
            </a:extLst>
          </p:cNvPr>
          <p:cNvSpPr/>
          <p:nvPr/>
        </p:nvSpPr>
        <p:spPr>
          <a:xfrm>
            <a:off x="662940" y="1628452"/>
            <a:ext cx="10666323" cy="2477601"/>
          </a:xfrm>
          <a:prstGeom prst="rect">
            <a:avLst/>
          </a:prstGeom>
          <a:solidFill>
            <a:schemeClr val="accent2">
              <a:lumMod val="20000"/>
              <a:lumOff val="80000"/>
            </a:schemeClr>
          </a:solidFill>
          <a:ln w="19050">
            <a:solidFill>
              <a:schemeClr val="accent2"/>
            </a:solidFill>
          </a:ln>
        </p:spPr>
        <p:txBody>
          <a:bodyPr wrap="square">
            <a:spAutoFit/>
          </a:bodyPr>
          <a:lstStyle/>
          <a:p>
            <a:pPr marL="342900" marR="0" lvl="0" indent="-342900" algn="l" defTabSz="457200" rtl="0" eaLnBrk="1" fontAlgn="auto" latinLnBrk="0" hangingPunct="1">
              <a:lnSpc>
                <a:spcPct val="100000"/>
              </a:lnSpc>
              <a:spcBef>
                <a:spcPts val="0"/>
              </a:spcBef>
              <a:spcAft>
                <a:spcPts val="180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3B3B3C"/>
                </a:solidFill>
                <a:effectLst/>
                <a:uLnTx/>
                <a:uFillTx/>
                <a:latin typeface="Arial"/>
                <a:ea typeface="+mn-ea"/>
                <a:cs typeface="+mn-cs"/>
              </a:rPr>
              <a:t>There is a wide range of advanced reactor designs – with different coolants (water, liquid metal, gas, molten salts), fuel types (</a:t>
            </a:r>
            <a:r>
              <a:rPr kumimoji="0" lang="en-US" sz="2000" b="0" i="0" u="none" strike="noStrike" kern="1200" cap="none" spc="0" normalizeH="0" baseline="30000" noProof="0">
                <a:ln>
                  <a:noFill/>
                </a:ln>
                <a:solidFill>
                  <a:srgbClr val="3B3B3C"/>
                </a:solidFill>
                <a:effectLst/>
                <a:uLnTx/>
                <a:uFillTx/>
                <a:latin typeface="Arial"/>
                <a:ea typeface="+mn-ea"/>
                <a:cs typeface="+mn-cs"/>
              </a:rPr>
              <a:t>235</a:t>
            </a:r>
            <a:r>
              <a:rPr kumimoji="0" lang="en-US" sz="2000" b="0" i="0" u="none" strike="noStrike" kern="1200" cap="none" spc="0" normalizeH="0" baseline="0" noProof="0">
                <a:ln>
                  <a:noFill/>
                </a:ln>
                <a:solidFill>
                  <a:srgbClr val="3B3B3C"/>
                </a:solidFill>
                <a:effectLst/>
                <a:uLnTx/>
                <a:uFillTx/>
                <a:latin typeface="Arial"/>
                <a:ea typeface="+mn-ea"/>
                <a:cs typeface="+mn-cs"/>
              </a:rPr>
              <a:t>U, </a:t>
            </a:r>
            <a:r>
              <a:rPr kumimoji="0" lang="en-US" sz="2000" b="0" i="0" u="none" strike="noStrike" kern="1200" cap="none" spc="0" normalizeH="0" baseline="30000" noProof="0">
                <a:ln>
                  <a:noFill/>
                </a:ln>
                <a:solidFill>
                  <a:srgbClr val="3B3B3C"/>
                </a:solidFill>
                <a:effectLst/>
                <a:uLnTx/>
                <a:uFillTx/>
                <a:latin typeface="Arial"/>
                <a:ea typeface="+mn-ea"/>
                <a:cs typeface="+mn-cs"/>
              </a:rPr>
              <a:t>239</a:t>
            </a:r>
            <a:r>
              <a:rPr kumimoji="0" lang="en-US" sz="2000" b="0" i="0" u="none" strike="noStrike" kern="1200" cap="none" spc="0" normalizeH="0" baseline="0" noProof="0">
                <a:ln>
                  <a:noFill/>
                </a:ln>
                <a:solidFill>
                  <a:srgbClr val="3B3B3C"/>
                </a:solidFill>
                <a:effectLst/>
                <a:uLnTx/>
                <a:uFillTx/>
                <a:latin typeface="Arial"/>
                <a:ea typeface="+mn-ea"/>
                <a:cs typeface="+mn-cs"/>
              </a:rPr>
              <a:t>Pu, </a:t>
            </a:r>
            <a:r>
              <a:rPr kumimoji="0" lang="en-US" sz="2000" b="0" i="0" u="none" strike="noStrike" kern="1200" cap="none" spc="0" normalizeH="0" baseline="30000" noProof="0">
                <a:ln>
                  <a:noFill/>
                </a:ln>
                <a:solidFill>
                  <a:srgbClr val="3B3B3C"/>
                </a:solidFill>
                <a:effectLst/>
                <a:uLnTx/>
                <a:uFillTx/>
                <a:latin typeface="Arial"/>
                <a:ea typeface="+mn-ea"/>
                <a:cs typeface="+mn-cs"/>
              </a:rPr>
              <a:t>233</a:t>
            </a:r>
            <a:r>
              <a:rPr kumimoji="0" lang="en-US" sz="2000" b="0" i="0" u="none" strike="noStrike" kern="1200" cap="none" spc="0" normalizeH="0" baseline="0" noProof="0">
                <a:ln>
                  <a:noFill/>
                </a:ln>
                <a:solidFill>
                  <a:srgbClr val="3B3B3C"/>
                </a:solidFill>
                <a:effectLst/>
                <a:uLnTx/>
                <a:uFillTx/>
                <a:latin typeface="Arial"/>
                <a:ea typeface="+mn-ea"/>
                <a:cs typeface="+mn-cs"/>
              </a:rPr>
              <a:t>U(Th)), fuel forms (U metal, metal alloy, UN, UC, TRISO, liquid fuel salts), fuel enrichment (most require HALEU), and neutron spectrum initiating the fission reaction (thermal, fast). </a:t>
            </a:r>
          </a:p>
          <a:p>
            <a:pPr marL="342900" marR="0" lvl="0" indent="-342900" algn="l" defTabSz="457200" rtl="0" eaLnBrk="1" fontAlgn="auto" latinLnBrk="0" hangingPunct="1">
              <a:lnSpc>
                <a:spcPct val="100000"/>
              </a:lnSpc>
              <a:spcBef>
                <a:spcPts val="0"/>
              </a:spcBef>
              <a:spcAft>
                <a:spcPts val="180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3B3B3C"/>
                </a:solidFill>
                <a:effectLst/>
                <a:uLnTx/>
                <a:uFillTx/>
                <a:latin typeface="Arial"/>
                <a:ea typeface="+mn-ea"/>
                <a:cs typeface="+mn-cs"/>
              </a:rPr>
              <a:t>Should these reactors be commercially deployed, the resulting spent fuel and associated waste streams will </a:t>
            </a:r>
            <a:r>
              <a:rPr kumimoji="0" lang="en-US" sz="2000" b="1" i="1" u="none" strike="noStrike" kern="1200" cap="none" spc="0" normalizeH="0" baseline="0" noProof="0">
                <a:ln>
                  <a:noFill/>
                </a:ln>
                <a:solidFill>
                  <a:srgbClr val="3B3B3C"/>
                </a:solidFill>
                <a:effectLst/>
                <a:uLnTx/>
                <a:uFillTx/>
                <a:latin typeface="Arial"/>
                <a:ea typeface="+mn-ea"/>
                <a:cs typeface="+mn-cs"/>
              </a:rPr>
              <a:t>vary considerably from the current standard spent LWR LEU-oxide fuel assemblies. </a:t>
            </a:r>
          </a:p>
        </p:txBody>
      </p:sp>
      <p:sp>
        <p:nvSpPr>
          <p:cNvPr id="2" name="Title 1"/>
          <p:cNvSpPr>
            <a:spLocks noGrp="1"/>
          </p:cNvSpPr>
          <p:nvPr>
            <p:ph type="title"/>
          </p:nvPr>
        </p:nvSpPr>
        <p:spPr/>
        <p:txBody>
          <a:bodyPr/>
          <a:lstStyle/>
          <a:p>
            <a:r>
              <a:rPr lang="en-US"/>
              <a:t>What we learned: Important Observations for Advanced Reactors</a:t>
            </a:r>
          </a:p>
        </p:txBody>
      </p:sp>
      <p:sp>
        <p:nvSpPr>
          <p:cNvPr id="3" name="Slide Number Placeholder 2"/>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F687C33-47E0-407C-B61F-DB8DDD78F4C7}" type="slidenum">
              <a:rPr kumimoji="0" lang="en-US" sz="1267" b="0" i="0" u="none" strike="noStrike" kern="1200" cap="none" spc="0" normalizeH="0" baseline="0" noProof="0" smtClean="0">
                <a:ln>
                  <a:noFill/>
                </a:ln>
                <a:solidFill>
                  <a:srgbClr val="7F7F7F"/>
                </a:solidFill>
                <a:effectLst/>
                <a:uLnTx/>
                <a:uFillTx/>
                <a:latin typeface="Arial"/>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57</a:t>
            </a:fld>
            <a:endParaRPr kumimoji="0" lang="en-US" sz="1267" b="0" i="0" u="none" strike="noStrike" kern="1200" cap="none" spc="0" normalizeH="0" baseline="0" noProof="0">
              <a:ln>
                <a:noFill/>
              </a:ln>
              <a:solidFill>
                <a:srgbClr val="7F7F7F"/>
              </a:solidFill>
              <a:effectLst/>
              <a:uLnTx/>
              <a:uFillTx/>
              <a:latin typeface="Arial"/>
              <a:ea typeface="+mn-ea"/>
              <a:cs typeface="+mn-cs"/>
            </a:endParaRPr>
          </a:p>
        </p:txBody>
      </p:sp>
    </p:spTree>
    <p:extLst>
      <p:ext uri="{BB962C8B-B14F-4D97-AF65-F5344CB8AC3E}">
        <p14:creationId xmlns:p14="http://schemas.microsoft.com/office/powerpoint/2010/main" val="3080534644"/>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The starting point for advanced reactors </a:t>
            </a:r>
            <a:endParaRPr lang="en-US" sz="2400"/>
          </a:p>
        </p:txBody>
      </p:sp>
      <p:sp>
        <p:nvSpPr>
          <p:cNvPr id="15" name="TextBox 14">
            <a:extLst>
              <a:ext uri="{FF2B5EF4-FFF2-40B4-BE49-F238E27FC236}">
                <a16:creationId xmlns:a16="http://schemas.microsoft.com/office/drawing/2014/main" id="{43D535AD-44C8-4201-AA51-E17F12D5C224}"/>
              </a:ext>
            </a:extLst>
          </p:cNvPr>
          <p:cNvSpPr txBox="1"/>
          <p:nvPr/>
        </p:nvSpPr>
        <p:spPr>
          <a:xfrm>
            <a:off x="662938" y="1295557"/>
            <a:ext cx="9878937" cy="1107996"/>
          </a:xfrm>
          <a:prstGeom prst="rect">
            <a:avLst/>
          </a:prstGeom>
          <a:solidFill>
            <a:schemeClr val="bg1"/>
          </a:solidFill>
          <a:ln>
            <a:noFill/>
          </a:ln>
        </p:spPr>
        <p:txBody>
          <a:bodyPr wrap="square" tIns="91440" bIns="91440"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000" b="1" i="1" u="none" strike="noStrike" kern="1200" cap="none" spc="0" normalizeH="0" baseline="0" noProof="0">
                <a:ln>
                  <a:noFill/>
                </a:ln>
                <a:solidFill>
                  <a:srgbClr val="3B3B3C"/>
                </a:solidFill>
                <a:effectLst/>
                <a:uLnTx/>
                <a:uFillTx/>
                <a:latin typeface="Arial"/>
                <a:ea typeface="+mn-ea"/>
                <a:cs typeface="+mn-cs"/>
              </a:rPr>
              <a:t>From Finding 1. </a:t>
            </a:r>
            <a:r>
              <a:rPr kumimoji="0" lang="en-US" sz="2000" b="0" i="0" u="none" strike="noStrike" kern="1200" cap="none" spc="0" normalizeH="0" baseline="0" noProof="0">
                <a:ln>
                  <a:noFill/>
                </a:ln>
                <a:solidFill>
                  <a:srgbClr val="3B3B3C"/>
                </a:solidFill>
                <a:effectLst/>
                <a:uLnTx/>
                <a:uFillTx/>
                <a:latin typeface="Arial"/>
                <a:ea typeface="+mn-ea"/>
                <a:cs typeface="+mn-cs"/>
              </a:rPr>
              <a:t>To enable commercial success of advanced reactors,</a:t>
            </a:r>
            <a:r>
              <a:rPr kumimoji="0" lang="en-US" sz="2000" b="0" i="0" u="none" strike="noStrike" kern="1200" cap="none" spc="0" normalizeH="0" baseline="0" noProof="0">
                <a:ln>
                  <a:noFill/>
                </a:ln>
                <a:solidFill>
                  <a:srgbClr val="4148C2"/>
                </a:solidFill>
                <a:effectLst/>
                <a:uLnTx/>
                <a:uFillTx/>
                <a:latin typeface="Arial"/>
                <a:ea typeface="+mn-ea"/>
                <a:cs typeface="+mn-cs"/>
              </a:rPr>
              <a:t> </a:t>
            </a:r>
            <a:r>
              <a:rPr kumimoji="0" lang="en-US" sz="2000" b="0" i="0" u="none" strike="noStrike" kern="1200" cap="none" spc="0" normalizeH="0" baseline="0" noProof="0">
                <a:ln>
                  <a:noFill/>
                </a:ln>
                <a:solidFill>
                  <a:srgbClr val="3B3B3C"/>
                </a:solidFill>
                <a:effectLst/>
                <a:uLnTx/>
                <a:uFillTx/>
                <a:latin typeface="Arial"/>
                <a:ea typeface="+mn-ea"/>
                <a:cs typeface="+mn-cs"/>
              </a:rPr>
              <a:t>no matter what fuel cycle option the U.S. chooses (once-through or closed fuel cycle), a </a:t>
            </a:r>
            <a:r>
              <a:rPr kumimoji="0" lang="en-US" sz="2000" b="0" i="0" u="none" strike="noStrike" kern="1200" cap="none" spc="0" normalizeH="0" baseline="0" noProof="0">
                <a:ln>
                  <a:noFill/>
                </a:ln>
                <a:solidFill>
                  <a:srgbClr val="4148C2"/>
                </a:solidFill>
                <a:effectLst/>
                <a:uLnTx/>
                <a:uFillTx/>
                <a:latin typeface="Arial"/>
                <a:ea typeface="+mn-ea"/>
                <a:cs typeface="+mn-cs"/>
              </a:rPr>
              <a:t>long-term vision with significant and sustained financial commitment is required</a:t>
            </a:r>
          </a:p>
        </p:txBody>
      </p:sp>
      <p:sp>
        <p:nvSpPr>
          <p:cNvPr id="18" name="TextBox 17">
            <a:extLst>
              <a:ext uri="{FF2B5EF4-FFF2-40B4-BE49-F238E27FC236}">
                <a16:creationId xmlns:a16="http://schemas.microsoft.com/office/drawing/2014/main" id="{B93E0387-986D-425C-8BEC-0D64D4F9761F}"/>
              </a:ext>
            </a:extLst>
          </p:cNvPr>
          <p:cNvSpPr txBox="1"/>
          <p:nvPr/>
        </p:nvSpPr>
        <p:spPr>
          <a:xfrm>
            <a:off x="662939" y="2693300"/>
            <a:ext cx="9878936" cy="1785104"/>
          </a:xfrm>
          <a:prstGeom prst="rect">
            <a:avLst/>
          </a:prstGeom>
          <a:solidFill>
            <a:schemeClr val="bg1"/>
          </a:solidFill>
          <a:ln>
            <a:noFill/>
          </a:ln>
        </p:spPr>
        <p:txBody>
          <a:bodyPr wrap="square" rtlCol="0">
            <a:spAutoFit/>
          </a:bodyPr>
          <a:lstStyle/>
          <a:p>
            <a:pPr marL="0" marR="0" lvl="0" indent="0" algn="l" defTabSz="457200" rtl="0" eaLnBrk="1" fontAlgn="auto" latinLnBrk="0" hangingPunct="1">
              <a:lnSpc>
                <a:spcPct val="100000"/>
              </a:lnSpc>
              <a:spcBef>
                <a:spcPts val="0"/>
              </a:spcBef>
              <a:spcAft>
                <a:spcPts val="600"/>
              </a:spcAft>
              <a:buClrTx/>
              <a:buSzTx/>
              <a:buFontTx/>
              <a:buNone/>
              <a:tabLst/>
              <a:defRPr/>
            </a:pPr>
            <a:r>
              <a:rPr kumimoji="0" lang="en-US" sz="2000" b="1" i="1" u="none" strike="noStrike" kern="1200" cap="none" spc="0" normalizeH="0" baseline="0" noProof="0">
                <a:ln>
                  <a:noFill/>
                </a:ln>
                <a:solidFill>
                  <a:srgbClr val="3B3B3C"/>
                </a:solidFill>
                <a:effectLst/>
                <a:uLnTx/>
                <a:uFillTx/>
                <a:latin typeface="Arial"/>
                <a:ea typeface="+mn-ea"/>
                <a:cs typeface="+mn-cs"/>
              </a:rPr>
              <a:t>From Finding 5. </a:t>
            </a:r>
            <a:r>
              <a:rPr kumimoji="0" lang="en-US" sz="2000" b="0" i="0" u="none" strike="noStrike" kern="1200" cap="none" spc="0" normalizeH="0" baseline="0" noProof="0">
                <a:ln>
                  <a:noFill/>
                </a:ln>
                <a:solidFill>
                  <a:srgbClr val="4148C2"/>
                </a:solidFill>
                <a:effectLst/>
                <a:uLnTx/>
                <a:uFillTx/>
                <a:latin typeface="Arial"/>
                <a:ea typeface="+mn-ea"/>
                <a:cs typeface="+mn-cs"/>
              </a:rPr>
              <a:t>Small modular LWRs using LEU oxide fuels are the most mature reactor technology </a:t>
            </a:r>
            <a:r>
              <a:rPr kumimoji="0" lang="en-US" sz="2000" b="0" i="0" u="none" strike="noStrike" kern="1200" cap="none" spc="0" normalizeH="0" baseline="0" noProof="0">
                <a:ln>
                  <a:noFill/>
                </a:ln>
                <a:solidFill>
                  <a:srgbClr val="3B3B3C"/>
                </a:solidFill>
                <a:effectLst/>
                <a:uLnTx/>
                <a:uFillTx/>
                <a:latin typeface="Arial"/>
                <a:ea typeface="+mn-ea"/>
                <a:cs typeface="+mn-cs"/>
              </a:rPr>
              <a:t>that could be licensed, constructed, and connected to the grid in the next decade.  </a:t>
            </a:r>
          </a:p>
          <a:p>
            <a:pPr marL="342900" marR="0" lvl="0" indent="-342900" algn="l" defTabSz="4572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3B3B3C"/>
                </a:solidFill>
                <a:effectLst/>
                <a:uLnTx/>
                <a:uFillTx/>
                <a:latin typeface="Arial"/>
                <a:ea typeface="+mn-ea"/>
                <a:cs typeface="+mn-cs"/>
              </a:rPr>
              <a:t>Leverage existing LWR technology and fuel cycle infrastructure</a:t>
            </a:r>
          </a:p>
          <a:p>
            <a:pPr marL="342900" marR="0" lvl="0" indent="-342900" algn="l" defTabSz="4572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3B3B3C"/>
                </a:solidFill>
                <a:effectLst/>
                <a:uLnTx/>
                <a:uFillTx/>
                <a:latin typeface="Arial"/>
                <a:ea typeface="+mn-ea"/>
                <a:cs typeface="+mn-cs"/>
              </a:rPr>
              <a:t>Benefit from long-term government/industry financial support </a:t>
            </a:r>
          </a:p>
        </p:txBody>
      </p:sp>
      <p:sp>
        <p:nvSpPr>
          <p:cNvPr id="3" name="Slide Number Placeholder 2"/>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F687C33-47E0-407C-B61F-DB8DDD78F4C7}" type="slidenum">
              <a:rPr kumimoji="0" lang="en-US" sz="1267" b="0" i="0" u="none" strike="noStrike" kern="1200" cap="none" spc="0" normalizeH="0" baseline="0" noProof="0" smtClean="0">
                <a:ln>
                  <a:noFill/>
                </a:ln>
                <a:solidFill>
                  <a:srgbClr val="7F7F7F"/>
                </a:solidFill>
                <a:effectLst/>
                <a:uLnTx/>
                <a:uFillTx/>
                <a:latin typeface="Arial"/>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58</a:t>
            </a:fld>
            <a:endParaRPr kumimoji="0" lang="en-US" sz="1267" b="0" i="0" u="none" strike="noStrike" kern="1200" cap="none" spc="0" normalizeH="0" baseline="0" noProof="0">
              <a:ln>
                <a:noFill/>
              </a:ln>
              <a:solidFill>
                <a:srgbClr val="7F7F7F"/>
              </a:solidFill>
              <a:effectLst/>
              <a:uLnTx/>
              <a:uFillTx/>
              <a:latin typeface="Arial"/>
              <a:ea typeface="+mn-ea"/>
              <a:cs typeface="+mn-cs"/>
            </a:endParaRPr>
          </a:p>
        </p:txBody>
      </p:sp>
    </p:spTree>
    <p:extLst>
      <p:ext uri="{BB962C8B-B14F-4D97-AF65-F5344CB8AC3E}">
        <p14:creationId xmlns:p14="http://schemas.microsoft.com/office/powerpoint/2010/main" val="1082422453"/>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000"/>
              <a:t>Non-LWR advanced reactors &amp; fuel cycle development – </a:t>
            </a:r>
            <a:endParaRPr lang="en-US" sz="2400"/>
          </a:p>
        </p:txBody>
      </p:sp>
      <p:sp>
        <p:nvSpPr>
          <p:cNvPr id="7" name="TextBox 6"/>
          <p:cNvSpPr txBox="1"/>
          <p:nvPr/>
        </p:nvSpPr>
        <p:spPr>
          <a:xfrm>
            <a:off x="662940" y="3751873"/>
            <a:ext cx="9920977" cy="2092881"/>
          </a:xfrm>
          <a:prstGeom prst="rect">
            <a:avLst/>
          </a:prstGeom>
          <a:solidFill>
            <a:schemeClr val="bg1"/>
          </a:solidFill>
          <a:ln>
            <a:noFill/>
          </a:ln>
        </p:spPr>
        <p:txBody>
          <a:bodyPr wrap="square" rtlCol="0">
            <a:spAutoFit/>
          </a:bodyPr>
          <a:lstStyle/>
          <a:p>
            <a:pPr marL="0" marR="0" lvl="0" indent="0" algn="l" defTabSz="457200" rtl="0" eaLnBrk="1" fontAlgn="auto" latinLnBrk="0" hangingPunct="1">
              <a:lnSpc>
                <a:spcPct val="100000"/>
              </a:lnSpc>
              <a:spcBef>
                <a:spcPts val="0"/>
              </a:spcBef>
              <a:spcAft>
                <a:spcPts val="600"/>
              </a:spcAft>
              <a:buClrTx/>
              <a:buSzTx/>
              <a:buFontTx/>
              <a:buNone/>
              <a:tabLst/>
              <a:defRPr/>
            </a:pPr>
            <a:r>
              <a:rPr kumimoji="0" lang="en-US" sz="2000" b="1" i="1" u="none" strike="noStrike" kern="1200" cap="none" spc="0" normalizeH="0" baseline="0" noProof="0">
                <a:ln>
                  <a:noFill/>
                </a:ln>
                <a:solidFill>
                  <a:srgbClr val="3B3B3C"/>
                </a:solidFill>
                <a:effectLst/>
                <a:uLnTx/>
                <a:uFillTx/>
                <a:latin typeface="Arial"/>
                <a:ea typeface="+mn-ea"/>
                <a:cs typeface="+mn-cs"/>
              </a:rPr>
              <a:t>From Recommendation B. </a:t>
            </a:r>
          </a:p>
          <a:p>
            <a:pPr marL="342900" marR="0" lvl="0" indent="-342900" algn="l" defTabSz="4572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3B3B3C"/>
                </a:solidFill>
                <a:effectLst/>
                <a:uLnTx/>
                <a:uFillTx/>
                <a:latin typeface="Arial"/>
                <a:ea typeface="+mn-ea"/>
                <a:cs typeface="+mn-cs"/>
              </a:rPr>
              <a:t>Congress and DOE should </a:t>
            </a:r>
            <a:r>
              <a:rPr kumimoji="0" lang="en-US" sz="2000" b="0" i="0" u="none" strike="noStrike" kern="1200" cap="none" spc="0" normalizeH="0" baseline="0" noProof="0">
                <a:ln>
                  <a:noFill/>
                </a:ln>
                <a:solidFill>
                  <a:srgbClr val="4148C2"/>
                </a:solidFill>
                <a:effectLst/>
                <a:uLnTx/>
                <a:uFillTx/>
                <a:latin typeface="Arial"/>
                <a:ea typeface="+mn-ea"/>
                <a:cs typeface="+mn-cs"/>
              </a:rPr>
              <a:t>provide or assure access to materials testing and fuel qualification</a:t>
            </a:r>
            <a:r>
              <a:rPr kumimoji="0" lang="en-US" sz="2000" b="0" i="0" u="none" strike="noStrike" kern="1200" cap="none" spc="0" normalizeH="0" baseline="0" noProof="0">
                <a:ln>
                  <a:noFill/>
                </a:ln>
                <a:solidFill>
                  <a:srgbClr val="3B3B3C"/>
                </a:solidFill>
                <a:effectLst/>
                <a:uLnTx/>
                <a:uFillTx/>
                <a:latin typeface="Arial"/>
                <a:ea typeface="+mn-ea"/>
                <a:cs typeface="+mn-cs"/>
              </a:rPr>
              <a:t> capabilities. </a:t>
            </a:r>
          </a:p>
          <a:p>
            <a:pPr marL="342900" marR="0" lvl="0" indent="-342900" algn="l" defTabSz="4572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3B3B3C"/>
                </a:solidFill>
                <a:effectLst/>
                <a:uLnTx/>
                <a:uFillTx/>
                <a:latin typeface="Arial"/>
                <a:ea typeface="+mn-ea"/>
                <a:cs typeface="+mn-cs"/>
              </a:rPr>
              <a:t>A </a:t>
            </a:r>
            <a:r>
              <a:rPr kumimoji="0" lang="en-US" sz="2000" b="0" i="0" u="none" strike="noStrike" kern="1200" cap="none" spc="0" normalizeH="0" baseline="0" noProof="0">
                <a:ln>
                  <a:noFill/>
                </a:ln>
                <a:solidFill>
                  <a:srgbClr val="4148C2"/>
                </a:solidFill>
                <a:effectLst/>
                <a:uLnTx/>
                <a:uFillTx/>
                <a:latin typeface="Arial"/>
                <a:ea typeface="+mn-ea"/>
                <a:cs typeface="+mn-cs"/>
              </a:rPr>
              <a:t>coordinated plan between DOE-NE, DOE-SC, and domestic and international user communities</a:t>
            </a:r>
            <a:r>
              <a:rPr kumimoji="0" lang="en-US" sz="2000" b="0" i="0" u="none" strike="noStrike" kern="1200" cap="none" spc="0" normalizeH="0" baseline="0" noProof="0">
                <a:ln>
                  <a:noFill/>
                </a:ln>
                <a:solidFill>
                  <a:srgbClr val="3B3B3C"/>
                </a:solidFill>
                <a:effectLst/>
                <a:uLnTx/>
                <a:uFillTx/>
                <a:latin typeface="Arial"/>
                <a:ea typeface="+mn-ea"/>
                <a:cs typeface="+mn-cs"/>
              </a:rPr>
              <a:t> should be developed and implemented to meet short- and long-term needs. </a:t>
            </a:r>
          </a:p>
        </p:txBody>
      </p:sp>
      <p:sp>
        <p:nvSpPr>
          <p:cNvPr id="11" name="TextBox 10">
            <a:extLst>
              <a:ext uri="{FF2B5EF4-FFF2-40B4-BE49-F238E27FC236}">
                <a16:creationId xmlns:a16="http://schemas.microsoft.com/office/drawing/2014/main" id="{2914DAB2-ECCD-4A8F-AB16-8DA2C329EBA3}"/>
              </a:ext>
            </a:extLst>
          </p:cNvPr>
          <p:cNvSpPr txBox="1"/>
          <p:nvPr/>
        </p:nvSpPr>
        <p:spPr>
          <a:xfrm>
            <a:off x="662940" y="1295557"/>
            <a:ext cx="9994549" cy="2169825"/>
          </a:xfrm>
          <a:prstGeom prst="rect">
            <a:avLst/>
          </a:prstGeom>
          <a:solidFill>
            <a:schemeClr val="bg1"/>
          </a:solidFill>
          <a:ln>
            <a:noFill/>
          </a:ln>
        </p:spPr>
        <p:txBody>
          <a:bodyPr wrap="square" rtlCol="0">
            <a:spAutoFit/>
          </a:bodyPr>
          <a:lstStyle/>
          <a:p>
            <a:pPr marL="0" marR="0" lvl="0" indent="0" algn="l" defTabSz="457200" rtl="0" eaLnBrk="1" fontAlgn="auto" latinLnBrk="0" hangingPunct="1">
              <a:lnSpc>
                <a:spcPct val="100000"/>
              </a:lnSpc>
              <a:spcBef>
                <a:spcPts val="0"/>
              </a:spcBef>
              <a:spcAft>
                <a:spcPts val="600"/>
              </a:spcAft>
              <a:buClrTx/>
              <a:buSzTx/>
              <a:buFontTx/>
              <a:buNone/>
              <a:tabLst/>
              <a:defRPr/>
            </a:pPr>
            <a:r>
              <a:rPr kumimoji="0" lang="en-US" sz="2000" b="1" i="1" u="none" strike="noStrike" kern="1200" cap="none" spc="0" normalizeH="0" baseline="0" noProof="0">
                <a:ln>
                  <a:noFill/>
                </a:ln>
                <a:solidFill>
                  <a:srgbClr val="3B3B3C"/>
                </a:solidFill>
                <a:effectLst/>
                <a:uLnTx/>
                <a:uFillTx/>
                <a:latin typeface="Arial"/>
                <a:ea typeface="+mn-ea"/>
                <a:cs typeface="+mn-cs"/>
              </a:rPr>
              <a:t>From Finding 4. </a:t>
            </a:r>
            <a:r>
              <a:rPr kumimoji="0" lang="en-US" sz="2000" b="0" i="0" u="none" strike="noStrike" kern="1200" cap="none" spc="0" normalizeH="0" baseline="0" noProof="0">
                <a:ln>
                  <a:noFill/>
                </a:ln>
                <a:solidFill>
                  <a:srgbClr val="3B3B3C"/>
                </a:solidFill>
                <a:effectLst/>
                <a:uLnTx/>
                <a:uFillTx/>
                <a:latin typeface="Arial"/>
                <a:ea typeface="+mn-ea"/>
                <a:cs typeface="+mn-cs"/>
              </a:rPr>
              <a:t>Challenges facing, especially non-light water-cooled advanced reactors, for commercial deployment by 2050: </a:t>
            </a:r>
          </a:p>
          <a:p>
            <a:pPr marL="457200" marR="0" lvl="0" indent="-457200" algn="l" defTabSz="457200" rtl="0" eaLnBrk="1" fontAlgn="auto" latinLnBrk="0" hangingPunct="1">
              <a:lnSpc>
                <a:spcPct val="100000"/>
              </a:lnSpc>
              <a:spcBef>
                <a:spcPts val="0"/>
              </a:spcBef>
              <a:spcAft>
                <a:spcPts val="600"/>
              </a:spcAft>
              <a:buClrTx/>
              <a:buSzTx/>
              <a:buFontTx/>
              <a:buAutoNum type="arabicParenBoth"/>
              <a:tabLst/>
              <a:defRPr/>
            </a:pPr>
            <a:r>
              <a:rPr kumimoji="0" lang="en-US" sz="2000" b="0" i="0" u="none" strike="noStrike" kern="1200" cap="none" spc="0" normalizeH="0" baseline="0" noProof="0">
                <a:ln>
                  <a:noFill/>
                </a:ln>
                <a:solidFill>
                  <a:srgbClr val="4148C2"/>
                </a:solidFill>
                <a:effectLst/>
                <a:uLnTx/>
                <a:uFillTx/>
                <a:latin typeface="Arial"/>
                <a:ea typeface="+mn-ea"/>
                <a:cs typeface="+mn-cs"/>
              </a:rPr>
              <a:t>little or no operating experience </a:t>
            </a:r>
            <a:r>
              <a:rPr kumimoji="0" lang="en-US" sz="2000" b="0" i="0" u="none" strike="noStrike" kern="1200" cap="none" spc="0" normalizeH="0" baseline="0" noProof="0">
                <a:ln>
                  <a:noFill/>
                </a:ln>
                <a:solidFill>
                  <a:srgbClr val="3B3B3C"/>
                </a:solidFill>
                <a:effectLst/>
                <a:uLnTx/>
                <a:uFillTx/>
                <a:latin typeface="Arial"/>
                <a:ea typeface="+mn-ea"/>
                <a:cs typeface="+mn-cs"/>
              </a:rPr>
              <a:t>at engineering scale</a:t>
            </a:r>
          </a:p>
          <a:p>
            <a:pPr marL="457200" marR="0" lvl="0" indent="-457200" algn="l" defTabSz="457200" rtl="0" eaLnBrk="1" fontAlgn="auto" latinLnBrk="0" hangingPunct="1">
              <a:lnSpc>
                <a:spcPct val="100000"/>
              </a:lnSpc>
              <a:spcBef>
                <a:spcPts val="0"/>
              </a:spcBef>
              <a:spcAft>
                <a:spcPts val="600"/>
              </a:spcAft>
              <a:buClrTx/>
              <a:buSzTx/>
              <a:buFontTx/>
              <a:buAutoNum type="arabicParenBoth"/>
              <a:tabLst/>
              <a:defRPr/>
            </a:pPr>
            <a:r>
              <a:rPr kumimoji="0" lang="en-US" sz="2000" b="0" i="0" u="none" strike="noStrike" kern="1200" cap="none" spc="0" normalizeH="0" baseline="0" noProof="0">
                <a:ln>
                  <a:noFill/>
                </a:ln>
                <a:solidFill>
                  <a:srgbClr val="4148C2"/>
                </a:solidFill>
                <a:effectLst/>
                <a:uLnTx/>
                <a:uFillTx/>
                <a:latin typeface="Arial"/>
                <a:ea typeface="+mn-ea"/>
                <a:cs typeface="+mn-cs"/>
              </a:rPr>
              <a:t>lack of adequate capabilities to develop, test, and qualify </a:t>
            </a:r>
            <a:r>
              <a:rPr kumimoji="0" lang="en-US" sz="2000" b="0" i="0" u="none" strike="noStrike" kern="1200" cap="none" spc="0" normalizeH="0" baseline="0" noProof="0">
                <a:ln>
                  <a:noFill/>
                </a:ln>
                <a:solidFill>
                  <a:srgbClr val="3B3B3C"/>
                </a:solidFill>
                <a:effectLst/>
                <a:uLnTx/>
                <a:uFillTx/>
                <a:latin typeface="Arial"/>
                <a:ea typeface="+mn-ea"/>
                <a:cs typeface="+mn-cs"/>
              </a:rPr>
              <a:t>advanced fuels and materials </a:t>
            </a:r>
          </a:p>
          <a:p>
            <a:pPr marL="457200" marR="0" lvl="0" indent="-457200" algn="l" defTabSz="457200" rtl="0" eaLnBrk="1" fontAlgn="auto" latinLnBrk="0" hangingPunct="1">
              <a:lnSpc>
                <a:spcPct val="100000"/>
              </a:lnSpc>
              <a:spcBef>
                <a:spcPts val="0"/>
              </a:spcBef>
              <a:spcAft>
                <a:spcPts val="600"/>
              </a:spcAft>
              <a:buClrTx/>
              <a:buSzTx/>
              <a:buFontTx/>
              <a:buAutoNum type="arabicParenBoth"/>
              <a:tabLst/>
              <a:defRPr/>
            </a:pPr>
            <a:r>
              <a:rPr kumimoji="0" lang="en-US" sz="2000" b="0" i="0" u="none" strike="noStrike" kern="1200" cap="none" spc="0" normalizeH="0" baseline="0" noProof="0">
                <a:ln>
                  <a:noFill/>
                </a:ln>
                <a:solidFill>
                  <a:srgbClr val="3B3B3C"/>
                </a:solidFill>
                <a:effectLst/>
                <a:uLnTx/>
                <a:uFillTx/>
                <a:latin typeface="Arial"/>
                <a:ea typeface="+mn-ea"/>
                <a:cs typeface="+mn-cs"/>
              </a:rPr>
              <a:t>unknowns related to </a:t>
            </a:r>
            <a:r>
              <a:rPr kumimoji="0" lang="en-US" sz="2000" b="0" i="0" u="none" strike="noStrike" kern="1200" cap="none" spc="0" normalizeH="0" baseline="0" noProof="0">
                <a:ln>
                  <a:noFill/>
                </a:ln>
                <a:solidFill>
                  <a:srgbClr val="4148C2"/>
                </a:solidFill>
                <a:effectLst/>
                <a:uLnTx/>
                <a:uFillTx/>
                <a:latin typeface="Arial"/>
                <a:ea typeface="+mn-ea"/>
                <a:cs typeface="+mn-cs"/>
              </a:rPr>
              <a:t>regulatory processes and time required </a:t>
            </a:r>
            <a:r>
              <a:rPr kumimoji="0" lang="en-US" sz="2000" b="0" i="0" u="none" strike="noStrike" kern="1200" cap="none" spc="0" normalizeH="0" baseline="0" noProof="0">
                <a:ln>
                  <a:noFill/>
                </a:ln>
                <a:solidFill>
                  <a:srgbClr val="3B3B3C"/>
                </a:solidFill>
                <a:effectLst/>
                <a:uLnTx/>
                <a:uFillTx/>
                <a:latin typeface="Arial"/>
                <a:ea typeface="+mn-ea"/>
                <a:cs typeface="+mn-cs"/>
              </a:rPr>
              <a:t>for licensing approval</a:t>
            </a:r>
          </a:p>
        </p:txBody>
      </p:sp>
      <p:sp>
        <p:nvSpPr>
          <p:cNvPr id="3" name="Slide Number Placeholder 2"/>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F687C33-47E0-407C-B61F-DB8DDD78F4C7}" type="slidenum">
              <a:rPr kumimoji="0" lang="en-US" sz="1267" b="0" i="0" u="none" strike="noStrike" kern="1200" cap="none" spc="0" normalizeH="0" baseline="0" noProof="0" smtClean="0">
                <a:ln>
                  <a:noFill/>
                </a:ln>
                <a:solidFill>
                  <a:srgbClr val="7F7F7F"/>
                </a:solidFill>
                <a:effectLst/>
                <a:uLnTx/>
                <a:uFillTx/>
                <a:latin typeface="Arial"/>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59</a:t>
            </a:fld>
            <a:endParaRPr kumimoji="0" lang="en-US" sz="1267" b="0" i="0" u="none" strike="noStrike" kern="1200" cap="none" spc="0" normalizeH="0" baseline="0" noProof="0">
              <a:ln>
                <a:noFill/>
              </a:ln>
              <a:solidFill>
                <a:srgbClr val="7F7F7F"/>
              </a:solidFill>
              <a:effectLst/>
              <a:uLnTx/>
              <a:uFillTx/>
              <a:latin typeface="Arial"/>
              <a:ea typeface="+mn-ea"/>
              <a:cs typeface="+mn-cs"/>
            </a:endParaRPr>
          </a:p>
        </p:txBody>
      </p:sp>
    </p:spTree>
    <p:extLst>
      <p:ext uri="{BB962C8B-B14F-4D97-AF65-F5344CB8AC3E}">
        <p14:creationId xmlns:p14="http://schemas.microsoft.com/office/powerpoint/2010/main" val="385098884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47301D37-C67B-4449-8B94-64E812B4A6D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2817" name="think-cell Slide" r:id="rId4" imgW="395" imgH="396" progId="TCLayout.ActiveDocument.1">
                  <p:embed/>
                </p:oleObj>
              </mc:Choice>
              <mc:Fallback>
                <p:oleObj name="think-cell Slide" r:id="rId4" imgW="395" imgH="396" progId="TCLayout.ActiveDocument.1">
                  <p:embed/>
                  <p:pic>
                    <p:nvPicPr>
                      <p:cNvPr id="8" name="Object 7" hidden="1">
                        <a:extLst>
                          <a:ext uri="{FF2B5EF4-FFF2-40B4-BE49-F238E27FC236}">
                            <a16:creationId xmlns:a16="http://schemas.microsoft.com/office/drawing/2014/main" id="{47301D37-C67B-4449-8B94-64E812B4A6D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Subtitle 5">
            <a:extLst>
              <a:ext uri="{FF2B5EF4-FFF2-40B4-BE49-F238E27FC236}">
                <a16:creationId xmlns:a16="http://schemas.microsoft.com/office/drawing/2014/main" id="{932602E8-4426-4714-883E-24B6C29C15F6}"/>
              </a:ext>
            </a:extLst>
          </p:cNvPr>
          <p:cNvSpPr>
            <a:spLocks noGrp="1"/>
          </p:cNvSpPr>
          <p:nvPr>
            <p:ph type="subTitle" idx="1"/>
          </p:nvPr>
        </p:nvSpPr>
        <p:spPr>
          <a:xfrm>
            <a:off x="546547" y="4993320"/>
            <a:ext cx="10141773" cy="369332"/>
          </a:xfrm>
        </p:spPr>
        <p:txBody>
          <a:bodyPr/>
          <a:lstStyle/>
          <a:p>
            <a:r>
              <a:rPr lang="en-US" sz="2400" b="1"/>
              <a:t>Advanced Nuclear</a:t>
            </a:r>
            <a:r>
              <a:rPr lang="en-US" sz="2400"/>
              <a:t> | June 2023</a:t>
            </a:r>
          </a:p>
        </p:txBody>
      </p:sp>
      <p:sp>
        <p:nvSpPr>
          <p:cNvPr id="5" name="Title 4">
            <a:extLst>
              <a:ext uri="{FF2B5EF4-FFF2-40B4-BE49-F238E27FC236}">
                <a16:creationId xmlns:a16="http://schemas.microsoft.com/office/drawing/2014/main" id="{2A4DA46F-E8FE-42C0-9139-1E92BF89C45E}"/>
              </a:ext>
            </a:extLst>
          </p:cNvPr>
          <p:cNvSpPr>
            <a:spLocks noGrp="1"/>
          </p:cNvSpPr>
          <p:nvPr>
            <p:ph type="title"/>
          </p:nvPr>
        </p:nvSpPr>
        <p:spPr/>
        <p:txBody>
          <a:bodyPr vert="horz">
            <a:normAutofit/>
          </a:bodyPr>
          <a:lstStyle/>
          <a:p>
            <a:r>
              <a:rPr lang="en-US"/>
              <a:t>Pathways to Commercial Liftoff</a:t>
            </a:r>
          </a:p>
        </p:txBody>
      </p:sp>
    </p:spTree>
    <p:extLst>
      <p:ext uri="{BB962C8B-B14F-4D97-AF65-F5344CB8AC3E}">
        <p14:creationId xmlns:p14="http://schemas.microsoft.com/office/powerpoint/2010/main" val="378243878"/>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000"/>
              <a:t>Support for advanced reactor &amp; fuel cycle development</a:t>
            </a:r>
            <a:endParaRPr lang="en-US" sz="2400"/>
          </a:p>
        </p:txBody>
      </p:sp>
      <p:sp>
        <p:nvSpPr>
          <p:cNvPr id="5" name="TextBox 4"/>
          <p:cNvSpPr txBox="1"/>
          <p:nvPr/>
        </p:nvSpPr>
        <p:spPr>
          <a:xfrm>
            <a:off x="662940" y="2895059"/>
            <a:ext cx="10511338" cy="3400931"/>
          </a:xfrm>
          <a:prstGeom prst="rect">
            <a:avLst/>
          </a:prstGeom>
          <a:noFill/>
          <a:ln>
            <a:noFill/>
          </a:ln>
        </p:spPr>
        <p:txBody>
          <a:bodyPr wrap="square" rtlCol="0">
            <a:spAutoFit/>
          </a:bodyPr>
          <a:lstStyle/>
          <a:p>
            <a:pPr marL="0" marR="0" lvl="0" indent="0" algn="l" defTabSz="457200" rtl="0" eaLnBrk="1" fontAlgn="auto" latinLnBrk="0" hangingPunct="1">
              <a:lnSpc>
                <a:spcPct val="100000"/>
              </a:lnSpc>
              <a:spcBef>
                <a:spcPts val="0"/>
              </a:spcBef>
              <a:spcAft>
                <a:spcPts val="600"/>
              </a:spcAft>
              <a:buClrTx/>
              <a:buSzTx/>
              <a:buFontTx/>
              <a:buNone/>
              <a:tabLst/>
              <a:defRPr/>
            </a:pPr>
            <a:r>
              <a:rPr kumimoji="0" lang="en-US" sz="2000" b="1" i="1" u="none" strike="noStrike" kern="1200" cap="none" spc="0" normalizeH="0" baseline="0" noProof="0">
                <a:ln>
                  <a:noFill/>
                </a:ln>
                <a:solidFill>
                  <a:srgbClr val="3B3B3C"/>
                </a:solidFill>
                <a:effectLst/>
                <a:uLnTx/>
                <a:uFillTx/>
                <a:latin typeface="Arial"/>
                <a:ea typeface="+mn-ea"/>
                <a:cs typeface="+mn-cs"/>
              </a:rPr>
              <a:t>From Recommendation A. </a:t>
            </a:r>
          </a:p>
          <a:p>
            <a:pPr marL="342900" marR="0" lvl="0" indent="-342900" algn="l" defTabSz="4572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3B3B3C"/>
                </a:solidFill>
                <a:effectLst/>
                <a:uLnTx/>
                <a:uFillTx/>
                <a:latin typeface="Arial"/>
                <a:ea typeface="+mn-ea"/>
                <a:cs typeface="+mn-cs"/>
              </a:rPr>
              <a:t>A “</a:t>
            </a:r>
            <a:r>
              <a:rPr kumimoji="0" lang="en-US" sz="2000" b="0" i="0" u="none" strike="noStrike" kern="1200" cap="none" spc="0" normalizeH="0" baseline="0" noProof="0">
                <a:ln>
                  <a:noFill/>
                </a:ln>
                <a:solidFill>
                  <a:srgbClr val="4148C2"/>
                </a:solidFill>
                <a:effectLst/>
                <a:uLnTx/>
                <a:uFillTx/>
                <a:latin typeface="Arial"/>
                <a:ea typeface="+mn-ea"/>
                <a:cs typeface="+mn-cs"/>
              </a:rPr>
              <a:t>few promising designs</a:t>
            </a:r>
            <a:r>
              <a:rPr kumimoji="0" lang="en-US" sz="2000" b="1" i="1" u="none" strike="noStrike" kern="1200" cap="none" spc="0" normalizeH="0" baseline="0" noProof="0">
                <a:ln>
                  <a:noFill/>
                </a:ln>
                <a:solidFill>
                  <a:srgbClr val="3B3B3C"/>
                </a:solidFill>
                <a:effectLst/>
                <a:uLnTx/>
                <a:uFillTx/>
                <a:latin typeface="Arial"/>
                <a:ea typeface="+mn-ea"/>
                <a:cs typeface="+mn-cs"/>
              </a:rPr>
              <a:t>” </a:t>
            </a:r>
            <a:r>
              <a:rPr kumimoji="0" lang="en-US" sz="2000" b="0" i="0" u="none" strike="noStrike" kern="1200" cap="none" spc="0" normalizeH="0" baseline="0" noProof="0">
                <a:ln>
                  <a:noFill/>
                </a:ln>
                <a:solidFill>
                  <a:srgbClr val="3B3B3C"/>
                </a:solidFill>
                <a:effectLst/>
                <a:uLnTx/>
                <a:uFillTx/>
                <a:latin typeface="Arial"/>
                <a:ea typeface="+mn-ea"/>
                <a:cs typeface="+mn-cs"/>
              </a:rPr>
              <a:t>that can meet NEICA goals and potentially be deployed by 2050 should go forward under cost-sharing arrangements between government and industry. </a:t>
            </a:r>
          </a:p>
          <a:p>
            <a:pPr marL="342900" marR="0" lvl="0" indent="-342900" algn="l" defTabSz="4572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4148C2"/>
                </a:solidFill>
                <a:effectLst/>
                <a:uLnTx/>
                <a:uFillTx/>
                <a:latin typeface="Arial"/>
                <a:ea typeface="+mn-ea"/>
                <a:cs typeface="+mn-cs"/>
              </a:rPr>
              <a:t>With limited budgets, deciding which designs to support will be difficult. </a:t>
            </a:r>
          </a:p>
          <a:p>
            <a:pPr marL="342900" marR="0" lvl="0" indent="-34290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3B3B3C"/>
                </a:solidFill>
                <a:effectLst/>
                <a:uLnTx/>
                <a:uFillTx/>
                <a:latin typeface="Arial"/>
                <a:ea typeface="+mn-ea"/>
                <a:cs typeface="+mn-cs"/>
              </a:rPr>
              <a:t>Selection and support should be:</a:t>
            </a:r>
          </a:p>
          <a:p>
            <a:pPr marL="800100" marR="0" lvl="1" indent="-34290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3B3B3C"/>
                </a:solidFill>
                <a:effectLst/>
                <a:uLnTx/>
                <a:uFillTx/>
                <a:latin typeface="Arial"/>
                <a:ea typeface="+mn-ea"/>
                <a:cs typeface="+mn-cs"/>
              </a:rPr>
              <a:t>guided by data from ARDP and DOE R&amp;D programs</a:t>
            </a:r>
          </a:p>
          <a:p>
            <a:pPr marL="800100" marR="0" lvl="1" indent="-34290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4148C2"/>
                </a:solidFill>
                <a:effectLst/>
                <a:uLnTx/>
                <a:uFillTx/>
                <a:latin typeface="Arial"/>
                <a:ea typeface="+mn-ea"/>
                <a:cs typeface="+mn-cs"/>
              </a:rPr>
              <a:t>determined by clear, science-based criteria that encompass the entire fuel cycle</a:t>
            </a:r>
          </a:p>
          <a:p>
            <a:pPr marL="800100" marR="0" lvl="1" indent="-34290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4148C2"/>
                </a:solidFill>
                <a:effectLst/>
                <a:uLnTx/>
                <a:uFillTx/>
                <a:latin typeface="Arial"/>
                <a:ea typeface="+mn-ea"/>
                <a:cs typeface="+mn-cs"/>
              </a:rPr>
              <a:t>based on reliable cost estimates </a:t>
            </a:r>
            <a:r>
              <a:rPr kumimoji="0" lang="en-US" sz="2000" b="0" i="0" u="none" strike="noStrike" kern="1200" cap="none" spc="0" normalizeH="0" baseline="0" noProof="0">
                <a:ln>
                  <a:noFill/>
                </a:ln>
                <a:solidFill>
                  <a:srgbClr val="3B3B3C"/>
                </a:solidFill>
                <a:effectLst/>
                <a:uLnTx/>
                <a:uFillTx/>
                <a:latin typeface="Arial"/>
                <a:ea typeface="+mn-ea"/>
                <a:cs typeface="+mn-cs"/>
              </a:rPr>
              <a:t>for necessary manufacturing base and supply chain infrastructure. </a:t>
            </a:r>
          </a:p>
        </p:txBody>
      </p:sp>
      <p:sp>
        <p:nvSpPr>
          <p:cNvPr id="17" name="TextBox 16">
            <a:extLst>
              <a:ext uri="{FF2B5EF4-FFF2-40B4-BE49-F238E27FC236}">
                <a16:creationId xmlns:a16="http://schemas.microsoft.com/office/drawing/2014/main" id="{EF16329D-6D16-4446-9BD5-D581A781DBE8}"/>
              </a:ext>
            </a:extLst>
          </p:cNvPr>
          <p:cNvSpPr txBox="1"/>
          <p:nvPr/>
        </p:nvSpPr>
        <p:spPr>
          <a:xfrm>
            <a:off x="662940" y="1289256"/>
            <a:ext cx="10131183" cy="1400383"/>
          </a:xfrm>
          <a:prstGeom prst="rect">
            <a:avLst/>
          </a:prstGeom>
          <a:solidFill>
            <a:schemeClr val="bg1"/>
          </a:solidFill>
          <a:ln>
            <a:noFill/>
          </a:ln>
        </p:spPr>
        <p:txBody>
          <a:bodyPr wrap="square" rtlCol="0">
            <a:spAutoFit/>
          </a:bodyPr>
          <a:lstStyle/>
          <a:p>
            <a:pPr marL="0" marR="0" lvl="0" indent="0" algn="l" defTabSz="457200" rtl="0" eaLnBrk="1" fontAlgn="auto" latinLnBrk="0" hangingPunct="1">
              <a:lnSpc>
                <a:spcPct val="100000"/>
              </a:lnSpc>
              <a:spcBef>
                <a:spcPts val="0"/>
              </a:spcBef>
              <a:spcAft>
                <a:spcPts val="600"/>
              </a:spcAft>
              <a:buClrTx/>
              <a:buSzTx/>
              <a:buFontTx/>
              <a:buNone/>
              <a:tabLst/>
              <a:defRPr/>
            </a:pPr>
            <a:r>
              <a:rPr kumimoji="0" lang="en-US" sz="2000" b="1" i="1" u="none" strike="noStrike" kern="1200" cap="none" spc="0" normalizeH="0" baseline="0" noProof="0">
                <a:ln>
                  <a:noFill/>
                </a:ln>
                <a:solidFill>
                  <a:srgbClr val="3B3B3C"/>
                </a:solidFill>
                <a:effectLst/>
                <a:uLnTx/>
                <a:uFillTx/>
                <a:latin typeface="Arial"/>
                <a:ea typeface="+mn-ea"/>
                <a:cs typeface="+mn-cs"/>
              </a:rPr>
              <a:t>From Finding 3.</a:t>
            </a:r>
            <a:endParaRPr kumimoji="0" lang="en-US" sz="2000" b="0" i="0" u="none" strike="noStrike" kern="1200" cap="none" spc="0" normalizeH="0" baseline="0" noProof="0">
              <a:ln>
                <a:noFill/>
              </a:ln>
              <a:solidFill>
                <a:srgbClr val="3B3B3C"/>
              </a:solidFill>
              <a:effectLst/>
              <a:uLnTx/>
              <a:uFillTx/>
              <a:latin typeface="Arial"/>
              <a:ea typeface="+mn-ea"/>
              <a:cs typeface="+mn-cs"/>
            </a:endParaRPr>
          </a:p>
          <a:p>
            <a:pPr marL="342900" marR="0" lvl="0" indent="-342900" algn="l" defTabSz="4572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4148C2"/>
                </a:solidFill>
                <a:effectLst/>
                <a:uLnTx/>
                <a:uFillTx/>
                <a:latin typeface="Arial"/>
                <a:ea typeface="+mn-ea"/>
                <a:cs typeface="+mn-cs"/>
              </a:rPr>
              <a:t>Government support to help bring advanced reactors to commercial deployment will take substantial financial and technical resources. </a:t>
            </a:r>
            <a:r>
              <a:rPr kumimoji="0" lang="en-US" sz="2000" b="0" i="0" u="none" strike="noStrike" kern="1200" cap="none" spc="0" normalizeH="0" baseline="0" noProof="0">
                <a:ln>
                  <a:noFill/>
                </a:ln>
                <a:solidFill>
                  <a:srgbClr val="3B3B3C"/>
                </a:solidFill>
                <a:effectLst/>
                <a:uLnTx/>
                <a:uFillTx/>
                <a:latin typeface="Arial"/>
                <a:ea typeface="+mn-ea"/>
                <a:cs typeface="+mn-cs"/>
              </a:rPr>
              <a:t>Consistent and full funding of ARDP through completion will be key to helping DOE in its decision making process.</a:t>
            </a:r>
          </a:p>
        </p:txBody>
      </p:sp>
      <p:sp>
        <p:nvSpPr>
          <p:cNvPr id="3" name="Slide Number Placeholder 2"/>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F687C33-47E0-407C-B61F-DB8DDD78F4C7}" type="slidenum">
              <a:rPr kumimoji="0" lang="en-US" sz="1267" b="0" i="0" u="none" strike="noStrike" kern="1200" cap="none" spc="0" normalizeH="0" baseline="0" noProof="0" smtClean="0">
                <a:ln>
                  <a:noFill/>
                </a:ln>
                <a:solidFill>
                  <a:srgbClr val="7F7F7F"/>
                </a:solidFill>
                <a:effectLst/>
                <a:uLnTx/>
                <a:uFillTx/>
                <a:latin typeface="Arial"/>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60</a:t>
            </a:fld>
            <a:endParaRPr kumimoji="0" lang="en-US" sz="1267" b="0" i="0" u="none" strike="noStrike" kern="1200" cap="none" spc="0" normalizeH="0" baseline="0" noProof="0">
              <a:ln>
                <a:noFill/>
              </a:ln>
              <a:solidFill>
                <a:srgbClr val="7F7F7F"/>
              </a:solidFill>
              <a:effectLst/>
              <a:uLnTx/>
              <a:uFillTx/>
              <a:latin typeface="Arial"/>
              <a:ea typeface="+mn-ea"/>
              <a:cs typeface="+mn-cs"/>
            </a:endParaRPr>
          </a:p>
        </p:txBody>
      </p:sp>
    </p:spTree>
    <p:extLst>
      <p:ext uri="{BB962C8B-B14F-4D97-AF65-F5344CB8AC3E}">
        <p14:creationId xmlns:p14="http://schemas.microsoft.com/office/powerpoint/2010/main" val="282764913"/>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Placeholder 8"/>
          <p:cNvPicPr>
            <a:picLocks noGrp="1" noChangeAspect="1"/>
          </p:cNvPicPr>
          <p:nvPr>
            <p:ph type="pic" sz="quarter" idx="13"/>
          </p:nvPr>
        </p:nvPicPr>
        <p:blipFill>
          <a:blip r:embed="rId3">
            <a:extLst>
              <a:ext uri="{28A0092B-C50C-407E-A947-70E740481C1C}">
                <a14:useLocalDpi xmlns:a14="http://schemas.microsoft.com/office/drawing/2010/main" val="0"/>
              </a:ext>
            </a:extLst>
          </a:blip>
          <a:srcRect t="32411" b="32411"/>
          <a:stretch>
            <a:fillRect/>
          </a:stretch>
        </p:blipFill>
        <p:spPr/>
      </p:pic>
      <p:sp>
        <p:nvSpPr>
          <p:cNvPr id="3" name="Text Placeholder 2"/>
          <p:cNvSpPr>
            <a:spLocks noGrp="1"/>
          </p:cNvSpPr>
          <p:nvPr>
            <p:ph type="body" sz="quarter" idx="14"/>
          </p:nvPr>
        </p:nvSpPr>
        <p:spPr>
          <a:xfrm>
            <a:off x="1004807" y="250162"/>
            <a:ext cx="10182386" cy="3911935"/>
          </a:xfrm>
        </p:spPr>
        <p:txBody>
          <a:bodyPr/>
          <a:lstStyle/>
          <a:p>
            <a:pPr>
              <a:spcAft>
                <a:spcPts val="1200"/>
              </a:spcAft>
            </a:pPr>
            <a:r>
              <a:rPr lang="en-US"/>
              <a:t>What about the fuel cycle?</a:t>
            </a:r>
          </a:p>
          <a:p>
            <a:r>
              <a:rPr lang="en-US" sz="2600"/>
              <a:t>Advanced reactor developers are focusing on reactor designs and front-end fuel cycle components needed to support technology demonstration. </a:t>
            </a:r>
          </a:p>
        </p:txBody>
      </p:sp>
      <p:sp>
        <p:nvSpPr>
          <p:cNvPr id="4" name="TextBox 3">
            <a:extLst>
              <a:ext uri="{FF2B5EF4-FFF2-40B4-BE49-F238E27FC236}">
                <a16:creationId xmlns:a16="http://schemas.microsoft.com/office/drawing/2014/main" id="{783C334B-A387-43F0-88D8-B67F01CAFBF1}"/>
              </a:ext>
            </a:extLst>
          </p:cNvPr>
          <p:cNvSpPr txBox="1"/>
          <p:nvPr/>
        </p:nvSpPr>
        <p:spPr>
          <a:xfrm>
            <a:off x="3437259" y="4311823"/>
            <a:ext cx="5317481" cy="1200329"/>
          </a:xfrm>
          <a:prstGeom prst="rect">
            <a:avLst/>
          </a:prstGeom>
          <a:solidFill>
            <a:schemeClr val="accent2">
              <a:lumMod val="20000"/>
              <a:lumOff val="80000"/>
            </a:schemeClr>
          </a:solidFill>
          <a:ln w="19050">
            <a:solidFill>
              <a:schemeClr val="accent2"/>
            </a:solidFill>
          </a:ln>
        </p:spPr>
        <p:txBody>
          <a:bodyPr wrap="non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211747"/>
                </a:solidFill>
                <a:effectLst/>
                <a:uLnTx/>
                <a:uFillTx/>
                <a:latin typeface="Arial"/>
                <a:ea typeface="+mn-ea"/>
                <a:cs typeface="+mn-cs"/>
              </a:rPr>
              <a:t>enrichment: 5% &lt; HALEU &lt; 20% </a:t>
            </a:r>
            <a:r>
              <a:rPr kumimoji="0" lang="en-US" sz="2400" b="0" i="0" u="none" strike="noStrike" kern="1200" cap="none" spc="0" normalizeH="0" baseline="30000" noProof="0">
                <a:ln>
                  <a:noFill/>
                </a:ln>
                <a:solidFill>
                  <a:srgbClr val="211747"/>
                </a:solidFill>
                <a:effectLst/>
                <a:uLnTx/>
                <a:uFillTx/>
                <a:latin typeface="Arial"/>
                <a:ea typeface="+mn-ea"/>
                <a:cs typeface="+mn-cs"/>
              </a:rPr>
              <a:t>235</a:t>
            </a:r>
            <a:r>
              <a:rPr kumimoji="0" lang="en-US" sz="2400" b="0" i="0" u="none" strike="noStrike" kern="1200" cap="none" spc="0" normalizeH="0" baseline="0" noProof="0">
                <a:ln>
                  <a:noFill/>
                </a:ln>
                <a:solidFill>
                  <a:srgbClr val="211747"/>
                </a:solidFill>
                <a:effectLst/>
                <a:uLnTx/>
                <a:uFillTx/>
                <a:latin typeface="Arial"/>
                <a:ea typeface="+mn-ea"/>
                <a:cs typeface="+mn-cs"/>
              </a:rPr>
              <a:t>U</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211747"/>
                </a:solidFill>
                <a:effectLst/>
                <a:uLnTx/>
                <a:uFillTx/>
                <a:latin typeface="Arial"/>
                <a:ea typeface="+mn-ea"/>
                <a:cs typeface="+mn-cs"/>
              </a:rPr>
              <a:t>and </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211747"/>
                </a:solidFill>
                <a:effectLst/>
                <a:uLnTx/>
                <a:uFillTx/>
                <a:latin typeface="Arial"/>
                <a:ea typeface="+mn-ea"/>
                <a:cs typeface="+mn-cs"/>
              </a:rPr>
              <a:t>fuel fabrication using HALEU </a:t>
            </a:r>
          </a:p>
        </p:txBody>
      </p:sp>
      <p:sp>
        <p:nvSpPr>
          <p:cNvPr id="2" name="Slide Number Placeholder 1"/>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F687C33-47E0-407C-B61F-DB8DDD78F4C7}" type="slidenum">
              <a:rPr kumimoji="0" lang="en-US" sz="1267" b="0" i="0" u="none" strike="noStrike" kern="1200" cap="none" spc="0" normalizeH="0" baseline="0" noProof="0" smtClean="0">
                <a:ln>
                  <a:noFill/>
                </a:ln>
                <a:solidFill>
                  <a:srgbClr val="7F7F7F"/>
                </a:solidFill>
                <a:effectLst/>
                <a:uLnTx/>
                <a:uFillTx/>
                <a:latin typeface="Arial"/>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61</a:t>
            </a:fld>
            <a:endParaRPr kumimoji="0" lang="en-US" sz="1267" b="0" i="0" u="none" strike="noStrike" kern="1200" cap="none" spc="0" normalizeH="0" baseline="0" noProof="0">
              <a:ln>
                <a:noFill/>
              </a:ln>
              <a:solidFill>
                <a:srgbClr val="7F7F7F"/>
              </a:solidFill>
              <a:effectLst/>
              <a:uLnTx/>
              <a:uFillTx/>
              <a:latin typeface="Arial"/>
              <a:ea typeface="+mn-ea"/>
              <a:cs typeface="+mn-cs"/>
            </a:endParaRPr>
          </a:p>
        </p:txBody>
      </p:sp>
    </p:spTree>
    <p:extLst>
      <p:ext uri="{BB962C8B-B14F-4D97-AF65-F5344CB8AC3E}">
        <p14:creationId xmlns:p14="http://schemas.microsoft.com/office/powerpoint/2010/main" val="968197225"/>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62940" y="533669"/>
            <a:ext cx="9602485" cy="502102"/>
          </a:xfrm>
        </p:spPr>
        <p:txBody>
          <a:bodyPr/>
          <a:lstStyle/>
          <a:p>
            <a:r>
              <a:rPr lang="en-US" sz="3200"/>
              <a:t>Front-end fuel cycle considerations – HALEU supply</a:t>
            </a:r>
            <a:br>
              <a:rPr lang="en-US"/>
            </a:br>
            <a:endParaRPr lang="en-US" sz="2400"/>
          </a:p>
        </p:txBody>
      </p:sp>
      <p:sp>
        <p:nvSpPr>
          <p:cNvPr id="8" name="TextBox 7"/>
          <p:cNvSpPr txBox="1"/>
          <p:nvPr/>
        </p:nvSpPr>
        <p:spPr>
          <a:xfrm>
            <a:off x="662940" y="1295557"/>
            <a:ext cx="9903041" cy="2092881"/>
          </a:xfrm>
          <a:prstGeom prst="rect">
            <a:avLst/>
          </a:prstGeom>
          <a:noFill/>
          <a:ln>
            <a:noFill/>
          </a:ln>
        </p:spPr>
        <p:txBody>
          <a:bodyPr wrap="square" rtlCol="0">
            <a:spAutoFit/>
          </a:bodyPr>
          <a:lstStyle/>
          <a:p>
            <a:pPr marL="0" marR="0" lvl="0" indent="0" algn="l" defTabSz="457200" rtl="0" eaLnBrk="1" fontAlgn="auto" latinLnBrk="0" hangingPunct="1">
              <a:lnSpc>
                <a:spcPct val="100000"/>
              </a:lnSpc>
              <a:spcBef>
                <a:spcPts val="0"/>
              </a:spcBef>
              <a:spcAft>
                <a:spcPts val="600"/>
              </a:spcAft>
              <a:buClrTx/>
              <a:buSzTx/>
              <a:buFontTx/>
              <a:buNone/>
              <a:tabLst/>
              <a:defRPr/>
            </a:pPr>
            <a:r>
              <a:rPr kumimoji="0" lang="en-US" sz="2000" b="1" i="1" u="none" strike="noStrike" kern="1200" cap="none" spc="0" normalizeH="0" baseline="0" noProof="0">
                <a:ln>
                  <a:noFill/>
                </a:ln>
                <a:solidFill>
                  <a:srgbClr val="3B3B3C"/>
                </a:solidFill>
                <a:effectLst/>
                <a:uLnTx/>
                <a:uFillTx/>
                <a:latin typeface="Arial"/>
                <a:ea typeface="+mn-ea"/>
                <a:cs typeface="+mn-cs"/>
              </a:rPr>
              <a:t>From Finding 7.</a:t>
            </a:r>
            <a:r>
              <a:rPr kumimoji="0" lang="en-US" sz="2000" b="0" i="0" u="none" strike="noStrike" kern="1200" cap="none" spc="0" normalizeH="0" baseline="0" noProof="0">
                <a:ln>
                  <a:noFill/>
                </a:ln>
                <a:solidFill>
                  <a:srgbClr val="3B3B3C"/>
                </a:solidFill>
                <a:effectLst/>
                <a:uLnTx/>
                <a:uFillTx/>
                <a:latin typeface="Arial"/>
                <a:ea typeface="+mn-ea"/>
                <a:cs typeface="+mn-cs"/>
              </a:rPr>
              <a:t> </a:t>
            </a:r>
          </a:p>
          <a:p>
            <a:pPr marL="342900" marR="0" lvl="0" indent="-342900" algn="l" defTabSz="4572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3B3B3C"/>
                </a:solidFill>
                <a:effectLst/>
                <a:uLnTx/>
                <a:uFillTx/>
                <a:latin typeface="Arial"/>
                <a:ea typeface="+mn-ea"/>
                <a:cs typeface="+mn-cs"/>
              </a:rPr>
              <a:t>There is </a:t>
            </a:r>
            <a:r>
              <a:rPr kumimoji="0" lang="en-US" sz="2000" b="0" i="0" u="none" strike="noStrike" kern="1200" cap="none" spc="0" normalizeH="0" baseline="0" noProof="0">
                <a:ln>
                  <a:noFill/>
                </a:ln>
                <a:solidFill>
                  <a:srgbClr val="4148C2"/>
                </a:solidFill>
                <a:effectLst/>
                <a:uLnTx/>
                <a:uFillTx/>
                <a:latin typeface="Arial"/>
                <a:ea typeface="+mn-ea"/>
                <a:cs typeface="+mn-cs"/>
              </a:rPr>
              <a:t>no current domestic capacity to supply HALEU</a:t>
            </a:r>
            <a:r>
              <a:rPr kumimoji="0" lang="en-US" sz="2000" b="0" i="0" u="none" strike="noStrike" kern="1200" cap="none" spc="0" normalizeH="0" baseline="0" noProof="0">
                <a:ln>
                  <a:noFill/>
                </a:ln>
                <a:solidFill>
                  <a:srgbClr val="3B3B3C"/>
                </a:solidFill>
                <a:effectLst/>
                <a:uLnTx/>
                <a:uFillTx/>
                <a:latin typeface="Arial"/>
                <a:ea typeface="+mn-ea"/>
                <a:cs typeface="+mn-cs"/>
              </a:rPr>
              <a:t> to meet the projected needs for U.S.-based advanced reactors. </a:t>
            </a:r>
          </a:p>
          <a:p>
            <a:pPr marL="342900" marR="0" lvl="0" indent="-34290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3B3B3C"/>
                </a:solidFill>
                <a:effectLst/>
                <a:uLnTx/>
                <a:uFillTx/>
                <a:latin typeface="Arial"/>
                <a:ea typeface="+mn-ea"/>
                <a:cs typeface="+mn-cs"/>
              </a:rPr>
              <a:t>Reliance on foreign sources of HALEU (e.g., Russia) could have </a:t>
            </a:r>
            <a:r>
              <a:rPr kumimoji="0" lang="en-US" sz="2000" b="0" i="0" u="none" strike="noStrike" kern="1200" cap="none" spc="0" normalizeH="0" baseline="0" noProof="0">
                <a:ln>
                  <a:noFill/>
                </a:ln>
                <a:solidFill>
                  <a:srgbClr val="4148C2"/>
                </a:solidFill>
                <a:effectLst/>
                <a:uLnTx/>
                <a:uFillTx/>
                <a:latin typeface="Arial"/>
                <a:ea typeface="+mn-ea"/>
                <a:cs typeface="+mn-cs"/>
              </a:rPr>
              <a:t>serious</a:t>
            </a:r>
            <a:r>
              <a:rPr kumimoji="0" lang="en-US" sz="2000" b="0" i="0" u="none" strike="noStrike" kern="1200" cap="none" spc="0" normalizeH="0" baseline="0" noProof="0">
                <a:ln>
                  <a:noFill/>
                </a:ln>
                <a:solidFill>
                  <a:srgbClr val="3B3B3C"/>
                </a:solidFill>
                <a:effectLst/>
                <a:uLnTx/>
                <a:uFillTx/>
                <a:latin typeface="Arial"/>
                <a:ea typeface="+mn-ea"/>
                <a:cs typeface="+mn-cs"/>
              </a:rPr>
              <a:t> </a:t>
            </a:r>
            <a:r>
              <a:rPr kumimoji="0" lang="en-US" sz="2000" b="0" i="0" u="none" strike="noStrike" kern="1200" cap="none" spc="0" normalizeH="0" baseline="0" noProof="0">
                <a:ln>
                  <a:noFill/>
                </a:ln>
                <a:solidFill>
                  <a:srgbClr val="4148C2"/>
                </a:solidFill>
                <a:effectLst/>
                <a:uLnTx/>
                <a:uFillTx/>
                <a:latin typeface="Arial"/>
                <a:ea typeface="+mn-ea"/>
                <a:cs typeface="+mn-cs"/>
              </a:rPr>
              <a:t>energy and national security implications</a:t>
            </a:r>
            <a:r>
              <a:rPr kumimoji="0" lang="en-US" sz="2000" b="0" i="0" u="none" strike="noStrike" kern="1200" cap="none" spc="0" normalizeH="0" baseline="0" noProof="0">
                <a:ln>
                  <a:noFill/>
                </a:ln>
                <a:solidFill>
                  <a:srgbClr val="3B3B3C"/>
                </a:solidFill>
                <a:effectLst/>
                <a:uLnTx/>
                <a:uFillTx/>
                <a:latin typeface="Arial"/>
                <a:ea typeface="+mn-ea"/>
                <a:cs typeface="+mn-cs"/>
              </a:rPr>
              <a:t> if advanced reactors using HALEU are adopted widely. </a:t>
            </a:r>
          </a:p>
        </p:txBody>
      </p:sp>
      <p:sp>
        <p:nvSpPr>
          <p:cNvPr id="11" name="TextBox 10"/>
          <p:cNvSpPr txBox="1"/>
          <p:nvPr/>
        </p:nvSpPr>
        <p:spPr>
          <a:xfrm>
            <a:off x="662940" y="3648224"/>
            <a:ext cx="9903041" cy="2246769"/>
          </a:xfrm>
          <a:prstGeom prst="rect">
            <a:avLst/>
          </a:prstGeom>
          <a:noFill/>
          <a:ln>
            <a:noFill/>
          </a:ln>
        </p:spPr>
        <p:txBody>
          <a:bodyPr wrap="square" rtlCol="0">
            <a:spAutoFit/>
          </a:bodyPr>
          <a:lstStyle/>
          <a:p>
            <a:pPr marL="0" marR="0" lvl="0" indent="0" algn="l" defTabSz="457200" rtl="0" eaLnBrk="1" fontAlgn="auto" latinLnBrk="0" hangingPunct="1">
              <a:lnSpc>
                <a:spcPct val="100000"/>
              </a:lnSpc>
              <a:spcBef>
                <a:spcPts val="0"/>
              </a:spcBef>
              <a:spcAft>
                <a:spcPts val="1200"/>
              </a:spcAft>
              <a:buClrTx/>
              <a:buSzTx/>
              <a:buFontTx/>
              <a:buNone/>
              <a:tabLst/>
              <a:defRPr/>
            </a:pPr>
            <a:r>
              <a:rPr kumimoji="0" lang="en-US" sz="2000" b="1" i="1" u="none" strike="noStrike" kern="1200" cap="none" spc="0" normalizeH="0" baseline="0" noProof="0">
                <a:ln>
                  <a:noFill/>
                </a:ln>
                <a:solidFill>
                  <a:srgbClr val="3B3B3C"/>
                </a:solidFill>
                <a:effectLst/>
                <a:uLnTx/>
                <a:uFillTx/>
                <a:latin typeface="Arial"/>
                <a:ea typeface="+mn-ea"/>
                <a:cs typeface="+mn-cs"/>
              </a:rPr>
              <a:t>From Recommendation C. </a:t>
            </a:r>
            <a:r>
              <a:rPr kumimoji="0" lang="en-US" sz="2000" b="0" i="0" u="none" strike="noStrike" kern="1200" cap="none" spc="0" normalizeH="0" baseline="0" noProof="0">
                <a:ln>
                  <a:noFill/>
                </a:ln>
                <a:solidFill>
                  <a:srgbClr val="3B3B3C"/>
                </a:solidFill>
                <a:effectLst/>
                <a:uLnTx/>
                <a:uFillTx/>
                <a:latin typeface="Arial"/>
                <a:ea typeface="+mn-ea"/>
                <a:cs typeface="+mn-cs"/>
              </a:rPr>
              <a:t>DOE should develop a plan and associated schedule to make clear to developers the </a:t>
            </a:r>
            <a:r>
              <a:rPr kumimoji="0" lang="en-US" sz="2000" b="0" i="0" u="none" strike="noStrike" kern="1200" cap="none" spc="0" normalizeH="0" baseline="0" noProof="0">
                <a:ln>
                  <a:noFill/>
                </a:ln>
                <a:solidFill>
                  <a:srgbClr val="4148C2"/>
                </a:solidFill>
                <a:effectLst/>
                <a:uLnTx/>
                <a:uFillTx/>
                <a:latin typeface="Arial"/>
                <a:ea typeface="+mn-ea"/>
                <a:cs typeface="+mn-cs"/>
              </a:rPr>
              <a:t>timing and level of federal support available for domestic HALEU production</a:t>
            </a:r>
            <a:r>
              <a:rPr kumimoji="0" lang="en-US" sz="2000" b="0" i="0" u="none" strike="noStrike" kern="1200" cap="none" spc="0" normalizeH="0" baseline="0" noProof="0">
                <a:ln>
                  <a:noFill/>
                </a:ln>
                <a:solidFill>
                  <a:srgbClr val="3B3B3C"/>
                </a:solidFill>
                <a:effectLst/>
                <a:uLnTx/>
                <a:uFillTx/>
                <a:latin typeface="Arial"/>
                <a:ea typeface="+mn-ea"/>
                <a:cs typeface="+mn-cs"/>
              </a:rPr>
              <a:t>.</a:t>
            </a:r>
          </a:p>
          <a:p>
            <a:pPr marL="0" marR="0" lvl="0" indent="0" algn="l" defTabSz="457200" rtl="0" eaLnBrk="1" fontAlgn="auto" latinLnBrk="0" hangingPunct="1">
              <a:lnSpc>
                <a:spcPct val="100000"/>
              </a:lnSpc>
              <a:spcBef>
                <a:spcPts val="0"/>
              </a:spcBef>
              <a:spcAft>
                <a:spcPts val="600"/>
              </a:spcAft>
              <a:buClrTx/>
              <a:buSzTx/>
              <a:buFontTx/>
              <a:buNone/>
              <a:tabLst/>
              <a:defRPr/>
            </a:pPr>
            <a:r>
              <a:rPr kumimoji="0" lang="en-US" sz="2000" b="0" i="0" u="none" strike="noStrike" kern="1200" cap="none" spc="0" normalizeH="0" baseline="0" noProof="0">
                <a:ln>
                  <a:noFill/>
                </a:ln>
                <a:solidFill>
                  <a:srgbClr val="3B3B3C"/>
                </a:solidFill>
                <a:effectLst/>
                <a:uLnTx/>
                <a:uFillTx/>
                <a:latin typeface="Arial"/>
                <a:ea typeface="+mn-ea"/>
                <a:cs typeface="+mn-cs"/>
              </a:rPr>
              <a:t>DOE contingency plans may include: </a:t>
            </a:r>
          </a:p>
          <a:p>
            <a:pPr marL="457200" marR="0" lvl="0" indent="-457200" algn="l" defTabSz="457200" rtl="0" eaLnBrk="1" fontAlgn="auto" latinLnBrk="0" hangingPunct="1">
              <a:lnSpc>
                <a:spcPct val="100000"/>
              </a:lnSpc>
              <a:spcBef>
                <a:spcPts val="0"/>
              </a:spcBef>
              <a:spcAft>
                <a:spcPts val="600"/>
              </a:spcAft>
              <a:buClrTx/>
              <a:buSzTx/>
              <a:buFontTx/>
              <a:buAutoNum type="arabicParenBoth"/>
              <a:tabLst/>
              <a:defRPr/>
            </a:pPr>
            <a:r>
              <a:rPr kumimoji="0" lang="en-US" sz="2000" b="0" i="0" u="none" strike="noStrike" kern="1200" cap="none" spc="0" normalizeH="0" baseline="0" noProof="0">
                <a:ln>
                  <a:noFill/>
                </a:ln>
                <a:solidFill>
                  <a:srgbClr val="4148C2"/>
                </a:solidFill>
                <a:effectLst/>
                <a:uLnTx/>
                <a:uFillTx/>
                <a:latin typeface="Arial"/>
                <a:ea typeface="+mn-ea"/>
                <a:cs typeface="+mn-cs"/>
              </a:rPr>
              <a:t>delaying development &amp; deployment </a:t>
            </a:r>
            <a:r>
              <a:rPr kumimoji="0" lang="en-US" sz="2000" b="0" i="0" u="none" strike="noStrike" kern="1200" cap="none" spc="0" normalizeH="0" baseline="0" noProof="0">
                <a:ln>
                  <a:noFill/>
                </a:ln>
                <a:solidFill>
                  <a:srgbClr val="3B3B3C"/>
                </a:solidFill>
                <a:effectLst/>
                <a:uLnTx/>
                <a:uFillTx/>
                <a:latin typeface="Arial"/>
                <a:ea typeface="+mn-ea"/>
                <a:cs typeface="+mn-cs"/>
              </a:rPr>
              <a:t>of some advanced reactors requiring HALEU </a:t>
            </a:r>
          </a:p>
          <a:p>
            <a:pPr marL="457200" marR="0" lvl="0" indent="-457200" algn="l" defTabSz="457200" rtl="0" eaLnBrk="1" fontAlgn="auto" latinLnBrk="0" hangingPunct="1">
              <a:lnSpc>
                <a:spcPct val="100000"/>
              </a:lnSpc>
              <a:spcBef>
                <a:spcPts val="0"/>
              </a:spcBef>
              <a:spcAft>
                <a:spcPts val="1200"/>
              </a:spcAft>
              <a:buClrTx/>
              <a:buSzTx/>
              <a:buFontTx/>
              <a:buAutoNum type="arabicParenBoth"/>
              <a:tabLst/>
              <a:defRPr/>
            </a:pPr>
            <a:r>
              <a:rPr kumimoji="0" lang="en-US" sz="2000" b="0" i="0" u="none" strike="noStrike" kern="1200" cap="none" spc="0" normalizeH="0" baseline="0" noProof="0">
                <a:ln>
                  <a:noFill/>
                </a:ln>
                <a:solidFill>
                  <a:srgbClr val="4148C2"/>
                </a:solidFill>
                <a:effectLst/>
                <a:uLnTx/>
                <a:uFillTx/>
                <a:latin typeface="Arial"/>
                <a:ea typeface="+mn-ea"/>
                <a:cs typeface="+mn-cs"/>
              </a:rPr>
              <a:t>releasing stockpiles of HEU </a:t>
            </a:r>
            <a:r>
              <a:rPr kumimoji="0" lang="en-US" sz="2000" b="0" i="0" u="none" strike="noStrike" kern="1200" cap="none" spc="0" normalizeH="0" baseline="0" noProof="0">
                <a:ln>
                  <a:noFill/>
                </a:ln>
                <a:solidFill>
                  <a:srgbClr val="3B3B3C"/>
                </a:solidFill>
                <a:effectLst/>
                <a:uLnTx/>
                <a:uFillTx/>
                <a:latin typeface="Arial"/>
                <a:ea typeface="+mn-ea"/>
                <a:cs typeface="+mn-cs"/>
              </a:rPr>
              <a:t>for down blending until domestic HALEU available</a:t>
            </a:r>
          </a:p>
        </p:txBody>
      </p:sp>
      <p:sp>
        <p:nvSpPr>
          <p:cNvPr id="3" name="Slide Number Placeholder 2"/>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F687C33-47E0-407C-B61F-DB8DDD78F4C7}" type="slidenum">
              <a:rPr kumimoji="0" lang="en-US" sz="1267" b="0" i="0" u="none" strike="noStrike" kern="1200" cap="none" spc="0" normalizeH="0" baseline="0" noProof="0" smtClean="0">
                <a:ln>
                  <a:noFill/>
                </a:ln>
                <a:solidFill>
                  <a:srgbClr val="7F7F7F"/>
                </a:solidFill>
                <a:effectLst/>
                <a:uLnTx/>
                <a:uFillTx/>
                <a:latin typeface="Arial"/>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62</a:t>
            </a:fld>
            <a:endParaRPr kumimoji="0" lang="en-US" sz="1267" b="0" i="0" u="none" strike="noStrike" kern="1200" cap="none" spc="0" normalizeH="0" baseline="0" noProof="0">
              <a:ln>
                <a:noFill/>
              </a:ln>
              <a:solidFill>
                <a:srgbClr val="7F7F7F"/>
              </a:solidFill>
              <a:effectLst/>
              <a:uLnTx/>
              <a:uFillTx/>
              <a:latin typeface="Arial"/>
              <a:ea typeface="+mn-ea"/>
              <a:cs typeface="+mn-cs"/>
            </a:endParaRPr>
          </a:p>
        </p:txBody>
      </p:sp>
    </p:spTree>
    <p:extLst>
      <p:ext uri="{BB962C8B-B14F-4D97-AF65-F5344CB8AC3E}">
        <p14:creationId xmlns:p14="http://schemas.microsoft.com/office/powerpoint/2010/main" val="3354775344"/>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Placeholder 8"/>
          <p:cNvPicPr>
            <a:picLocks noGrp="1" noChangeAspect="1"/>
          </p:cNvPicPr>
          <p:nvPr>
            <p:ph type="pic" sz="quarter" idx="13"/>
          </p:nvPr>
        </p:nvPicPr>
        <p:blipFill>
          <a:blip r:embed="rId3">
            <a:extLst>
              <a:ext uri="{28A0092B-C50C-407E-A947-70E740481C1C}">
                <a14:useLocalDpi xmlns:a14="http://schemas.microsoft.com/office/drawing/2010/main" val="0"/>
              </a:ext>
            </a:extLst>
          </a:blip>
          <a:srcRect t="32411" b="32411"/>
          <a:stretch>
            <a:fillRect/>
          </a:stretch>
        </p:blipFill>
        <p:spPr/>
      </p:pic>
      <p:sp>
        <p:nvSpPr>
          <p:cNvPr id="3" name="Text Placeholder 2"/>
          <p:cNvSpPr>
            <a:spLocks noGrp="1"/>
          </p:cNvSpPr>
          <p:nvPr>
            <p:ph type="body" sz="quarter" idx="14"/>
          </p:nvPr>
        </p:nvSpPr>
        <p:spPr>
          <a:xfrm>
            <a:off x="1004807" y="926026"/>
            <a:ext cx="10182386" cy="5205241"/>
          </a:xfrm>
        </p:spPr>
        <p:txBody>
          <a:bodyPr/>
          <a:lstStyle/>
          <a:p>
            <a:pPr>
              <a:lnSpc>
                <a:spcPct val="100000"/>
              </a:lnSpc>
              <a:spcAft>
                <a:spcPts val="1200"/>
              </a:spcAft>
            </a:pPr>
            <a:r>
              <a:rPr lang="en-US"/>
              <a:t>What about the back-end of the fuel cycle?</a:t>
            </a:r>
          </a:p>
          <a:p>
            <a:pPr>
              <a:lnSpc>
                <a:spcPct val="100000"/>
              </a:lnSpc>
              <a:spcAft>
                <a:spcPts val="1200"/>
              </a:spcAft>
            </a:pPr>
            <a:r>
              <a:rPr lang="en-US" sz="2600"/>
              <a:t>Most advanced reactor developers are not focusing </a:t>
            </a:r>
            <a:br>
              <a:rPr lang="en-US" sz="2600"/>
            </a:br>
            <a:r>
              <a:rPr lang="en-US" sz="2600"/>
              <a:t>on the back end of the fuel cycle. </a:t>
            </a:r>
          </a:p>
          <a:p>
            <a:pPr>
              <a:lnSpc>
                <a:spcPct val="100000"/>
              </a:lnSpc>
              <a:spcAft>
                <a:spcPts val="600"/>
              </a:spcAft>
            </a:pPr>
            <a:r>
              <a:rPr lang="en-US" sz="2600"/>
              <a:t>They are opting initially for a once-through fuel cycle but leave open the possibility of closing the fuel cycle in the distant future.</a:t>
            </a:r>
          </a:p>
        </p:txBody>
      </p:sp>
      <p:sp>
        <p:nvSpPr>
          <p:cNvPr id="2" name="Slide Number Placeholder 1"/>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F687C33-47E0-407C-B61F-DB8DDD78F4C7}" type="slidenum">
              <a:rPr kumimoji="0" lang="en-US" sz="1267" b="0" i="0" u="none" strike="noStrike" kern="1200" cap="none" spc="0" normalizeH="0" baseline="0" noProof="0" smtClean="0">
                <a:ln>
                  <a:noFill/>
                </a:ln>
                <a:solidFill>
                  <a:srgbClr val="7F7F7F"/>
                </a:solidFill>
                <a:effectLst/>
                <a:uLnTx/>
                <a:uFillTx/>
                <a:latin typeface="Arial"/>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63</a:t>
            </a:fld>
            <a:endParaRPr kumimoji="0" lang="en-US" sz="1267" b="0" i="0" u="none" strike="noStrike" kern="1200" cap="none" spc="0" normalizeH="0" baseline="0" noProof="0">
              <a:ln>
                <a:noFill/>
              </a:ln>
              <a:solidFill>
                <a:srgbClr val="7F7F7F"/>
              </a:solidFill>
              <a:effectLst/>
              <a:uLnTx/>
              <a:uFillTx/>
              <a:latin typeface="Arial"/>
              <a:ea typeface="+mn-ea"/>
              <a:cs typeface="+mn-cs"/>
            </a:endParaRPr>
          </a:p>
        </p:txBody>
      </p:sp>
    </p:spTree>
    <p:extLst>
      <p:ext uri="{BB962C8B-B14F-4D97-AF65-F5344CB8AC3E}">
        <p14:creationId xmlns:p14="http://schemas.microsoft.com/office/powerpoint/2010/main" val="1101729605"/>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7" name="Group 76">
            <a:extLst>
              <a:ext uri="{FF2B5EF4-FFF2-40B4-BE49-F238E27FC236}">
                <a16:creationId xmlns:a16="http://schemas.microsoft.com/office/drawing/2014/main" id="{74EE73F7-E13D-4F30-BF32-DFF61789FC9F}"/>
              </a:ext>
            </a:extLst>
          </p:cNvPr>
          <p:cNvGrpSpPr>
            <a:grpSpLocks noChangeAspect="1"/>
          </p:cNvGrpSpPr>
          <p:nvPr/>
        </p:nvGrpSpPr>
        <p:grpSpPr>
          <a:xfrm>
            <a:off x="541827" y="3984450"/>
            <a:ext cx="9784080" cy="2117552"/>
            <a:chOff x="436724" y="2085666"/>
            <a:chExt cx="10367172" cy="2243748"/>
          </a:xfrm>
        </p:grpSpPr>
        <p:grpSp>
          <p:nvGrpSpPr>
            <p:cNvPr id="78" name="Group 77">
              <a:extLst>
                <a:ext uri="{FF2B5EF4-FFF2-40B4-BE49-F238E27FC236}">
                  <a16:creationId xmlns:a16="http://schemas.microsoft.com/office/drawing/2014/main" id="{0C1433EA-588B-42E9-A2BA-2D8B1A6343AD}"/>
                </a:ext>
              </a:extLst>
            </p:cNvPr>
            <p:cNvGrpSpPr/>
            <p:nvPr/>
          </p:nvGrpSpPr>
          <p:grpSpPr>
            <a:xfrm>
              <a:off x="436724" y="2085666"/>
              <a:ext cx="10367172" cy="2243748"/>
              <a:chOff x="179310" y="2570657"/>
              <a:chExt cx="10367172" cy="2243748"/>
            </a:xfrm>
          </p:grpSpPr>
          <p:pic>
            <p:nvPicPr>
              <p:cNvPr id="81" name="Picture 80">
                <a:extLst>
                  <a:ext uri="{FF2B5EF4-FFF2-40B4-BE49-F238E27FC236}">
                    <a16:creationId xmlns:a16="http://schemas.microsoft.com/office/drawing/2014/main" id="{3D53E9DC-990A-4F12-AB7A-A72E9475191B}"/>
                  </a:ext>
                </a:extLst>
              </p:cNvPr>
              <p:cNvPicPr>
                <a:picLocks noChangeAspect="1"/>
              </p:cNvPicPr>
              <p:nvPr/>
            </p:nvPicPr>
            <p:blipFill rotWithShape="1">
              <a:blip r:embed="rId2"/>
              <a:srcRect t="25116" r="31114"/>
              <a:stretch/>
            </p:blipFill>
            <p:spPr>
              <a:xfrm>
                <a:off x="179310" y="2572706"/>
                <a:ext cx="6298890" cy="2241699"/>
              </a:xfrm>
              <a:prstGeom prst="rect">
                <a:avLst/>
              </a:prstGeom>
            </p:spPr>
          </p:pic>
          <p:pic>
            <p:nvPicPr>
              <p:cNvPr id="82" name="Picture 81">
                <a:extLst>
                  <a:ext uri="{FF2B5EF4-FFF2-40B4-BE49-F238E27FC236}">
                    <a16:creationId xmlns:a16="http://schemas.microsoft.com/office/drawing/2014/main" id="{D2C10A2C-5AB9-4617-B2CC-A61007102147}"/>
                  </a:ext>
                </a:extLst>
              </p:cNvPr>
              <p:cNvPicPr>
                <a:picLocks noChangeAspect="1"/>
              </p:cNvPicPr>
              <p:nvPr/>
            </p:nvPicPr>
            <p:blipFill rotWithShape="1">
              <a:blip r:embed="rId2"/>
              <a:srcRect l="68886" t="25046" r="13528" b="2"/>
              <a:stretch/>
            </p:blipFill>
            <p:spPr>
              <a:xfrm>
                <a:off x="6478201" y="2570657"/>
                <a:ext cx="1608083" cy="2243748"/>
              </a:xfrm>
              <a:prstGeom prst="rect">
                <a:avLst/>
              </a:prstGeom>
            </p:spPr>
          </p:pic>
          <p:pic>
            <p:nvPicPr>
              <p:cNvPr id="83" name="Picture 82">
                <a:extLst>
                  <a:ext uri="{FF2B5EF4-FFF2-40B4-BE49-F238E27FC236}">
                    <a16:creationId xmlns:a16="http://schemas.microsoft.com/office/drawing/2014/main" id="{797555F0-5584-47E9-9422-39118DD0939D}"/>
                  </a:ext>
                </a:extLst>
              </p:cNvPr>
              <p:cNvPicPr>
                <a:picLocks noChangeAspect="1"/>
              </p:cNvPicPr>
              <p:nvPr/>
            </p:nvPicPr>
            <p:blipFill rotWithShape="1">
              <a:blip r:embed="rId2"/>
              <a:srcRect l="73095" t="25303" r="-1"/>
              <a:stretch/>
            </p:blipFill>
            <p:spPr>
              <a:xfrm>
                <a:off x="8086284" y="2578315"/>
                <a:ext cx="2460198" cy="2236090"/>
              </a:xfrm>
              <a:prstGeom prst="rect">
                <a:avLst/>
              </a:prstGeom>
            </p:spPr>
          </p:pic>
        </p:grpSp>
        <p:sp>
          <p:nvSpPr>
            <p:cNvPr id="79" name="TextBox 78">
              <a:extLst>
                <a:ext uri="{FF2B5EF4-FFF2-40B4-BE49-F238E27FC236}">
                  <a16:creationId xmlns:a16="http://schemas.microsoft.com/office/drawing/2014/main" id="{287F2106-A23E-4FC7-9009-AD168229F1C8}"/>
                </a:ext>
              </a:extLst>
            </p:cNvPr>
            <p:cNvSpPr txBox="1"/>
            <p:nvPr/>
          </p:nvSpPr>
          <p:spPr>
            <a:xfrm>
              <a:off x="7067855" y="2865120"/>
              <a:ext cx="1029449" cy="269304"/>
            </a:xfrm>
            <a:prstGeom prst="rect">
              <a:avLst/>
            </a:prstGeom>
            <a:solidFill>
              <a:schemeClr val="bg1"/>
            </a:solid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150" b="1" i="0" u="none" strike="noStrike" kern="1200" cap="none" spc="0" normalizeH="0" baseline="0" noProof="0">
                  <a:ln>
                    <a:noFill/>
                  </a:ln>
                  <a:solidFill>
                    <a:srgbClr val="3B3B3C"/>
                  </a:solidFill>
                  <a:effectLst/>
                  <a:uLnTx/>
                  <a:uFillTx/>
                  <a:latin typeface="Arial"/>
                  <a:ea typeface="+mn-ea"/>
                  <a:cs typeface="+mn-cs"/>
                </a:rPr>
                <a:t>Wet storage</a:t>
              </a:r>
            </a:p>
          </p:txBody>
        </p:sp>
        <p:sp>
          <p:nvSpPr>
            <p:cNvPr id="80" name="TextBox 79">
              <a:extLst>
                <a:ext uri="{FF2B5EF4-FFF2-40B4-BE49-F238E27FC236}">
                  <a16:creationId xmlns:a16="http://schemas.microsoft.com/office/drawing/2014/main" id="{8D4B920A-6C9C-4ABE-B411-CA6E3A6DFF74}"/>
                </a:ext>
              </a:extLst>
            </p:cNvPr>
            <p:cNvSpPr txBox="1"/>
            <p:nvPr/>
          </p:nvSpPr>
          <p:spPr>
            <a:xfrm>
              <a:off x="8286838" y="2865119"/>
              <a:ext cx="1003801" cy="269304"/>
            </a:xfrm>
            <a:prstGeom prst="rect">
              <a:avLst/>
            </a:prstGeom>
            <a:solidFill>
              <a:schemeClr val="bg1"/>
            </a:solid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150" b="1" i="0" u="none" strike="noStrike" kern="1200" cap="none" spc="0" normalizeH="0" baseline="0" noProof="0">
                  <a:ln>
                    <a:noFill/>
                  </a:ln>
                  <a:solidFill>
                    <a:srgbClr val="3B3B3C"/>
                  </a:solidFill>
                  <a:effectLst/>
                  <a:uLnTx/>
                  <a:uFillTx/>
                  <a:latin typeface="Arial"/>
                  <a:ea typeface="+mn-ea"/>
                  <a:cs typeface="+mn-cs"/>
                </a:rPr>
                <a:t>Dry storage</a:t>
              </a:r>
            </a:p>
          </p:txBody>
        </p:sp>
      </p:grpSp>
      <p:sp>
        <p:nvSpPr>
          <p:cNvPr id="26" name="Rectangle 25"/>
          <p:cNvSpPr/>
          <p:nvPr/>
        </p:nvSpPr>
        <p:spPr>
          <a:xfrm>
            <a:off x="8398173" y="6319498"/>
            <a:ext cx="2522527" cy="365760"/>
          </a:xfrm>
          <a:prstGeom prst="rect">
            <a:avLst/>
          </a:prstGeom>
          <a:solidFill>
            <a:schemeClr val="bg1">
              <a:alpha val="70000"/>
            </a:schemeClr>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white">
                    <a:lumMod val="65000"/>
                  </a:prstClr>
                </a:solidFill>
                <a:effectLst/>
                <a:uLnTx/>
                <a:uFillTx/>
                <a:latin typeface="Arial"/>
                <a:ea typeface="+mn-ea"/>
                <a:cs typeface="+mn-cs"/>
              </a:rPr>
              <a:t>partial domestic capacity</a:t>
            </a:r>
          </a:p>
        </p:txBody>
      </p:sp>
      <p:sp>
        <p:nvSpPr>
          <p:cNvPr id="27" name="Rectangle 26"/>
          <p:cNvSpPr/>
          <p:nvPr/>
        </p:nvSpPr>
        <p:spPr>
          <a:xfrm>
            <a:off x="6143774" y="6319498"/>
            <a:ext cx="2105018" cy="365760"/>
          </a:xfrm>
          <a:prstGeom prst="rect">
            <a:avLst/>
          </a:prstGeom>
          <a:solidFill>
            <a:schemeClr val="bg1">
              <a:lumMod val="85000"/>
              <a:alpha val="70000"/>
            </a:schemeClr>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white">
                    <a:lumMod val="50000"/>
                  </a:prstClr>
                </a:solidFill>
                <a:effectLst/>
                <a:uLnTx/>
                <a:uFillTx/>
                <a:latin typeface="Arial"/>
                <a:ea typeface="+mn-ea"/>
                <a:cs typeface="+mn-cs"/>
              </a:rPr>
              <a:t>no domestic capacity</a:t>
            </a:r>
          </a:p>
        </p:txBody>
      </p:sp>
      <p:grpSp>
        <p:nvGrpSpPr>
          <p:cNvPr id="39" name="Group 38">
            <a:extLst>
              <a:ext uri="{FF2B5EF4-FFF2-40B4-BE49-F238E27FC236}">
                <a16:creationId xmlns:a16="http://schemas.microsoft.com/office/drawing/2014/main" id="{C980CF60-EFAB-4FEF-B269-D3E3D8EF1D05}"/>
              </a:ext>
            </a:extLst>
          </p:cNvPr>
          <p:cNvGrpSpPr/>
          <p:nvPr/>
        </p:nvGrpSpPr>
        <p:grpSpPr>
          <a:xfrm>
            <a:off x="1422570" y="2185112"/>
            <a:ext cx="1042695" cy="1485429"/>
            <a:chOff x="1010479" y="2865120"/>
            <a:chExt cx="1205164" cy="2030440"/>
          </a:xfrm>
        </p:grpSpPr>
        <p:sp>
          <p:nvSpPr>
            <p:cNvPr id="40" name="Rectangle 39">
              <a:extLst>
                <a:ext uri="{FF2B5EF4-FFF2-40B4-BE49-F238E27FC236}">
                  <a16:creationId xmlns:a16="http://schemas.microsoft.com/office/drawing/2014/main" id="{86EED2A8-85ED-493D-A6E3-47FCDF9E118F}"/>
                </a:ext>
              </a:extLst>
            </p:cNvPr>
            <p:cNvSpPr/>
            <p:nvPr/>
          </p:nvSpPr>
          <p:spPr>
            <a:xfrm>
              <a:off x="1010479" y="2865120"/>
              <a:ext cx="822651" cy="2030440"/>
            </a:xfrm>
            <a:prstGeom prst="rect">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41" name="Rectangle 40">
              <a:extLst>
                <a:ext uri="{FF2B5EF4-FFF2-40B4-BE49-F238E27FC236}">
                  <a16:creationId xmlns:a16="http://schemas.microsoft.com/office/drawing/2014/main" id="{9A52BE07-8428-42AA-9E04-40BB5D801B98}"/>
                </a:ext>
              </a:extLst>
            </p:cNvPr>
            <p:cNvSpPr/>
            <p:nvPr/>
          </p:nvSpPr>
          <p:spPr>
            <a:xfrm>
              <a:off x="1800244" y="4154538"/>
              <a:ext cx="415399" cy="741022"/>
            </a:xfrm>
            <a:prstGeom prst="rect">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grpSp>
      <p:sp>
        <p:nvSpPr>
          <p:cNvPr id="42" name="Title 1">
            <a:extLst>
              <a:ext uri="{FF2B5EF4-FFF2-40B4-BE49-F238E27FC236}">
                <a16:creationId xmlns:a16="http://schemas.microsoft.com/office/drawing/2014/main" id="{C9061A4A-A94F-4F16-A8D8-B921EA245983}"/>
              </a:ext>
            </a:extLst>
          </p:cNvPr>
          <p:cNvSpPr txBox="1">
            <a:spLocks/>
          </p:cNvSpPr>
          <p:nvPr/>
        </p:nvSpPr>
        <p:spPr>
          <a:xfrm>
            <a:off x="662940" y="590811"/>
            <a:ext cx="9944100" cy="450937"/>
          </a:xfrm>
          <a:prstGeom prst="rect">
            <a:avLst/>
          </a:prstGeom>
        </p:spPr>
        <p:txBody>
          <a:bodyPr/>
          <a:lstStyle>
            <a:lvl1pPr algn="l" defTabSz="914377" rtl="0" eaLnBrk="1" latinLnBrk="0" hangingPunct="1">
              <a:lnSpc>
                <a:spcPct val="90000"/>
              </a:lnSpc>
              <a:spcBef>
                <a:spcPct val="0"/>
              </a:spcBef>
              <a:buNone/>
              <a:defRPr sz="3200" kern="1200">
                <a:solidFill>
                  <a:schemeClr val="tx2"/>
                </a:solidFill>
                <a:latin typeface="+mj-lt"/>
                <a:ea typeface="+mj-ea"/>
                <a:cs typeface="+mj-cs"/>
              </a:defRPr>
            </a:lvl1pPr>
          </a:lstStyle>
          <a:p>
            <a:pPr marL="0" marR="0" lvl="0" indent="0" algn="l" defTabSz="914377" rtl="0" eaLnBrk="1" fontAlgn="auto" latinLnBrk="0" hangingPunct="1">
              <a:lnSpc>
                <a:spcPct val="90000"/>
              </a:lnSpc>
              <a:spcBef>
                <a:spcPct val="0"/>
              </a:spcBef>
              <a:spcAft>
                <a:spcPts val="0"/>
              </a:spcAft>
              <a:buClrTx/>
              <a:buSzTx/>
              <a:buFontTx/>
              <a:buNone/>
              <a:tabLst/>
              <a:defRPr/>
            </a:pPr>
            <a:r>
              <a:rPr kumimoji="0" lang="en-US" sz="2400" b="0" i="0" u="none" strike="noStrike" kern="1200" cap="none" spc="0" normalizeH="0" baseline="0" noProof="0">
                <a:ln>
                  <a:noFill/>
                </a:ln>
                <a:solidFill>
                  <a:srgbClr val="211747"/>
                </a:solidFill>
                <a:effectLst/>
                <a:uLnTx/>
                <a:uFillTx/>
                <a:latin typeface="Georgia"/>
                <a:ea typeface="+mj-ea"/>
                <a:cs typeface="+mj-cs"/>
              </a:rPr>
              <a:t>Fuel Cycle Options for Advanced Reactors – Once-through with HALEU</a:t>
            </a:r>
          </a:p>
        </p:txBody>
      </p:sp>
      <p:grpSp>
        <p:nvGrpSpPr>
          <p:cNvPr id="43" name="Group 42"/>
          <p:cNvGrpSpPr>
            <a:grpSpLocks noChangeAspect="1"/>
          </p:cNvGrpSpPr>
          <p:nvPr/>
        </p:nvGrpSpPr>
        <p:grpSpPr>
          <a:xfrm>
            <a:off x="541827" y="1609266"/>
            <a:ext cx="9784080" cy="2117552"/>
            <a:chOff x="436724" y="2085666"/>
            <a:chExt cx="10367172" cy="2243748"/>
          </a:xfrm>
        </p:grpSpPr>
        <p:grpSp>
          <p:nvGrpSpPr>
            <p:cNvPr id="44" name="Group 43"/>
            <p:cNvGrpSpPr/>
            <p:nvPr/>
          </p:nvGrpSpPr>
          <p:grpSpPr>
            <a:xfrm>
              <a:off x="436724" y="2085666"/>
              <a:ext cx="10367172" cy="2243748"/>
              <a:chOff x="179310" y="2570657"/>
              <a:chExt cx="10367172" cy="2243748"/>
            </a:xfrm>
          </p:grpSpPr>
          <p:pic>
            <p:nvPicPr>
              <p:cNvPr id="47" name="Picture 46"/>
              <p:cNvPicPr>
                <a:picLocks noChangeAspect="1"/>
              </p:cNvPicPr>
              <p:nvPr/>
            </p:nvPicPr>
            <p:blipFill rotWithShape="1">
              <a:blip r:embed="rId2"/>
              <a:srcRect t="25116" r="31114"/>
              <a:stretch/>
            </p:blipFill>
            <p:spPr>
              <a:xfrm>
                <a:off x="179310" y="2572706"/>
                <a:ext cx="6298890" cy="2241699"/>
              </a:xfrm>
              <a:prstGeom prst="rect">
                <a:avLst/>
              </a:prstGeom>
            </p:spPr>
          </p:pic>
          <p:pic>
            <p:nvPicPr>
              <p:cNvPr id="48" name="Picture 47"/>
              <p:cNvPicPr>
                <a:picLocks noChangeAspect="1"/>
              </p:cNvPicPr>
              <p:nvPr/>
            </p:nvPicPr>
            <p:blipFill rotWithShape="1">
              <a:blip r:embed="rId2"/>
              <a:srcRect l="68886" t="25046" r="13528" b="2"/>
              <a:stretch/>
            </p:blipFill>
            <p:spPr>
              <a:xfrm>
                <a:off x="6478201" y="2570657"/>
                <a:ext cx="1608083" cy="2243748"/>
              </a:xfrm>
              <a:prstGeom prst="rect">
                <a:avLst/>
              </a:prstGeom>
            </p:spPr>
          </p:pic>
          <p:pic>
            <p:nvPicPr>
              <p:cNvPr id="49" name="Picture 48"/>
              <p:cNvPicPr>
                <a:picLocks noChangeAspect="1"/>
              </p:cNvPicPr>
              <p:nvPr/>
            </p:nvPicPr>
            <p:blipFill rotWithShape="1">
              <a:blip r:embed="rId2"/>
              <a:srcRect l="73095" t="25303" r="-1"/>
              <a:stretch/>
            </p:blipFill>
            <p:spPr>
              <a:xfrm>
                <a:off x="8086284" y="2578315"/>
                <a:ext cx="2460198" cy="2236090"/>
              </a:xfrm>
              <a:prstGeom prst="rect">
                <a:avLst/>
              </a:prstGeom>
            </p:spPr>
          </p:pic>
        </p:grpSp>
        <p:sp>
          <p:nvSpPr>
            <p:cNvPr id="45" name="TextBox 44"/>
            <p:cNvSpPr txBox="1"/>
            <p:nvPr/>
          </p:nvSpPr>
          <p:spPr>
            <a:xfrm>
              <a:off x="7067855" y="2865120"/>
              <a:ext cx="1029449" cy="269304"/>
            </a:xfrm>
            <a:prstGeom prst="rect">
              <a:avLst/>
            </a:prstGeom>
            <a:solidFill>
              <a:schemeClr val="bg1"/>
            </a:solid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150" b="1" i="0" u="none" strike="noStrike" kern="1200" cap="none" spc="0" normalizeH="0" baseline="0" noProof="0">
                  <a:ln>
                    <a:noFill/>
                  </a:ln>
                  <a:solidFill>
                    <a:srgbClr val="3B3B3C"/>
                  </a:solidFill>
                  <a:effectLst/>
                  <a:uLnTx/>
                  <a:uFillTx/>
                  <a:latin typeface="Arial"/>
                  <a:ea typeface="+mn-ea"/>
                  <a:cs typeface="+mn-cs"/>
                </a:rPr>
                <a:t>Wet storage</a:t>
              </a:r>
            </a:p>
          </p:txBody>
        </p:sp>
        <p:sp>
          <p:nvSpPr>
            <p:cNvPr id="46" name="TextBox 45"/>
            <p:cNvSpPr txBox="1"/>
            <p:nvPr/>
          </p:nvSpPr>
          <p:spPr>
            <a:xfrm>
              <a:off x="8286838" y="2865119"/>
              <a:ext cx="1003801" cy="269304"/>
            </a:xfrm>
            <a:prstGeom prst="rect">
              <a:avLst/>
            </a:prstGeom>
            <a:solidFill>
              <a:schemeClr val="bg1"/>
            </a:solid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150" b="1" i="0" u="none" strike="noStrike" kern="1200" cap="none" spc="0" normalizeH="0" baseline="0" noProof="0">
                  <a:ln>
                    <a:noFill/>
                  </a:ln>
                  <a:solidFill>
                    <a:srgbClr val="3B3B3C"/>
                  </a:solidFill>
                  <a:effectLst/>
                  <a:uLnTx/>
                  <a:uFillTx/>
                  <a:latin typeface="Arial"/>
                  <a:ea typeface="+mn-ea"/>
                  <a:cs typeface="+mn-cs"/>
                </a:rPr>
                <a:t>Dry storage</a:t>
              </a:r>
            </a:p>
          </p:txBody>
        </p:sp>
      </p:grpSp>
      <p:grpSp>
        <p:nvGrpSpPr>
          <p:cNvPr id="50" name="Group 49"/>
          <p:cNvGrpSpPr/>
          <p:nvPr/>
        </p:nvGrpSpPr>
        <p:grpSpPr>
          <a:xfrm>
            <a:off x="8685478" y="1790917"/>
            <a:ext cx="1515426" cy="1918931"/>
            <a:chOff x="8348672" y="2761673"/>
            <a:chExt cx="1727120" cy="1918931"/>
          </a:xfrm>
        </p:grpSpPr>
        <p:sp>
          <p:nvSpPr>
            <p:cNvPr id="51" name="Rectangle 50"/>
            <p:cNvSpPr/>
            <p:nvPr/>
          </p:nvSpPr>
          <p:spPr>
            <a:xfrm>
              <a:off x="8794472" y="2761673"/>
              <a:ext cx="1281320" cy="1918931"/>
            </a:xfrm>
            <a:prstGeom prst="rect">
              <a:avLst/>
            </a:prstGeom>
            <a:solidFill>
              <a:schemeClr val="bg1">
                <a:lumMod val="85000"/>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52" name="Rectangle 51"/>
            <p:cNvSpPr/>
            <p:nvPr/>
          </p:nvSpPr>
          <p:spPr>
            <a:xfrm>
              <a:off x="8348672" y="4257041"/>
              <a:ext cx="445800" cy="423563"/>
            </a:xfrm>
            <a:prstGeom prst="rect">
              <a:avLst/>
            </a:prstGeom>
            <a:solidFill>
              <a:schemeClr val="bg1">
                <a:lumMod val="85000"/>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grpSp>
      <p:grpSp>
        <p:nvGrpSpPr>
          <p:cNvPr id="53" name="Group 52"/>
          <p:cNvGrpSpPr/>
          <p:nvPr/>
        </p:nvGrpSpPr>
        <p:grpSpPr>
          <a:xfrm>
            <a:off x="669357" y="1655399"/>
            <a:ext cx="3495259" cy="2054449"/>
            <a:chOff x="564254" y="2131799"/>
            <a:chExt cx="3495259" cy="2054449"/>
          </a:xfrm>
        </p:grpSpPr>
        <p:sp>
          <p:nvSpPr>
            <p:cNvPr id="54" name="Rectangle 53"/>
            <p:cNvSpPr/>
            <p:nvPr/>
          </p:nvSpPr>
          <p:spPr>
            <a:xfrm>
              <a:off x="1616791" y="2165919"/>
              <a:ext cx="803583" cy="2020329"/>
            </a:xfrm>
            <a:prstGeom prst="rect">
              <a:avLst/>
            </a:prstGeom>
            <a:solidFill>
              <a:schemeClr val="bg1">
                <a:lumMod val="85000"/>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55" name="Rectangle 54"/>
            <p:cNvSpPr/>
            <p:nvPr/>
          </p:nvSpPr>
          <p:spPr>
            <a:xfrm>
              <a:off x="2412613" y="3594314"/>
              <a:ext cx="330947" cy="588287"/>
            </a:xfrm>
            <a:prstGeom prst="rect">
              <a:avLst/>
            </a:prstGeom>
            <a:solidFill>
              <a:schemeClr val="bg1">
                <a:lumMod val="85000"/>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grpSp>
          <p:nvGrpSpPr>
            <p:cNvPr id="56" name="Group 55">
              <a:extLst>
                <a:ext uri="{FF2B5EF4-FFF2-40B4-BE49-F238E27FC236}">
                  <a16:creationId xmlns:a16="http://schemas.microsoft.com/office/drawing/2014/main" id="{52A19DD9-984B-4F81-B322-7B15EA8EA3BE}"/>
                </a:ext>
              </a:extLst>
            </p:cNvPr>
            <p:cNvGrpSpPr/>
            <p:nvPr/>
          </p:nvGrpSpPr>
          <p:grpSpPr>
            <a:xfrm>
              <a:off x="2423779" y="2185016"/>
              <a:ext cx="1635734" cy="1987337"/>
              <a:chOff x="2923629" y="2751163"/>
              <a:chExt cx="1635734" cy="1987337"/>
            </a:xfrm>
          </p:grpSpPr>
          <p:sp>
            <p:nvSpPr>
              <p:cNvPr id="61" name="Rectangle 60"/>
              <p:cNvSpPr/>
              <p:nvPr/>
            </p:nvSpPr>
            <p:spPr>
              <a:xfrm>
                <a:off x="2923629" y="2751163"/>
                <a:ext cx="1469358" cy="1400187"/>
              </a:xfrm>
              <a:prstGeom prst="rect">
                <a:avLst/>
              </a:prstGeom>
              <a:solidFill>
                <a:schemeClr val="bg1">
                  <a:alpha val="7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62" name="Rectangle 61"/>
              <p:cNvSpPr/>
              <p:nvPr/>
            </p:nvSpPr>
            <p:spPr>
              <a:xfrm>
                <a:off x="3246814" y="4143345"/>
                <a:ext cx="1312549" cy="595155"/>
              </a:xfrm>
              <a:prstGeom prst="rect">
                <a:avLst/>
              </a:prstGeom>
              <a:solidFill>
                <a:schemeClr val="bg1">
                  <a:alpha val="7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grpSp>
        <p:sp>
          <p:nvSpPr>
            <p:cNvPr id="57" name="Rectangle 56"/>
            <p:cNvSpPr/>
            <p:nvPr/>
          </p:nvSpPr>
          <p:spPr>
            <a:xfrm>
              <a:off x="1222134" y="2167432"/>
              <a:ext cx="400550" cy="1456311"/>
            </a:xfrm>
            <a:prstGeom prst="rect">
              <a:avLst/>
            </a:prstGeom>
            <a:solidFill>
              <a:schemeClr val="bg1">
                <a:lumMod val="85000"/>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grpSp>
          <p:nvGrpSpPr>
            <p:cNvPr id="58" name="Group 57">
              <a:extLst>
                <a:ext uri="{FF2B5EF4-FFF2-40B4-BE49-F238E27FC236}">
                  <a16:creationId xmlns:a16="http://schemas.microsoft.com/office/drawing/2014/main" id="{B98FCF0D-A167-4B4C-953A-AC382F8B2A37}"/>
                </a:ext>
              </a:extLst>
            </p:cNvPr>
            <p:cNvGrpSpPr/>
            <p:nvPr/>
          </p:nvGrpSpPr>
          <p:grpSpPr>
            <a:xfrm>
              <a:off x="564254" y="2131799"/>
              <a:ext cx="1039414" cy="2050400"/>
              <a:chOff x="1064104" y="2697946"/>
              <a:chExt cx="1039414" cy="2050400"/>
            </a:xfrm>
          </p:grpSpPr>
          <p:sp>
            <p:nvSpPr>
              <p:cNvPr id="59" name="Rectangle 58"/>
              <p:cNvSpPr/>
              <p:nvPr/>
            </p:nvSpPr>
            <p:spPr>
              <a:xfrm>
                <a:off x="1064104" y="2697946"/>
                <a:ext cx="639738" cy="1887275"/>
              </a:xfrm>
              <a:prstGeom prst="rect">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60" name="Rectangle 59"/>
              <p:cNvSpPr/>
              <p:nvPr/>
            </p:nvSpPr>
            <p:spPr>
              <a:xfrm>
                <a:off x="1707737" y="4198678"/>
                <a:ext cx="395781" cy="549668"/>
              </a:xfrm>
              <a:prstGeom prst="rect">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grpSp>
      </p:grpSp>
      <p:grpSp>
        <p:nvGrpSpPr>
          <p:cNvPr id="63" name="Group 62"/>
          <p:cNvGrpSpPr/>
          <p:nvPr/>
        </p:nvGrpSpPr>
        <p:grpSpPr>
          <a:xfrm>
            <a:off x="1190922" y="1230277"/>
            <a:ext cx="8778240" cy="2233501"/>
            <a:chOff x="1085819" y="1872829"/>
            <a:chExt cx="8778240" cy="2233501"/>
          </a:xfrm>
        </p:grpSpPr>
        <p:pic>
          <p:nvPicPr>
            <p:cNvPr id="64" name="Picture 63"/>
            <p:cNvPicPr>
              <a:picLocks noChangeAspect="1"/>
            </p:cNvPicPr>
            <p:nvPr/>
          </p:nvPicPr>
          <p:blipFill rotWithShape="1">
            <a:blip r:embed="rId2"/>
            <a:srcRect b="83931"/>
            <a:stretch/>
          </p:blipFill>
          <p:spPr>
            <a:xfrm>
              <a:off x="1085819" y="1872829"/>
              <a:ext cx="8778240" cy="461795"/>
            </a:xfrm>
            <a:prstGeom prst="rect">
              <a:avLst/>
            </a:prstGeom>
          </p:spPr>
        </p:pic>
        <p:sp>
          <p:nvSpPr>
            <p:cNvPr id="65" name="Rectangle 64"/>
            <p:cNvSpPr/>
            <p:nvPr/>
          </p:nvSpPr>
          <p:spPr>
            <a:xfrm>
              <a:off x="7866477" y="3808252"/>
              <a:ext cx="172326" cy="298078"/>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grpSp>
      <p:sp>
        <p:nvSpPr>
          <p:cNvPr id="66" name="TextBox 65">
            <a:extLst>
              <a:ext uri="{FF2B5EF4-FFF2-40B4-BE49-F238E27FC236}">
                <a16:creationId xmlns:a16="http://schemas.microsoft.com/office/drawing/2014/main" id="{4A53593C-11B0-44ED-A5D5-C9BF4ACB4BFF}"/>
              </a:ext>
            </a:extLst>
          </p:cNvPr>
          <p:cNvSpPr txBox="1"/>
          <p:nvPr/>
        </p:nvSpPr>
        <p:spPr>
          <a:xfrm>
            <a:off x="3220649" y="1347462"/>
            <a:ext cx="5464829" cy="338554"/>
          </a:xfrm>
          <a:prstGeom prst="rect">
            <a:avLst/>
          </a:prstGeom>
          <a:solidFill>
            <a:schemeClr val="bg1"/>
          </a:solid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3B3B3C"/>
                </a:solidFill>
                <a:effectLst/>
                <a:uLnTx/>
                <a:uFillTx/>
                <a:latin typeface="Arial"/>
                <a:ea typeface="+mn-ea"/>
                <a:cs typeface="+mn-cs"/>
              </a:rPr>
              <a:t>Once-through fuel cycle for LWRs with LEU-based fuel</a:t>
            </a:r>
          </a:p>
        </p:txBody>
      </p:sp>
      <p:grpSp>
        <p:nvGrpSpPr>
          <p:cNvPr id="2" name="Group 1"/>
          <p:cNvGrpSpPr/>
          <p:nvPr/>
        </p:nvGrpSpPr>
        <p:grpSpPr>
          <a:xfrm>
            <a:off x="662940" y="3794891"/>
            <a:ext cx="9532088" cy="2443745"/>
            <a:chOff x="662940" y="3658257"/>
            <a:chExt cx="9532088" cy="2443745"/>
          </a:xfrm>
        </p:grpSpPr>
        <p:grpSp>
          <p:nvGrpSpPr>
            <p:cNvPr id="10" name="Group 9"/>
            <p:cNvGrpSpPr/>
            <p:nvPr/>
          </p:nvGrpSpPr>
          <p:grpSpPr>
            <a:xfrm>
              <a:off x="662940" y="3658257"/>
              <a:ext cx="8912894" cy="2443745"/>
              <a:chOff x="-297806" y="1076076"/>
              <a:chExt cx="8912894" cy="2443745"/>
            </a:xfrm>
          </p:grpSpPr>
          <p:grpSp>
            <p:nvGrpSpPr>
              <p:cNvPr id="19" name="Group 18"/>
              <p:cNvGrpSpPr/>
              <p:nvPr/>
            </p:nvGrpSpPr>
            <p:grpSpPr>
              <a:xfrm>
                <a:off x="761147" y="1076076"/>
                <a:ext cx="7853941" cy="2372582"/>
                <a:chOff x="761147" y="1389871"/>
                <a:chExt cx="7853941" cy="2372582"/>
              </a:xfrm>
            </p:grpSpPr>
            <p:sp>
              <p:nvSpPr>
                <p:cNvPr id="3" name="TextBox 2"/>
                <p:cNvSpPr txBox="1"/>
                <p:nvPr/>
              </p:nvSpPr>
              <p:spPr>
                <a:xfrm>
                  <a:off x="1555142" y="1389871"/>
                  <a:ext cx="7059946" cy="338554"/>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3B3B3C"/>
                      </a:solidFill>
                      <a:effectLst/>
                      <a:uLnTx/>
                      <a:uFillTx/>
                      <a:latin typeface="Arial"/>
                      <a:ea typeface="+mn-ea"/>
                      <a:cs typeface="+mn-cs"/>
                    </a:rPr>
                    <a:t>Once-through fuel cycle for advanced reactors with HALEU-based fuel </a:t>
                  </a:r>
                </a:p>
              </p:txBody>
            </p:sp>
            <p:sp>
              <p:nvSpPr>
                <p:cNvPr id="5" name="TextBox 4"/>
                <p:cNvSpPr txBox="1"/>
                <p:nvPr/>
              </p:nvSpPr>
              <p:spPr>
                <a:xfrm>
                  <a:off x="2669633" y="3305251"/>
                  <a:ext cx="567556" cy="365760"/>
                </a:xfrm>
                <a:prstGeom prst="rect">
                  <a:avLst/>
                </a:prstGeom>
                <a:solidFill>
                  <a:schemeClr val="bg1"/>
                </a:solidFill>
              </p:spPr>
              <p:txBody>
                <a:bodyPr wrap="square" lIns="0" tIns="0" rIns="0" bIns="0"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3B3B3C"/>
                      </a:solidFill>
                      <a:effectLst/>
                      <a:uLnTx/>
                      <a:uFillTx/>
                      <a:latin typeface="Arial"/>
                      <a:ea typeface="+mn-ea"/>
                      <a:cs typeface="+mn-cs"/>
                    </a:rPr>
                    <a:t>5 - &lt;20% </a:t>
                  </a:r>
                  <a:br>
                    <a:rPr kumimoji="0" lang="en-US" sz="1000" b="0" i="0" u="none" strike="noStrike" kern="1200" cap="none" spc="0" normalizeH="0" baseline="0" noProof="0">
                      <a:ln>
                        <a:noFill/>
                      </a:ln>
                      <a:solidFill>
                        <a:srgbClr val="3B3B3C"/>
                      </a:solidFill>
                      <a:effectLst/>
                      <a:uLnTx/>
                      <a:uFillTx/>
                      <a:latin typeface="Arial"/>
                      <a:ea typeface="+mn-ea"/>
                      <a:cs typeface="+mn-cs"/>
                    </a:rPr>
                  </a:br>
                  <a:r>
                    <a:rPr kumimoji="0" lang="en-US" sz="1000" b="0" i="0" u="none" strike="noStrike" kern="1200" cap="none" spc="0" normalizeH="0" baseline="30000" noProof="0">
                      <a:ln>
                        <a:noFill/>
                      </a:ln>
                      <a:solidFill>
                        <a:srgbClr val="3B3B3C"/>
                      </a:solidFill>
                      <a:effectLst/>
                      <a:uLnTx/>
                      <a:uFillTx/>
                      <a:latin typeface="Arial"/>
                      <a:ea typeface="+mn-ea"/>
                      <a:cs typeface="+mn-cs"/>
                    </a:rPr>
                    <a:t>235</a:t>
                  </a:r>
                  <a:r>
                    <a:rPr kumimoji="0" lang="en-US" sz="1000" b="0" i="0" u="none" strike="noStrike" kern="1200" cap="none" spc="0" normalizeH="0" baseline="0" noProof="0">
                      <a:ln>
                        <a:noFill/>
                      </a:ln>
                      <a:solidFill>
                        <a:srgbClr val="3B3B3C"/>
                      </a:solidFill>
                      <a:effectLst/>
                      <a:uLnTx/>
                      <a:uFillTx/>
                      <a:latin typeface="Arial"/>
                      <a:ea typeface="+mn-ea"/>
                      <a:cs typeface="+mn-cs"/>
                    </a:rPr>
                    <a:t>UOx</a:t>
                  </a:r>
                </a:p>
              </p:txBody>
            </p:sp>
            <p:sp>
              <p:nvSpPr>
                <p:cNvPr id="15" name="TextBox 14"/>
                <p:cNvSpPr txBox="1"/>
                <p:nvPr/>
              </p:nvSpPr>
              <p:spPr>
                <a:xfrm>
                  <a:off x="4014953" y="3305253"/>
                  <a:ext cx="620111" cy="457200"/>
                </a:xfrm>
                <a:prstGeom prst="rect">
                  <a:avLst/>
                </a:prstGeom>
                <a:solidFill>
                  <a:schemeClr val="bg1"/>
                </a:solidFill>
              </p:spPr>
              <p:txBody>
                <a:bodyPr wrap="square" lIns="0" tIns="0" rIns="0" bIns="0"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3B3B3C"/>
                      </a:solidFill>
                      <a:effectLst/>
                      <a:uLnTx/>
                      <a:uFillTx/>
                      <a:latin typeface="Arial"/>
                      <a:ea typeface="+mn-ea"/>
                      <a:cs typeface="+mn-cs"/>
                    </a:rPr>
                    <a:t>HALEU-</a:t>
                  </a:r>
                  <a:br>
                    <a:rPr kumimoji="0" lang="en-US" sz="1000" b="0" i="0" u="none" strike="noStrike" kern="1200" cap="none" spc="0" normalizeH="0" baseline="0" noProof="0">
                      <a:ln>
                        <a:noFill/>
                      </a:ln>
                      <a:solidFill>
                        <a:srgbClr val="3B3B3C"/>
                      </a:solidFill>
                      <a:effectLst/>
                      <a:uLnTx/>
                      <a:uFillTx/>
                      <a:latin typeface="Arial"/>
                      <a:ea typeface="+mn-ea"/>
                      <a:cs typeface="+mn-cs"/>
                    </a:rPr>
                  </a:br>
                  <a:r>
                    <a:rPr kumimoji="0" lang="en-US" sz="1000" b="0" i="0" u="none" strike="noStrike" kern="1200" cap="none" spc="0" normalizeH="0" baseline="0" noProof="0">
                      <a:ln>
                        <a:noFill/>
                      </a:ln>
                      <a:solidFill>
                        <a:srgbClr val="3B3B3C"/>
                      </a:solidFill>
                      <a:effectLst/>
                      <a:uLnTx/>
                      <a:uFillTx/>
                      <a:latin typeface="Arial"/>
                      <a:ea typeface="+mn-ea"/>
                      <a:cs typeface="+mn-cs"/>
                    </a:rPr>
                    <a:t>based fuel</a:t>
                  </a:r>
                </a:p>
              </p:txBody>
            </p:sp>
            <p:sp>
              <p:nvSpPr>
                <p:cNvPr id="16" name="TextBox 15"/>
                <p:cNvSpPr txBox="1"/>
                <p:nvPr/>
              </p:nvSpPr>
              <p:spPr>
                <a:xfrm>
                  <a:off x="4556543" y="3059301"/>
                  <a:ext cx="960120" cy="457200"/>
                </a:xfrm>
                <a:prstGeom prst="rect">
                  <a:avLst/>
                </a:prstGeom>
                <a:solidFill>
                  <a:schemeClr val="bg1"/>
                </a:solidFill>
              </p:spPr>
              <p:txBody>
                <a:bodyPr wrap="square" lIns="0" tIns="0" rIns="0" bIns="0"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3B3B3C"/>
                      </a:solidFill>
                      <a:effectLst/>
                      <a:uLnTx/>
                      <a:uFillTx/>
                      <a:latin typeface="Arial"/>
                      <a:ea typeface="+mn-ea"/>
                      <a:cs typeface="+mn-cs"/>
                    </a:rPr>
                    <a:t>Advanced Reactor</a:t>
                  </a:r>
                </a:p>
              </p:txBody>
            </p:sp>
            <p:sp>
              <p:nvSpPr>
                <p:cNvPr id="17" name="TextBox 16"/>
                <p:cNvSpPr txBox="1"/>
                <p:nvPr/>
              </p:nvSpPr>
              <p:spPr>
                <a:xfrm>
                  <a:off x="5575590" y="3336783"/>
                  <a:ext cx="394287" cy="307777"/>
                </a:xfrm>
                <a:prstGeom prst="rect">
                  <a:avLst/>
                </a:prstGeom>
                <a:solidFill>
                  <a:schemeClr val="bg1"/>
                </a:solidFill>
              </p:spPr>
              <p:txBody>
                <a:bodyPr wrap="square" lIns="0" tIns="0" rIns="0" bIns="0"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3B3B3C"/>
                      </a:solidFill>
                      <a:effectLst/>
                      <a:uLnTx/>
                      <a:uFillTx/>
                      <a:latin typeface="Arial"/>
                      <a:ea typeface="+mn-ea"/>
                      <a:cs typeface="+mn-cs"/>
                    </a:rPr>
                    <a:t>Spent fuel</a:t>
                  </a:r>
                </a:p>
              </p:txBody>
            </p:sp>
            <p:sp>
              <p:nvSpPr>
                <p:cNvPr id="18" name="TextBox 17"/>
                <p:cNvSpPr txBox="1"/>
                <p:nvPr/>
              </p:nvSpPr>
              <p:spPr>
                <a:xfrm>
                  <a:off x="6558158" y="3318293"/>
                  <a:ext cx="394287" cy="307777"/>
                </a:xfrm>
                <a:prstGeom prst="rect">
                  <a:avLst/>
                </a:prstGeom>
                <a:solidFill>
                  <a:schemeClr val="bg1"/>
                </a:solidFill>
              </p:spPr>
              <p:txBody>
                <a:bodyPr wrap="square" lIns="0" tIns="0" rIns="0" bIns="0"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3B3B3C"/>
                      </a:solidFill>
                      <a:effectLst/>
                      <a:uLnTx/>
                      <a:uFillTx/>
                      <a:latin typeface="Arial"/>
                      <a:ea typeface="+mn-ea"/>
                      <a:cs typeface="+mn-cs"/>
                    </a:rPr>
                    <a:t>Spent fuel</a:t>
                  </a:r>
                </a:p>
              </p:txBody>
            </p:sp>
            <p:sp>
              <p:nvSpPr>
                <p:cNvPr id="11" name="Rectangle 10"/>
                <p:cNvSpPr/>
                <p:nvPr/>
              </p:nvSpPr>
              <p:spPr>
                <a:xfrm>
                  <a:off x="761147" y="1728425"/>
                  <a:ext cx="4764549" cy="2031747"/>
                </a:xfrm>
                <a:prstGeom prst="rect">
                  <a:avLst/>
                </a:prstGeom>
                <a:solidFill>
                  <a:schemeClr val="bg1">
                    <a:lumMod val="85000"/>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grpSp>
          <p:sp>
            <p:nvSpPr>
              <p:cNvPr id="22" name="Rectangle 21"/>
              <p:cNvSpPr/>
              <p:nvPr/>
            </p:nvSpPr>
            <p:spPr>
              <a:xfrm>
                <a:off x="-297806" y="1782358"/>
                <a:ext cx="664297" cy="1737463"/>
              </a:xfrm>
              <a:prstGeom prst="rect">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24" name="Rectangle 23"/>
              <p:cNvSpPr/>
              <p:nvPr/>
            </p:nvSpPr>
            <p:spPr>
              <a:xfrm>
                <a:off x="441173" y="1433879"/>
                <a:ext cx="319973" cy="1429947"/>
              </a:xfrm>
              <a:prstGeom prst="rect">
                <a:avLst/>
              </a:prstGeom>
              <a:solidFill>
                <a:schemeClr val="bg1">
                  <a:lumMod val="85000"/>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25" name="Rectangle 24"/>
              <p:cNvSpPr/>
              <p:nvPr/>
            </p:nvSpPr>
            <p:spPr>
              <a:xfrm>
                <a:off x="352244" y="2823687"/>
                <a:ext cx="343824" cy="461666"/>
              </a:xfrm>
              <a:prstGeom prst="rect">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grpSp>
        <p:sp>
          <p:nvSpPr>
            <p:cNvPr id="84" name="Rectangle 83"/>
            <p:cNvSpPr/>
            <p:nvPr/>
          </p:nvSpPr>
          <p:spPr>
            <a:xfrm>
              <a:off x="9079771" y="4231641"/>
              <a:ext cx="1115257" cy="1796916"/>
            </a:xfrm>
            <a:prstGeom prst="rect">
              <a:avLst/>
            </a:prstGeom>
            <a:solidFill>
              <a:schemeClr val="bg1">
                <a:lumMod val="85000"/>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85" name="Rectangle 84"/>
            <p:cNvSpPr/>
            <p:nvPr/>
          </p:nvSpPr>
          <p:spPr>
            <a:xfrm>
              <a:off x="8701462" y="5506364"/>
              <a:ext cx="375174" cy="522194"/>
            </a:xfrm>
            <a:prstGeom prst="rect">
              <a:avLst/>
            </a:prstGeom>
            <a:solidFill>
              <a:schemeClr val="bg1">
                <a:lumMod val="85000"/>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86" name="Rectangle 85">
              <a:extLst>
                <a:ext uri="{FF2B5EF4-FFF2-40B4-BE49-F238E27FC236}">
                  <a16:creationId xmlns:a16="http://schemas.microsoft.com/office/drawing/2014/main" id="{E8076CBB-5698-45CC-A345-141A13D35D75}"/>
                </a:ext>
              </a:extLst>
            </p:cNvPr>
            <p:cNvSpPr/>
            <p:nvPr/>
          </p:nvSpPr>
          <p:spPr>
            <a:xfrm>
              <a:off x="6470895" y="4231641"/>
              <a:ext cx="2214583" cy="1796916"/>
            </a:xfrm>
            <a:prstGeom prst="rect">
              <a:avLst/>
            </a:prstGeom>
            <a:solidFill>
              <a:schemeClr val="bg1">
                <a:alpha val="7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87" name="Rectangle 86">
              <a:extLst>
                <a:ext uri="{FF2B5EF4-FFF2-40B4-BE49-F238E27FC236}">
                  <a16:creationId xmlns:a16="http://schemas.microsoft.com/office/drawing/2014/main" id="{E8076CBB-5698-45CC-A345-141A13D35D75}"/>
                </a:ext>
              </a:extLst>
            </p:cNvPr>
            <p:cNvSpPr/>
            <p:nvPr/>
          </p:nvSpPr>
          <p:spPr>
            <a:xfrm>
              <a:off x="8685478" y="4231641"/>
              <a:ext cx="391158" cy="1282446"/>
            </a:xfrm>
            <a:prstGeom prst="rect">
              <a:avLst/>
            </a:prstGeom>
            <a:solidFill>
              <a:schemeClr val="bg1">
                <a:alpha val="7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grpSp>
      <p:sp>
        <p:nvSpPr>
          <p:cNvPr id="4" name="Slide Number Placeholder 3"/>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F687C33-47E0-407C-B61F-DB8DDD78F4C7}" type="slidenum">
              <a:rPr kumimoji="0" lang="en-US" sz="1267" b="0" i="0" u="none" strike="noStrike" kern="1200" cap="none" spc="0" normalizeH="0" baseline="0" noProof="0" smtClean="0">
                <a:ln>
                  <a:noFill/>
                </a:ln>
                <a:solidFill>
                  <a:srgbClr val="7F7F7F"/>
                </a:solidFill>
                <a:effectLst/>
                <a:uLnTx/>
                <a:uFillTx/>
                <a:latin typeface="Arial"/>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64</a:t>
            </a:fld>
            <a:endParaRPr kumimoji="0" lang="en-US" sz="1267" b="0" i="0" u="none" strike="noStrike" kern="1200" cap="none" spc="0" normalizeH="0" baseline="0" noProof="0">
              <a:ln>
                <a:noFill/>
              </a:ln>
              <a:solidFill>
                <a:srgbClr val="7F7F7F"/>
              </a:solidFill>
              <a:effectLst/>
              <a:uLnTx/>
              <a:uFillTx/>
              <a:latin typeface="Arial"/>
              <a:ea typeface="+mn-ea"/>
              <a:cs typeface="+mn-cs"/>
            </a:endParaRPr>
          </a:p>
        </p:txBody>
      </p:sp>
    </p:spTree>
    <p:extLst>
      <p:ext uri="{BB962C8B-B14F-4D97-AF65-F5344CB8AC3E}">
        <p14:creationId xmlns:p14="http://schemas.microsoft.com/office/powerpoint/2010/main" val="1564645295"/>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62940" y="591864"/>
            <a:ext cx="9602485" cy="858676"/>
          </a:xfrm>
        </p:spPr>
        <p:txBody>
          <a:bodyPr/>
          <a:lstStyle/>
          <a:p>
            <a:r>
              <a:rPr lang="en-US"/>
              <a:t>Fuel cycle development for advanced reactors – the bottom line!</a:t>
            </a:r>
            <a:br>
              <a:rPr lang="en-US"/>
            </a:br>
            <a:br>
              <a:rPr lang="en-US"/>
            </a:br>
            <a:endParaRPr lang="en-US" sz="2400" b="1"/>
          </a:p>
        </p:txBody>
      </p:sp>
      <p:sp>
        <p:nvSpPr>
          <p:cNvPr id="8" name="TextBox 7"/>
          <p:cNvSpPr txBox="1"/>
          <p:nvPr/>
        </p:nvSpPr>
        <p:spPr>
          <a:xfrm>
            <a:off x="662940" y="1934441"/>
            <a:ext cx="10089144" cy="2246769"/>
          </a:xfrm>
          <a:prstGeom prst="rect">
            <a:avLst/>
          </a:prstGeom>
          <a:noFill/>
          <a:ln w="12700">
            <a:noFill/>
          </a:ln>
        </p:spPr>
        <p:txBody>
          <a:bodyPr wrap="square" rtlCol="0">
            <a:spAutoFit/>
          </a:bodyPr>
          <a:lstStyle/>
          <a:p>
            <a:pPr marL="0" marR="0" lvl="0" indent="0" algn="l" defTabSz="457200" rtl="0" eaLnBrk="1" fontAlgn="auto" latinLnBrk="0" hangingPunct="1">
              <a:lnSpc>
                <a:spcPct val="100000"/>
              </a:lnSpc>
              <a:spcBef>
                <a:spcPts val="0"/>
              </a:spcBef>
              <a:spcAft>
                <a:spcPts val="1200"/>
              </a:spcAft>
              <a:buClrTx/>
              <a:buSzTx/>
              <a:buFontTx/>
              <a:buNone/>
              <a:tabLst/>
              <a:defRPr/>
            </a:pPr>
            <a:r>
              <a:rPr kumimoji="0" lang="en-US" sz="2000" b="1" i="1" u="none" strike="noStrike" kern="1200" cap="none" spc="0" normalizeH="0" baseline="0" noProof="0">
                <a:ln>
                  <a:noFill/>
                </a:ln>
                <a:solidFill>
                  <a:srgbClr val="3B3B3C"/>
                </a:solidFill>
                <a:effectLst/>
                <a:uLnTx/>
                <a:uFillTx/>
                <a:latin typeface="Arial"/>
                <a:ea typeface="+mn-ea"/>
                <a:cs typeface="+mn-cs"/>
              </a:rPr>
              <a:t>From Recommendation D. </a:t>
            </a:r>
          </a:p>
          <a:p>
            <a:pPr marL="285750" marR="0" lvl="0" indent="-285750" algn="l" defTabSz="4572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4148C2"/>
                </a:solidFill>
                <a:effectLst/>
                <a:uLnTx/>
                <a:uFillTx/>
                <a:latin typeface="Arial"/>
                <a:ea typeface="+mn-ea"/>
                <a:cs typeface="+mn-cs"/>
              </a:rPr>
              <a:t>Current U.S. policy</a:t>
            </a:r>
            <a:r>
              <a:rPr kumimoji="0" lang="en-US" sz="2000" b="0" i="0" u="none" strike="noStrike" kern="1200" cap="none" spc="0" normalizeH="0" baseline="0" noProof="0">
                <a:ln>
                  <a:noFill/>
                </a:ln>
                <a:solidFill>
                  <a:srgbClr val="3B3B3C"/>
                </a:solidFill>
                <a:effectLst/>
                <a:uLnTx/>
                <a:uFillTx/>
                <a:latin typeface="Arial"/>
                <a:ea typeface="+mn-ea"/>
                <a:cs typeface="+mn-cs"/>
              </a:rPr>
              <a:t> of a once-through fuel cycle with direct disposal of commercial SNF in a geologic repository </a:t>
            </a:r>
            <a:r>
              <a:rPr kumimoji="0" lang="en-US" sz="2000" b="0" i="0" u="none" strike="noStrike" kern="1200" cap="none" spc="0" normalizeH="0" baseline="0" noProof="0">
                <a:ln>
                  <a:noFill/>
                </a:ln>
                <a:solidFill>
                  <a:srgbClr val="4148C2"/>
                </a:solidFill>
                <a:effectLst/>
                <a:uLnTx/>
                <a:uFillTx/>
                <a:latin typeface="Arial"/>
                <a:ea typeface="+mn-ea"/>
                <a:cs typeface="+mn-cs"/>
              </a:rPr>
              <a:t>should continue</a:t>
            </a:r>
            <a:r>
              <a:rPr kumimoji="0" lang="en-US" sz="2000" b="0" i="0" u="none" strike="noStrike" kern="1200" cap="none" spc="0" normalizeH="0" baseline="0" noProof="0">
                <a:ln>
                  <a:noFill/>
                </a:ln>
                <a:solidFill>
                  <a:srgbClr val="3B3B3C"/>
                </a:solidFill>
                <a:effectLst/>
                <a:uLnTx/>
                <a:uFillTx/>
                <a:latin typeface="Arial"/>
                <a:ea typeface="+mn-ea"/>
                <a:cs typeface="+mn-cs"/>
              </a:rPr>
              <a:t>. </a:t>
            </a: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3B3B3C"/>
                </a:solidFill>
                <a:effectLst/>
                <a:uLnTx/>
                <a:uFillTx/>
                <a:latin typeface="Arial"/>
                <a:ea typeface="+mn-ea"/>
                <a:cs typeface="+mn-cs"/>
              </a:rPr>
              <a:t>DOE should develop and implement a </a:t>
            </a:r>
            <a:r>
              <a:rPr kumimoji="0" lang="en-US" sz="2000" b="0" i="0" u="none" strike="noStrike" kern="1200" cap="none" spc="0" normalizeH="0" baseline="0" noProof="0">
                <a:ln>
                  <a:noFill/>
                </a:ln>
                <a:solidFill>
                  <a:srgbClr val="4148C2"/>
                </a:solidFill>
                <a:effectLst/>
                <a:uLnTx/>
                <a:uFillTx/>
                <a:latin typeface="Arial"/>
                <a:ea typeface="+mn-ea"/>
                <a:cs typeface="+mn-cs"/>
              </a:rPr>
              <a:t>phased, long-range R&amp;D program on advanced separations and transmutations</a:t>
            </a:r>
            <a:r>
              <a:rPr kumimoji="0" lang="en-US" sz="2000" b="0" i="0" u="none" strike="noStrike" kern="1200" cap="none" spc="0" normalizeH="0" baseline="0" noProof="0">
                <a:ln>
                  <a:noFill/>
                </a:ln>
                <a:solidFill>
                  <a:srgbClr val="3B3B3C"/>
                </a:solidFill>
                <a:effectLst/>
                <a:uLnTx/>
                <a:uFillTx/>
                <a:latin typeface="Arial"/>
                <a:ea typeface="+mn-ea"/>
                <a:cs typeface="+mn-cs"/>
              </a:rPr>
              <a:t> technologies so as not to preclude these options in the future. </a:t>
            </a:r>
          </a:p>
        </p:txBody>
      </p:sp>
      <p:sp>
        <p:nvSpPr>
          <p:cNvPr id="3" name="Slide Number Placeholder 2"/>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F687C33-47E0-407C-B61F-DB8DDD78F4C7}" type="slidenum">
              <a:rPr kumimoji="0" lang="en-US" sz="1267" b="0" i="0" u="none" strike="noStrike" kern="1200" cap="none" spc="0" normalizeH="0" baseline="0" noProof="0" smtClean="0">
                <a:ln>
                  <a:noFill/>
                </a:ln>
                <a:solidFill>
                  <a:srgbClr val="7F7F7F"/>
                </a:solidFill>
                <a:effectLst/>
                <a:uLnTx/>
                <a:uFillTx/>
                <a:latin typeface="Arial"/>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65</a:t>
            </a:fld>
            <a:endParaRPr kumimoji="0" lang="en-US" sz="1267" b="0" i="0" u="none" strike="noStrike" kern="1200" cap="none" spc="0" normalizeH="0" baseline="0" noProof="0">
              <a:ln>
                <a:noFill/>
              </a:ln>
              <a:solidFill>
                <a:srgbClr val="7F7F7F"/>
              </a:solidFill>
              <a:effectLst/>
              <a:uLnTx/>
              <a:uFillTx/>
              <a:latin typeface="Arial"/>
              <a:ea typeface="+mn-ea"/>
              <a:cs typeface="+mn-cs"/>
            </a:endParaRPr>
          </a:p>
        </p:txBody>
      </p:sp>
    </p:spTree>
    <p:extLst>
      <p:ext uri="{BB962C8B-B14F-4D97-AF65-F5344CB8AC3E}">
        <p14:creationId xmlns:p14="http://schemas.microsoft.com/office/powerpoint/2010/main" val="1816796606"/>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Placeholder 8"/>
          <p:cNvPicPr>
            <a:picLocks noGrp="1" noChangeAspect="1"/>
          </p:cNvPicPr>
          <p:nvPr>
            <p:ph type="pic" sz="quarter" idx="13"/>
          </p:nvPr>
        </p:nvPicPr>
        <p:blipFill>
          <a:blip r:embed="rId2">
            <a:extLst>
              <a:ext uri="{28A0092B-C50C-407E-A947-70E740481C1C}">
                <a14:useLocalDpi xmlns:a14="http://schemas.microsoft.com/office/drawing/2010/main" val="0"/>
              </a:ext>
            </a:extLst>
          </a:blip>
          <a:srcRect t="32411" b="32411"/>
          <a:stretch>
            <a:fillRect/>
          </a:stretch>
        </p:blipFill>
        <p:spPr/>
      </p:pic>
      <p:sp>
        <p:nvSpPr>
          <p:cNvPr id="3" name="Text Placeholder 2"/>
          <p:cNvSpPr>
            <a:spLocks noGrp="1"/>
          </p:cNvSpPr>
          <p:nvPr>
            <p:ph type="body" sz="quarter" idx="14"/>
          </p:nvPr>
        </p:nvSpPr>
        <p:spPr/>
        <p:txBody>
          <a:bodyPr/>
          <a:lstStyle/>
          <a:p>
            <a:endParaRPr lang="en-US"/>
          </a:p>
          <a:p>
            <a:endParaRPr lang="en-US"/>
          </a:p>
          <a:p>
            <a:r>
              <a:rPr lang="en-US"/>
              <a:t>What are the waste management and disposal options for advanced reactors? </a:t>
            </a:r>
          </a:p>
          <a:p>
            <a:endParaRPr lang="en-US"/>
          </a:p>
        </p:txBody>
      </p:sp>
      <p:sp>
        <p:nvSpPr>
          <p:cNvPr id="2" name="Slide Number Placeholder 1"/>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F687C33-47E0-407C-B61F-DB8DDD78F4C7}" type="slidenum">
              <a:rPr kumimoji="0" lang="en-US" sz="1267" b="0" i="0" u="none" strike="noStrike" kern="1200" cap="none" spc="0" normalizeH="0" baseline="0" noProof="0" smtClean="0">
                <a:ln>
                  <a:noFill/>
                </a:ln>
                <a:solidFill>
                  <a:srgbClr val="7F7F7F"/>
                </a:solidFill>
                <a:effectLst/>
                <a:uLnTx/>
                <a:uFillTx/>
                <a:latin typeface="Arial"/>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66</a:t>
            </a:fld>
            <a:endParaRPr kumimoji="0" lang="en-US" sz="1267" b="0" i="0" u="none" strike="noStrike" kern="1200" cap="none" spc="0" normalizeH="0" baseline="0" noProof="0">
              <a:ln>
                <a:noFill/>
              </a:ln>
              <a:solidFill>
                <a:srgbClr val="7F7F7F"/>
              </a:solidFill>
              <a:effectLst/>
              <a:uLnTx/>
              <a:uFillTx/>
              <a:latin typeface="Arial"/>
              <a:ea typeface="+mn-ea"/>
              <a:cs typeface="+mn-cs"/>
            </a:endParaRPr>
          </a:p>
        </p:txBody>
      </p:sp>
    </p:spTree>
    <p:extLst>
      <p:ext uri="{BB962C8B-B14F-4D97-AF65-F5344CB8AC3E}">
        <p14:creationId xmlns:p14="http://schemas.microsoft.com/office/powerpoint/2010/main" val="1813197708"/>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BCD63E-38F8-3E37-131E-22A7962863F5}"/>
              </a:ext>
            </a:extLst>
          </p:cNvPr>
          <p:cNvSpPr>
            <a:spLocks noGrp="1"/>
          </p:cNvSpPr>
          <p:nvPr>
            <p:ph type="title"/>
          </p:nvPr>
        </p:nvSpPr>
        <p:spPr/>
        <p:txBody>
          <a:bodyPr/>
          <a:lstStyle/>
          <a:p>
            <a:r>
              <a:rPr lang="en-US"/>
              <a:t>Current Regulatory and Technical Structure for Spent Fuel Management Based on Large LWRs</a:t>
            </a:r>
          </a:p>
        </p:txBody>
      </p:sp>
      <p:sp>
        <p:nvSpPr>
          <p:cNvPr id="3" name="Content Placeholder 2">
            <a:extLst>
              <a:ext uri="{FF2B5EF4-FFF2-40B4-BE49-F238E27FC236}">
                <a16:creationId xmlns:a16="http://schemas.microsoft.com/office/drawing/2014/main" id="{AFA91C7B-A3CD-1036-82D8-F6C88740CCD6}"/>
              </a:ext>
            </a:extLst>
          </p:cNvPr>
          <p:cNvSpPr>
            <a:spLocks noGrp="1"/>
          </p:cNvSpPr>
          <p:nvPr>
            <p:ph idx="1"/>
          </p:nvPr>
        </p:nvSpPr>
        <p:spPr>
          <a:xfrm>
            <a:off x="662940" y="1820429"/>
            <a:ext cx="9973529" cy="3981281"/>
          </a:xfrm>
        </p:spPr>
        <p:txBody>
          <a:bodyPr/>
          <a:lstStyle/>
          <a:p>
            <a:r>
              <a:rPr lang="en-US" sz="2000"/>
              <a:t>The NWPA defines the governance structure and process for the eventual acceptance and disposal of SNF and HLW by DOE.</a:t>
            </a:r>
          </a:p>
          <a:p>
            <a:r>
              <a:rPr lang="en-US" sz="2000"/>
              <a:t>The vast majority of SNF from large light water reactors meeting the “Standard Fuel” definition under DOE’s Standard Contract (10CFR961, Appendix E).  </a:t>
            </a:r>
          </a:p>
          <a:p>
            <a:r>
              <a:rPr lang="en-US" sz="2000"/>
              <a:t>Existing non-standard fuel represents only a small fraction of SNF inventory. </a:t>
            </a:r>
          </a:p>
          <a:p>
            <a:r>
              <a:rPr lang="en-US" sz="2000"/>
              <a:t>DOE’s Amended Standard Contract for New Reactors struck Appendix E provisions for Non-Standard Fuel.</a:t>
            </a:r>
          </a:p>
          <a:p>
            <a:r>
              <a:rPr lang="en-US" sz="2000"/>
              <a:t>Most advanced reactors produce non-standard spent fuel for which there is no current path for acceptance by DOE.</a:t>
            </a:r>
          </a:p>
          <a:p>
            <a:pPr marL="0" indent="0">
              <a:buNone/>
            </a:pPr>
            <a:endParaRPr lang="en-US" sz="2000"/>
          </a:p>
        </p:txBody>
      </p:sp>
      <p:sp>
        <p:nvSpPr>
          <p:cNvPr id="4" name="Slide Number Placeholder 3"/>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F687C33-47E0-407C-B61F-DB8DDD78F4C7}" type="slidenum">
              <a:rPr kumimoji="0" lang="en-US" sz="1267" b="0" i="0" u="none" strike="noStrike" kern="1200" cap="none" spc="0" normalizeH="0" baseline="0" noProof="0" smtClean="0">
                <a:ln>
                  <a:noFill/>
                </a:ln>
                <a:solidFill>
                  <a:srgbClr val="7F7F7F"/>
                </a:solidFill>
                <a:effectLst/>
                <a:uLnTx/>
                <a:uFillTx/>
                <a:latin typeface="Arial"/>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67</a:t>
            </a:fld>
            <a:endParaRPr kumimoji="0" lang="en-US" sz="1267" b="0" i="0" u="none" strike="noStrike" kern="1200" cap="none" spc="0" normalizeH="0" baseline="0" noProof="0">
              <a:ln>
                <a:noFill/>
              </a:ln>
              <a:solidFill>
                <a:srgbClr val="7F7F7F"/>
              </a:solidFill>
              <a:effectLst/>
              <a:uLnTx/>
              <a:uFillTx/>
              <a:latin typeface="Arial"/>
              <a:ea typeface="+mn-ea"/>
              <a:cs typeface="+mn-cs"/>
            </a:endParaRPr>
          </a:p>
        </p:txBody>
      </p:sp>
    </p:spTree>
    <p:extLst>
      <p:ext uri="{BB962C8B-B14F-4D97-AF65-F5344CB8AC3E}">
        <p14:creationId xmlns:p14="http://schemas.microsoft.com/office/powerpoint/2010/main" val="1273888650"/>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a:t>What is the status of spent nuclear fuel in the U.S.? </a:t>
            </a:r>
          </a:p>
        </p:txBody>
      </p:sp>
      <p:pic>
        <p:nvPicPr>
          <p:cNvPr id="7" name="Picture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62940" y="1001267"/>
            <a:ext cx="5943600" cy="4635183"/>
          </a:xfrm>
          <a:prstGeom prst="rect">
            <a:avLst/>
          </a:prstGeom>
        </p:spPr>
      </p:pic>
      <p:sp>
        <p:nvSpPr>
          <p:cNvPr id="2" name="Rectangle 1"/>
          <p:cNvSpPr/>
          <p:nvPr/>
        </p:nvSpPr>
        <p:spPr>
          <a:xfrm>
            <a:off x="662940" y="5677616"/>
            <a:ext cx="5622246" cy="523220"/>
          </a:xfrm>
          <a:prstGeom prst="rect">
            <a:avLst/>
          </a:prstGeom>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3B3B3C"/>
                </a:solidFill>
                <a:effectLst/>
                <a:uLnTx/>
                <a:uFillTx/>
                <a:latin typeface="Arial"/>
                <a:ea typeface="Calibri" panose="020F0502020204030204" pitchFamily="34" charset="0"/>
                <a:cs typeface="+mn-cs"/>
              </a:rPr>
              <a:t>Stored commercial spent nuclear fuel (SNF) sites, showing ranges in </a:t>
            </a:r>
            <a:r>
              <a:rPr kumimoji="0" lang="en-US" sz="1400" b="0" i="0" u="none" strike="noStrike" kern="1200" cap="none" spc="0" normalizeH="0" baseline="0" noProof="0" err="1">
                <a:ln>
                  <a:noFill/>
                </a:ln>
                <a:solidFill>
                  <a:srgbClr val="3B3B3C"/>
                </a:solidFill>
                <a:effectLst/>
                <a:uLnTx/>
                <a:uFillTx/>
                <a:latin typeface="Arial"/>
                <a:ea typeface="Calibri" panose="020F0502020204030204" pitchFamily="34" charset="0"/>
                <a:cs typeface="+mn-cs"/>
              </a:rPr>
              <a:t>tonnes</a:t>
            </a:r>
            <a:r>
              <a:rPr kumimoji="0" lang="en-US" sz="1400" b="0" i="0" u="none" strike="noStrike" kern="1200" cap="none" spc="0" normalizeH="0" baseline="0" noProof="0">
                <a:ln>
                  <a:noFill/>
                </a:ln>
                <a:solidFill>
                  <a:srgbClr val="3B3B3C"/>
                </a:solidFill>
                <a:effectLst/>
                <a:uLnTx/>
                <a:uFillTx/>
                <a:latin typeface="Arial"/>
                <a:ea typeface="Calibri" panose="020F0502020204030204" pitchFamily="34" charset="0"/>
                <a:cs typeface="+mn-cs"/>
              </a:rPr>
              <a:t> of SNF for each state. Adapted from GAO-21-603. </a:t>
            </a:r>
            <a:endParaRPr kumimoji="0" lang="en-US" sz="1400" b="0" i="0" u="none" strike="noStrike" kern="1200" cap="none" spc="0" normalizeH="0" baseline="0" noProof="0">
              <a:ln>
                <a:noFill/>
              </a:ln>
              <a:solidFill>
                <a:srgbClr val="3B3B3C"/>
              </a:solidFill>
              <a:effectLst/>
              <a:uLnTx/>
              <a:uFillTx/>
              <a:latin typeface="Arial"/>
              <a:ea typeface="+mn-ea"/>
              <a:cs typeface="+mn-cs"/>
            </a:endParaRPr>
          </a:p>
        </p:txBody>
      </p:sp>
      <p:sp>
        <p:nvSpPr>
          <p:cNvPr id="3" name="Rectangle 2"/>
          <p:cNvSpPr/>
          <p:nvPr/>
        </p:nvSpPr>
        <p:spPr>
          <a:xfrm>
            <a:off x="6800193" y="1295557"/>
            <a:ext cx="4393325" cy="2308324"/>
          </a:xfrm>
          <a:prstGeom prst="rect">
            <a:avLst/>
          </a:prstGeom>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1" i="1" u="none" strike="noStrike" kern="1200" cap="none" spc="0" normalizeH="0" baseline="0" noProof="0">
                <a:ln>
                  <a:noFill/>
                </a:ln>
                <a:solidFill>
                  <a:srgbClr val="3B3B3C"/>
                </a:solidFill>
                <a:effectLst/>
                <a:uLnTx/>
                <a:uFillTx/>
                <a:latin typeface="Arial"/>
                <a:ea typeface="+mn-ea"/>
                <a:cs typeface="+mn-cs"/>
              </a:rPr>
              <a:t>From Finding 11:</a:t>
            </a: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3B3B3C"/>
                </a:solidFill>
                <a:effectLst/>
                <a:uLnTx/>
                <a:uFillTx/>
                <a:latin typeface="Arial"/>
                <a:ea typeface="+mn-ea"/>
                <a:cs typeface="+mn-cs"/>
              </a:rPr>
              <a:t>40 years since enactment of the Nuclear Waste Policy Act of 1982, there is </a:t>
            </a:r>
            <a:r>
              <a:rPr kumimoji="0" lang="en-US" sz="1800" b="0" i="0" u="none" strike="noStrike" kern="1200" cap="none" spc="0" normalizeH="0" baseline="0" noProof="0">
                <a:ln>
                  <a:noFill/>
                </a:ln>
                <a:solidFill>
                  <a:srgbClr val="4148C2"/>
                </a:solidFill>
                <a:effectLst/>
                <a:uLnTx/>
                <a:uFillTx/>
                <a:latin typeface="Arial"/>
                <a:ea typeface="+mn-ea"/>
                <a:cs typeface="+mn-cs"/>
              </a:rPr>
              <a:t>no clear path forward </a:t>
            </a:r>
            <a:r>
              <a:rPr kumimoji="0" lang="en-US" sz="1800" b="0" i="0" u="none" strike="noStrike" kern="1200" cap="none" spc="0" normalizeH="0" baseline="0" noProof="0">
                <a:ln>
                  <a:noFill/>
                </a:ln>
                <a:solidFill>
                  <a:srgbClr val="3B3B3C"/>
                </a:solidFill>
                <a:effectLst/>
                <a:uLnTx/>
                <a:uFillTx/>
                <a:latin typeface="Arial"/>
                <a:ea typeface="+mn-ea"/>
                <a:cs typeface="+mn-cs"/>
              </a:rPr>
              <a:t>for siting, licensing, and constructing a geologic repository to dispose highly radioactive waste, mainly commercial spent nuclear fuel.</a:t>
            </a:r>
          </a:p>
        </p:txBody>
      </p:sp>
      <p:sp>
        <p:nvSpPr>
          <p:cNvPr id="4" name="Rectangle 3"/>
          <p:cNvSpPr/>
          <p:nvPr/>
        </p:nvSpPr>
        <p:spPr>
          <a:xfrm>
            <a:off x="6800193" y="3751249"/>
            <a:ext cx="4393325" cy="2585323"/>
          </a:xfrm>
          <a:prstGeom prst="rect">
            <a:avLst/>
          </a:prstGeom>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1" i="1" u="none" strike="noStrike" kern="1200" cap="none" spc="0" normalizeH="0" baseline="0" noProof="0">
                <a:ln>
                  <a:noFill/>
                </a:ln>
                <a:solidFill>
                  <a:srgbClr val="3B3B3C"/>
                </a:solidFill>
                <a:effectLst/>
                <a:uLnTx/>
                <a:uFillTx/>
                <a:latin typeface="Arial"/>
                <a:ea typeface="+mn-ea"/>
                <a:cs typeface="+mn-cs"/>
              </a:rPr>
              <a:t>From Finding 12: </a:t>
            </a:r>
            <a:endParaRPr kumimoji="0" lang="en-US" sz="1800" b="0" i="0" u="none" strike="noStrike" kern="1200" cap="none" spc="0" normalizeH="0" baseline="0" noProof="0">
              <a:ln>
                <a:noFill/>
              </a:ln>
              <a:solidFill>
                <a:srgbClr val="3B3B3C"/>
              </a:solidFill>
              <a:effectLst/>
              <a:uLnTx/>
              <a:uFillTx/>
              <a:latin typeface="Arial"/>
              <a:ea typeface="+mn-ea"/>
              <a:cs typeface="+mn-cs"/>
            </a:endParaRP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3B3B3C"/>
                </a:solidFill>
                <a:effectLst/>
                <a:uLnTx/>
                <a:uFillTx/>
                <a:latin typeface="Arial"/>
                <a:ea typeface="+mn-ea"/>
                <a:cs typeface="+mn-cs"/>
              </a:rPr>
              <a:t>Without a final geologic disposal strategy, expanding nuclear power with advanced reactors will </a:t>
            </a:r>
            <a:r>
              <a:rPr kumimoji="0" lang="en-US" sz="1800" b="0" i="0" u="none" strike="noStrike" kern="1200" cap="none" spc="0" normalizeH="0" baseline="0" noProof="0">
                <a:ln>
                  <a:noFill/>
                </a:ln>
                <a:solidFill>
                  <a:srgbClr val="4148C2"/>
                </a:solidFill>
                <a:effectLst/>
                <a:uLnTx/>
                <a:uFillTx/>
                <a:latin typeface="Arial"/>
                <a:ea typeface="+mn-ea"/>
                <a:cs typeface="+mn-cs"/>
              </a:rPr>
              <a:t>add to the amount of SNF and associated waste </a:t>
            </a:r>
            <a:r>
              <a:rPr kumimoji="0" lang="en-US" sz="1800" b="0" i="0" u="none" strike="noStrike" kern="1200" cap="none" spc="0" normalizeH="0" baseline="0" noProof="0">
                <a:ln>
                  <a:noFill/>
                </a:ln>
                <a:solidFill>
                  <a:srgbClr val="3B3B3C"/>
                </a:solidFill>
                <a:effectLst/>
                <a:uLnTx/>
                <a:uFillTx/>
                <a:latin typeface="Arial"/>
                <a:ea typeface="+mn-ea"/>
                <a:cs typeface="+mn-cs"/>
              </a:rPr>
              <a:t>requiring disposal and will </a:t>
            </a:r>
            <a:r>
              <a:rPr kumimoji="0" lang="en-US" sz="1800" b="0" i="0" u="none" strike="noStrike" kern="1200" cap="none" spc="0" normalizeH="0" baseline="0" noProof="0">
                <a:ln>
                  <a:noFill/>
                </a:ln>
                <a:solidFill>
                  <a:srgbClr val="4148C2"/>
                </a:solidFill>
                <a:effectLst/>
                <a:uLnTx/>
                <a:uFillTx/>
                <a:latin typeface="Arial"/>
                <a:ea typeface="+mn-ea"/>
                <a:cs typeface="+mn-cs"/>
              </a:rPr>
              <a:t>increase the complexity of this challenge </a:t>
            </a:r>
            <a:r>
              <a:rPr kumimoji="0" lang="en-US" sz="1800" b="0" i="0" u="none" strike="noStrike" kern="1200" cap="none" spc="0" normalizeH="0" baseline="0" noProof="0">
                <a:ln>
                  <a:noFill/>
                </a:ln>
                <a:solidFill>
                  <a:srgbClr val="3B3B3C"/>
                </a:solidFill>
                <a:effectLst/>
                <a:uLnTx/>
                <a:uFillTx/>
                <a:latin typeface="Arial"/>
                <a:ea typeface="+mn-ea"/>
                <a:cs typeface="+mn-cs"/>
              </a:rPr>
              <a:t>because new types of fuels and waste streams will need to be disposed of.</a:t>
            </a:r>
          </a:p>
        </p:txBody>
      </p:sp>
      <p:sp>
        <p:nvSpPr>
          <p:cNvPr id="6" name="Slide Number Placeholder 5"/>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F687C33-47E0-407C-B61F-DB8DDD78F4C7}" type="slidenum">
              <a:rPr kumimoji="0" lang="en-US" sz="1267" b="0" i="0" u="none" strike="noStrike" kern="1200" cap="none" spc="0" normalizeH="0" baseline="0" noProof="0" smtClean="0">
                <a:ln>
                  <a:noFill/>
                </a:ln>
                <a:solidFill>
                  <a:srgbClr val="7F7F7F"/>
                </a:solidFill>
                <a:effectLst/>
                <a:uLnTx/>
                <a:uFillTx/>
                <a:latin typeface="Arial"/>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68</a:t>
            </a:fld>
            <a:endParaRPr kumimoji="0" lang="en-US" sz="1267" b="0" i="0" u="none" strike="noStrike" kern="1200" cap="none" spc="0" normalizeH="0" baseline="0" noProof="0">
              <a:ln>
                <a:noFill/>
              </a:ln>
              <a:solidFill>
                <a:srgbClr val="7F7F7F"/>
              </a:solidFill>
              <a:effectLst/>
              <a:uLnTx/>
              <a:uFillTx/>
              <a:latin typeface="Arial"/>
              <a:ea typeface="+mn-ea"/>
              <a:cs typeface="+mn-cs"/>
            </a:endParaRPr>
          </a:p>
        </p:txBody>
      </p:sp>
    </p:spTree>
    <p:extLst>
      <p:ext uri="{BB962C8B-B14F-4D97-AF65-F5344CB8AC3E}">
        <p14:creationId xmlns:p14="http://schemas.microsoft.com/office/powerpoint/2010/main" val="1718324246"/>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Tackling the nuclear waste challenge</a:t>
            </a:r>
            <a:endParaRPr lang="en-US" sz="2400"/>
          </a:p>
        </p:txBody>
      </p:sp>
      <p:sp>
        <p:nvSpPr>
          <p:cNvPr id="6" name="TextBox 5"/>
          <p:cNvSpPr txBox="1"/>
          <p:nvPr/>
        </p:nvSpPr>
        <p:spPr>
          <a:xfrm>
            <a:off x="662940" y="1295557"/>
            <a:ext cx="10047889" cy="4632037"/>
          </a:xfrm>
          <a:prstGeom prst="rect">
            <a:avLst/>
          </a:prstGeom>
          <a:noFill/>
          <a:ln>
            <a:noFill/>
          </a:ln>
        </p:spPr>
        <p:txBody>
          <a:bodyPr wrap="square" rtlCol="0">
            <a:spAutoFit/>
          </a:bodyPr>
          <a:lstStyle/>
          <a:p>
            <a:pPr marL="0" marR="0" lvl="0" indent="0" algn="l" defTabSz="457200" rtl="0" eaLnBrk="1" fontAlgn="auto" latinLnBrk="0" hangingPunct="1">
              <a:lnSpc>
                <a:spcPct val="100000"/>
              </a:lnSpc>
              <a:spcBef>
                <a:spcPts val="0"/>
              </a:spcBef>
              <a:spcAft>
                <a:spcPts val="600"/>
              </a:spcAft>
              <a:buClrTx/>
              <a:buSzTx/>
              <a:buFontTx/>
              <a:buNone/>
              <a:tabLst/>
              <a:defRPr/>
            </a:pPr>
            <a:r>
              <a:rPr kumimoji="0" lang="en-US" sz="2000" b="1" i="1" u="none" strike="noStrike" kern="1200" cap="none" spc="0" normalizeH="0" baseline="0" noProof="0">
                <a:ln>
                  <a:noFill/>
                </a:ln>
                <a:solidFill>
                  <a:srgbClr val="3B3B3C"/>
                </a:solidFill>
                <a:effectLst/>
                <a:uLnTx/>
                <a:uFillTx/>
                <a:latin typeface="Arial"/>
                <a:ea typeface="+mn-ea"/>
                <a:cs typeface="+mn-cs"/>
              </a:rPr>
              <a:t>From Recommendation G. </a:t>
            </a:r>
            <a:r>
              <a:rPr kumimoji="0" lang="en-US" sz="2000" b="0" i="0" u="none" strike="noStrike" kern="1200" cap="none" spc="0" normalizeH="0" baseline="0" noProof="0">
                <a:ln>
                  <a:noFill/>
                </a:ln>
                <a:solidFill>
                  <a:srgbClr val="3B3B3C"/>
                </a:solidFill>
                <a:effectLst/>
                <a:uLnTx/>
                <a:uFillTx/>
                <a:latin typeface="Arial"/>
                <a:ea typeface="+mn-ea"/>
                <a:cs typeface="+mn-cs"/>
              </a:rPr>
              <a:t>Congress should establish a</a:t>
            </a:r>
            <a:r>
              <a:rPr kumimoji="0" lang="en-US" sz="2000" b="0" i="0" u="none" strike="noStrike" kern="1200" cap="none" spc="0" normalizeH="0" baseline="0" noProof="0">
                <a:ln>
                  <a:noFill/>
                </a:ln>
                <a:solidFill>
                  <a:srgbClr val="4148C2"/>
                </a:solidFill>
                <a:effectLst/>
                <a:uLnTx/>
                <a:uFillTx/>
                <a:latin typeface="Arial"/>
                <a:ea typeface="+mn-ea"/>
                <a:cs typeface="+mn-cs"/>
              </a:rPr>
              <a:t> single-mission entity responsible for the management and disposal of nuclear wastes</a:t>
            </a:r>
            <a:r>
              <a:rPr kumimoji="0" lang="en-US" sz="2000" b="0" i="0" u="none" strike="noStrike" kern="1200" cap="none" spc="0" normalizeH="0" baseline="0" noProof="0">
                <a:ln>
                  <a:noFill/>
                </a:ln>
                <a:solidFill>
                  <a:srgbClr val="3B3B3C"/>
                </a:solidFill>
                <a:effectLst/>
                <a:uLnTx/>
                <a:uFillTx/>
                <a:latin typeface="Arial"/>
                <a:ea typeface="+mn-ea"/>
                <a:cs typeface="+mn-cs"/>
              </a:rPr>
              <a:t>. </a:t>
            </a:r>
          </a:p>
          <a:p>
            <a:pPr marL="0" marR="0" lvl="0" indent="0" algn="l" defTabSz="457200" rtl="0" eaLnBrk="1" fontAlgn="auto" latinLnBrk="0" hangingPunct="1">
              <a:lnSpc>
                <a:spcPct val="100000"/>
              </a:lnSpc>
              <a:spcBef>
                <a:spcPts val="0"/>
              </a:spcBef>
              <a:spcAft>
                <a:spcPts val="600"/>
              </a:spcAft>
              <a:buClrTx/>
              <a:buSzTx/>
              <a:buFontTx/>
              <a:buNone/>
              <a:tabLst/>
              <a:defRPr/>
            </a:pPr>
            <a:r>
              <a:rPr kumimoji="0" lang="en-US" sz="2000" b="0" i="0" u="none" strike="noStrike" kern="1200" cap="none" spc="0" normalizeH="0" baseline="0" noProof="0">
                <a:ln>
                  <a:noFill/>
                </a:ln>
                <a:solidFill>
                  <a:srgbClr val="3B3B3C"/>
                </a:solidFill>
                <a:effectLst/>
                <a:uLnTx/>
                <a:uFillTx/>
                <a:latin typeface="Arial"/>
                <a:ea typeface="+mn-ea"/>
                <a:cs typeface="+mn-cs"/>
              </a:rPr>
              <a:t>This entity should: </a:t>
            </a:r>
          </a:p>
          <a:p>
            <a:pPr marL="457200" marR="0" lvl="0" indent="-457200" algn="l" defTabSz="457200" rtl="0" eaLnBrk="1" fontAlgn="auto" latinLnBrk="0" hangingPunct="1">
              <a:lnSpc>
                <a:spcPct val="100000"/>
              </a:lnSpc>
              <a:spcBef>
                <a:spcPts val="0"/>
              </a:spcBef>
              <a:spcAft>
                <a:spcPts val="600"/>
              </a:spcAft>
              <a:buClrTx/>
              <a:buSzTx/>
              <a:buFontTx/>
              <a:buAutoNum type="arabicParenBoth"/>
              <a:tabLst/>
              <a:defRPr/>
            </a:pPr>
            <a:r>
              <a:rPr kumimoji="0" lang="en-US" sz="2000" b="0" i="0" u="none" strike="noStrike" kern="1200" cap="none" spc="0" normalizeH="0" baseline="0" noProof="0">
                <a:ln>
                  <a:noFill/>
                </a:ln>
                <a:solidFill>
                  <a:srgbClr val="3B3B3C"/>
                </a:solidFill>
                <a:effectLst/>
                <a:uLnTx/>
                <a:uFillTx/>
                <a:latin typeface="Arial"/>
                <a:ea typeface="+mn-ea"/>
                <a:cs typeface="+mn-cs"/>
              </a:rPr>
              <a:t>be responsible for </a:t>
            </a:r>
            <a:r>
              <a:rPr kumimoji="0" lang="en-US" sz="2000" b="0" i="0" u="none" strike="noStrike" kern="1200" cap="none" spc="0" normalizeH="0" baseline="0" noProof="0">
                <a:ln>
                  <a:noFill/>
                </a:ln>
                <a:solidFill>
                  <a:srgbClr val="4148C2"/>
                </a:solidFill>
                <a:effectLst/>
                <a:uLnTx/>
                <a:uFillTx/>
                <a:latin typeface="Arial"/>
                <a:ea typeface="+mn-ea"/>
                <a:cs typeface="+mn-cs"/>
              </a:rPr>
              <a:t>cradle-to-grave management and disposal </a:t>
            </a:r>
            <a:r>
              <a:rPr kumimoji="0" lang="en-US" sz="2000" b="0" i="0" u="none" strike="noStrike" kern="1200" cap="none" spc="0" normalizeH="0" baseline="0" noProof="0">
                <a:ln>
                  <a:noFill/>
                </a:ln>
                <a:solidFill>
                  <a:srgbClr val="3B3B3C"/>
                </a:solidFill>
                <a:effectLst/>
                <a:uLnTx/>
                <a:uFillTx/>
                <a:latin typeface="Arial"/>
                <a:ea typeface="+mn-ea"/>
                <a:cs typeface="+mn-cs"/>
              </a:rPr>
              <a:t>of nuclear wastes, with continuity of leadership and funding  </a:t>
            </a:r>
          </a:p>
          <a:p>
            <a:pPr marL="457200" marR="0" lvl="0" indent="-457200" algn="l" defTabSz="457200" rtl="0" eaLnBrk="1" fontAlgn="auto" latinLnBrk="0" hangingPunct="1">
              <a:lnSpc>
                <a:spcPct val="100000"/>
              </a:lnSpc>
              <a:spcBef>
                <a:spcPts val="0"/>
              </a:spcBef>
              <a:spcAft>
                <a:spcPts val="600"/>
              </a:spcAft>
              <a:buClrTx/>
              <a:buSzTx/>
              <a:buFontTx/>
              <a:buAutoNum type="arabicParenBoth"/>
              <a:tabLst/>
              <a:defRPr/>
            </a:pPr>
            <a:r>
              <a:rPr kumimoji="0" lang="en-US" sz="2000" b="0" i="0" u="none" strike="noStrike" kern="1200" cap="none" spc="0" normalizeH="0" baseline="0" noProof="0">
                <a:ln>
                  <a:noFill/>
                </a:ln>
                <a:solidFill>
                  <a:srgbClr val="3B3B3C"/>
                </a:solidFill>
                <a:effectLst/>
                <a:uLnTx/>
                <a:uFillTx/>
                <a:latin typeface="Arial"/>
                <a:ea typeface="+mn-ea"/>
                <a:cs typeface="+mn-cs"/>
              </a:rPr>
              <a:t>be funded by users of nuclear-generated electricity, with </a:t>
            </a:r>
            <a:r>
              <a:rPr kumimoji="0" lang="en-US" sz="2000" b="0" i="0" u="none" strike="noStrike" kern="1200" cap="none" spc="0" normalizeH="0" baseline="0" noProof="0">
                <a:ln>
                  <a:noFill/>
                </a:ln>
                <a:solidFill>
                  <a:srgbClr val="4148C2"/>
                </a:solidFill>
                <a:effectLst/>
                <a:uLnTx/>
                <a:uFillTx/>
                <a:latin typeface="Arial"/>
                <a:ea typeface="+mn-ea"/>
                <a:cs typeface="+mn-cs"/>
              </a:rPr>
              <a:t>funds collected in an escrow account and not subject to annual appropriations</a:t>
            </a:r>
          </a:p>
          <a:p>
            <a:pPr marL="457200" marR="0" lvl="0" indent="-457200" algn="l" defTabSz="457200" rtl="0" eaLnBrk="1" fontAlgn="auto" latinLnBrk="0" hangingPunct="1">
              <a:lnSpc>
                <a:spcPct val="100000"/>
              </a:lnSpc>
              <a:spcBef>
                <a:spcPts val="600"/>
              </a:spcBef>
              <a:spcAft>
                <a:spcPts val="600"/>
              </a:spcAft>
              <a:buClrTx/>
              <a:buSzTx/>
              <a:buFontTx/>
              <a:buAutoNum type="arabicParenBoth"/>
              <a:tabLst/>
              <a:defRPr/>
            </a:pPr>
            <a:r>
              <a:rPr kumimoji="0" lang="en-US" sz="2000" b="0" i="0" u="none" strike="noStrike" kern="1200" cap="none" spc="0" normalizeH="0" baseline="0" noProof="0">
                <a:ln>
                  <a:noFill/>
                </a:ln>
                <a:solidFill>
                  <a:srgbClr val="4148C2"/>
                </a:solidFill>
                <a:effectLst/>
                <a:uLnTx/>
                <a:uFillTx/>
                <a:latin typeface="Arial"/>
                <a:ea typeface="+mn-ea"/>
                <a:cs typeface="+mn-cs"/>
              </a:rPr>
              <a:t>initiate the process of site selection for a geologic repository </a:t>
            </a:r>
            <a:r>
              <a:rPr kumimoji="0" lang="en-US" sz="2000" b="0" i="0" u="none" strike="noStrike" kern="1200" cap="none" spc="0" normalizeH="0" baseline="0" noProof="0">
                <a:ln>
                  <a:noFill/>
                </a:ln>
                <a:solidFill>
                  <a:srgbClr val="3B3B3C"/>
                </a:solidFill>
                <a:effectLst/>
                <a:uLnTx/>
                <a:uFillTx/>
                <a:latin typeface="Arial"/>
                <a:ea typeface="+mn-ea"/>
                <a:cs typeface="+mn-cs"/>
              </a:rPr>
              <a:t>using appropriate technical criteria and acceptable public engagement methods (e.g., consent-based siting)</a:t>
            </a:r>
          </a:p>
          <a:p>
            <a:pPr marL="0" marR="0" lvl="0" indent="0" algn="l" defTabSz="457200" rtl="0" eaLnBrk="1" fontAlgn="auto" latinLnBrk="0" hangingPunct="1">
              <a:lnSpc>
                <a:spcPct val="100000"/>
              </a:lnSpc>
              <a:spcBef>
                <a:spcPts val="600"/>
              </a:spcBef>
              <a:spcAft>
                <a:spcPts val="600"/>
              </a:spcAft>
              <a:buClrTx/>
              <a:buSzTx/>
              <a:buFontTx/>
              <a:buNone/>
              <a:tabLst/>
              <a:defRPr/>
            </a:pPr>
            <a:r>
              <a:rPr kumimoji="0" lang="en-US" sz="2000" b="0" i="0" u="none" strike="noStrike" kern="1200" cap="none" spc="0" normalizeH="0" baseline="0" noProof="0">
                <a:ln>
                  <a:noFill/>
                </a:ln>
                <a:solidFill>
                  <a:srgbClr val="3B3B3C"/>
                </a:solidFill>
                <a:effectLst/>
                <a:uLnTx/>
                <a:uFillTx/>
                <a:latin typeface="Arial"/>
                <a:ea typeface="+mn-ea"/>
                <a:cs typeface="+mn-cs"/>
              </a:rPr>
              <a:t>Congress should </a:t>
            </a:r>
            <a:r>
              <a:rPr kumimoji="0" lang="en-US" sz="2000" b="0" i="0" u="none" strike="noStrike" kern="1200" cap="none" spc="0" normalizeH="0" baseline="0" noProof="0">
                <a:ln>
                  <a:noFill/>
                </a:ln>
                <a:solidFill>
                  <a:srgbClr val="4148C2"/>
                </a:solidFill>
                <a:effectLst/>
                <a:uLnTx/>
                <a:uFillTx/>
                <a:latin typeface="Arial"/>
                <a:ea typeface="+mn-ea"/>
                <a:cs typeface="+mn-cs"/>
              </a:rPr>
              <a:t>make a decision on what to do with Yucca Mountain</a:t>
            </a:r>
            <a:r>
              <a:rPr kumimoji="0" lang="en-US" sz="2000" b="0" i="0" u="none" strike="noStrike" kern="1200" cap="none" spc="0" normalizeH="0" baseline="0" noProof="0">
                <a:ln>
                  <a:noFill/>
                </a:ln>
                <a:solidFill>
                  <a:srgbClr val="3B3B3C"/>
                </a:solidFill>
                <a:effectLst/>
                <a:uLnTx/>
                <a:uFillTx/>
                <a:latin typeface="Arial"/>
                <a:ea typeface="+mn-ea"/>
                <a:cs typeface="+mn-cs"/>
              </a:rPr>
              <a:t>, which could include keeping it as a possible site for consideration, depending on the plans of the new entity.</a:t>
            </a:r>
          </a:p>
        </p:txBody>
      </p:sp>
      <p:sp>
        <p:nvSpPr>
          <p:cNvPr id="3" name="Slide Number Placeholder 2"/>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F687C33-47E0-407C-B61F-DB8DDD78F4C7}" type="slidenum">
              <a:rPr kumimoji="0" lang="en-US" sz="1267" b="0" i="0" u="none" strike="noStrike" kern="1200" cap="none" spc="0" normalizeH="0" baseline="0" noProof="0" smtClean="0">
                <a:ln>
                  <a:noFill/>
                </a:ln>
                <a:solidFill>
                  <a:srgbClr val="7F7F7F"/>
                </a:solidFill>
                <a:effectLst/>
                <a:uLnTx/>
                <a:uFillTx/>
                <a:latin typeface="Arial"/>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69</a:t>
            </a:fld>
            <a:endParaRPr kumimoji="0" lang="en-US" sz="1267" b="0" i="0" u="none" strike="noStrike" kern="1200" cap="none" spc="0" normalizeH="0" baseline="0" noProof="0">
              <a:ln>
                <a:noFill/>
              </a:ln>
              <a:solidFill>
                <a:srgbClr val="7F7F7F"/>
              </a:solidFill>
              <a:effectLst/>
              <a:uLnTx/>
              <a:uFillTx/>
              <a:latin typeface="Arial"/>
              <a:ea typeface="+mn-ea"/>
              <a:cs typeface="+mn-cs"/>
            </a:endParaRPr>
          </a:p>
        </p:txBody>
      </p:sp>
    </p:spTree>
    <p:extLst>
      <p:ext uri="{BB962C8B-B14F-4D97-AF65-F5344CB8AC3E}">
        <p14:creationId xmlns:p14="http://schemas.microsoft.com/office/powerpoint/2010/main" val="153186368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7284E12-C606-7337-C35D-86B720EA0A3A}"/>
              </a:ext>
            </a:extLst>
          </p:cNvPr>
          <p:cNvSpPr>
            <a:spLocks noGrp="1"/>
          </p:cNvSpPr>
          <p:nvPr>
            <p:ph type="title"/>
          </p:nvPr>
        </p:nvSpPr>
        <p:spPr/>
        <p:txBody>
          <a:bodyPr/>
          <a:lstStyle/>
          <a:p>
            <a:r>
              <a:rPr lang="en-US" sz="2400" b="1" spc="0">
                <a:ln w="6350" cap="flat">
                  <a:noFill/>
                  <a:miter lim="800000"/>
                </a:ln>
                <a:solidFill>
                  <a:schemeClr val="accent1"/>
                </a:solidFill>
              </a:rPr>
              <a:t>Liftoff reports are a cross-DOE effort to create a shared fact base for answering key investor and stakeholder questions</a:t>
            </a:r>
            <a:endParaRPr lang="en-US"/>
          </a:p>
        </p:txBody>
      </p:sp>
      <p:pic>
        <p:nvPicPr>
          <p:cNvPr id="6" name="Picture 5">
            <a:extLst>
              <a:ext uri="{FF2B5EF4-FFF2-40B4-BE49-F238E27FC236}">
                <a16:creationId xmlns:a16="http://schemas.microsoft.com/office/drawing/2014/main" id="{15CAAB47-AF93-DC50-E720-D8CD41E04520}"/>
              </a:ext>
            </a:extLst>
          </p:cNvPr>
          <p:cNvPicPr>
            <a:picLocks noChangeAspect="1"/>
          </p:cNvPicPr>
          <p:nvPr/>
        </p:nvPicPr>
        <p:blipFill rotWithShape="1">
          <a:blip r:embed="rId3"/>
          <a:srcRect l="63371" t="18577" r="6966" b="13258"/>
          <a:stretch/>
        </p:blipFill>
        <p:spPr>
          <a:xfrm>
            <a:off x="554736" y="1533982"/>
            <a:ext cx="3616504" cy="4674741"/>
          </a:xfrm>
          <a:prstGeom prst="rect">
            <a:avLst/>
          </a:prstGeom>
          <a:effectLst>
            <a:outerShdw blurRad="50800" dist="38100" dir="8100000" algn="tr" rotWithShape="0">
              <a:prstClr val="black">
                <a:alpha val="40000"/>
              </a:prstClr>
            </a:outerShdw>
          </a:effectLst>
        </p:spPr>
      </p:pic>
      <p:sp>
        <p:nvSpPr>
          <p:cNvPr id="8" name="TextBox 7">
            <a:extLst>
              <a:ext uri="{FF2B5EF4-FFF2-40B4-BE49-F238E27FC236}">
                <a16:creationId xmlns:a16="http://schemas.microsoft.com/office/drawing/2014/main" id="{CD0CF507-0455-AA99-BC67-87E5F7E30581}"/>
              </a:ext>
            </a:extLst>
          </p:cNvPr>
          <p:cNvSpPr txBox="1"/>
          <p:nvPr/>
        </p:nvSpPr>
        <p:spPr>
          <a:xfrm>
            <a:off x="4518060" y="1512783"/>
            <a:ext cx="7119204" cy="4695940"/>
          </a:xfrm>
          <a:prstGeom prst="rect">
            <a:avLst/>
          </a:prstGeom>
          <a:noFill/>
          <a:ln w="6350">
            <a:noFill/>
            <a:miter lim="800000"/>
          </a:ln>
        </p:spPr>
        <p:txBody>
          <a:bodyPr wrap="square"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000000"/>
                </a:solidFill>
                <a:effectLst/>
                <a:uLnTx/>
                <a:uFillTx/>
                <a:latin typeface="Arial"/>
                <a:ea typeface="+mn-ea"/>
                <a:cs typeface="+mn-cs"/>
              </a:rPr>
              <a:t>What is advanced nuclear and its value proposition? </a:t>
            </a:r>
            <a:r>
              <a:rPr kumimoji="0" lang="en-US" sz="1800" b="0" i="0" u="none" strike="noStrike" kern="1200" cap="none" spc="0" normalizeH="0" baseline="0" noProof="0">
                <a:ln>
                  <a:noFill/>
                </a:ln>
                <a:solidFill>
                  <a:srgbClr val="000000"/>
                </a:solidFill>
                <a:effectLst/>
                <a:uLnTx/>
                <a:uFillTx/>
                <a:latin typeface="Arial"/>
                <a:ea typeface="+mn-ea"/>
                <a:cs typeface="+mn-cs"/>
              </a:rPr>
              <a:t>Report covers Gen III+ and IV across large reactors, SMRs, and microreactors; nuclear provides competitive value as a clean firm resource for a resilient decarbonized grid</a:t>
            </a:r>
            <a:endParaRPr kumimoji="0" lang="en-US" sz="1800" b="1" i="0" u="none" strike="noStrike" kern="1200" cap="none" spc="0" normalizeH="0" baseline="0" noProof="0">
              <a:ln>
                <a:noFill/>
              </a:ln>
              <a:solidFill>
                <a:srgbClr val="000000"/>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000000"/>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000000"/>
                </a:solidFill>
                <a:effectLst/>
                <a:uLnTx/>
                <a:uFillTx/>
                <a:latin typeface="Arial"/>
                <a:ea typeface="+mn-ea"/>
                <a:cs typeface="+mn-cs"/>
              </a:rPr>
              <a:t>Do we need new nuclear for net zero when renewables are so cheap? </a:t>
            </a:r>
            <a:r>
              <a:rPr kumimoji="0" lang="en-US" sz="1800" i="0" u="none" strike="noStrike" kern="1200" cap="none" spc="0" normalizeH="0" baseline="0" noProof="0">
                <a:ln>
                  <a:noFill/>
                </a:ln>
                <a:solidFill>
                  <a:srgbClr val="000000"/>
                </a:solidFill>
                <a:effectLst/>
                <a:uLnTx/>
                <a:uFillTx/>
                <a:latin typeface="Arial"/>
                <a:ea typeface="+mn-ea"/>
                <a:cs typeface="+mn-cs"/>
              </a:rPr>
              <a:t>Yes, </a:t>
            </a:r>
            <a:r>
              <a:rPr lang="en-US">
                <a:solidFill>
                  <a:srgbClr val="000000"/>
                </a:solidFill>
                <a:latin typeface="Arial"/>
              </a:rPr>
              <a:t>likely</a:t>
            </a:r>
            <a:r>
              <a:rPr kumimoji="0" lang="en-US" sz="1800" b="0" i="0" u="none" strike="noStrike" kern="1200" cap="none" spc="0" normalizeH="0" baseline="0" noProof="0">
                <a:ln>
                  <a:noFill/>
                </a:ln>
                <a:solidFill>
                  <a:srgbClr val="000000"/>
                </a:solidFill>
                <a:effectLst/>
                <a:uLnTx/>
                <a:uFillTx/>
                <a:latin typeface="Arial"/>
                <a:ea typeface="+mn-ea"/>
                <a:cs typeface="+mn-cs"/>
              </a:rPr>
              <a:t> 200 GW of new nuclear in the US by 2050, especially given renewables buildou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000000"/>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000000"/>
                </a:solidFill>
                <a:effectLst/>
                <a:uLnTx/>
                <a:uFillTx/>
                <a:latin typeface="Arial"/>
                <a:ea typeface="+mn-ea"/>
                <a:cs typeface="+mn-cs"/>
              </a:rPr>
              <a:t>Why will it be different than recent over-budget builds? </a:t>
            </a:r>
            <a:r>
              <a:rPr kumimoji="0" lang="en-US" sz="1800" b="0" i="0" u="none" strike="noStrike" kern="1200" cap="none" spc="0" normalizeH="0" baseline="0" noProof="0">
                <a:ln>
                  <a:noFill/>
                </a:ln>
                <a:solidFill>
                  <a:srgbClr val="000000"/>
                </a:solidFill>
                <a:effectLst/>
                <a:uLnTx/>
                <a:uFillTx/>
                <a:latin typeface="Arial"/>
                <a:ea typeface="+mn-ea"/>
                <a:cs typeface="+mn-cs"/>
              </a:rPr>
              <a:t>SMRs may avoid historical cost and constructability challenges; Vogtle provides important lessons on rigorous pre-construction planning</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1" u="none" strike="noStrike" kern="1200" cap="none" spc="0" normalizeH="0" baseline="0" noProof="0">
                <a:ln>
                  <a:noFill/>
                </a:ln>
                <a:solidFill>
                  <a:srgbClr val="000000"/>
                </a:solidFill>
                <a:effectLst/>
                <a:uLnTx/>
                <a:uFillTx/>
                <a:latin typeface="Arial"/>
                <a:ea typeface="+mn-ea"/>
                <a:cs typeface="+mn-cs"/>
              </a:rPr>
              <a:t>Report was a collaboration between the Loan Programs Office, the Office of Clean Energy Demonstrations, the Office of Technology Transitions, and the Office of Nuclear Energy</a:t>
            </a:r>
          </a:p>
        </p:txBody>
      </p:sp>
    </p:spTree>
    <p:extLst>
      <p:ext uri="{BB962C8B-B14F-4D97-AF65-F5344CB8AC3E}">
        <p14:creationId xmlns:p14="http://schemas.microsoft.com/office/powerpoint/2010/main" val="310602735"/>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an advanced reactors “solve the waste problem”?</a:t>
            </a:r>
            <a:endParaRPr lang="en-US" sz="2400"/>
          </a:p>
        </p:txBody>
      </p:sp>
      <p:sp>
        <p:nvSpPr>
          <p:cNvPr id="9" name="TextBox 8"/>
          <p:cNvSpPr txBox="1"/>
          <p:nvPr/>
        </p:nvSpPr>
        <p:spPr>
          <a:xfrm>
            <a:off x="662941" y="2721754"/>
            <a:ext cx="9984039" cy="707886"/>
          </a:xfrm>
          <a:prstGeom prst="rect">
            <a:avLst/>
          </a:prstGeom>
          <a:noFill/>
          <a:ln>
            <a:noFill/>
          </a:ln>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000" b="1" i="1" u="none" strike="noStrike" kern="1200" cap="none" spc="0" normalizeH="0" baseline="0" noProof="0">
                <a:ln>
                  <a:noFill/>
                </a:ln>
                <a:solidFill>
                  <a:srgbClr val="3B3B3C"/>
                </a:solidFill>
                <a:effectLst/>
                <a:uLnTx/>
                <a:uFillTx/>
                <a:latin typeface="Arial"/>
                <a:ea typeface="+mn-ea"/>
                <a:cs typeface="+mn-cs"/>
              </a:rPr>
              <a:t>From Finding 14. </a:t>
            </a:r>
            <a:r>
              <a:rPr kumimoji="0" lang="en-US" sz="2000" b="0" i="0" u="none" strike="noStrike" kern="1200" cap="none" spc="0" normalizeH="0" baseline="0" noProof="0">
                <a:ln>
                  <a:noFill/>
                </a:ln>
                <a:solidFill>
                  <a:srgbClr val="3B3B3C"/>
                </a:solidFill>
                <a:effectLst/>
                <a:uLnTx/>
                <a:uFillTx/>
                <a:latin typeface="Arial"/>
                <a:ea typeface="+mn-ea"/>
                <a:cs typeface="+mn-cs"/>
              </a:rPr>
              <a:t>Reducing the ~86,000 </a:t>
            </a:r>
            <a:r>
              <a:rPr kumimoji="0" lang="en-US" sz="2000" b="0" i="0" u="none" strike="noStrike" kern="1200" cap="none" spc="0" normalizeH="0" baseline="0" noProof="0" err="1">
                <a:ln>
                  <a:noFill/>
                </a:ln>
                <a:solidFill>
                  <a:srgbClr val="3B3B3C"/>
                </a:solidFill>
                <a:effectLst/>
                <a:uLnTx/>
                <a:uFillTx/>
                <a:latin typeface="Arial"/>
                <a:ea typeface="+mn-ea"/>
                <a:cs typeface="+mn-cs"/>
              </a:rPr>
              <a:t>tonnes</a:t>
            </a:r>
            <a:r>
              <a:rPr kumimoji="0" lang="en-US" sz="2000" b="0" i="0" u="none" strike="noStrike" kern="1200" cap="none" spc="0" normalizeH="0" baseline="0" noProof="0">
                <a:ln>
                  <a:noFill/>
                </a:ln>
                <a:solidFill>
                  <a:srgbClr val="3B3B3C"/>
                </a:solidFill>
                <a:effectLst/>
                <a:uLnTx/>
                <a:uFillTx/>
                <a:latin typeface="Arial"/>
                <a:ea typeface="+mn-ea"/>
                <a:cs typeface="+mn-cs"/>
              </a:rPr>
              <a:t> of legacy SNF using advanced reactors is </a:t>
            </a:r>
            <a:r>
              <a:rPr kumimoji="0" lang="en-US" sz="2000" b="0" i="0" u="none" strike="noStrike" kern="1200" cap="none" spc="0" normalizeH="0" baseline="0" noProof="0">
                <a:ln>
                  <a:noFill/>
                </a:ln>
                <a:solidFill>
                  <a:srgbClr val="4148C2"/>
                </a:solidFill>
                <a:effectLst/>
                <a:uLnTx/>
                <a:uFillTx/>
                <a:latin typeface="Arial"/>
                <a:ea typeface="+mn-ea"/>
                <a:cs typeface="+mn-cs"/>
              </a:rPr>
              <a:t>not practicable to achieve </a:t>
            </a:r>
            <a:r>
              <a:rPr kumimoji="0" lang="en-US" sz="2000" b="0" i="0" u="none" strike="noStrike" kern="1200" cap="none" spc="0" normalizeH="0" baseline="0" noProof="0">
                <a:ln>
                  <a:noFill/>
                </a:ln>
                <a:solidFill>
                  <a:srgbClr val="3B3B3C"/>
                </a:solidFill>
                <a:effectLst/>
                <a:uLnTx/>
                <a:uFillTx/>
                <a:latin typeface="Arial"/>
                <a:ea typeface="+mn-ea"/>
                <a:cs typeface="+mn-cs"/>
              </a:rPr>
              <a:t>in the near future.</a:t>
            </a:r>
          </a:p>
        </p:txBody>
      </p:sp>
      <p:sp>
        <p:nvSpPr>
          <p:cNvPr id="12" name="TextBox 11"/>
          <p:cNvSpPr txBox="1"/>
          <p:nvPr/>
        </p:nvSpPr>
        <p:spPr>
          <a:xfrm>
            <a:off x="662940" y="3840174"/>
            <a:ext cx="9984039" cy="1015663"/>
          </a:xfrm>
          <a:prstGeom prst="rect">
            <a:avLst/>
          </a:prstGeom>
          <a:noFill/>
          <a:ln>
            <a:noFill/>
          </a:ln>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000" b="1" i="1" u="none" strike="noStrike" kern="1200" cap="none" spc="0" normalizeH="0" baseline="0" noProof="0">
                <a:ln>
                  <a:noFill/>
                </a:ln>
                <a:solidFill>
                  <a:srgbClr val="3B3B3C"/>
                </a:solidFill>
                <a:effectLst/>
                <a:uLnTx/>
                <a:uFillTx/>
                <a:latin typeface="Arial"/>
                <a:ea typeface="+mn-ea"/>
                <a:cs typeface="+mn-cs"/>
              </a:rPr>
              <a:t>From Recommendation J. </a:t>
            </a:r>
            <a:r>
              <a:rPr kumimoji="0" lang="en-US" sz="2000" b="0" i="0" u="none" strike="noStrike" kern="1200" cap="none" spc="0" normalizeH="0" baseline="0" noProof="0">
                <a:ln>
                  <a:noFill/>
                </a:ln>
                <a:solidFill>
                  <a:srgbClr val="3B3B3C"/>
                </a:solidFill>
                <a:effectLst/>
                <a:uLnTx/>
                <a:uFillTx/>
                <a:latin typeface="Arial"/>
                <a:ea typeface="+mn-ea"/>
                <a:cs typeface="+mn-cs"/>
              </a:rPr>
              <a:t>The immediate-future focus of the U.S. nuclear waste management and disposal program should be to </a:t>
            </a:r>
            <a:r>
              <a:rPr kumimoji="0" lang="en-US" sz="2000" b="0" i="0" u="none" strike="noStrike" kern="1200" cap="none" spc="0" normalizeH="0" baseline="0" noProof="0">
                <a:ln>
                  <a:noFill/>
                </a:ln>
                <a:solidFill>
                  <a:srgbClr val="4148C2"/>
                </a:solidFill>
                <a:effectLst/>
                <a:uLnTx/>
                <a:uFillTx/>
                <a:latin typeface="Arial"/>
                <a:ea typeface="+mn-ea"/>
                <a:cs typeface="+mn-cs"/>
              </a:rPr>
              <a:t>plan for geologic disposal of existing spent nuclear fuel.</a:t>
            </a:r>
          </a:p>
        </p:txBody>
      </p:sp>
      <p:sp>
        <p:nvSpPr>
          <p:cNvPr id="3" name="Rectangle 2"/>
          <p:cNvSpPr/>
          <p:nvPr/>
        </p:nvSpPr>
        <p:spPr>
          <a:xfrm>
            <a:off x="662941" y="1295557"/>
            <a:ext cx="9984039" cy="1015663"/>
          </a:xfrm>
          <a:prstGeom prst="rect">
            <a:avLst/>
          </a:prstGeom>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000" b="1" i="1" u="none" strike="noStrike" kern="1200" cap="none" spc="0" normalizeH="0" baseline="0" noProof="0">
                <a:ln>
                  <a:noFill/>
                </a:ln>
                <a:solidFill>
                  <a:srgbClr val="3B3B3C"/>
                </a:solidFill>
                <a:effectLst/>
                <a:uLnTx/>
                <a:uFillTx/>
                <a:latin typeface="Arial"/>
                <a:ea typeface="+mn-ea"/>
                <a:cs typeface="+mn-cs"/>
              </a:rPr>
              <a:t>From Finding 12. </a:t>
            </a:r>
            <a:r>
              <a:rPr kumimoji="0" lang="en-US" sz="2000" b="0" i="0" u="none" strike="noStrike" kern="1200" cap="none" spc="0" normalizeH="0" baseline="0" noProof="0">
                <a:ln>
                  <a:noFill/>
                </a:ln>
                <a:solidFill>
                  <a:srgbClr val="3B3B3C"/>
                </a:solidFill>
                <a:effectLst/>
                <a:uLnTx/>
                <a:uFillTx/>
                <a:latin typeface="Arial"/>
                <a:ea typeface="+mn-ea"/>
                <a:cs typeface="+mn-cs"/>
              </a:rPr>
              <a:t>The advanced reactor developers focus on the reactors themselves, with </a:t>
            </a:r>
            <a:r>
              <a:rPr kumimoji="0" lang="en-US" sz="2000" b="0" i="0" u="none" strike="noStrike" kern="1200" cap="none" spc="0" normalizeH="0" baseline="0" noProof="0">
                <a:ln>
                  <a:noFill/>
                </a:ln>
                <a:solidFill>
                  <a:srgbClr val="4148C2"/>
                </a:solidFill>
                <a:effectLst/>
                <a:uLnTx/>
                <a:uFillTx/>
                <a:latin typeface="Arial"/>
                <a:ea typeface="+mn-ea"/>
                <a:cs typeface="+mn-cs"/>
              </a:rPr>
              <a:t>little or no attention to nuclear waste management or disposal </a:t>
            </a:r>
            <a:r>
              <a:rPr kumimoji="0" lang="en-US" sz="2000" b="0" i="0" u="none" strike="noStrike" kern="1200" cap="none" spc="0" normalizeH="0" baseline="0" noProof="0">
                <a:ln>
                  <a:noFill/>
                </a:ln>
                <a:solidFill>
                  <a:srgbClr val="3B3B3C"/>
                </a:solidFill>
                <a:effectLst/>
                <a:uLnTx/>
                <a:uFillTx/>
                <a:latin typeface="Arial"/>
                <a:ea typeface="+mn-ea"/>
                <a:cs typeface="+mn-cs"/>
              </a:rPr>
              <a:t>because there is </a:t>
            </a:r>
            <a:br>
              <a:rPr kumimoji="0" lang="en-US" sz="2000" b="0" i="0" u="none" strike="noStrike" kern="1200" cap="none" spc="0" normalizeH="0" baseline="0" noProof="0">
                <a:ln>
                  <a:noFill/>
                </a:ln>
                <a:solidFill>
                  <a:srgbClr val="3B3B3C"/>
                </a:solidFill>
                <a:effectLst/>
                <a:uLnTx/>
                <a:uFillTx/>
                <a:latin typeface="Arial"/>
                <a:ea typeface="+mn-ea"/>
                <a:cs typeface="+mn-cs"/>
              </a:rPr>
            </a:br>
            <a:r>
              <a:rPr kumimoji="0" lang="en-US" sz="2000" b="0" i="0" u="none" strike="noStrike" kern="1200" cap="none" spc="0" normalizeH="0" baseline="0" noProof="0">
                <a:ln>
                  <a:noFill/>
                </a:ln>
                <a:solidFill>
                  <a:srgbClr val="4148C2"/>
                </a:solidFill>
                <a:effectLst/>
                <a:uLnTx/>
                <a:uFillTx/>
                <a:latin typeface="Arial"/>
                <a:ea typeface="+mn-ea"/>
                <a:cs typeface="+mn-cs"/>
              </a:rPr>
              <a:t>no incentive for them to do so</a:t>
            </a:r>
            <a:r>
              <a:rPr kumimoji="0" lang="en-US" sz="2000" b="0" i="0" u="none" strike="noStrike" kern="1200" cap="none" spc="0" normalizeH="0" baseline="0" noProof="0">
                <a:ln>
                  <a:noFill/>
                </a:ln>
                <a:solidFill>
                  <a:srgbClr val="3B3B3C"/>
                </a:solidFill>
                <a:effectLst/>
                <a:uLnTx/>
                <a:uFillTx/>
                <a:latin typeface="Arial"/>
                <a:ea typeface="+mn-ea"/>
                <a:cs typeface="+mn-cs"/>
              </a:rPr>
              <a:t>. </a:t>
            </a:r>
          </a:p>
        </p:txBody>
      </p:sp>
      <p:sp>
        <p:nvSpPr>
          <p:cNvPr id="4" name="Slide Number Placeholder 3"/>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F687C33-47E0-407C-B61F-DB8DDD78F4C7}" type="slidenum">
              <a:rPr kumimoji="0" lang="en-US" sz="1267" b="0" i="0" u="none" strike="noStrike" kern="1200" cap="none" spc="0" normalizeH="0" baseline="0" noProof="0" smtClean="0">
                <a:ln>
                  <a:noFill/>
                </a:ln>
                <a:solidFill>
                  <a:srgbClr val="7F7F7F"/>
                </a:solidFill>
                <a:effectLst/>
                <a:uLnTx/>
                <a:uFillTx/>
                <a:latin typeface="Arial"/>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70</a:t>
            </a:fld>
            <a:endParaRPr kumimoji="0" lang="en-US" sz="1267" b="0" i="0" u="none" strike="noStrike" kern="1200" cap="none" spc="0" normalizeH="0" baseline="0" noProof="0">
              <a:ln>
                <a:noFill/>
              </a:ln>
              <a:solidFill>
                <a:srgbClr val="7F7F7F"/>
              </a:solidFill>
              <a:effectLst/>
              <a:uLnTx/>
              <a:uFillTx/>
              <a:latin typeface="Arial"/>
              <a:ea typeface="+mn-ea"/>
              <a:cs typeface="+mn-cs"/>
            </a:endParaRPr>
          </a:p>
        </p:txBody>
      </p:sp>
    </p:spTree>
    <p:extLst>
      <p:ext uri="{BB962C8B-B14F-4D97-AF65-F5344CB8AC3E}">
        <p14:creationId xmlns:p14="http://schemas.microsoft.com/office/powerpoint/2010/main" val="1471754210"/>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62940" y="436880"/>
            <a:ext cx="10467515" cy="865145"/>
          </a:xfrm>
        </p:spPr>
        <p:txBody>
          <a:bodyPr/>
          <a:lstStyle/>
          <a:p>
            <a:r>
              <a:rPr lang="en-US"/>
              <a:t>Fuel cycle development for advanced reactors</a:t>
            </a:r>
            <a:br>
              <a:rPr lang="en-US"/>
            </a:br>
            <a:r>
              <a:rPr lang="en-US" sz="2400" b="1"/>
              <a:t>Back-end fuel cycle considerations</a:t>
            </a:r>
            <a:endParaRPr lang="en-US" sz="2400"/>
          </a:p>
        </p:txBody>
      </p:sp>
      <p:sp>
        <p:nvSpPr>
          <p:cNvPr id="7" name="TextBox 6"/>
          <p:cNvSpPr txBox="1"/>
          <p:nvPr/>
        </p:nvSpPr>
        <p:spPr>
          <a:xfrm>
            <a:off x="583005" y="1567711"/>
            <a:ext cx="10080044" cy="1015663"/>
          </a:xfrm>
          <a:prstGeom prst="rect">
            <a:avLst/>
          </a:prstGeom>
          <a:noFill/>
          <a:ln>
            <a:noFill/>
          </a:ln>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000" b="1" i="1" u="none" strike="noStrike" kern="1200" cap="none" spc="0" normalizeH="0" baseline="0" noProof="0">
                <a:ln>
                  <a:noFill/>
                </a:ln>
                <a:solidFill>
                  <a:srgbClr val="3B3B3C"/>
                </a:solidFill>
                <a:effectLst/>
                <a:uLnTx/>
                <a:uFillTx/>
                <a:latin typeface="Arial"/>
                <a:ea typeface="+mn-ea"/>
                <a:cs typeface="+mn-cs"/>
              </a:rPr>
              <a:t>From Finding 9. </a:t>
            </a:r>
            <a:r>
              <a:rPr kumimoji="0" lang="en-US" sz="2000" b="0" i="0" u="none" strike="noStrike" kern="1200" cap="none" spc="0" normalizeH="0" baseline="0" noProof="0">
                <a:ln>
                  <a:noFill/>
                </a:ln>
                <a:solidFill>
                  <a:srgbClr val="3B3B3C"/>
                </a:solidFill>
                <a:effectLst/>
                <a:uLnTx/>
                <a:uFillTx/>
                <a:latin typeface="Arial"/>
                <a:ea typeface="+mn-ea"/>
                <a:cs typeface="+mn-cs"/>
              </a:rPr>
              <a:t>Reprocessing and recycling of spent nuclear fuel introduce </a:t>
            </a:r>
            <a:r>
              <a:rPr kumimoji="0" lang="en-US" sz="2000" b="0" i="0" u="none" strike="noStrike" kern="1200" cap="none" spc="0" normalizeH="0" baseline="0" noProof="0">
                <a:ln>
                  <a:noFill/>
                </a:ln>
                <a:solidFill>
                  <a:srgbClr val="4148C2"/>
                </a:solidFill>
                <a:effectLst/>
                <a:uLnTx/>
                <a:uFillTx/>
                <a:latin typeface="Arial"/>
                <a:ea typeface="+mn-ea"/>
                <a:cs typeface="+mn-cs"/>
              </a:rPr>
              <a:t>additional safety and environmental considerations</a:t>
            </a:r>
            <a:r>
              <a:rPr kumimoji="0" lang="en-US" sz="2000" b="0" i="0" u="none" strike="noStrike" kern="1200" cap="none" spc="0" normalizeH="0" baseline="0" noProof="0">
                <a:ln>
                  <a:noFill/>
                </a:ln>
                <a:solidFill>
                  <a:srgbClr val="3B3B3C"/>
                </a:solidFill>
                <a:effectLst/>
                <a:uLnTx/>
                <a:uFillTx/>
                <a:latin typeface="Arial"/>
                <a:ea typeface="+mn-ea"/>
                <a:cs typeface="+mn-cs"/>
              </a:rPr>
              <a:t> over the management of open cycle LWR oxide fuels.</a:t>
            </a:r>
          </a:p>
        </p:txBody>
      </p:sp>
      <p:sp>
        <p:nvSpPr>
          <p:cNvPr id="5" name="Rectangle 4"/>
          <p:cNvSpPr/>
          <p:nvPr/>
        </p:nvSpPr>
        <p:spPr>
          <a:xfrm>
            <a:off x="662940" y="2728808"/>
            <a:ext cx="9986060" cy="1554272"/>
          </a:xfrm>
          <a:prstGeom prst="rect">
            <a:avLst/>
          </a:prstGeom>
          <a:solidFill>
            <a:schemeClr val="accent2">
              <a:lumMod val="20000"/>
              <a:lumOff val="80000"/>
            </a:schemeClr>
          </a:solidFill>
          <a:ln w="19050">
            <a:solidFill>
              <a:schemeClr val="accent2"/>
            </a:solidFill>
          </a:ln>
        </p:spPr>
        <p:txBody>
          <a:bodyPr wrap="square">
            <a:spAutoFit/>
          </a:bodyPr>
          <a:lstStyle/>
          <a:p>
            <a:pPr marL="285750" marR="0" lvl="0" indent="-285750" algn="l" defTabSz="457200" rtl="0" eaLnBrk="1" fontAlgn="auto" latinLnBrk="0" hangingPunct="1">
              <a:lnSpc>
                <a:spcPct val="100000"/>
              </a:lnSpc>
              <a:spcBef>
                <a:spcPts val="0"/>
              </a:spcBef>
              <a:spcAft>
                <a:spcPts val="180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3B3B3C"/>
                </a:solidFill>
                <a:effectLst/>
                <a:uLnTx/>
                <a:uFillTx/>
                <a:latin typeface="Arial"/>
                <a:ea typeface="+mn-ea"/>
                <a:cs typeface="+mn-cs"/>
              </a:rPr>
              <a:t>Options for advanced reprocessing and recycling are at various stages of development and will be challenging to implement on an industrial scale.</a:t>
            </a:r>
          </a:p>
          <a:p>
            <a:pPr marL="285750" marR="0" lvl="0" indent="-285750" algn="l" defTabSz="457200" rtl="0" eaLnBrk="1" fontAlgn="auto" latinLnBrk="0" hangingPunct="1">
              <a:lnSpc>
                <a:spcPct val="100000"/>
              </a:lnSpc>
              <a:spcBef>
                <a:spcPts val="0"/>
              </a:spcBef>
              <a:spcAft>
                <a:spcPts val="180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3B3B3C"/>
                </a:solidFill>
                <a:effectLst/>
                <a:uLnTx/>
                <a:uFillTx/>
                <a:latin typeface="Arial"/>
                <a:ea typeface="+mn-ea"/>
                <a:cs typeface="+mn-cs"/>
              </a:rPr>
              <a:t>Even a fully closed fuel cycle with recycle and transmutation operated over decades will still require a geologic repository for disposal of fission products. </a:t>
            </a:r>
          </a:p>
        </p:txBody>
      </p:sp>
      <p:sp>
        <p:nvSpPr>
          <p:cNvPr id="3" name="Slide Number Placeholder 2"/>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F687C33-47E0-407C-B61F-DB8DDD78F4C7}" type="slidenum">
              <a:rPr kumimoji="0" lang="en-US" sz="1267" b="0" i="0" u="none" strike="noStrike" kern="1200" cap="none" spc="0" normalizeH="0" baseline="0" noProof="0" smtClean="0">
                <a:ln>
                  <a:noFill/>
                </a:ln>
                <a:solidFill>
                  <a:srgbClr val="7F7F7F"/>
                </a:solidFill>
                <a:effectLst/>
                <a:uLnTx/>
                <a:uFillTx/>
                <a:latin typeface="Arial"/>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71</a:t>
            </a:fld>
            <a:endParaRPr kumimoji="0" lang="en-US" sz="1267" b="0" i="0" u="none" strike="noStrike" kern="1200" cap="none" spc="0" normalizeH="0" baseline="0" noProof="0">
              <a:ln>
                <a:noFill/>
              </a:ln>
              <a:solidFill>
                <a:srgbClr val="7F7F7F"/>
              </a:solidFill>
              <a:effectLst/>
              <a:uLnTx/>
              <a:uFillTx/>
              <a:latin typeface="Arial"/>
              <a:ea typeface="+mn-ea"/>
              <a:cs typeface="+mn-cs"/>
            </a:endParaRPr>
          </a:p>
        </p:txBody>
      </p:sp>
    </p:spTree>
    <p:extLst>
      <p:ext uri="{BB962C8B-B14F-4D97-AF65-F5344CB8AC3E}">
        <p14:creationId xmlns:p14="http://schemas.microsoft.com/office/powerpoint/2010/main" val="197329235"/>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What types of waste do advanced reactors generate?</a:t>
            </a:r>
          </a:p>
        </p:txBody>
      </p:sp>
      <p:sp>
        <p:nvSpPr>
          <p:cNvPr id="3" name="Content Placeholder 2"/>
          <p:cNvSpPr>
            <a:spLocks noGrp="1"/>
          </p:cNvSpPr>
          <p:nvPr>
            <p:ph idx="1"/>
          </p:nvPr>
        </p:nvSpPr>
        <p:spPr>
          <a:xfrm>
            <a:off x="662940" y="1295557"/>
            <a:ext cx="10134370" cy="4968608"/>
          </a:xfrm>
        </p:spPr>
        <p:txBody>
          <a:bodyPr/>
          <a:lstStyle/>
          <a:p>
            <a:pPr marL="0" indent="0">
              <a:buNone/>
            </a:pPr>
            <a:r>
              <a:rPr lang="en-US" sz="1700" b="1" i="1"/>
              <a:t>From Finding 13:</a:t>
            </a:r>
            <a:r>
              <a:rPr lang="en-US" sz="1700" b="1"/>
              <a:t> </a:t>
            </a:r>
            <a:r>
              <a:rPr lang="en-US" sz="1700"/>
              <a:t>Proposed advanced reactor technologies will initially use a once-through fuel cycle, but with fuels of </a:t>
            </a:r>
            <a:r>
              <a:rPr lang="en-US" sz="1700">
                <a:solidFill>
                  <a:schemeClr val="accent2"/>
                </a:solidFill>
              </a:rPr>
              <a:t>higher uranium enrichment and/or burnup</a:t>
            </a:r>
            <a:r>
              <a:rPr lang="en-US" sz="1700"/>
              <a:t>, and </a:t>
            </a:r>
            <a:r>
              <a:rPr lang="en-US" sz="1700">
                <a:solidFill>
                  <a:schemeClr val="accent2"/>
                </a:solidFill>
              </a:rPr>
              <a:t>new types of fuel materials and designs</a:t>
            </a:r>
            <a:r>
              <a:rPr lang="en-US" sz="1700"/>
              <a:t>. Compared to uranium oxide spent fuel, these new fuel types may result in changes of: </a:t>
            </a:r>
          </a:p>
          <a:p>
            <a:pPr marL="400050" indent="-400050">
              <a:spcBef>
                <a:spcPts val="200"/>
              </a:spcBef>
              <a:buFont typeface="+mj-lt"/>
              <a:buAutoNum type="arabicParenR"/>
            </a:pPr>
            <a:r>
              <a:rPr lang="en-US" sz="1700"/>
              <a:t>the amounts (either in mass or volume), chemical compositions, and radionuclide inventories, </a:t>
            </a:r>
          </a:p>
          <a:p>
            <a:pPr marL="400050" indent="-400050">
              <a:spcBef>
                <a:spcPts val="200"/>
              </a:spcBef>
              <a:buFont typeface="+mj-lt"/>
              <a:buAutoNum type="arabicParenR"/>
            </a:pPr>
            <a:r>
              <a:rPr lang="en-US" sz="1700"/>
              <a:t>the thermal power of fuel assemblies, and </a:t>
            </a:r>
          </a:p>
          <a:p>
            <a:pPr marL="400050" indent="-400050">
              <a:spcBef>
                <a:spcPts val="200"/>
              </a:spcBef>
              <a:buFont typeface="+mj-lt"/>
              <a:buAutoNum type="arabicParenR"/>
            </a:pPr>
            <a:r>
              <a:rPr lang="en-US" sz="1700"/>
              <a:t>the durability of the spent fuel in a disposal environment.</a:t>
            </a:r>
          </a:p>
          <a:p>
            <a:pPr marL="0" indent="0">
              <a:spcBef>
                <a:spcPts val="200"/>
              </a:spcBef>
              <a:buNone/>
            </a:pPr>
            <a:endParaRPr lang="en-US" sz="1700" b="1"/>
          </a:p>
          <a:p>
            <a:pPr marL="0" indent="0">
              <a:buNone/>
            </a:pPr>
            <a:r>
              <a:rPr lang="en-US" sz="1700" b="1" i="1"/>
              <a:t>From Finding 15: </a:t>
            </a:r>
            <a:r>
              <a:rPr lang="en-US" sz="1700"/>
              <a:t>Most of the advanced reactor types proposed would generate </a:t>
            </a:r>
            <a:r>
              <a:rPr lang="en-US" sz="1700">
                <a:solidFill>
                  <a:schemeClr val="accent2"/>
                </a:solidFill>
              </a:rPr>
              <a:t>waste streams for which there is little experience or mature technical ability to manage</a:t>
            </a:r>
            <a:r>
              <a:rPr lang="en-US" sz="1700"/>
              <a:t>. All additional waste treatment options would entail additional costs not encountered in the management and disposal of spent light water reactor (LWR) fuel. Examples include:</a:t>
            </a:r>
          </a:p>
          <a:p>
            <a:pPr>
              <a:spcBef>
                <a:spcPts val="200"/>
              </a:spcBef>
            </a:pPr>
            <a:r>
              <a:rPr lang="en-US" sz="1700"/>
              <a:t>Large volumes of spent TRISO fuel from high-temperature gas reactors</a:t>
            </a:r>
          </a:p>
          <a:p>
            <a:pPr>
              <a:spcBef>
                <a:spcPts val="200"/>
              </a:spcBef>
            </a:pPr>
            <a:r>
              <a:rPr lang="en-US" sz="1700"/>
              <a:t>Radioactive dust from pebble bed reactors </a:t>
            </a:r>
          </a:p>
          <a:p>
            <a:pPr>
              <a:spcBef>
                <a:spcPts val="200"/>
              </a:spcBef>
            </a:pPr>
            <a:r>
              <a:rPr lang="en-US" sz="1700"/>
              <a:t>Irradiated sodium waste and sodium-bonded spent fuel from sodium-cooled fast reactors</a:t>
            </a:r>
          </a:p>
          <a:p>
            <a:pPr>
              <a:spcBef>
                <a:spcPts val="200"/>
              </a:spcBef>
            </a:pPr>
            <a:r>
              <a:rPr lang="en-US" sz="1700"/>
              <a:t>Radioactive off-gases and spent fuel salt waste from molten salt reactors </a:t>
            </a:r>
          </a:p>
          <a:p>
            <a:pPr>
              <a:spcBef>
                <a:spcPts val="200"/>
              </a:spcBef>
            </a:pPr>
            <a:r>
              <a:rPr lang="en-US" sz="1700"/>
              <a:t>Large quantities of irradiated graphite waste from moderators or reflectors in several reactor designs </a:t>
            </a:r>
          </a:p>
        </p:txBody>
      </p:sp>
      <p:sp>
        <p:nvSpPr>
          <p:cNvPr id="4" name="Slide Number Placeholder 3"/>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F687C33-47E0-407C-B61F-DB8DDD78F4C7}" type="slidenum">
              <a:rPr kumimoji="0" lang="en-US" sz="1267" b="0" i="0" u="none" strike="noStrike" kern="1200" cap="none" spc="0" normalizeH="0" baseline="0" noProof="0" smtClean="0">
                <a:ln>
                  <a:noFill/>
                </a:ln>
                <a:solidFill>
                  <a:srgbClr val="7F7F7F"/>
                </a:solidFill>
                <a:effectLst/>
                <a:uLnTx/>
                <a:uFillTx/>
                <a:latin typeface="Arial"/>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72</a:t>
            </a:fld>
            <a:endParaRPr kumimoji="0" lang="en-US" sz="1267" b="0" i="0" u="none" strike="noStrike" kern="1200" cap="none" spc="0" normalizeH="0" baseline="0" noProof="0">
              <a:ln>
                <a:noFill/>
              </a:ln>
              <a:solidFill>
                <a:srgbClr val="7F7F7F"/>
              </a:solidFill>
              <a:effectLst/>
              <a:uLnTx/>
              <a:uFillTx/>
              <a:latin typeface="Arial"/>
              <a:ea typeface="+mn-ea"/>
              <a:cs typeface="+mn-cs"/>
            </a:endParaRPr>
          </a:p>
        </p:txBody>
      </p:sp>
    </p:spTree>
    <p:extLst>
      <p:ext uri="{BB962C8B-B14F-4D97-AF65-F5344CB8AC3E}">
        <p14:creationId xmlns:p14="http://schemas.microsoft.com/office/powerpoint/2010/main" val="1692904166"/>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Disposing Wastes from Advanced Reactors</a:t>
            </a:r>
            <a:endParaRPr lang="en-US" sz="2400"/>
          </a:p>
        </p:txBody>
      </p:sp>
      <p:sp>
        <p:nvSpPr>
          <p:cNvPr id="9" name="TextBox 8"/>
          <p:cNvSpPr txBox="1"/>
          <p:nvPr/>
        </p:nvSpPr>
        <p:spPr>
          <a:xfrm>
            <a:off x="662940" y="1295557"/>
            <a:ext cx="9710972" cy="2246769"/>
          </a:xfrm>
          <a:prstGeom prst="rect">
            <a:avLst/>
          </a:prstGeom>
          <a:noFill/>
          <a:ln>
            <a:noFill/>
          </a:ln>
        </p:spPr>
        <p:txBody>
          <a:bodyPr wrap="square" rtlCol="0">
            <a:spAutoFit/>
          </a:bodyPr>
          <a:lstStyle/>
          <a:p>
            <a:pPr marL="0" marR="0" lvl="0" indent="0" algn="l" defTabSz="457200" rtl="0" eaLnBrk="1" fontAlgn="auto" latinLnBrk="0" hangingPunct="1">
              <a:lnSpc>
                <a:spcPct val="100000"/>
              </a:lnSpc>
              <a:spcBef>
                <a:spcPts val="0"/>
              </a:spcBef>
              <a:spcAft>
                <a:spcPts val="1200"/>
              </a:spcAft>
              <a:buClrTx/>
              <a:buSzTx/>
              <a:buFontTx/>
              <a:buNone/>
              <a:tabLst/>
              <a:defRPr/>
            </a:pPr>
            <a:r>
              <a:rPr kumimoji="0" lang="en-US" sz="2000" b="1" i="1" u="none" strike="noStrike" kern="1200" cap="none" spc="0" normalizeH="0" baseline="0" noProof="0">
                <a:ln>
                  <a:noFill/>
                </a:ln>
                <a:solidFill>
                  <a:srgbClr val="3B3B3C"/>
                </a:solidFill>
                <a:effectLst/>
                <a:uLnTx/>
                <a:uFillTx/>
                <a:latin typeface="Arial"/>
                <a:ea typeface="+mn-ea"/>
                <a:cs typeface="+mn-cs"/>
              </a:rPr>
              <a:t>From Recommendation I. </a:t>
            </a:r>
          </a:p>
          <a:p>
            <a:pPr marL="342900" marR="0" lvl="0" indent="-342900" algn="l" defTabSz="4572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3B3B3C"/>
                </a:solidFill>
                <a:effectLst/>
                <a:uLnTx/>
                <a:uFillTx/>
                <a:latin typeface="Arial"/>
                <a:ea typeface="+mn-ea"/>
                <a:cs typeface="+mn-cs"/>
              </a:rPr>
              <a:t>DOE, NRC, and EPA should develop regulations and </a:t>
            </a:r>
            <a:r>
              <a:rPr kumimoji="0" lang="en-US" sz="2000" b="0" i="0" u="none" strike="noStrike" kern="1200" cap="none" spc="0" normalizeH="0" baseline="0" noProof="0">
                <a:ln>
                  <a:noFill/>
                </a:ln>
                <a:solidFill>
                  <a:srgbClr val="4148C2"/>
                </a:solidFill>
                <a:effectLst/>
                <a:uLnTx/>
                <a:uFillTx/>
                <a:latin typeface="Arial"/>
                <a:ea typeface="+mn-ea"/>
                <a:cs typeface="+mn-cs"/>
              </a:rPr>
              <a:t>standards for a generic repository</a:t>
            </a:r>
            <a:r>
              <a:rPr kumimoji="0" lang="en-US" sz="2000" b="1" i="1" u="none" strike="noStrike" kern="1200" cap="none" spc="0" normalizeH="0" baseline="0" noProof="0">
                <a:ln>
                  <a:noFill/>
                </a:ln>
                <a:solidFill>
                  <a:srgbClr val="3B3B3C"/>
                </a:solidFill>
                <a:effectLst/>
                <a:uLnTx/>
                <a:uFillTx/>
                <a:latin typeface="Arial"/>
                <a:ea typeface="+mn-ea"/>
                <a:cs typeface="+mn-cs"/>
              </a:rPr>
              <a:t> </a:t>
            </a:r>
            <a:r>
              <a:rPr kumimoji="0" lang="en-US" sz="2000" b="0" i="0" u="none" strike="noStrike" kern="1200" cap="none" spc="0" normalizeH="0" baseline="0" noProof="0">
                <a:ln>
                  <a:noFill/>
                </a:ln>
                <a:solidFill>
                  <a:srgbClr val="3B3B3C"/>
                </a:solidFill>
                <a:effectLst/>
                <a:uLnTx/>
                <a:uFillTx/>
                <a:latin typeface="Arial"/>
                <a:ea typeface="+mn-ea"/>
                <a:cs typeface="+mn-cs"/>
              </a:rPr>
              <a:t>and new types of spent fuel and waste forms to support geologic disposal of fuel types from advanced reactors. </a:t>
            </a:r>
          </a:p>
          <a:p>
            <a:pPr marL="342900" marR="0" lvl="0" indent="-342900" algn="l" defTabSz="4572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3B3B3C"/>
                </a:solidFill>
                <a:effectLst/>
                <a:uLnTx/>
                <a:uFillTx/>
                <a:latin typeface="Arial"/>
                <a:ea typeface="+mn-ea"/>
                <a:cs typeface="+mn-cs"/>
              </a:rPr>
              <a:t>Advanced reactor developers need to </a:t>
            </a:r>
            <a:r>
              <a:rPr kumimoji="0" lang="en-US" sz="2000" b="0" i="0" u="none" strike="noStrike" kern="1200" cap="none" spc="0" normalizeH="0" baseline="0" noProof="0">
                <a:ln>
                  <a:noFill/>
                </a:ln>
                <a:solidFill>
                  <a:srgbClr val="4148C2"/>
                </a:solidFill>
                <a:effectLst/>
                <a:uLnTx/>
                <a:uFillTx/>
                <a:latin typeface="Arial"/>
                <a:ea typeface="+mn-ea"/>
                <a:cs typeface="+mn-cs"/>
              </a:rPr>
              <a:t>anticipate the impact of new fuel types on their performance in a geologic repository</a:t>
            </a:r>
            <a:r>
              <a:rPr kumimoji="0" lang="en-US" sz="2000" b="0" i="0" u="none" strike="noStrike" kern="1200" cap="none" spc="0" normalizeH="0" baseline="0" noProof="0">
                <a:ln>
                  <a:noFill/>
                </a:ln>
                <a:solidFill>
                  <a:srgbClr val="3B3B3C"/>
                </a:solidFill>
                <a:effectLst/>
                <a:uLnTx/>
                <a:uFillTx/>
                <a:latin typeface="Arial"/>
                <a:ea typeface="+mn-ea"/>
                <a:cs typeface="+mn-cs"/>
              </a:rPr>
              <a:t>. </a:t>
            </a:r>
          </a:p>
        </p:txBody>
      </p:sp>
      <p:sp>
        <p:nvSpPr>
          <p:cNvPr id="3" name="Slide Number Placeholder 2"/>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F687C33-47E0-407C-B61F-DB8DDD78F4C7}" type="slidenum">
              <a:rPr kumimoji="0" lang="en-US" sz="1267" b="0" i="0" u="none" strike="noStrike" kern="1200" cap="none" spc="0" normalizeH="0" baseline="0" noProof="0" smtClean="0">
                <a:ln>
                  <a:noFill/>
                </a:ln>
                <a:solidFill>
                  <a:srgbClr val="7F7F7F"/>
                </a:solidFill>
                <a:effectLst/>
                <a:uLnTx/>
                <a:uFillTx/>
                <a:latin typeface="Arial"/>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73</a:t>
            </a:fld>
            <a:endParaRPr kumimoji="0" lang="en-US" sz="1267" b="0" i="0" u="none" strike="noStrike" kern="1200" cap="none" spc="0" normalizeH="0" baseline="0" noProof="0">
              <a:ln>
                <a:noFill/>
              </a:ln>
              <a:solidFill>
                <a:srgbClr val="7F7F7F"/>
              </a:solidFill>
              <a:effectLst/>
              <a:uLnTx/>
              <a:uFillTx/>
              <a:latin typeface="Arial"/>
              <a:ea typeface="+mn-ea"/>
              <a:cs typeface="+mn-cs"/>
            </a:endParaRPr>
          </a:p>
        </p:txBody>
      </p:sp>
    </p:spTree>
    <p:extLst>
      <p:ext uri="{BB962C8B-B14F-4D97-AF65-F5344CB8AC3E}">
        <p14:creationId xmlns:p14="http://schemas.microsoft.com/office/powerpoint/2010/main" val="148872900"/>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Storage &amp; Transportation of Advanced Reactor Waste</a:t>
            </a:r>
            <a:endParaRPr lang="en-US" sz="2400"/>
          </a:p>
        </p:txBody>
      </p:sp>
      <p:sp>
        <p:nvSpPr>
          <p:cNvPr id="7" name="TextBox 6"/>
          <p:cNvSpPr txBox="1"/>
          <p:nvPr/>
        </p:nvSpPr>
        <p:spPr>
          <a:xfrm>
            <a:off x="662940" y="1295557"/>
            <a:ext cx="9910468" cy="2554545"/>
          </a:xfrm>
          <a:prstGeom prst="rect">
            <a:avLst/>
          </a:prstGeom>
          <a:noFill/>
          <a:ln>
            <a:noFill/>
          </a:ln>
        </p:spPr>
        <p:txBody>
          <a:bodyPr wrap="square" rtlCol="0">
            <a:spAutoFit/>
          </a:bodyPr>
          <a:lstStyle/>
          <a:p>
            <a:pPr marL="0" marR="0" lvl="0" indent="0" algn="l" defTabSz="457200" rtl="0" eaLnBrk="1" fontAlgn="auto" latinLnBrk="0" hangingPunct="1">
              <a:lnSpc>
                <a:spcPct val="100000"/>
              </a:lnSpc>
              <a:spcBef>
                <a:spcPts val="0"/>
              </a:spcBef>
              <a:spcAft>
                <a:spcPts val="1200"/>
              </a:spcAft>
              <a:buClrTx/>
              <a:buSzTx/>
              <a:buFontTx/>
              <a:buNone/>
              <a:tabLst/>
              <a:defRPr/>
            </a:pPr>
            <a:r>
              <a:rPr kumimoji="0" lang="en-US" sz="2000" b="1" i="1" u="none" strike="noStrike" kern="1200" cap="none" spc="0" normalizeH="0" baseline="0" noProof="0">
                <a:ln>
                  <a:noFill/>
                </a:ln>
                <a:solidFill>
                  <a:srgbClr val="3B3B3C"/>
                </a:solidFill>
                <a:effectLst/>
                <a:uLnTx/>
                <a:uFillTx/>
                <a:latin typeface="Arial"/>
                <a:ea typeface="+mn-ea"/>
                <a:cs typeface="+mn-cs"/>
              </a:rPr>
              <a:t>From Recommendation K. </a:t>
            </a:r>
          </a:p>
          <a:p>
            <a:pPr marL="342900" marR="0" lvl="0" indent="-342900" algn="l" defTabSz="4572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3B3B3C"/>
                </a:solidFill>
                <a:effectLst/>
                <a:uLnTx/>
                <a:uFillTx/>
                <a:latin typeface="Arial"/>
                <a:ea typeface="+mn-ea"/>
                <a:cs typeface="+mn-cs"/>
              </a:rPr>
              <a:t>DOE should require advanced reactor developers receiving its funding to </a:t>
            </a:r>
            <a:r>
              <a:rPr kumimoji="0" lang="en-US" sz="2000" b="0" i="0" u="none" strike="noStrike" kern="1200" cap="none" spc="0" normalizeH="0" baseline="0" noProof="0">
                <a:ln>
                  <a:noFill/>
                </a:ln>
                <a:solidFill>
                  <a:srgbClr val="4148C2"/>
                </a:solidFill>
                <a:effectLst/>
                <a:uLnTx/>
                <a:uFillTx/>
                <a:latin typeface="Arial"/>
                <a:ea typeface="+mn-ea"/>
                <a:cs typeface="+mn-cs"/>
              </a:rPr>
              <a:t>develop fresh and spent fuel storage &amp; transportation systems</a:t>
            </a:r>
            <a:r>
              <a:rPr kumimoji="0" lang="en-US" sz="2000" b="0" i="0" u="none" strike="noStrike" kern="1200" cap="none" spc="0" normalizeH="0" baseline="0" noProof="0">
                <a:ln>
                  <a:noFill/>
                </a:ln>
                <a:solidFill>
                  <a:srgbClr val="3B3B3C"/>
                </a:solidFill>
                <a:effectLst/>
                <a:uLnTx/>
                <a:uFillTx/>
                <a:latin typeface="Arial"/>
                <a:ea typeface="+mn-ea"/>
                <a:cs typeface="+mn-cs"/>
              </a:rPr>
              <a:t> to mitigate disconnects in the back-end of the fuel cycle.</a:t>
            </a:r>
          </a:p>
          <a:p>
            <a:pPr marL="342900" marR="0" lvl="0" indent="-342900" algn="l" defTabSz="4572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3B3B3C"/>
                </a:solidFill>
                <a:effectLst/>
                <a:uLnTx/>
                <a:uFillTx/>
                <a:latin typeface="Arial"/>
                <a:ea typeface="+mn-ea"/>
                <a:cs typeface="+mn-cs"/>
              </a:rPr>
              <a:t>DOE should continue its collaboration with industry (e.g., via EPRI’s Extended Storage Collaboration Program) </a:t>
            </a:r>
            <a:r>
              <a:rPr kumimoji="0" lang="en-US" sz="2000" b="0" i="0" u="none" strike="noStrike" kern="1200" cap="none" spc="0" normalizeH="0" baseline="0" noProof="0">
                <a:ln>
                  <a:noFill/>
                </a:ln>
                <a:solidFill>
                  <a:srgbClr val="4148C2"/>
                </a:solidFill>
                <a:effectLst/>
                <a:uLnTx/>
                <a:uFillTx/>
                <a:latin typeface="Arial"/>
                <a:ea typeface="+mn-ea"/>
                <a:cs typeface="+mn-cs"/>
              </a:rPr>
              <a:t>to identify and address long-term storage packaging issues. </a:t>
            </a:r>
          </a:p>
        </p:txBody>
      </p:sp>
      <p:sp>
        <p:nvSpPr>
          <p:cNvPr id="10" name="TextBox 9"/>
          <p:cNvSpPr txBox="1"/>
          <p:nvPr/>
        </p:nvSpPr>
        <p:spPr>
          <a:xfrm>
            <a:off x="662940" y="4179587"/>
            <a:ext cx="9984040" cy="1169551"/>
          </a:xfrm>
          <a:prstGeom prst="rect">
            <a:avLst/>
          </a:prstGeom>
          <a:noFill/>
          <a:ln>
            <a:noFill/>
          </a:ln>
        </p:spPr>
        <p:txBody>
          <a:bodyPr wrap="square" rtlCol="0">
            <a:spAutoFit/>
          </a:bodyPr>
          <a:lstStyle/>
          <a:p>
            <a:pPr marL="0" marR="0" lvl="0" indent="0" algn="l" defTabSz="457200" rtl="0" eaLnBrk="1" fontAlgn="auto" latinLnBrk="0" hangingPunct="1">
              <a:lnSpc>
                <a:spcPct val="100000"/>
              </a:lnSpc>
              <a:spcBef>
                <a:spcPts val="0"/>
              </a:spcBef>
              <a:spcAft>
                <a:spcPts val="1200"/>
              </a:spcAft>
              <a:buClrTx/>
              <a:buSzTx/>
              <a:buFontTx/>
              <a:buNone/>
              <a:tabLst/>
              <a:defRPr/>
            </a:pPr>
            <a:r>
              <a:rPr kumimoji="0" lang="en-US" sz="2000" b="1" i="1" u="none" strike="noStrike" kern="1200" cap="none" spc="0" normalizeH="0" baseline="0" noProof="0">
                <a:ln>
                  <a:noFill/>
                </a:ln>
                <a:solidFill>
                  <a:srgbClr val="3B3B3C"/>
                </a:solidFill>
                <a:effectLst/>
                <a:uLnTx/>
                <a:uFillTx/>
                <a:latin typeface="Arial"/>
                <a:ea typeface="+mn-ea"/>
                <a:cs typeface="+mn-cs"/>
              </a:rPr>
              <a:t>From Recommendation L. </a:t>
            </a:r>
          </a:p>
          <a:p>
            <a:pPr marL="342900" marR="0" lvl="0" indent="-342900" algn="l" defTabSz="4572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3B3B3C"/>
                </a:solidFill>
                <a:effectLst/>
                <a:uLnTx/>
                <a:uFillTx/>
                <a:latin typeface="Arial"/>
                <a:ea typeface="+mn-ea"/>
                <a:cs typeface="+mn-cs"/>
              </a:rPr>
              <a:t>DOE should support the necessary criticality, thermal, and shielding </a:t>
            </a:r>
            <a:r>
              <a:rPr kumimoji="0" lang="en-US" sz="2000" b="0" i="0" u="none" strike="noStrike" kern="1200" cap="none" spc="0" normalizeH="0" baseline="0" noProof="0">
                <a:ln>
                  <a:noFill/>
                </a:ln>
                <a:solidFill>
                  <a:srgbClr val="4148C2"/>
                </a:solidFill>
                <a:effectLst/>
                <a:uLnTx/>
                <a:uFillTx/>
                <a:latin typeface="Arial"/>
                <a:ea typeface="+mn-ea"/>
                <a:cs typeface="+mn-cs"/>
              </a:rPr>
              <a:t>assessments of storage &amp; transportation systems to integrate HALEU</a:t>
            </a:r>
            <a:r>
              <a:rPr kumimoji="0" lang="en-US" sz="2000" b="0" i="0" u="none" strike="noStrike" kern="1200" cap="none" spc="0" normalizeH="0" baseline="0" noProof="0">
                <a:ln>
                  <a:noFill/>
                </a:ln>
                <a:solidFill>
                  <a:srgbClr val="3B3B3C"/>
                </a:solidFill>
                <a:effectLst/>
                <a:uLnTx/>
                <a:uFillTx/>
                <a:latin typeface="Arial"/>
                <a:ea typeface="+mn-ea"/>
                <a:cs typeface="+mn-cs"/>
              </a:rPr>
              <a:t> into advanced fuel cycles.</a:t>
            </a:r>
          </a:p>
        </p:txBody>
      </p:sp>
      <p:sp>
        <p:nvSpPr>
          <p:cNvPr id="3" name="Slide Number Placeholder 2"/>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F687C33-47E0-407C-B61F-DB8DDD78F4C7}" type="slidenum">
              <a:rPr kumimoji="0" lang="en-US" sz="1267" b="0" i="0" u="none" strike="noStrike" kern="1200" cap="none" spc="0" normalizeH="0" baseline="0" noProof="0" smtClean="0">
                <a:ln>
                  <a:noFill/>
                </a:ln>
                <a:solidFill>
                  <a:srgbClr val="7F7F7F"/>
                </a:solidFill>
                <a:effectLst/>
                <a:uLnTx/>
                <a:uFillTx/>
                <a:latin typeface="Arial"/>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74</a:t>
            </a:fld>
            <a:endParaRPr kumimoji="0" lang="en-US" sz="1267" b="0" i="0" u="none" strike="noStrike" kern="1200" cap="none" spc="0" normalizeH="0" baseline="0" noProof="0">
              <a:ln>
                <a:noFill/>
              </a:ln>
              <a:solidFill>
                <a:srgbClr val="7F7F7F"/>
              </a:solidFill>
              <a:effectLst/>
              <a:uLnTx/>
              <a:uFillTx/>
              <a:latin typeface="Arial"/>
              <a:ea typeface="+mn-ea"/>
              <a:cs typeface="+mn-cs"/>
            </a:endParaRPr>
          </a:p>
        </p:txBody>
      </p:sp>
    </p:spTree>
    <p:extLst>
      <p:ext uri="{BB962C8B-B14F-4D97-AF65-F5344CB8AC3E}">
        <p14:creationId xmlns:p14="http://schemas.microsoft.com/office/powerpoint/2010/main" val="1652995808"/>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Placeholder 8"/>
          <p:cNvPicPr>
            <a:picLocks noGrp="1" noChangeAspect="1"/>
          </p:cNvPicPr>
          <p:nvPr>
            <p:ph type="pic" sz="quarter" idx="13"/>
          </p:nvPr>
        </p:nvPicPr>
        <p:blipFill>
          <a:blip r:embed="rId2">
            <a:extLst>
              <a:ext uri="{28A0092B-C50C-407E-A947-70E740481C1C}">
                <a14:useLocalDpi xmlns:a14="http://schemas.microsoft.com/office/drawing/2010/main" val="0"/>
              </a:ext>
            </a:extLst>
          </a:blip>
          <a:srcRect t="32411" b="32411"/>
          <a:stretch>
            <a:fillRect/>
          </a:stretch>
        </p:blipFill>
        <p:spPr/>
      </p:pic>
      <p:sp>
        <p:nvSpPr>
          <p:cNvPr id="3" name="Text Placeholder 2"/>
          <p:cNvSpPr>
            <a:spLocks noGrp="1"/>
          </p:cNvSpPr>
          <p:nvPr>
            <p:ph type="body" sz="quarter" idx="14"/>
          </p:nvPr>
        </p:nvSpPr>
        <p:spPr/>
        <p:txBody>
          <a:bodyPr/>
          <a:lstStyle/>
          <a:p>
            <a:endParaRPr lang="en-US"/>
          </a:p>
          <a:p>
            <a:endParaRPr lang="en-US"/>
          </a:p>
          <a:p>
            <a:r>
              <a:rPr lang="en-US"/>
              <a:t>What are the nonproliferation implications and security risks for advanced fuel cycles? </a:t>
            </a:r>
          </a:p>
        </p:txBody>
      </p:sp>
      <p:sp>
        <p:nvSpPr>
          <p:cNvPr id="2" name="Slide Number Placeholder 1"/>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F687C33-47E0-407C-B61F-DB8DDD78F4C7}" type="slidenum">
              <a:rPr kumimoji="0" lang="en-US" sz="1267" b="0" i="0" u="none" strike="noStrike" kern="1200" cap="none" spc="0" normalizeH="0" baseline="0" noProof="0" smtClean="0">
                <a:ln>
                  <a:noFill/>
                </a:ln>
                <a:solidFill>
                  <a:srgbClr val="7F7F7F"/>
                </a:solidFill>
                <a:effectLst/>
                <a:uLnTx/>
                <a:uFillTx/>
                <a:latin typeface="Arial"/>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75</a:t>
            </a:fld>
            <a:endParaRPr kumimoji="0" lang="en-US" sz="1267" b="0" i="0" u="none" strike="noStrike" kern="1200" cap="none" spc="0" normalizeH="0" baseline="0" noProof="0">
              <a:ln>
                <a:noFill/>
              </a:ln>
              <a:solidFill>
                <a:srgbClr val="7F7F7F"/>
              </a:solidFill>
              <a:effectLst/>
              <a:uLnTx/>
              <a:uFillTx/>
              <a:latin typeface="Arial"/>
              <a:ea typeface="+mn-ea"/>
              <a:cs typeface="+mn-cs"/>
            </a:endParaRPr>
          </a:p>
        </p:txBody>
      </p:sp>
    </p:spTree>
    <p:extLst>
      <p:ext uri="{BB962C8B-B14F-4D97-AF65-F5344CB8AC3E}">
        <p14:creationId xmlns:p14="http://schemas.microsoft.com/office/powerpoint/2010/main" val="2771275426"/>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What features of advanced fuel cycles differ from the baseline LWR once-through cycle with UOX fuel?</a:t>
            </a:r>
          </a:p>
        </p:txBody>
      </p:sp>
      <p:sp>
        <p:nvSpPr>
          <p:cNvPr id="5" name="Content Placeholder 4"/>
          <p:cNvSpPr>
            <a:spLocks noGrp="1"/>
          </p:cNvSpPr>
          <p:nvPr>
            <p:ph idx="1"/>
          </p:nvPr>
        </p:nvSpPr>
        <p:spPr>
          <a:xfrm>
            <a:off x="662940" y="1696535"/>
            <a:ext cx="10060478" cy="3400982"/>
          </a:xfrm>
        </p:spPr>
        <p:txBody>
          <a:bodyPr/>
          <a:lstStyle/>
          <a:p>
            <a:pPr marL="0" indent="0">
              <a:spcBef>
                <a:spcPts val="1200"/>
              </a:spcBef>
              <a:buNone/>
            </a:pPr>
            <a:r>
              <a:rPr lang="en-US" sz="2000"/>
              <a:t>The committee considered nonproliferation implications and security risks of the following:  </a:t>
            </a:r>
          </a:p>
          <a:p>
            <a:pPr lvl="1">
              <a:spcBef>
                <a:spcPts val="1200"/>
              </a:spcBef>
            </a:pPr>
            <a:r>
              <a:rPr lang="en-US" sz="2000"/>
              <a:t>Once-through fast reactors using HALEU </a:t>
            </a:r>
          </a:p>
          <a:p>
            <a:pPr lvl="1">
              <a:spcBef>
                <a:spcPts val="1200"/>
              </a:spcBef>
            </a:pPr>
            <a:r>
              <a:rPr lang="en-US" sz="2000"/>
              <a:t>Pebble-bed reactors using HALEU </a:t>
            </a:r>
          </a:p>
          <a:p>
            <a:pPr lvl="1">
              <a:spcBef>
                <a:spcPts val="1200"/>
              </a:spcBef>
            </a:pPr>
            <a:r>
              <a:rPr lang="en-US" sz="2000"/>
              <a:t>“Once-through” molten salt-fueled reactors using LEU </a:t>
            </a:r>
          </a:p>
          <a:p>
            <a:pPr lvl="1">
              <a:spcBef>
                <a:spcPts val="1200"/>
              </a:spcBef>
            </a:pPr>
            <a:r>
              <a:rPr lang="en-US" sz="2000"/>
              <a:t>Nonproliferation and Security Implications of the Use of HALEU </a:t>
            </a:r>
          </a:p>
          <a:p>
            <a:pPr lvl="1">
              <a:spcBef>
                <a:spcPts val="1200"/>
              </a:spcBef>
            </a:pPr>
            <a:r>
              <a:rPr lang="en-US" sz="2000"/>
              <a:t>Proliferation and Security Risks of Fuel Cycles Using Reprocessing and Recycling</a:t>
            </a:r>
          </a:p>
        </p:txBody>
      </p:sp>
      <p:sp>
        <p:nvSpPr>
          <p:cNvPr id="3" name="Slide Number Placeholder 2"/>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F687C33-47E0-407C-B61F-DB8DDD78F4C7}" type="slidenum">
              <a:rPr kumimoji="0" lang="en-US" sz="1267" b="0" i="0" u="none" strike="noStrike" kern="1200" cap="none" spc="0" normalizeH="0" baseline="0" noProof="0" smtClean="0">
                <a:ln>
                  <a:noFill/>
                </a:ln>
                <a:solidFill>
                  <a:srgbClr val="7F7F7F"/>
                </a:solidFill>
                <a:effectLst/>
                <a:uLnTx/>
                <a:uFillTx/>
                <a:latin typeface="Arial"/>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76</a:t>
            </a:fld>
            <a:endParaRPr kumimoji="0" lang="en-US" sz="1267" b="0" i="0" u="none" strike="noStrike" kern="1200" cap="none" spc="0" normalizeH="0" baseline="0" noProof="0">
              <a:ln>
                <a:noFill/>
              </a:ln>
              <a:solidFill>
                <a:srgbClr val="7F7F7F"/>
              </a:solidFill>
              <a:effectLst/>
              <a:uLnTx/>
              <a:uFillTx/>
              <a:latin typeface="Arial"/>
              <a:ea typeface="+mn-ea"/>
              <a:cs typeface="+mn-cs"/>
            </a:endParaRPr>
          </a:p>
        </p:txBody>
      </p:sp>
    </p:spTree>
    <p:extLst>
      <p:ext uri="{BB962C8B-B14F-4D97-AF65-F5344CB8AC3E}">
        <p14:creationId xmlns:p14="http://schemas.microsoft.com/office/powerpoint/2010/main" val="1975124993"/>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62940" y="436881"/>
            <a:ext cx="9886348" cy="858676"/>
          </a:xfrm>
        </p:spPr>
        <p:txBody>
          <a:bodyPr/>
          <a:lstStyle/>
          <a:p>
            <a:r>
              <a:rPr lang="en-US" sz="3000"/>
              <a:t>Nonproliferation Implications and Security Risks: HALEU</a:t>
            </a:r>
            <a:endParaRPr lang="en-US" sz="2400"/>
          </a:p>
        </p:txBody>
      </p:sp>
      <p:sp>
        <p:nvSpPr>
          <p:cNvPr id="8" name="TextBox 7"/>
          <p:cNvSpPr txBox="1"/>
          <p:nvPr/>
        </p:nvSpPr>
        <p:spPr>
          <a:xfrm>
            <a:off x="662940" y="1295557"/>
            <a:ext cx="10005060" cy="1015663"/>
          </a:xfrm>
          <a:prstGeom prst="rect">
            <a:avLst/>
          </a:prstGeom>
          <a:noFill/>
          <a:ln>
            <a:noFill/>
          </a:ln>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000" b="1" i="1" u="none" strike="noStrike" kern="1200" cap="none" spc="0" normalizeH="0" baseline="0" noProof="0">
                <a:ln>
                  <a:noFill/>
                </a:ln>
                <a:solidFill>
                  <a:srgbClr val="3B3B3C"/>
                </a:solidFill>
                <a:effectLst/>
                <a:uLnTx/>
                <a:uFillTx/>
                <a:latin typeface="Arial"/>
                <a:ea typeface="+mn-ea"/>
                <a:cs typeface="+mn-cs"/>
              </a:rPr>
              <a:t>From Finding 19. </a:t>
            </a:r>
            <a:r>
              <a:rPr kumimoji="0" lang="en-US" sz="2000" b="0" i="0" u="none" strike="noStrike" kern="1200" cap="none" spc="0" normalizeH="0" baseline="0" noProof="0">
                <a:ln>
                  <a:noFill/>
                </a:ln>
                <a:solidFill>
                  <a:srgbClr val="3B3B3C"/>
                </a:solidFill>
                <a:effectLst/>
                <a:uLnTx/>
                <a:uFillTx/>
                <a:latin typeface="Arial"/>
                <a:ea typeface="+mn-ea"/>
                <a:cs typeface="+mn-cs"/>
              </a:rPr>
              <a:t>Expanding the global use of HALEU would </a:t>
            </a:r>
            <a:r>
              <a:rPr kumimoji="0" lang="en-US" sz="2000" b="0" i="0" u="none" strike="noStrike" kern="1200" cap="none" spc="0" normalizeH="0" baseline="0" noProof="0">
                <a:ln>
                  <a:noFill/>
                </a:ln>
                <a:solidFill>
                  <a:srgbClr val="4148C2"/>
                </a:solidFill>
                <a:effectLst/>
                <a:uLnTx/>
                <a:uFillTx/>
                <a:latin typeface="Arial"/>
                <a:ea typeface="+mn-ea"/>
                <a:cs typeface="+mn-cs"/>
              </a:rPr>
              <a:t>potentially exacerbate proliferation and security risks </a:t>
            </a:r>
            <a:r>
              <a:rPr kumimoji="0" lang="en-US" sz="2000" b="0" i="0" u="none" strike="noStrike" kern="1200" cap="none" spc="0" normalizeH="0" baseline="0" noProof="0">
                <a:ln>
                  <a:noFill/>
                </a:ln>
                <a:solidFill>
                  <a:srgbClr val="3B3B3C"/>
                </a:solidFill>
                <a:effectLst/>
                <a:uLnTx/>
                <a:uFillTx/>
                <a:latin typeface="Arial"/>
                <a:ea typeface="+mn-ea"/>
                <a:cs typeface="+mn-cs"/>
              </a:rPr>
              <a:t>because of the potentially greater attractiveness of this material compared to LEU. </a:t>
            </a:r>
          </a:p>
        </p:txBody>
      </p:sp>
      <p:sp>
        <p:nvSpPr>
          <p:cNvPr id="11" name="TextBox 10"/>
          <p:cNvSpPr txBox="1"/>
          <p:nvPr/>
        </p:nvSpPr>
        <p:spPr>
          <a:xfrm>
            <a:off x="662940" y="2766266"/>
            <a:ext cx="9886347" cy="1938992"/>
          </a:xfrm>
          <a:prstGeom prst="rect">
            <a:avLst/>
          </a:prstGeom>
          <a:noFill/>
          <a:ln>
            <a:noFill/>
          </a:ln>
        </p:spPr>
        <p:txBody>
          <a:bodyPr wrap="square" rtlCol="0">
            <a:spAutoFit/>
          </a:bodyPr>
          <a:lstStyle/>
          <a:p>
            <a:pPr marL="0" marR="0" lvl="0" indent="0" algn="l" defTabSz="457200" rtl="0" eaLnBrk="1" fontAlgn="auto" latinLnBrk="0" hangingPunct="1">
              <a:lnSpc>
                <a:spcPct val="100000"/>
              </a:lnSpc>
              <a:spcBef>
                <a:spcPts val="0"/>
              </a:spcBef>
              <a:spcAft>
                <a:spcPts val="1200"/>
              </a:spcAft>
              <a:buClrTx/>
              <a:buSzTx/>
              <a:buFontTx/>
              <a:buNone/>
              <a:tabLst/>
              <a:defRPr/>
            </a:pPr>
            <a:r>
              <a:rPr kumimoji="0" lang="en-US" sz="2000" b="1" i="1" u="none" strike="noStrike" kern="1200" cap="none" spc="0" normalizeH="0" baseline="0" noProof="0">
                <a:ln>
                  <a:noFill/>
                </a:ln>
                <a:solidFill>
                  <a:srgbClr val="3B3B3C"/>
                </a:solidFill>
                <a:effectLst/>
                <a:uLnTx/>
                <a:uFillTx/>
                <a:latin typeface="Arial"/>
                <a:ea typeface="+mn-ea"/>
                <a:cs typeface="+mn-cs"/>
              </a:rPr>
              <a:t>From Recommendation M. </a:t>
            </a:r>
          </a:p>
          <a:p>
            <a:pPr marL="342900" marR="0" lvl="0" indent="-342900" algn="l" defTabSz="4572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3B3B3C"/>
                </a:solidFill>
                <a:effectLst/>
                <a:uLnTx/>
                <a:uFillTx/>
                <a:latin typeface="Arial"/>
                <a:ea typeface="+mn-ea"/>
                <a:cs typeface="+mn-cs"/>
              </a:rPr>
              <a:t>NNSA and DOE-NE should </a:t>
            </a:r>
            <a:r>
              <a:rPr kumimoji="0" lang="en-US" sz="2000" b="0" i="0" u="none" strike="noStrike" kern="1200" cap="none" spc="0" normalizeH="0" baseline="0" noProof="0">
                <a:ln>
                  <a:noFill/>
                </a:ln>
                <a:solidFill>
                  <a:srgbClr val="4148C2"/>
                </a:solidFill>
                <a:effectLst/>
                <a:uLnTx/>
                <a:uFillTx/>
                <a:latin typeface="Arial"/>
                <a:ea typeface="+mn-ea"/>
                <a:cs typeface="+mn-cs"/>
              </a:rPr>
              <a:t>assess proliferation and security risks associated with expanded global use of HALEU</a:t>
            </a:r>
            <a:r>
              <a:rPr kumimoji="0" lang="en-US" sz="2000" b="0" i="0" u="none" strike="noStrike" kern="1200" cap="none" spc="0" normalizeH="0" baseline="0" noProof="0">
                <a:ln>
                  <a:noFill/>
                </a:ln>
                <a:solidFill>
                  <a:srgbClr val="3B3B3C"/>
                </a:solidFill>
                <a:effectLst/>
                <a:uLnTx/>
                <a:uFillTx/>
                <a:latin typeface="Arial"/>
                <a:ea typeface="+mn-ea"/>
                <a:cs typeface="+mn-cs"/>
              </a:rPr>
              <a:t>. </a:t>
            </a:r>
          </a:p>
          <a:p>
            <a:pPr marL="342900" marR="0" lvl="0" indent="-342900" algn="l" defTabSz="4572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3B3B3C"/>
                </a:solidFill>
                <a:effectLst/>
                <a:uLnTx/>
                <a:uFillTx/>
                <a:latin typeface="Arial"/>
                <a:ea typeface="+mn-ea"/>
                <a:cs typeface="+mn-cs"/>
              </a:rPr>
              <a:t>The U.S. government, with the IAEA, should </a:t>
            </a:r>
            <a:r>
              <a:rPr kumimoji="0" lang="en-US" sz="2000" b="0" i="0" u="none" strike="noStrike" kern="1200" cap="none" spc="0" normalizeH="0" baseline="0" noProof="0">
                <a:ln>
                  <a:noFill/>
                </a:ln>
                <a:solidFill>
                  <a:srgbClr val="4148C2"/>
                </a:solidFill>
                <a:effectLst/>
                <a:uLnTx/>
                <a:uFillTx/>
                <a:latin typeface="Arial"/>
                <a:ea typeface="+mn-ea"/>
                <a:cs typeface="+mn-cs"/>
              </a:rPr>
              <a:t>foster international efforts to examine and address these risks</a:t>
            </a:r>
            <a:r>
              <a:rPr kumimoji="0" lang="en-US" sz="2000" b="0" i="0" u="none" strike="noStrike" kern="1200" cap="none" spc="0" normalizeH="0" baseline="0" noProof="0">
                <a:ln>
                  <a:noFill/>
                </a:ln>
                <a:solidFill>
                  <a:srgbClr val="3B3B3C"/>
                </a:solidFill>
                <a:effectLst/>
                <a:uLnTx/>
                <a:uFillTx/>
                <a:latin typeface="Arial"/>
                <a:ea typeface="+mn-ea"/>
                <a:cs typeface="+mn-cs"/>
              </a:rPr>
              <a:t>.  </a:t>
            </a:r>
          </a:p>
        </p:txBody>
      </p:sp>
      <p:sp>
        <p:nvSpPr>
          <p:cNvPr id="3" name="Slide Number Placeholder 2"/>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F687C33-47E0-407C-B61F-DB8DDD78F4C7}" type="slidenum">
              <a:rPr kumimoji="0" lang="en-US" sz="1267" b="0" i="0" u="none" strike="noStrike" kern="1200" cap="none" spc="0" normalizeH="0" baseline="0" noProof="0" smtClean="0">
                <a:ln>
                  <a:noFill/>
                </a:ln>
                <a:solidFill>
                  <a:srgbClr val="7F7F7F"/>
                </a:solidFill>
                <a:effectLst/>
                <a:uLnTx/>
                <a:uFillTx/>
                <a:latin typeface="Arial"/>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77</a:t>
            </a:fld>
            <a:endParaRPr kumimoji="0" lang="en-US" sz="1267" b="0" i="0" u="none" strike="noStrike" kern="1200" cap="none" spc="0" normalizeH="0" baseline="0" noProof="0">
              <a:ln>
                <a:noFill/>
              </a:ln>
              <a:solidFill>
                <a:srgbClr val="7F7F7F"/>
              </a:solidFill>
              <a:effectLst/>
              <a:uLnTx/>
              <a:uFillTx/>
              <a:latin typeface="Arial"/>
              <a:ea typeface="+mn-ea"/>
              <a:cs typeface="+mn-cs"/>
            </a:endParaRPr>
          </a:p>
        </p:txBody>
      </p:sp>
    </p:spTree>
    <p:extLst>
      <p:ext uri="{BB962C8B-B14F-4D97-AF65-F5344CB8AC3E}">
        <p14:creationId xmlns:p14="http://schemas.microsoft.com/office/powerpoint/2010/main" val="2396739210"/>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Safeguards and Security for Advanced Fuel Cycles</a:t>
            </a:r>
            <a:br>
              <a:rPr lang="en-US"/>
            </a:br>
            <a:endParaRPr lang="en-US" sz="2400"/>
          </a:p>
        </p:txBody>
      </p:sp>
      <p:sp>
        <p:nvSpPr>
          <p:cNvPr id="6" name="TextBox 5"/>
          <p:cNvSpPr txBox="1"/>
          <p:nvPr/>
        </p:nvSpPr>
        <p:spPr>
          <a:xfrm>
            <a:off x="662939" y="1295557"/>
            <a:ext cx="9602485" cy="1938992"/>
          </a:xfrm>
          <a:prstGeom prst="rect">
            <a:avLst/>
          </a:prstGeom>
          <a:noFill/>
          <a:ln>
            <a:noFill/>
          </a:ln>
        </p:spPr>
        <p:txBody>
          <a:bodyPr wrap="square" rtlCol="0">
            <a:spAutoFit/>
          </a:bodyPr>
          <a:lstStyle/>
          <a:p>
            <a:pPr marL="0" marR="0" lvl="0" indent="0" algn="l" defTabSz="457200" rtl="0" eaLnBrk="1" fontAlgn="auto" latinLnBrk="0" hangingPunct="1">
              <a:lnSpc>
                <a:spcPct val="100000"/>
              </a:lnSpc>
              <a:spcBef>
                <a:spcPts val="0"/>
              </a:spcBef>
              <a:spcAft>
                <a:spcPts val="1200"/>
              </a:spcAft>
              <a:buClrTx/>
              <a:buSzTx/>
              <a:buFontTx/>
              <a:buNone/>
              <a:tabLst/>
              <a:defRPr/>
            </a:pPr>
            <a:r>
              <a:rPr kumimoji="0" lang="en-US" sz="2000" b="1" i="1" u="none" strike="noStrike" kern="1200" cap="none" spc="0" normalizeH="0" baseline="0" noProof="0">
                <a:ln>
                  <a:noFill/>
                </a:ln>
                <a:solidFill>
                  <a:srgbClr val="3B3B3C"/>
                </a:solidFill>
                <a:effectLst/>
                <a:uLnTx/>
                <a:uFillTx/>
                <a:latin typeface="Arial"/>
                <a:ea typeface="+mn-ea"/>
                <a:cs typeface="+mn-cs"/>
              </a:rPr>
              <a:t>From Finding 20. </a:t>
            </a:r>
            <a:r>
              <a:rPr kumimoji="0" lang="en-US" sz="2000" b="0" i="0" u="none" strike="noStrike" kern="1200" cap="none" spc="0" normalizeH="0" baseline="0" noProof="0">
                <a:ln>
                  <a:noFill/>
                </a:ln>
                <a:solidFill>
                  <a:srgbClr val="3B3B3C"/>
                </a:solidFill>
                <a:effectLst/>
                <a:uLnTx/>
                <a:uFillTx/>
                <a:latin typeface="Arial"/>
                <a:ea typeface="+mn-ea"/>
                <a:cs typeface="+mn-cs"/>
              </a:rPr>
              <a:t>All advanced fuel cycles will require </a:t>
            </a:r>
            <a:r>
              <a:rPr kumimoji="0" lang="en-US" sz="2000" b="0" i="0" u="none" strike="noStrike" kern="1200" cap="none" spc="0" normalizeH="0" baseline="0" noProof="0">
                <a:ln>
                  <a:noFill/>
                </a:ln>
                <a:solidFill>
                  <a:srgbClr val="4148C2"/>
                </a:solidFill>
                <a:effectLst/>
                <a:uLnTx/>
                <a:uFillTx/>
                <a:latin typeface="Arial"/>
                <a:ea typeface="+mn-ea"/>
                <a:cs typeface="+mn-cs"/>
              </a:rPr>
              <a:t>rigorous safeguards and security measures</a:t>
            </a:r>
            <a:r>
              <a:rPr kumimoji="0" lang="en-US" sz="2000" b="0" i="0" u="none" strike="noStrike" kern="1200" cap="none" spc="0" normalizeH="0" baseline="0" noProof="0">
                <a:ln>
                  <a:noFill/>
                </a:ln>
                <a:solidFill>
                  <a:srgbClr val="3B3B3C"/>
                </a:solidFill>
                <a:effectLst/>
                <a:uLnTx/>
                <a:uFillTx/>
                <a:latin typeface="Arial"/>
                <a:ea typeface="+mn-ea"/>
                <a:cs typeface="+mn-cs"/>
              </a:rPr>
              <a:t>, with special attention paid to: </a:t>
            </a:r>
          </a:p>
          <a:p>
            <a:pPr marL="457200" marR="0" lvl="0" indent="-457200" algn="l" defTabSz="457200" rtl="0" eaLnBrk="1" fontAlgn="auto" latinLnBrk="0" hangingPunct="1">
              <a:lnSpc>
                <a:spcPct val="100000"/>
              </a:lnSpc>
              <a:spcBef>
                <a:spcPts val="0"/>
              </a:spcBef>
              <a:spcAft>
                <a:spcPts val="1200"/>
              </a:spcAft>
              <a:buClrTx/>
              <a:buSzTx/>
              <a:buFontTx/>
              <a:buAutoNum type="arabicParenBoth"/>
              <a:tabLst/>
              <a:defRPr/>
            </a:pPr>
            <a:r>
              <a:rPr kumimoji="0" lang="en-US" sz="2000" b="0" i="0" u="none" strike="noStrike" kern="1200" cap="none" spc="0" normalizeH="0" baseline="0" noProof="0">
                <a:ln>
                  <a:noFill/>
                </a:ln>
                <a:solidFill>
                  <a:srgbClr val="4148C2"/>
                </a:solidFill>
                <a:effectLst/>
                <a:uLnTx/>
                <a:uFillTx/>
                <a:latin typeface="Arial"/>
                <a:ea typeface="+mn-ea"/>
                <a:cs typeface="+mn-cs"/>
              </a:rPr>
              <a:t>Material accountancy</a:t>
            </a:r>
            <a:r>
              <a:rPr kumimoji="0" lang="en-US" sz="2000" b="0" i="0" u="none" strike="noStrike" kern="1200" cap="none" spc="0" normalizeH="0" baseline="0" noProof="0">
                <a:ln>
                  <a:noFill/>
                </a:ln>
                <a:solidFill>
                  <a:srgbClr val="3B3B3C"/>
                </a:solidFill>
                <a:effectLst/>
                <a:uLnTx/>
                <a:uFillTx/>
                <a:latin typeface="Arial"/>
                <a:ea typeface="+mn-ea"/>
                <a:cs typeface="+mn-cs"/>
              </a:rPr>
              <a:t> for molten salt and pebble bed technologies </a:t>
            </a:r>
          </a:p>
          <a:p>
            <a:pPr marL="457200" marR="0" lvl="0" indent="-457200" algn="l" defTabSz="457200" rtl="0" eaLnBrk="1" fontAlgn="auto" latinLnBrk="0" hangingPunct="1">
              <a:lnSpc>
                <a:spcPct val="100000"/>
              </a:lnSpc>
              <a:spcBef>
                <a:spcPts val="0"/>
              </a:spcBef>
              <a:spcAft>
                <a:spcPts val="1200"/>
              </a:spcAft>
              <a:buClrTx/>
              <a:buSzTx/>
              <a:buFontTx/>
              <a:buAutoNum type="arabicParenBoth"/>
              <a:tabLst/>
              <a:defRPr/>
            </a:pPr>
            <a:r>
              <a:rPr kumimoji="0" lang="en-US" sz="2000" b="0" i="0" u="none" strike="noStrike" kern="1200" cap="none" spc="0" normalizeH="0" baseline="0" noProof="0">
                <a:ln>
                  <a:noFill/>
                </a:ln>
                <a:solidFill>
                  <a:srgbClr val="3B3B3C"/>
                </a:solidFill>
                <a:effectLst/>
                <a:uLnTx/>
                <a:uFillTx/>
                <a:latin typeface="Arial"/>
                <a:ea typeface="+mn-ea"/>
                <a:cs typeface="+mn-cs"/>
              </a:rPr>
              <a:t>Fuel cycles involving </a:t>
            </a:r>
            <a:r>
              <a:rPr kumimoji="0" lang="en-US" sz="2000" b="0" i="0" u="none" strike="noStrike" kern="1200" cap="none" spc="0" normalizeH="0" baseline="0" noProof="0">
                <a:ln>
                  <a:noFill/>
                </a:ln>
                <a:solidFill>
                  <a:srgbClr val="4148C2"/>
                </a:solidFill>
                <a:effectLst/>
                <a:uLnTx/>
                <a:uFillTx/>
                <a:latin typeface="Arial"/>
                <a:ea typeface="+mn-ea"/>
                <a:cs typeface="+mn-cs"/>
              </a:rPr>
              <a:t>reprocessing and separation of fissile material </a:t>
            </a:r>
            <a:r>
              <a:rPr kumimoji="0" lang="en-US" sz="2000" b="0" i="0" u="none" strike="noStrike" kern="1200" cap="none" spc="0" normalizeH="0" baseline="0" noProof="0">
                <a:ln>
                  <a:noFill/>
                </a:ln>
                <a:solidFill>
                  <a:srgbClr val="3B3B3C"/>
                </a:solidFill>
                <a:effectLst/>
                <a:uLnTx/>
                <a:uFillTx/>
                <a:latin typeface="Arial"/>
                <a:ea typeface="+mn-ea"/>
                <a:cs typeface="+mn-cs"/>
              </a:rPr>
              <a:t>that could be weapons-usable. </a:t>
            </a:r>
          </a:p>
        </p:txBody>
      </p:sp>
      <p:sp>
        <p:nvSpPr>
          <p:cNvPr id="8" name="Rectangle 7"/>
          <p:cNvSpPr/>
          <p:nvPr/>
        </p:nvSpPr>
        <p:spPr>
          <a:xfrm>
            <a:off x="662939" y="4996570"/>
            <a:ext cx="9521584" cy="1015663"/>
          </a:xfrm>
          <a:prstGeom prst="rect">
            <a:avLst/>
          </a:prstGeom>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000" b="1" i="1" u="none" strike="noStrike" kern="1200" cap="none" spc="0" normalizeH="0" baseline="0" noProof="0">
                <a:ln>
                  <a:noFill/>
                </a:ln>
                <a:solidFill>
                  <a:srgbClr val="3B3B3C"/>
                </a:solidFill>
                <a:effectLst/>
                <a:uLnTx/>
                <a:uFillTx/>
                <a:latin typeface="Arial"/>
                <a:ea typeface="+mn-ea"/>
                <a:cs typeface="+mn-cs"/>
              </a:rPr>
              <a:t>From Recommendation O. </a:t>
            </a:r>
            <a:r>
              <a:rPr kumimoji="0" lang="en-US" sz="2000" b="0" i="0" u="none" strike="noStrike" kern="1200" cap="none" spc="0" normalizeH="0" baseline="0" noProof="0">
                <a:ln>
                  <a:noFill/>
                </a:ln>
                <a:solidFill>
                  <a:srgbClr val="3B3B3C"/>
                </a:solidFill>
                <a:effectLst/>
                <a:uLnTx/>
                <a:uFillTx/>
                <a:latin typeface="Arial"/>
                <a:ea typeface="+mn-ea"/>
                <a:cs typeface="+mn-cs"/>
              </a:rPr>
              <a:t>The NRC should initiate</a:t>
            </a:r>
            <a:r>
              <a:rPr kumimoji="0" lang="en-US" sz="2000" b="0" i="0" u="none" strike="noStrike" kern="1200" cap="none" spc="0" normalizeH="0" baseline="0" noProof="0">
                <a:ln>
                  <a:noFill/>
                </a:ln>
                <a:solidFill>
                  <a:srgbClr val="4148C2"/>
                </a:solidFill>
                <a:effectLst/>
                <a:uLnTx/>
                <a:uFillTx/>
                <a:latin typeface="Arial"/>
                <a:ea typeface="+mn-ea"/>
                <a:cs typeface="+mn-cs"/>
              </a:rPr>
              <a:t> rulemaking to address security and material accounting for HALEU </a:t>
            </a:r>
            <a:r>
              <a:rPr kumimoji="0" lang="en-US" sz="2000" b="0" i="0" u="none" strike="noStrike" kern="1200" cap="none" spc="0" normalizeH="0" baseline="0" noProof="0">
                <a:ln>
                  <a:noFill/>
                </a:ln>
                <a:solidFill>
                  <a:srgbClr val="3B3B3C"/>
                </a:solidFill>
                <a:effectLst/>
                <a:uLnTx/>
                <a:uFillTx/>
                <a:latin typeface="Arial"/>
                <a:ea typeface="+mn-ea"/>
                <a:cs typeface="+mn-cs"/>
              </a:rPr>
              <a:t>and other attractive nuclear materials in advanced fuel cycles. </a:t>
            </a:r>
          </a:p>
        </p:txBody>
      </p:sp>
      <p:sp>
        <p:nvSpPr>
          <p:cNvPr id="9" name="Rectangle 8"/>
          <p:cNvSpPr/>
          <p:nvPr/>
        </p:nvSpPr>
        <p:spPr>
          <a:xfrm>
            <a:off x="662939" y="3901319"/>
            <a:ext cx="9521585" cy="1015663"/>
          </a:xfrm>
          <a:prstGeom prst="rect">
            <a:avLst/>
          </a:prstGeom>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000" b="1" i="1" u="none" strike="noStrike" kern="1200" cap="none" spc="0" normalizeH="0" baseline="0" noProof="0">
                <a:ln>
                  <a:noFill/>
                </a:ln>
                <a:solidFill>
                  <a:srgbClr val="3B3B3C"/>
                </a:solidFill>
                <a:effectLst/>
                <a:uLnTx/>
                <a:uFillTx/>
                <a:latin typeface="Arial"/>
                <a:ea typeface="+mn-ea"/>
                <a:cs typeface="+mn-cs"/>
              </a:rPr>
              <a:t>From Recommendation N. </a:t>
            </a:r>
            <a:r>
              <a:rPr kumimoji="0" lang="en-US" sz="2000" b="0" i="0" u="none" strike="noStrike" kern="1200" cap="none" spc="0" normalizeH="0" baseline="0" noProof="0">
                <a:ln>
                  <a:noFill/>
                </a:ln>
                <a:solidFill>
                  <a:srgbClr val="3B3B3C"/>
                </a:solidFill>
                <a:effectLst/>
                <a:uLnTx/>
                <a:uFillTx/>
                <a:latin typeface="Arial"/>
                <a:ea typeface="+mn-ea"/>
                <a:cs typeface="+mn-cs"/>
              </a:rPr>
              <a:t>The U.S. government should </a:t>
            </a:r>
            <a:r>
              <a:rPr kumimoji="0" lang="en-US" sz="2000" b="0" i="0" u="none" strike="noStrike" kern="1200" cap="none" spc="0" normalizeH="0" baseline="0" noProof="0">
                <a:ln>
                  <a:noFill/>
                </a:ln>
                <a:solidFill>
                  <a:srgbClr val="4148C2"/>
                </a:solidFill>
                <a:effectLst/>
                <a:uLnTx/>
                <a:uFillTx/>
                <a:latin typeface="Arial"/>
                <a:ea typeface="+mn-ea"/>
                <a:cs typeface="+mn-cs"/>
              </a:rPr>
              <a:t>authorize IAEA access through the eligible facility list </a:t>
            </a:r>
            <a:r>
              <a:rPr kumimoji="0" lang="en-US" sz="2000" b="0" i="0" u="none" strike="noStrike" kern="1200" cap="none" spc="0" normalizeH="0" baseline="0" noProof="0">
                <a:ln>
                  <a:noFill/>
                </a:ln>
                <a:solidFill>
                  <a:srgbClr val="3B3B3C"/>
                </a:solidFill>
                <a:effectLst/>
                <a:uLnTx/>
                <a:uFillTx/>
                <a:latin typeface="Arial"/>
                <a:ea typeface="+mn-ea"/>
                <a:cs typeface="+mn-cs"/>
              </a:rPr>
              <a:t>to advanced reactor systems for which IAEA does not currently have safeguards experience.</a:t>
            </a:r>
          </a:p>
        </p:txBody>
      </p:sp>
      <p:sp>
        <p:nvSpPr>
          <p:cNvPr id="7" name="Rectangle 6"/>
          <p:cNvSpPr/>
          <p:nvPr/>
        </p:nvSpPr>
        <p:spPr>
          <a:xfrm>
            <a:off x="1934219" y="3304002"/>
            <a:ext cx="6979023" cy="400110"/>
          </a:xfrm>
          <a:prstGeom prst="rect">
            <a:avLst/>
          </a:prstGeom>
          <a:solidFill>
            <a:schemeClr val="accent2">
              <a:lumMod val="20000"/>
              <a:lumOff val="80000"/>
            </a:schemeClr>
          </a:solidFill>
          <a:ln w="19050">
            <a:solidFill>
              <a:schemeClr val="accent2"/>
            </a:solidFill>
          </a:ln>
        </p:spPr>
        <p:txBody>
          <a:bodyPr wrap="square">
            <a:spAutoFit/>
          </a:bodyPr>
          <a:lstStyle/>
          <a:p>
            <a:pPr marL="0" marR="0" lvl="0" indent="0" algn="l" defTabSz="457200" rtl="0" eaLnBrk="1" fontAlgn="auto" latinLnBrk="0" hangingPunct="1">
              <a:lnSpc>
                <a:spcPct val="100000"/>
              </a:lnSpc>
              <a:spcBef>
                <a:spcPts val="0"/>
              </a:spcBef>
              <a:spcAft>
                <a:spcPts val="600"/>
              </a:spcAft>
              <a:buClrTx/>
              <a:buSzTx/>
              <a:buFontTx/>
              <a:buNone/>
              <a:tabLst/>
              <a:defRPr/>
            </a:pPr>
            <a:r>
              <a:rPr kumimoji="0" lang="en-US" sz="2000" b="0" i="0" u="none" strike="noStrike" kern="1200" cap="none" spc="0" normalizeH="0" baseline="0" noProof="0">
                <a:ln>
                  <a:noFill/>
                </a:ln>
                <a:solidFill>
                  <a:srgbClr val="3B3B3C"/>
                </a:solidFill>
                <a:effectLst/>
                <a:uLnTx/>
                <a:uFillTx/>
                <a:latin typeface="Arial"/>
                <a:ea typeface="+mn-ea"/>
                <a:cs typeface="+mn-cs"/>
              </a:rPr>
              <a:t>These should be considered as challenges, but not barriers. </a:t>
            </a:r>
          </a:p>
        </p:txBody>
      </p:sp>
      <p:sp>
        <p:nvSpPr>
          <p:cNvPr id="3" name="Slide Number Placeholder 2"/>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F687C33-47E0-407C-B61F-DB8DDD78F4C7}" type="slidenum">
              <a:rPr kumimoji="0" lang="en-US" sz="1267" b="0" i="0" u="none" strike="noStrike" kern="1200" cap="none" spc="0" normalizeH="0" baseline="0" noProof="0" smtClean="0">
                <a:ln>
                  <a:noFill/>
                </a:ln>
                <a:solidFill>
                  <a:srgbClr val="7F7F7F"/>
                </a:solidFill>
                <a:effectLst/>
                <a:uLnTx/>
                <a:uFillTx/>
                <a:latin typeface="Arial"/>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78</a:t>
            </a:fld>
            <a:endParaRPr kumimoji="0" lang="en-US" sz="1267" b="0" i="0" u="none" strike="noStrike" kern="1200" cap="none" spc="0" normalizeH="0" baseline="0" noProof="0">
              <a:ln>
                <a:noFill/>
              </a:ln>
              <a:solidFill>
                <a:srgbClr val="7F7F7F"/>
              </a:solidFill>
              <a:effectLst/>
              <a:uLnTx/>
              <a:uFillTx/>
              <a:latin typeface="Arial"/>
              <a:ea typeface="+mn-ea"/>
              <a:cs typeface="+mn-cs"/>
            </a:endParaRPr>
          </a:p>
        </p:txBody>
      </p:sp>
    </p:spTree>
    <p:extLst>
      <p:ext uri="{BB962C8B-B14F-4D97-AF65-F5344CB8AC3E}">
        <p14:creationId xmlns:p14="http://schemas.microsoft.com/office/powerpoint/2010/main" val="4209345109"/>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Placeholder 7"/>
          <p:cNvPicPr>
            <a:picLocks noGrp="1" noChangeAspect="1"/>
          </p:cNvPicPr>
          <p:nvPr>
            <p:ph type="pic" sz="quarter" idx="13"/>
          </p:nvPr>
        </p:nvPicPr>
        <p:blipFill>
          <a:blip r:embed="rId2">
            <a:extLst>
              <a:ext uri="{28A0092B-C50C-407E-A947-70E740481C1C}">
                <a14:useLocalDpi xmlns:a14="http://schemas.microsoft.com/office/drawing/2010/main" val="0"/>
              </a:ext>
            </a:extLst>
          </a:blip>
          <a:srcRect t="32411" b="32411"/>
          <a:stretch>
            <a:fillRect/>
          </a:stretch>
        </p:blipFill>
        <p:spPr/>
      </p:pic>
      <p:sp>
        <p:nvSpPr>
          <p:cNvPr id="10" name="Text Placeholder 9"/>
          <p:cNvSpPr>
            <a:spLocks noGrp="1"/>
          </p:cNvSpPr>
          <p:nvPr>
            <p:ph type="body" sz="quarter" idx="14"/>
          </p:nvPr>
        </p:nvSpPr>
        <p:spPr>
          <a:solidFill>
            <a:schemeClr val="tx2"/>
          </a:solidFill>
        </p:spPr>
        <p:txBody>
          <a:bodyPr/>
          <a:lstStyle/>
          <a:p>
            <a:r>
              <a:rPr lang="en-US" sz="3400" b="1">
                <a:solidFill>
                  <a:schemeClr val="bg1"/>
                </a:solidFill>
              </a:rPr>
              <a:t>Summary Conclusions</a:t>
            </a:r>
          </a:p>
        </p:txBody>
      </p:sp>
      <p:sp>
        <p:nvSpPr>
          <p:cNvPr id="2" name="Slide Number Placeholder 1"/>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F687C33-47E0-407C-B61F-DB8DDD78F4C7}" type="slidenum">
              <a:rPr kumimoji="0" lang="en-US" sz="1267" b="0" i="0" u="none" strike="noStrike" kern="1200" cap="none" spc="0" normalizeH="0" baseline="0" noProof="0" smtClean="0">
                <a:ln>
                  <a:noFill/>
                </a:ln>
                <a:solidFill>
                  <a:srgbClr val="7F7F7F"/>
                </a:solidFill>
                <a:effectLst/>
                <a:uLnTx/>
                <a:uFillTx/>
                <a:latin typeface="Arial"/>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79</a:t>
            </a:fld>
            <a:endParaRPr kumimoji="0" lang="en-US" sz="1267" b="0" i="0" u="none" strike="noStrike" kern="1200" cap="none" spc="0" normalizeH="0" baseline="0" noProof="0">
              <a:ln>
                <a:noFill/>
              </a:ln>
              <a:solidFill>
                <a:srgbClr val="7F7F7F"/>
              </a:solidFill>
              <a:effectLst/>
              <a:uLnTx/>
              <a:uFillTx/>
              <a:latin typeface="Arial"/>
              <a:ea typeface="+mn-ea"/>
              <a:cs typeface="+mn-cs"/>
            </a:endParaRPr>
          </a:p>
        </p:txBody>
      </p:sp>
    </p:spTree>
    <p:extLst>
      <p:ext uri="{BB962C8B-B14F-4D97-AF65-F5344CB8AC3E}">
        <p14:creationId xmlns:p14="http://schemas.microsoft.com/office/powerpoint/2010/main" val="268415124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8E23A8A-F4DB-1A04-5110-BEFCC91C0C06}"/>
              </a:ext>
            </a:extLst>
          </p:cNvPr>
          <p:cNvSpPr>
            <a:spLocks noGrp="1"/>
          </p:cNvSpPr>
          <p:nvPr>
            <p:ph type="title"/>
          </p:nvPr>
        </p:nvSpPr>
        <p:spPr/>
        <p:txBody>
          <a:bodyPr/>
          <a:lstStyle/>
          <a:p>
            <a:r>
              <a:rPr lang="en-US" sz="2400" b="1">
                <a:effectLst/>
                <a:latin typeface="Arial" panose="020B0604020202020204" pitchFamily="34" charset="0"/>
                <a:ea typeface="Times New Roman" panose="02020603050405020304" pitchFamily="18" charset="0"/>
                <a:cs typeface="Times New Roman" panose="02020603050405020304" pitchFamily="18" charset="0"/>
              </a:rPr>
              <a:t>Advanced nuclear includes five major technology types across two generations</a:t>
            </a:r>
            <a:endParaRPr lang="en-US"/>
          </a:p>
        </p:txBody>
      </p:sp>
      <p:cxnSp>
        <p:nvCxnSpPr>
          <p:cNvPr id="4" name="LineBasicStrong 22">
            <a:extLst>
              <a:ext uri="{FF2B5EF4-FFF2-40B4-BE49-F238E27FC236}">
                <a16:creationId xmlns:a16="http://schemas.microsoft.com/office/drawing/2014/main" id="{1AEF2CBC-DCFE-DE18-23A3-0FB9BDDE7DF1}"/>
              </a:ext>
            </a:extLst>
          </p:cNvPr>
          <p:cNvCxnSpPr>
            <a:cxnSpLocks/>
          </p:cNvCxnSpPr>
          <p:nvPr>
            <p:custDataLst>
              <p:tags r:id="rId1"/>
            </p:custDataLst>
          </p:nvPr>
        </p:nvCxnSpPr>
        <p:spPr>
          <a:xfrm>
            <a:off x="554736" y="3756684"/>
            <a:ext cx="11165196" cy="0"/>
          </a:xfrm>
          <a:prstGeom prst="straightConnector1">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5" name="TextBox 4">
            <a:extLst>
              <a:ext uri="{FF2B5EF4-FFF2-40B4-BE49-F238E27FC236}">
                <a16:creationId xmlns:a16="http://schemas.microsoft.com/office/drawing/2014/main" id="{61B6881D-B3A8-6F44-2D0C-4FA3F276632D}"/>
              </a:ext>
            </a:extLst>
          </p:cNvPr>
          <p:cNvSpPr txBox="1">
            <a:spLocks/>
          </p:cNvSpPr>
          <p:nvPr/>
        </p:nvSpPr>
        <p:spPr>
          <a:xfrm>
            <a:off x="2224753" y="1408986"/>
            <a:ext cx="3143504" cy="457200"/>
          </a:xfrm>
          <a:prstGeom prst="rect">
            <a:avLst/>
          </a:prstGeom>
          <a:noFill/>
        </p:spPr>
        <p:txBody>
          <a:bodyPr vert="horz" wrap="square" lIns="0" tIns="0" rIns="0" bIns="0" rtlCol="0" anchor="b" anchorCtr="0">
            <a:no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228600" lvl="1" indent="-230400">
              <a:lnSpc>
                <a:spcPct val="100000"/>
              </a:lnSpc>
              <a:spcBef>
                <a:spcPts val="0"/>
              </a:spcBef>
              <a:spcAft>
                <a:spcPts val="300"/>
              </a:spcAft>
              <a:buSzPct val="110000"/>
              <a:buFont typeface="Wingdings" panose="05000000000000000000" pitchFamily="2" charset="2"/>
              <a:buChar char=""/>
              <a:defRPr lang="en-US" sz="1600" dirty="0"/>
            </a:lvl2pPr>
            <a:lvl3pPr marL="439200" lvl="2" indent="-208800">
              <a:lnSpc>
                <a:spcPct val="100000"/>
              </a:lnSpc>
              <a:spcBef>
                <a:spcPts val="0"/>
              </a:spcBef>
              <a:spcAft>
                <a:spcPts val="300"/>
              </a:spcAft>
              <a:buSzPct val="110000"/>
              <a:buFont typeface="Arial" panose="020B0604020202020204" pitchFamily="34" charset="0"/>
              <a:buChar char="‒"/>
              <a:defRPr lang="en-US" sz="1600" dirty="0"/>
            </a:lvl3pPr>
            <a:lvl4pPr marL="604800" lvl="3" indent="-154800">
              <a:lnSpc>
                <a:spcPct val="100000"/>
              </a:lnSpc>
              <a:spcBef>
                <a:spcPts val="0"/>
              </a:spcBef>
              <a:spcAft>
                <a:spcPts val="300"/>
              </a:spcAft>
              <a:buFont typeface="Arial" panose="020B0604020202020204" pitchFamily="34" charset="0"/>
              <a:buChar char="•"/>
              <a:defRPr lang="en-US" sz="1600" dirty="0"/>
            </a:lvl4pPr>
            <a:lvl5pPr marL="813600" lvl="4" indent="-147600">
              <a:lnSpc>
                <a:spcPct val="100000"/>
              </a:lnSpc>
              <a:spcBef>
                <a:spcPts val="0"/>
              </a:spcBef>
              <a:spcAft>
                <a:spcPts val="300"/>
              </a:spcAft>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2000" b="1">
                <a:solidFill>
                  <a:schemeClr val="accent1"/>
                </a:solidFill>
                <a:cs typeface="+mn-cs"/>
              </a:rPr>
              <a:t>Gen III+</a:t>
            </a:r>
          </a:p>
        </p:txBody>
      </p:sp>
      <p:sp>
        <p:nvSpPr>
          <p:cNvPr id="6" name="TextBox 5">
            <a:extLst>
              <a:ext uri="{FF2B5EF4-FFF2-40B4-BE49-F238E27FC236}">
                <a16:creationId xmlns:a16="http://schemas.microsoft.com/office/drawing/2014/main" id="{B90CFFB8-2499-3B34-79F2-E833FD76D97A}"/>
              </a:ext>
            </a:extLst>
          </p:cNvPr>
          <p:cNvSpPr txBox="1">
            <a:spLocks/>
          </p:cNvSpPr>
          <p:nvPr/>
        </p:nvSpPr>
        <p:spPr>
          <a:xfrm>
            <a:off x="5674999" y="1408986"/>
            <a:ext cx="6044933" cy="457200"/>
          </a:xfrm>
          <a:prstGeom prst="rect">
            <a:avLst/>
          </a:prstGeom>
          <a:ln>
            <a:noFill/>
          </a:ln>
        </p:spPr>
        <p:txBody>
          <a:bodyPr vert="horz" wrap="square" lIns="0" tIns="0" rIns="0" bIns="0" rtlCol="0" anchor="b" anchorCtr="0">
            <a:no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228600" lvl="1" indent="-230400">
              <a:lnSpc>
                <a:spcPct val="100000"/>
              </a:lnSpc>
              <a:spcBef>
                <a:spcPts val="0"/>
              </a:spcBef>
              <a:spcAft>
                <a:spcPts val="300"/>
              </a:spcAft>
              <a:buSzPct val="110000"/>
              <a:buFont typeface="Wingdings" panose="05000000000000000000" pitchFamily="2" charset="2"/>
              <a:buChar char=""/>
              <a:defRPr lang="en-US" sz="1600" dirty="0"/>
            </a:lvl2pPr>
            <a:lvl3pPr marL="439200" lvl="2" indent="-208800">
              <a:lnSpc>
                <a:spcPct val="100000"/>
              </a:lnSpc>
              <a:spcBef>
                <a:spcPts val="0"/>
              </a:spcBef>
              <a:spcAft>
                <a:spcPts val="300"/>
              </a:spcAft>
              <a:buSzPct val="110000"/>
              <a:buFont typeface="Arial" panose="020B0604020202020204" pitchFamily="34" charset="0"/>
              <a:buChar char="‒"/>
              <a:defRPr lang="en-US" sz="1600" dirty="0"/>
            </a:lvl3pPr>
            <a:lvl4pPr marL="604800" lvl="3" indent="-154800">
              <a:lnSpc>
                <a:spcPct val="100000"/>
              </a:lnSpc>
              <a:spcBef>
                <a:spcPts val="0"/>
              </a:spcBef>
              <a:spcAft>
                <a:spcPts val="300"/>
              </a:spcAft>
              <a:buFont typeface="Arial" panose="020B0604020202020204" pitchFamily="34" charset="0"/>
              <a:buChar char="•"/>
              <a:defRPr lang="en-US" sz="1600" dirty="0"/>
            </a:lvl4pPr>
            <a:lvl5pPr marL="813600" lvl="4" indent="-147600">
              <a:lnSpc>
                <a:spcPct val="100000"/>
              </a:lnSpc>
              <a:spcBef>
                <a:spcPts val="0"/>
              </a:spcBef>
              <a:spcAft>
                <a:spcPts val="300"/>
              </a:spcAft>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2000" b="1">
                <a:solidFill>
                  <a:schemeClr val="accent2"/>
                </a:solidFill>
                <a:cs typeface="+mn-cs"/>
              </a:rPr>
              <a:t>Gen IV</a:t>
            </a:r>
          </a:p>
        </p:txBody>
      </p:sp>
      <p:sp>
        <p:nvSpPr>
          <p:cNvPr id="7" name="TextBox 6">
            <a:extLst>
              <a:ext uri="{FF2B5EF4-FFF2-40B4-BE49-F238E27FC236}">
                <a16:creationId xmlns:a16="http://schemas.microsoft.com/office/drawing/2014/main" id="{D69CF9C2-CC5E-4A99-4F89-34FFF9D0F847}"/>
              </a:ext>
            </a:extLst>
          </p:cNvPr>
          <p:cNvSpPr txBox="1">
            <a:spLocks/>
          </p:cNvSpPr>
          <p:nvPr/>
        </p:nvSpPr>
        <p:spPr>
          <a:xfrm>
            <a:off x="2224753" y="2066694"/>
            <a:ext cx="1396461" cy="457200"/>
          </a:xfrm>
          <a:prstGeom prst="rect">
            <a:avLst/>
          </a:prstGeom>
          <a:noFill/>
        </p:spPr>
        <p:txBody>
          <a:bodyPr vert="horz" wrap="square" lIns="0" tIns="0" rIns="0" bIns="0" rtlCol="0" anchor="b" anchorCtr="0">
            <a:no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228600" lvl="1" indent="-230400">
              <a:lnSpc>
                <a:spcPct val="100000"/>
              </a:lnSpc>
              <a:spcBef>
                <a:spcPts val="0"/>
              </a:spcBef>
              <a:spcAft>
                <a:spcPts val="300"/>
              </a:spcAft>
              <a:buSzPct val="110000"/>
              <a:buFont typeface="Wingdings" panose="05000000000000000000" pitchFamily="2" charset="2"/>
              <a:buChar char=""/>
              <a:defRPr lang="en-US" sz="1600" dirty="0"/>
            </a:lvl2pPr>
            <a:lvl3pPr marL="439200" lvl="2" indent="-208800">
              <a:lnSpc>
                <a:spcPct val="100000"/>
              </a:lnSpc>
              <a:spcBef>
                <a:spcPts val="0"/>
              </a:spcBef>
              <a:spcAft>
                <a:spcPts val="300"/>
              </a:spcAft>
              <a:buSzPct val="110000"/>
              <a:buFont typeface="Arial" panose="020B0604020202020204" pitchFamily="34" charset="0"/>
              <a:buChar char="‒"/>
              <a:defRPr lang="en-US" sz="1600" dirty="0"/>
            </a:lvl3pPr>
            <a:lvl4pPr marL="604800" lvl="3" indent="-154800">
              <a:lnSpc>
                <a:spcPct val="100000"/>
              </a:lnSpc>
              <a:spcBef>
                <a:spcPts val="0"/>
              </a:spcBef>
              <a:spcAft>
                <a:spcPts val="300"/>
              </a:spcAft>
              <a:buFont typeface="Arial" panose="020B0604020202020204" pitchFamily="34" charset="0"/>
              <a:buChar char="•"/>
              <a:defRPr lang="en-US" sz="1600" dirty="0"/>
            </a:lvl4pPr>
            <a:lvl5pPr marL="813600" lvl="4" indent="-147600">
              <a:lnSpc>
                <a:spcPct val="100000"/>
              </a:lnSpc>
              <a:spcBef>
                <a:spcPts val="0"/>
              </a:spcBef>
              <a:spcAft>
                <a:spcPts val="300"/>
              </a:spcAft>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b="1">
                <a:cs typeface="+mn-cs"/>
              </a:rPr>
              <a:t>Large Light Water</a:t>
            </a:r>
          </a:p>
        </p:txBody>
      </p:sp>
      <p:sp>
        <p:nvSpPr>
          <p:cNvPr id="8" name="TextBox 7">
            <a:extLst>
              <a:ext uri="{FF2B5EF4-FFF2-40B4-BE49-F238E27FC236}">
                <a16:creationId xmlns:a16="http://schemas.microsoft.com/office/drawing/2014/main" id="{81409A6C-7467-CCC8-C1EF-3D4BFF56CDFB}"/>
              </a:ext>
            </a:extLst>
          </p:cNvPr>
          <p:cNvSpPr txBox="1">
            <a:spLocks/>
          </p:cNvSpPr>
          <p:nvPr/>
        </p:nvSpPr>
        <p:spPr>
          <a:xfrm>
            <a:off x="3927956" y="2066694"/>
            <a:ext cx="1440301" cy="457200"/>
          </a:xfrm>
          <a:prstGeom prst="rect">
            <a:avLst/>
          </a:prstGeom>
          <a:noFill/>
        </p:spPr>
        <p:txBody>
          <a:bodyPr vert="horz" wrap="square" lIns="0" tIns="0" rIns="0" bIns="0" rtlCol="0" anchor="b" anchorCtr="0">
            <a:no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228600" lvl="1" indent="-230400">
              <a:lnSpc>
                <a:spcPct val="100000"/>
              </a:lnSpc>
              <a:spcBef>
                <a:spcPts val="0"/>
              </a:spcBef>
              <a:spcAft>
                <a:spcPts val="300"/>
              </a:spcAft>
              <a:buSzPct val="110000"/>
              <a:buFont typeface="Wingdings" panose="05000000000000000000" pitchFamily="2" charset="2"/>
              <a:buChar char=""/>
              <a:defRPr lang="en-US" sz="1600" dirty="0"/>
            </a:lvl2pPr>
            <a:lvl3pPr marL="439200" lvl="2" indent="-208800">
              <a:lnSpc>
                <a:spcPct val="100000"/>
              </a:lnSpc>
              <a:spcBef>
                <a:spcPts val="0"/>
              </a:spcBef>
              <a:spcAft>
                <a:spcPts val="300"/>
              </a:spcAft>
              <a:buSzPct val="110000"/>
              <a:buFont typeface="Arial" panose="020B0604020202020204" pitchFamily="34" charset="0"/>
              <a:buChar char="‒"/>
              <a:defRPr lang="en-US" sz="1600" dirty="0"/>
            </a:lvl3pPr>
            <a:lvl4pPr marL="604800" lvl="3" indent="-154800">
              <a:lnSpc>
                <a:spcPct val="100000"/>
              </a:lnSpc>
              <a:spcBef>
                <a:spcPts val="0"/>
              </a:spcBef>
              <a:spcAft>
                <a:spcPts val="300"/>
              </a:spcAft>
              <a:buFont typeface="Arial" panose="020B0604020202020204" pitchFamily="34" charset="0"/>
              <a:buChar char="•"/>
              <a:defRPr lang="en-US" sz="1600" dirty="0"/>
            </a:lvl4pPr>
            <a:lvl5pPr marL="813600" lvl="4" indent="-147600">
              <a:lnSpc>
                <a:spcPct val="100000"/>
              </a:lnSpc>
              <a:spcBef>
                <a:spcPts val="0"/>
              </a:spcBef>
              <a:spcAft>
                <a:spcPts val="300"/>
              </a:spcAft>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b="1">
                <a:cs typeface="+mn-cs"/>
              </a:rPr>
              <a:t>Light Water SMRs</a:t>
            </a:r>
          </a:p>
        </p:txBody>
      </p:sp>
      <p:sp>
        <p:nvSpPr>
          <p:cNvPr id="9" name="TextBox 8">
            <a:extLst>
              <a:ext uri="{FF2B5EF4-FFF2-40B4-BE49-F238E27FC236}">
                <a16:creationId xmlns:a16="http://schemas.microsoft.com/office/drawing/2014/main" id="{7A02D8E5-BFEE-DB26-F657-DF2C3354110D}"/>
              </a:ext>
            </a:extLst>
          </p:cNvPr>
          <p:cNvSpPr txBox="1">
            <a:spLocks/>
          </p:cNvSpPr>
          <p:nvPr/>
        </p:nvSpPr>
        <p:spPr>
          <a:xfrm>
            <a:off x="7778786" y="2066694"/>
            <a:ext cx="1837273" cy="457200"/>
          </a:xfrm>
          <a:prstGeom prst="rect">
            <a:avLst/>
          </a:prstGeom>
        </p:spPr>
        <p:txBody>
          <a:bodyPr vert="horz" wrap="square" lIns="0" tIns="0" rIns="0" bIns="0" rtlCol="0" anchor="b" anchorCtr="0">
            <a:no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228600" lvl="1" indent="-230400">
              <a:lnSpc>
                <a:spcPct val="100000"/>
              </a:lnSpc>
              <a:spcBef>
                <a:spcPts val="0"/>
              </a:spcBef>
              <a:spcAft>
                <a:spcPts val="300"/>
              </a:spcAft>
              <a:buSzPct val="110000"/>
              <a:buFont typeface="Wingdings" panose="05000000000000000000" pitchFamily="2" charset="2"/>
              <a:buChar char=""/>
              <a:defRPr lang="en-US" sz="1600" dirty="0"/>
            </a:lvl2pPr>
            <a:lvl3pPr marL="439200" lvl="2" indent="-208800">
              <a:lnSpc>
                <a:spcPct val="100000"/>
              </a:lnSpc>
              <a:spcBef>
                <a:spcPts val="0"/>
              </a:spcBef>
              <a:spcAft>
                <a:spcPts val="300"/>
              </a:spcAft>
              <a:buSzPct val="110000"/>
              <a:buFont typeface="Arial" panose="020B0604020202020204" pitchFamily="34" charset="0"/>
              <a:buChar char="‒"/>
              <a:defRPr lang="en-US" sz="1600" dirty="0"/>
            </a:lvl3pPr>
            <a:lvl4pPr marL="604800" lvl="3" indent="-154800">
              <a:lnSpc>
                <a:spcPct val="100000"/>
              </a:lnSpc>
              <a:spcBef>
                <a:spcPts val="0"/>
              </a:spcBef>
              <a:spcAft>
                <a:spcPts val="300"/>
              </a:spcAft>
              <a:buFont typeface="Arial" panose="020B0604020202020204" pitchFamily="34" charset="0"/>
              <a:buChar char="•"/>
              <a:defRPr lang="en-US" sz="1600" dirty="0"/>
            </a:lvl4pPr>
            <a:lvl5pPr marL="813600" lvl="4" indent="-147600">
              <a:lnSpc>
                <a:spcPct val="100000"/>
              </a:lnSpc>
              <a:spcBef>
                <a:spcPts val="0"/>
              </a:spcBef>
              <a:spcAft>
                <a:spcPts val="300"/>
              </a:spcAft>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b="1">
                <a:cs typeface="+mn-cs"/>
              </a:rPr>
              <a:t>Metal/Salt Cooled</a:t>
            </a:r>
          </a:p>
        </p:txBody>
      </p:sp>
      <p:sp>
        <p:nvSpPr>
          <p:cNvPr id="10" name="TextBox 9">
            <a:extLst>
              <a:ext uri="{FF2B5EF4-FFF2-40B4-BE49-F238E27FC236}">
                <a16:creationId xmlns:a16="http://schemas.microsoft.com/office/drawing/2014/main" id="{BAD7DB18-02A6-6B91-DA8B-A2C679FAF7A0}"/>
              </a:ext>
            </a:extLst>
          </p:cNvPr>
          <p:cNvSpPr txBox="1">
            <a:spLocks/>
          </p:cNvSpPr>
          <p:nvPr/>
        </p:nvSpPr>
        <p:spPr>
          <a:xfrm>
            <a:off x="5674999" y="2066694"/>
            <a:ext cx="1797045" cy="457200"/>
          </a:xfrm>
          <a:prstGeom prst="rect">
            <a:avLst/>
          </a:prstGeom>
        </p:spPr>
        <p:txBody>
          <a:bodyPr vert="horz" wrap="square" lIns="0" tIns="0" rIns="0" bIns="0" rtlCol="0" anchor="b" anchorCtr="0">
            <a:no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228600" lvl="1" indent="-230400">
              <a:lnSpc>
                <a:spcPct val="100000"/>
              </a:lnSpc>
              <a:spcBef>
                <a:spcPts val="0"/>
              </a:spcBef>
              <a:spcAft>
                <a:spcPts val="300"/>
              </a:spcAft>
              <a:buSzPct val="110000"/>
              <a:buFont typeface="Wingdings" panose="05000000000000000000" pitchFamily="2" charset="2"/>
              <a:buChar char=""/>
              <a:defRPr lang="en-US" sz="1600" dirty="0"/>
            </a:lvl2pPr>
            <a:lvl3pPr marL="439200" lvl="2" indent="-208800">
              <a:lnSpc>
                <a:spcPct val="100000"/>
              </a:lnSpc>
              <a:spcBef>
                <a:spcPts val="0"/>
              </a:spcBef>
              <a:spcAft>
                <a:spcPts val="300"/>
              </a:spcAft>
              <a:buSzPct val="110000"/>
              <a:buFont typeface="Arial" panose="020B0604020202020204" pitchFamily="34" charset="0"/>
              <a:buChar char="‒"/>
              <a:defRPr lang="en-US" sz="1600" dirty="0"/>
            </a:lvl3pPr>
            <a:lvl4pPr marL="604800" lvl="3" indent="-154800">
              <a:lnSpc>
                <a:spcPct val="100000"/>
              </a:lnSpc>
              <a:spcBef>
                <a:spcPts val="0"/>
              </a:spcBef>
              <a:spcAft>
                <a:spcPts val="300"/>
              </a:spcAft>
              <a:buFont typeface="Arial" panose="020B0604020202020204" pitchFamily="34" charset="0"/>
              <a:buChar char="•"/>
              <a:defRPr lang="en-US" sz="1600" dirty="0"/>
            </a:lvl4pPr>
            <a:lvl5pPr marL="813600" lvl="4" indent="-147600">
              <a:lnSpc>
                <a:spcPct val="100000"/>
              </a:lnSpc>
              <a:spcBef>
                <a:spcPts val="0"/>
              </a:spcBef>
              <a:spcAft>
                <a:spcPts val="300"/>
              </a:spcAft>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b="1">
                <a:cs typeface="+mn-cs"/>
              </a:rPr>
              <a:t>High Temperature Gas Reactors</a:t>
            </a:r>
          </a:p>
        </p:txBody>
      </p:sp>
      <p:cxnSp>
        <p:nvCxnSpPr>
          <p:cNvPr id="11" name="LineBasicStrong 22">
            <a:extLst>
              <a:ext uri="{FF2B5EF4-FFF2-40B4-BE49-F238E27FC236}">
                <a16:creationId xmlns:a16="http://schemas.microsoft.com/office/drawing/2014/main" id="{181246A5-42F7-2A01-1E35-FAC8870A7386}"/>
              </a:ext>
            </a:extLst>
          </p:cNvPr>
          <p:cNvCxnSpPr>
            <a:cxnSpLocks/>
          </p:cNvCxnSpPr>
          <p:nvPr>
            <p:custDataLst>
              <p:tags r:id="rId2"/>
            </p:custDataLst>
          </p:nvPr>
        </p:nvCxnSpPr>
        <p:spPr>
          <a:xfrm>
            <a:off x="554736" y="2624148"/>
            <a:ext cx="11165196" cy="0"/>
          </a:xfrm>
          <a:prstGeom prst="straightConnector1">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8F00DC43-12BC-3CB7-F39C-EE9DA5E3F4BB}"/>
              </a:ext>
            </a:extLst>
          </p:cNvPr>
          <p:cNvSpPr txBox="1">
            <a:spLocks/>
          </p:cNvSpPr>
          <p:nvPr/>
        </p:nvSpPr>
        <p:spPr>
          <a:xfrm>
            <a:off x="554736" y="2682052"/>
            <a:ext cx="1363275" cy="365760"/>
          </a:xfrm>
          <a:prstGeom prst="rect">
            <a:avLst/>
          </a:prstGeom>
        </p:spPr>
        <p:txBody>
          <a:bodyPr vert="horz" wrap="square" lIns="0" tIns="0" rIns="0" bIns="0" rtlCol="0" anchor="ctr">
            <a:no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228600" lvl="1" indent="-230400">
              <a:lnSpc>
                <a:spcPct val="100000"/>
              </a:lnSpc>
              <a:spcBef>
                <a:spcPts val="0"/>
              </a:spcBef>
              <a:spcAft>
                <a:spcPts val="300"/>
              </a:spcAft>
              <a:buSzPct val="110000"/>
              <a:buFont typeface="Wingdings" panose="05000000000000000000" pitchFamily="2" charset="2"/>
              <a:buChar char=""/>
              <a:defRPr lang="en-US" sz="1600" dirty="0"/>
            </a:lvl2pPr>
            <a:lvl3pPr marL="439200" lvl="2" indent="-208800">
              <a:lnSpc>
                <a:spcPct val="100000"/>
              </a:lnSpc>
              <a:spcBef>
                <a:spcPts val="0"/>
              </a:spcBef>
              <a:spcAft>
                <a:spcPts val="300"/>
              </a:spcAft>
              <a:buSzPct val="110000"/>
              <a:buFont typeface="Arial" panose="020B0604020202020204" pitchFamily="34" charset="0"/>
              <a:buChar char="‒"/>
              <a:defRPr lang="en-US" sz="1600" dirty="0"/>
            </a:lvl3pPr>
            <a:lvl4pPr marL="604800" lvl="3" indent="-154800">
              <a:lnSpc>
                <a:spcPct val="100000"/>
              </a:lnSpc>
              <a:spcBef>
                <a:spcPts val="0"/>
              </a:spcBef>
              <a:spcAft>
                <a:spcPts val="300"/>
              </a:spcAft>
              <a:buFont typeface="Arial" panose="020B0604020202020204" pitchFamily="34" charset="0"/>
              <a:buChar char="•"/>
              <a:defRPr lang="en-US" sz="1600" dirty="0"/>
            </a:lvl4pPr>
            <a:lvl5pPr marL="813600" lvl="4" indent="-147600">
              <a:lnSpc>
                <a:spcPct val="100000"/>
              </a:lnSpc>
              <a:spcBef>
                <a:spcPts val="0"/>
              </a:spcBef>
              <a:spcAft>
                <a:spcPts val="300"/>
              </a:spcAft>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b="1" i="0" u="none" strike="noStrike" kern="1200" cap="none" spc="0" normalizeH="0" baseline="0" noProof="0">
                <a:ln>
                  <a:noFill/>
                </a:ln>
                <a:solidFill>
                  <a:srgbClr val="000000"/>
                </a:solidFill>
                <a:effectLst/>
                <a:uLnTx/>
                <a:uFillTx/>
                <a:latin typeface="Arial"/>
                <a:ea typeface="+mn-ea"/>
                <a:cs typeface="Arial" panose="020B0604020202020204" pitchFamily="34" charset="0"/>
              </a:rPr>
              <a:t>Power output</a:t>
            </a:r>
          </a:p>
        </p:txBody>
      </p:sp>
      <p:sp>
        <p:nvSpPr>
          <p:cNvPr id="13" name="TextBox 12">
            <a:extLst>
              <a:ext uri="{FF2B5EF4-FFF2-40B4-BE49-F238E27FC236}">
                <a16:creationId xmlns:a16="http://schemas.microsoft.com/office/drawing/2014/main" id="{84806517-ECBF-AF71-2977-AA6ECCFCDFEE}"/>
              </a:ext>
            </a:extLst>
          </p:cNvPr>
          <p:cNvSpPr txBox="1">
            <a:spLocks/>
          </p:cNvSpPr>
          <p:nvPr/>
        </p:nvSpPr>
        <p:spPr>
          <a:xfrm>
            <a:off x="2224753" y="2724402"/>
            <a:ext cx="1396461" cy="365760"/>
          </a:xfrm>
          <a:prstGeom prst="rect">
            <a:avLst/>
          </a:prstGeom>
          <a:noFill/>
        </p:spPr>
        <p:txBody>
          <a:bodyPr vert="horz" wrap="square" lIns="0" tIns="0" rIns="0" bIns="0" rtlCol="0" anchor="ctr" anchorCtr="0">
            <a:no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228600" lvl="1" indent="-230400">
              <a:lnSpc>
                <a:spcPct val="100000"/>
              </a:lnSpc>
              <a:spcBef>
                <a:spcPts val="0"/>
              </a:spcBef>
              <a:spcAft>
                <a:spcPts val="300"/>
              </a:spcAft>
              <a:buSzPct val="110000"/>
              <a:buFont typeface="Wingdings" panose="05000000000000000000" pitchFamily="2" charset="2"/>
              <a:buChar char=""/>
              <a:defRPr lang="en-US" sz="1600" dirty="0"/>
            </a:lvl2pPr>
            <a:lvl3pPr marL="439200" lvl="2" indent="-208800">
              <a:lnSpc>
                <a:spcPct val="100000"/>
              </a:lnSpc>
              <a:spcBef>
                <a:spcPts val="0"/>
              </a:spcBef>
              <a:spcAft>
                <a:spcPts val="300"/>
              </a:spcAft>
              <a:buSzPct val="110000"/>
              <a:buFont typeface="Arial" panose="020B0604020202020204" pitchFamily="34" charset="0"/>
              <a:buChar char="‒"/>
              <a:defRPr lang="en-US" sz="1600" dirty="0"/>
            </a:lvl3pPr>
            <a:lvl4pPr marL="604800" lvl="3" indent="-154800">
              <a:lnSpc>
                <a:spcPct val="100000"/>
              </a:lnSpc>
              <a:spcBef>
                <a:spcPts val="0"/>
              </a:spcBef>
              <a:spcAft>
                <a:spcPts val="300"/>
              </a:spcAft>
              <a:buFont typeface="Arial" panose="020B0604020202020204" pitchFamily="34" charset="0"/>
              <a:buChar char="•"/>
              <a:defRPr lang="en-US" sz="1600" dirty="0"/>
            </a:lvl4pPr>
            <a:lvl5pPr marL="813600" lvl="4" indent="-147600">
              <a:lnSpc>
                <a:spcPct val="100000"/>
              </a:lnSpc>
              <a:spcBef>
                <a:spcPts val="0"/>
              </a:spcBef>
              <a:spcAft>
                <a:spcPts val="300"/>
              </a:spcAft>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a:t>~1+ GW</a:t>
            </a:r>
          </a:p>
        </p:txBody>
      </p:sp>
      <p:sp>
        <p:nvSpPr>
          <p:cNvPr id="14" name="TextBox 13">
            <a:extLst>
              <a:ext uri="{FF2B5EF4-FFF2-40B4-BE49-F238E27FC236}">
                <a16:creationId xmlns:a16="http://schemas.microsoft.com/office/drawing/2014/main" id="{5500C2C8-F926-3BE0-AB53-51B8B91E61B6}"/>
              </a:ext>
            </a:extLst>
          </p:cNvPr>
          <p:cNvSpPr txBox="1">
            <a:spLocks/>
          </p:cNvSpPr>
          <p:nvPr/>
        </p:nvSpPr>
        <p:spPr>
          <a:xfrm>
            <a:off x="3927956" y="2724402"/>
            <a:ext cx="1440301" cy="365760"/>
          </a:xfrm>
          <a:prstGeom prst="rect">
            <a:avLst/>
          </a:prstGeom>
          <a:noFill/>
        </p:spPr>
        <p:txBody>
          <a:bodyPr vert="horz" wrap="square" lIns="0" tIns="0" rIns="0" bIns="0" rtlCol="0" anchor="ctr" anchorCtr="0">
            <a:no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228600" lvl="1" indent="-230400">
              <a:lnSpc>
                <a:spcPct val="100000"/>
              </a:lnSpc>
              <a:spcBef>
                <a:spcPts val="0"/>
              </a:spcBef>
              <a:spcAft>
                <a:spcPts val="300"/>
              </a:spcAft>
              <a:buSzPct val="110000"/>
              <a:buFont typeface="Wingdings" panose="05000000000000000000" pitchFamily="2" charset="2"/>
              <a:buChar char=""/>
              <a:defRPr lang="en-US" sz="1600" dirty="0"/>
            </a:lvl2pPr>
            <a:lvl3pPr marL="439200" lvl="2" indent="-208800">
              <a:lnSpc>
                <a:spcPct val="100000"/>
              </a:lnSpc>
              <a:spcBef>
                <a:spcPts val="0"/>
              </a:spcBef>
              <a:spcAft>
                <a:spcPts val="300"/>
              </a:spcAft>
              <a:buSzPct val="110000"/>
              <a:buFont typeface="Arial" panose="020B0604020202020204" pitchFamily="34" charset="0"/>
              <a:buChar char="‒"/>
              <a:defRPr lang="en-US" sz="1600" dirty="0"/>
            </a:lvl3pPr>
            <a:lvl4pPr marL="604800" lvl="3" indent="-154800">
              <a:lnSpc>
                <a:spcPct val="100000"/>
              </a:lnSpc>
              <a:spcBef>
                <a:spcPts val="0"/>
              </a:spcBef>
              <a:spcAft>
                <a:spcPts val="300"/>
              </a:spcAft>
              <a:buFont typeface="Arial" panose="020B0604020202020204" pitchFamily="34" charset="0"/>
              <a:buChar char="•"/>
              <a:defRPr lang="en-US" sz="1600" dirty="0"/>
            </a:lvl4pPr>
            <a:lvl5pPr marL="813600" lvl="4" indent="-147600">
              <a:lnSpc>
                <a:spcPct val="100000"/>
              </a:lnSpc>
              <a:spcBef>
                <a:spcPts val="0"/>
              </a:spcBef>
              <a:spcAft>
                <a:spcPts val="300"/>
              </a:spcAft>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a:t>~70–300 MW</a:t>
            </a:r>
          </a:p>
        </p:txBody>
      </p:sp>
      <p:sp>
        <p:nvSpPr>
          <p:cNvPr id="15" name="TextBox 14">
            <a:extLst>
              <a:ext uri="{FF2B5EF4-FFF2-40B4-BE49-F238E27FC236}">
                <a16:creationId xmlns:a16="http://schemas.microsoft.com/office/drawing/2014/main" id="{562CC530-E13F-B3C6-0BDC-3F191818C44A}"/>
              </a:ext>
            </a:extLst>
          </p:cNvPr>
          <p:cNvSpPr txBox="1">
            <a:spLocks/>
          </p:cNvSpPr>
          <p:nvPr/>
        </p:nvSpPr>
        <p:spPr>
          <a:xfrm>
            <a:off x="7778786" y="2724402"/>
            <a:ext cx="1837273" cy="365760"/>
          </a:xfrm>
          <a:prstGeom prst="rect">
            <a:avLst/>
          </a:prstGeom>
        </p:spPr>
        <p:txBody>
          <a:bodyPr vert="horz" wrap="square" lIns="0" tIns="0" rIns="0" bIns="0" rtlCol="0" anchor="ctr" anchorCtr="0">
            <a:no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228600" lvl="1" indent="-230400">
              <a:lnSpc>
                <a:spcPct val="100000"/>
              </a:lnSpc>
              <a:spcBef>
                <a:spcPts val="0"/>
              </a:spcBef>
              <a:spcAft>
                <a:spcPts val="300"/>
              </a:spcAft>
              <a:buSzPct val="110000"/>
              <a:buFont typeface="Wingdings" panose="05000000000000000000" pitchFamily="2" charset="2"/>
              <a:buChar char=""/>
              <a:defRPr lang="en-US" sz="1600" dirty="0"/>
            </a:lvl2pPr>
            <a:lvl3pPr marL="439200" lvl="2" indent="-208800">
              <a:lnSpc>
                <a:spcPct val="100000"/>
              </a:lnSpc>
              <a:spcBef>
                <a:spcPts val="0"/>
              </a:spcBef>
              <a:spcAft>
                <a:spcPts val="300"/>
              </a:spcAft>
              <a:buSzPct val="110000"/>
              <a:buFont typeface="Arial" panose="020B0604020202020204" pitchFamily="34" charset="0"/>
              <a:buChar char="‒"/>
              <a:defRPr lang="en-US" sz="1600" dirty="0"/>
            </a:lvl3pPr>
            <a:lvl4pPr marL="604800" lvl="3" indent="-154800">
              <a:lnSpc>
                <a:spcPct val="100000"/>
              </a:lnSpc>
              <a:spcBef>
                <a:spcPts val="0"/>
              </a:spcBef>
              <a:spcAft>
                <a:spcPts val="300"/>
              </a:spcAft>
              <a:buFont typeface="Arial" panose="020B0604020202020204" pitchFamily="34" charset="0"/>
              <a:buChar char="•"/>
              <a:defRPr lang="en-US" sz="1600" dirty="0"/>
            </a:lvl4pPr>
            <a:lvl5pPr marL="813600" lvl="4" indent="-147600">
              <a:lnSpc>
                <a:spcPct val="100000"/>
              </a:lnSpc>
              <a:spcBef>
                <a:spcPts val="0"/>
              </a:spcBef>
              <a:spcAft>
                <a:spcPts val="300"/>
              </a:spcAft>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a:t>~200–800 MW</a:t>
            </a:r>
          </a:p>
        </p:txBody>
      </p:sp>
      <p:sp>
        <p:nvSpPr>
          <p:cNvPr id="16" name="TextBox 15">
            <a:extLst>
              <a:ext uri="{FF2B5EF4-FFF2-40B4-BE49-F238E27FC236}">
                <a16:creationId xmlns:a16="http://schemas.microsoft.com/office/drawing/2014/main" id="{EF8B8758-FF31-296F-309D-022D42180C30}"/>
              </a:ext>
            </a:extLst>
          </p:cNvPr>
          <p:cNvSpPr txBox="1">
            <a:spLocks/>
          </p:cNvSpPr>
          <p:nvPr/>
        </p:nvSpPr>
        <p:spPr>
          <a:xfrm>
            <a:off x="5674999" y="2724402"/>
            <a:ext cx="1797045" cy="365760"/>
          </a:xfrm>
          <a:prstGeom prst="rect">
            <a:avLst/>
          </a:prstGeom>
        </p:spPr>
        <p:txBody>
          <a:bodyPr vert="horz" wrap="square" lIns="0" tIns="0" rIns="0" bIns="0" rtlCol="0" anchor="ctr" anchorCtr="0">
            <a:no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228600" lvl="1" indent="-230400">
              <a:lnSpc>
                <a:spcPct val="100000"/>
              </a:lnSpc>
              <a:spcBef>
                <a:spcPts val="0"/>
              </a:spcBef>
              <a:spcAft>
                <a:spcPts val="300"/>
              </a:spcAft>
              <a:buSzPct val="110000"/>
              <a:buFont typeface="Wingdings" panose="05000000000000000000" pitchFamily="2" charset="2"/>
              <a:buChar char=""/>
              <a:defRPr lang="en-US" sz="1600" dirty="0"/>
            </a:lvl2pPr>
            <a:lvl3pPr marL="439200" lvl="2" indent="-208800">
              <a:lnSpc>
                <a:spcPct val="100000"/>
              </a:lnSpc>
              <a:spcBef>
                <a:spcPts val="0"/>
              </a:spcBef>
              <a:spcAft>
                <a:spcPts val="300"/>
              </a:spcAft>
              <a:buSzPct val="110000"/>
              <a:buFont typeface="Arial" panose="020B0604020202020204" pitchFamily="34" charset="0"/>
              <a:buChar char="‒"/>
              <a:defRPr lang="en-US" sz="1600" dirty="0"/>
            </a:lvl3pPr>
            <a:lvl4pPr marL="604800" lvl="3" indent="-154800">
              <a:lnSpc>
                <a:spcPct val="100000"/>
              </a:lnSpc>
              <a:spcBef>
                <a:spcPts val="0"/>
              </a:spcBef>
              <a:spcAft>
                <a:spcPts val="300"/>
              </a:spcAft>
              <a:buFont typeface="Arial" panose="020B0604020202020204" pitchFamily="34" charset="0"/>
              <a:buChar char="•"/>
              <a:defRPr lang="en-US" sz="1600" dirty="0"/>
            </a:lvl4pPr>
            <a:lvl5pPr marL="813600" lvl="4" indent="-147600">
              <a:lnSpc>
                <a:spcPct val="100000"/>
              </a:lnSpc>
              <a:spcBef>
                <a:spcPts val="0"/>
              </a:spcBef>
              <a:spcAft>
                <a:spcPts val="300"/>
              </a:spcAft>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a:t>~80–270 MW</a:t>
            </a:r>
          </a:p>
        </p:txBody>
      </p:sp>
      <p:sp>
        <p:nvSpPr>
          <p:cNvPr id="17" name="TextBox 16">
            <a:extLst>
              <a:ext uri="{FF2B5EF4-FFF2-40B4-BE49-F238E27FC236}">
                <a16:creationId xmlns:a16="http://schemas.microsoft.com/office/drawing/2014/main" id="{8824AA95-1031-11FA-7AA7-0F5D5CFFD029}"/>
              </a:ext>
            </a:extLst>
          </p:cNvPr>
          <p:cNvSpPr txBox="1">
            <a:spLocks/>
          </p:cNvSpPr>
          <p:nvPr/>
        </p:nvSpPr>
        <p:spPr>
          <a:xfrm>
            <a:off x="9922801" y="2724402"/>
            <a:ext cx="1797131" cy="365760"/>
          </a:xfrm>
          <a:prstGeom prst="rect">
            <a:avLst/>
          </a:prstGeom>
        </p:spPr>
        <p:txBody>
          <a:bodyPr vert="horz" wrap="square" lIns="0" tIns="0" rIns="0" bIns="0" rtlCol="0" anchor="ctr" anchorCtr="0">
            <a:no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228600" lvl="1" indent="-230400">
              <a:lnSpc>
                <a:spcPct val="100000"/>
              </a:lnSpc>
              <a:spcBef>
                <a:spcPts val="0"/>
              </a:spcBef>
              <a:spcAft>
                <a:spcPts val="300"/>
              </a:spcAft>
              <a:buSzPct val="110000"/>
              <a:buFont typeface="Wingdings" panose="05000000000000000000" pitchFamily="2" charset="2"/>
              <a:buChar char=""/>
              <a:defRPr lang="en-US" sz="1600" dirty="0"/>
            </a:lvl2pPr>
            <a:lvl3pPr marL="439200" lvl="2" indent="-208800">
              <a:lnSpc>
                <a:spcPct val="100000"/>
              </a:lnSpc>
              <a:spcBef>
                <a:spcPts val="0"/>
              </a:spcBef>
              <a:spcAft>
                <a:spcPts val="300"/>
              </a:spcAft>
              <a:buSzPct val="110000"/>
              <a:buFont typeface="Arial" panose="020B0604020202020204" pitchFamily="34" charset="0"/>
              <a:buChar char="‒"/>
              <a:defRPr lang="en-US" sz="1600" dirty="0"/>
            </a:lvl3pPr>
            <a:lvl4pPr marL="604800" lvl="3" indent="-154800">
              <a:lnSpc>
                <a:spcPct val="100000"/>
              </a:lnSpc>
              <a:spcBef>
                <a:spcPts val="0"/>
              </a:spcBef>
              <a:spcAft>
                <a:spcPts val="300"/>
              </a:spcAft>
              <a:buFont typeface="Arial" panose="020B0604020202020204" pitchFamily="34" charset="0"/>
              <a:buChar char="•"/>
              <a:defRPr lang="en-US" sz="1600" dirty="0"/>
            </a:lvl4pPr>
            <a:lvl5pPr marL="813600" lvl="4" indent="-147600">
              <a:lnSpc>
                <a:spcPct val="100000"/>
              </a:lnSpc>
              <a:spcBef>
                <a:spcPts val="0"/>
              </a:spcBef>
              <a:spcAft>
                <a:spcPts val="300"/>
              </a:spcAft>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a:t>~1–50 MW</a:t>
            </a:r>
          </a:p>
        </p:txBody>
      </p:sp>
      <p:sp>
        <p:nvSpPr>
          <p:cNvPr id="18" name="TextBox 17">
            <a:extLst>
              <a:ext uri="{FF2B5EF4-FFF2-40B4-BE49-F238E27FC236}">
                <a16:creationId xmlns:a16="http://schemas.microsoft.com/office/drawing/2014/main" id="{CAD70F96-5B3D-BF84-99BF-12911AF07683}"/>
              </a:ext>
            </a:extLst>
          </p:cNvPr>
          <p:cNvSpPr txBox="1">
            <a:spLocks/>
          </p:cNvSpPr>
          <p:nvPr/>
        </p:nvSpPr>
        <p:spPr>
          <a:xfrm>
            <a:off x="554736" y="3772238"/>
            <a:ext cx="1363275" cy="365760"/>
          </a:xfrm>
          <a:prstGeom prst="rect">
            <a:avLst/>
          </a:prstGeom>
        </p:spPr>
        <p:txBody>
          <a:bodyPr vert="horz" wrap="square" lIns="0" tIns="0" rIns="0" bIns="0" rtlCol="0" anchor="ctr">
            <a:no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228600" lvl="1" indent="-230400">
              <a:lnSpc>
                <a:spcPct val="100000"/>
              </a:lnSpc>
              <a:spcBef>
                <a:spcPts val="0"/>
              </a:spcBef>
              <a:spcAft>
                <a:spcPts val="300"/>
              </a:spcAft>
              <a:buSzPct val="110000"/>
              <a:buFont typeface="Wingdings" panose="05000000000000000000" pitchFamily="2" charset="2"/>
              <a:buChar char=""/>
              <a:defRPr lang="en-US" sz="1600" dirty="0"/>
            </a:lvl2pPr>
            <a:lvl3pPr marL="439200" lvl="2" indent="-208800">
              <a:lnSpc>
                <a:spcPct val="100000"/>
              </a:lnSpc>
              <a:spcBef>
                <a:spcPts val="0"/>
              </a:spcBef>
              <a:spcAft>
                <a:spcPts val="300"/>
              </a:spcAft>
              <a:buSzPct val="110000"/>
              <a:buFont typeface="Arial" panose="020B0604020202020204" pitchFamily="34" charset="0"/>
              <a:buChar char="‒"/>
              <a:defRPr lang="en-US" sz="1600" dirty="0"/>
            </a:lvl3pPr>
            <a:lvl4pPr marL="604800" lvl="3" indent="-154800">
              <a:lnSpc>
                <a:spcPct val="100000"/>
              </a:lnSpc>
              <a:spcBef>
                <a:spcPts val="0"/>
              </a:spcBef>
              <a:spcAft>
                <a:spcPts val="300"/>
              </a:spcAft>
              <a:buFont typeface="Arial" panose="020B0604020202020204" pitchFamily="34" charset="0"/>
              <a:buChar char="•"/>
              <a:defRPr lang="en-US" sz="1600" dirty="0"/>
            </a:lvl4pPr>
            <a:lvl5pPr marL="813600" lvl="4" indent="-147600">
              <a:lnSpc>
                <a:spcPct val="100000"/>
              </a:lnSpc>
              <a:spcBef>
                <a:spcPts val="0"/>
              </a:spcBef>
              <a:spcAft>
                <a:spcPts val="300"/>
              </a:spcAft>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None/>
              <a:tabLst/>
              <a:defRPr/>
            </a:pPr>
            <a:r>
              <a:rPr kumimoji="0" lang="en-US" b="1" i="0" u="none" strike="noStrike" kern="1200" cap="none" spc="0" normalizeH="0" baseline="0" noProof="0">
                <a:ln>
                  <a:noFill/>
                </a:ln>
                <a:solidFill>
                  <a:srgbClr val="000000"/>
                </a:solidFill>
                <a:effectLst/>
                <a:uLnTx/>
                <a:uFillTx/>
                <a:latin typeface="Arial"/>
                <a:ea typeface="+mn-ea"/>
                <a:cs typeface="Arial" panose="020B0604020202020204" pitchFamily="34" charset="0"/>
              </a:rPr>
              <a:t>Coolant</a:t>
            </a:r>
          </a:p>
        </p:txBody>
      </p:sp>
      <p:sp>
        <p:nvSpPr>
          <p:cNvPr id="19" name="TextBox 18">
            <a:extLst>
              <a:ext uri="{FF2B5EF4-FFF2-40B4-BE49-F238E27FC236}">
                <a16:creationId xmlns:a16="http://schemas.microsoft.com/office/drawing/2014/main" id="{566D84F6-2D32-992B-494C-B3F0DF8CFA54}"/>
              </a:ext>
            </a:extLst>
          </p:cNvPr>
          <p:cNvSpPr txBox="1">
            <a:spLocks/>
          </p:cNvSpPr>
          <p:nvPr/>
        </p:nvSpPr>
        <p:spPr>
          <a:xfrm>
            <a:off x="2224753" y="3856938"/>
            <a:ext cx="1396461" cy="365760"/>
          </a:xfrm>
          <a:prstGeom prst="rect">
            <a:avLst/>
          </a:prstGeom>
          <a:noFill/>
        </p:spPr>
        <p:txBody>
          <a:bodyPr vert="horz" wrap="square" lIns="0" tIns="0" rIns="0" bIns="0" rtlCol="0" anchor="ctr" anchorCtr="0">
            <a:no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228600" lvl="1" indent="-230400">
              <a:lnSpc>
                <a:spcPct val="100000"/>
              </a:lnSpc>
              <a:spcBef>
                <a:spcPts val="0"/>
              </a:spcBef>
              <a:spcAft>
                <a:spcPts val="300"/>
              </a:spcAft>
              <a:buSzPct val="110000"/>
              <a:buFont typeface="Wingdings" panose="05000000000000000000" pitchFamily="2" charset="2"/>
              <a:buChar char=""/>
              <a:defRPr lang="en-US" sz="1600" dirty="0"/>
            </a:lvl2pPr>
            <a:lvl3pPr marL="439200" lvl="2" indent="-208800">
              <a:lnSpc>
                <a:spcPct val="100000"/>
              </a:lnSpc>
              <a:spcBef>
                <a:spcPts val="0"/>
              </a:spcBef>
              <a:spcAft>
                <a:spcPts val="300"/>
              </a:spcAft>
              <a:buSzPct val="110000"/>
              <a:buFont typeface="Arial" panose="020B0604020202020204" pitchFamily="34" charset="0"/>
              <a:buChar char="‒"/>
              <a:defRPr lang="en-US" sz="1600" dirty="0"/>
            </a:lvl3pPr>
            <a:lvl4pPr marL="604800" lvl="3" indent="-154800">
              <a:lnSpc>
                <a:spcPct val="100000"/>
              </a:lnSpc>
              <a:spcBef>
                <a:spcPts val="0"/>
              </a:spcBef>
              <a:spcAft>
                <a:spcPts val="300"/>
              </a:spcAft>
              <a:buFont typeface="Arial" panose="020B0604020202020204" pitchFamily="34" charset="0"/>
              <a:buChar char="•"/>
              <a:defRPr lang="en-US" sz="1600" dirty="0"/>
            </a:lvl4pPr>
            <a:lvl5pPr marL="813600" lvl="4" indent="-147600">
              <a:lnSpc>
                <a:spcPct val="100000"/>
              </a:lnSpc>
              <a:spcBef>
                <a:spcPts val="0"/>
              </a:spcBef>
              <a:spcAft>
                <a:spcPts val="300"/>
              </a:spcAft>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a:t>Water</a:t>
            </a:r>
          </a:p>
        </p:txBody>
      </p:sp>
      <p:sp>
        <p:nvSpPr>
          <p:cNvPr id="20" name="TextBox 19">
            <a:extLst>
              <a:ext uri="{FF2B5EF4-FFF2-40B4-BE49-F238E27FC236}">
                <a16:creationId xmlns:a16="http://schemas.microsoft.com/office/drawing/2014/main" id="{F33E4501-77AF-115A-EE34-16A1D1F41FE6}"/>
              </a:ext>
            </a:extLst>
          </p:cNvPr>
          <p:cNvSpPr txBox="1">
            <a:spLocks/>
          </p:cNvSpPr>
          <p:nvPr/>
        </p:nvSpPr>
        <p:spPr>
          <a:xfrm>
            <a:off x="3927956" y="3856938"/>
            <a:ext cx="1440301" cy="365760"/>
          </a:xfrm>
          <a:prstGeom prst="rect">
            <a:avLst/>
          </a:prstGeom>
          <a:noFill/>
        </p:spPr>
        <p:txBody>
          <a:bodyPr vert="horz" wrap="square" lIns="0" tIns="0" rIns="0" bIns="0" rtlCol="0" anchor="ctr" anchorCtr="0">
            <a:no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228600" lvl="1" indent="-230400">
              <a:lnSpc>
                <a:spcPct val="100000"/>
              </a:lnSpc>
              <a:spcBef>
                <a:spcPts val="0"/>
              </a:spcBef>
              <a:spcAft>
                <a:spcPts val="300"/>
              </a:spcAft>
              <a:buSzPct val="110000"/>
              <a:buFont typeface="Wingdings" panose="05000000000000000000" pitchFamily="2" charset="2"/>
              <a:buChar char=""/>
              <a:defRPr lang="en-US" sz="1600" dirty="0"/>
            </a:lvl2pPr>
            <a:lvl3pPr marL="439200" lvl="2" indent="-208800">
              <a:lnSpc>
                <a:spcPct val="100000"/>
              </a:lnSpc>
              <a:spcBef>
                <a:spcPts val="0"/>
              </a:spcBef>
              <a:spcAft>
                <a:spcPts val="300"/>
              </a:spcAft>
              <a:buSzPct val="110000"/>
              <a:buFont typeface="Arial" panose="020B0604020202020204" pitchFamily="34" charset="0"/>
              <a:buChar char="‒"/>
              <a:defRPr lang="en-US" sz="1600" dirty="0"/>
            </a:lvl3pPr>
            <a:lvl4pPr marL="604800" lvl="3" indent="-154800">
              <a:lnSpc>
                <a:spcPct val="100000"/>
              </a:lnSpc>
              <a:spcBef>
                <a:spcPts val="0"/>
              </a:spcBef>
              <a:spcAft>
                <a:spcPts val="300"/>
              </a:spcAft>
              <a:buFont typeface="Arial" panose="020B0604020202020204" pitchFamily="34" charset="0"/>
              <a:buChar char="•"/>
              <a:defRPr lang="en-US" sz="1600" dirty="0"/>
            </a:lvl4pPr>
            <a:lvl5pPr marL="813600" lvl="4" indent="-147600">
              <a:lnSpc>
                <a:spcPct val="100000"/>
              </a:lnSpc>
              <a:spcBef>
                <a:spcPts val="0"/>
              </a:spcBef>
              <a:spcAft>
                <a:spcPts val="300"/>
              </a:spcAft>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a:t>Water</a:t>
            </a:r>
          </a:p>
        </p:txBody>
      </p:sp>
      <p:sp>
        <p:nvSpPr>
          <p:cNvPr id="21" name="TextBox 20">
            <a:extLst>
              <a:ext uri="{FF2B5EF4-FFF2-40B4-BE49-F238E27FC236}">
                <a16:creationId xmlns:a16="http://schemas.microsoft.com/office/drawing/2014/main" id="{1A12921D-FF06-1A83-FDDC-778BB2C64863}"/>
              </a:ext>
            </a:extLst>
          </p:cNvPr>
          <p:cNvSpPr txBox="1">
            <a:spLocks/>
          </p:cNvSpPr>
          <p:nvPr/>
        </p:nvSpPr>
        <p:spPr>
          <a:xfrm>
            <a:off x="7778786" y="3856938"/>
            <a:ext cx="1837273" cy="365760"/>
          </a:xfrm>
          <a:prstGeom prst="rect">
            <a:avLst/>
          </a:prstGeom>
        </p:spPr>
        <p:txBody>
          <a:bodyPr vert="horz" wrap="square" lIns="0" tIns="0" rIns="0" bIns="0" rtlCol="0" anchor="ctr" anchorCtr="0">
            <a:no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228600" lvl="1" indent="-230400">
              <a:lnSpc>
                <a:spcPct val="100000"/>
              </a:lnSpc>
              <a:spcBef>
                <a:spcPts val="0"/>
              </a:spcBef>
              <a:spcAft>
                <a:spcPts val="300"/>
              </a:spcAft>
              <a:buSzPct val="110000"/>
              <a:buFont typeface="Wingdings" panose="05000000000000000000" pitchFamily="2" charset="2"/>
              <a:buChar char=""/>
              <a:defRPr lang="en-US" sz="1600" dirty="0"/>
            </a:lvl2pPr>
            <a:lvl3pPr marL="439200" lvl="2" indent="-208800">
              <a:lnSpc>
                <a:spcPct val="100000"/>
              </a:lnSpc>
              <a:spcBef>
                <a:spcPts val="0"/>
              </a:spcBef>
              <a:spcAft>
                <a:spcPts val="300"/>
              </a:spcAft>
              <a:buSzPct val="110000"/>
              <a:buFont typeface="Arial" panose="020B0604020202020204" pitchFamily="34" charset="0"/>
              <a:buChar char="‒"/>
              <a:defRPr lang="en-US" sz="1600" dirty="0"/>
            </a:lvl3pPr>
            <a:lvl4pPr marL="604800" lvl="3" indent="-154800">
              <a:lnSpc>
                <a:spcPct val="100000"/>
              </a:lnSpc>
              <a:spcBef>
                <a:spcPts val="0"/>
              </a:spcBef>
              <a:spcAft>
                <a:spcPts val="300"/>
              </a:spcAft>
              <a:buFont typeface="Arial" panose="020B0604020202020204" pitchFamily="34" charset="0"/>
              <a:buChar char="•"/>
              <a:defRPr lang="en-US" sz="1600" dirty="0"/>
            </a:lvl4pPr>
            <a:lvl5pPr marL="813600" lvl="4" indent="-147600">
              <a:lnSpc>
                <a:spcPct val="100000"/>
              </a:lnSpc>
              <a:spcBef>
                <a:spcPts val="0"/>
              </a:spcBef>
              <a:spcAft>
                <a:spcPts val="300"/>
              </a:spcAft>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a:t>Metal or salt</a:t>
            </a:r>
          </a:p>
        </p:txBody>
      </p:sp>
      <p:sp>
        <p:nvSpPr>
          <p:cNvPr id="22" name="TextBox 21">
            <a:extLst>
              <a:ext uri="{FF2B5EF4-FFF2-40B4-BE49-F238E27FC236}">
                <a16:creationId xmlns:a16="http://schemas.microsoft.com/office/drawing/2014/main" id="{6551D4E2-757B-E27B-FC96-3025CF2CA084}"/>
              </a:ext>
            </a:extLst>
          </p:cNvPr>
          <p:cNvSpPr txBox="1">
            <a:spLocks/>
          </p:cNvSpPr>
          <p:nvPr/>
        </p:nvSpPr>
        <p:spPr>
          <a:xfrm>
            <a:off x="5674999" y="3856938"/>
            <a:ext cx="1797045" cy="365760"/>
          </a:xfrm>
          <a:prstGeom prst="rect">
            <a:avLst/>
          </a:prstGeom>
        </p:spPr>
        <p:txBody>
          <a:bodyPr vert="horz" wrap="square" lIns="0" tIns="0" rIns="0" bIns="0" rtlCol="0" anchor="ctr" anchorCtr="0">
            <a:no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228600" lvl="1" indent="-230400">
              <a:lnSpc>
                <a:spcPct val="100000"/>
              </a:lnSpc>
              <a:spcBef>
                <a:spcPts val="0"/>
              </a:spcBef>
              <a:spcAft>
                <a:spcPts val="300"/>
              </a:spcAft>
              <a:buSzPct val="110000"/>
              <a:buFont typeface="Wingdings" panose="05000000000000000000" pitchFamily="2" charset="2"/>
              <a:buChar char=""/>
              <a:defRPr lang="en-US" sz="1600" dirty="0"/>
            </a:lvl2pPr>
            <a:lvl3pPr marL="439200" lvl="2" indent="-208800">
              <a:lnSpc>
                <a:spcPct val="100000"/>
              </a:lnSpc>
              <a:spcBef>
                <a:spcPts val="0"/>
              </a:spcBef>
              <a:spcAft>
                <a:spcPts val="300"/>
              </a:spcAft>
              <a:buSzPct val="110000"/>
              <a:buFont typeface="Arial" panose="020B0604020202020204" pitchFamily="34" charset="0"/>
              <a:buChar char="‒"/>
              <a:defRPr lang="en-US" sz="1600" dirty="0"/>
            </a:lvl3pPr>
            <a:lvl4pPr marL="604800" lvl="3" indent="-154800">
              <a:lnSpc>
                <a:spcPct val="100000"/>
              </a:lnSpc>
              <a:spcBef>
                <a:spcPts val="0"/>
              </a:spcBef>
              <a:spcAft>
                <a:spcPts val="300"/>
              </a:spcAft>
              <a:buFont typeface="Arial" panose="020B0604020202020204" pitchFamily="34" charset="0"/>
              <a:buChar char="•"/>
              <a:defRPr lang="en-US" sz="1600" dirty="0"/>
            </a:lvl4pPr>
            <a:lvl5pPr marL="813600" lvl="4" indent="-147600">
              <a:lnSpc>
                <a:spcPct val="100000"/>
              </a:lnSpc>
              <a:spcBef>
                <a:spcPts val="0"/>
              </a:spcBef>
              <a:spcAft>
                <a:spcPts val="300"/>
              </a:spcAft>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a:t>Gas, e.g., helium</a:t>
            </a:r>
          </a:p>
        </p:txBody>
      </p:sp>
      <p:sp>
        <p:nvSpPr>
          <p:cNvPr id="23" name="TextBox 22">
            <a:extLst>
              <a:ext uri="{FF2B5EF4-FFF2-40B4-BE49-F238E27FC236}">
                <a16:creationId xmlns:a16="http://schemas.microsoft.com/office/drawing/2014/main" id="{AE6B2217-59DB-6DA9-DCB8-8A15B6CD18D6}"/>
              </a:ext>
            </a:extLst>
          </p:cNvPr>
          <p:cNvSpPr txBox="1">
            <a:spLocks/>
          </p:cNvSpPr>
          <p:nvPr/>
        </p:nvSpPr>
        <p:spPr>
          <a:xfrm>
            <a:off x="9922801" y="3856938"/>
            <a:ext cx="1797131" cy="365760"/>
          </a:xfrm>
          <a:prstGeom prst="rect">
            <a:avLst/>
          </a:prstGeom>
        </p:spPr>
        <p:txBody>
          <a:bodyPr vert="horz" wrap="square" lIns="0" tIns="0" rIns="0" bIns="0" rtlCol="0" anchor="ctr" anchorCtr="0">
            <a:no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228600" lvl="1" indent="-230400">
              <a:lnSpc>
                <a:spcPct val="100000"/>
              </a:lnSpc>
              <a:spcBef>
                <a:spcPts val="0"/>
              </a:spcBef>
              <a:spcAft>
                <a:spcPts val="300"/>
              </a:spcAft>
              <a:buSzPct val="110000"/>
              <a:buFont typeface="Wingdings" panose="05000000000000000000" pitchFamily="2" charset="2"/>
              <a:buChar char=""/>
              <a:defRPr lang="en-US" sz="1600" dirty="0"/>
            </a:lvl2pPr>
            <a:lvl3pPr marL="439200" lvl="2" indent="-208800">
              <a:lnSpc>
                <a:spcPct val="100000"/>
              </a:lnSpc>
              <a:spcBef>
                <a:spcPts val="0"/>
              </a:spcBef>
              <a:spcAft>
                <a:spcPts val="300"/>
              </a:spcAft>
              <a:buSzPct val="110000"/>
              <a:buFont typeface="Arial" panose="020B0604020202020204" pitchFamily="34" charset="0"/>
              <a:buChar char="‒"/>
              <a:defRPr lang="en-US" sz="1600" dirty="0"/>
            </a:lvl3pPr>
            <a:lvl4pPr marL="604800" lvl="3" indent="-154800">
              <a:lnSpc>
                <a:spcPct val="100000"/>
              </a:lnSpc>
              <a:spcBef>
                <a:spcPts val="0"/>
              </a:spcBef>
              <a:spcAft>
                <a:spcPts val="300"/>
              </a:spcAft>
              <a:buFont typeface="Arial" panose="020B0604020202020204" pitchFamily="34" charset="0"/>
              <a:buChar char="•"/>
              <a:defRPr lang="en-US" sz="1600" dirty="0"/>
            </a:lvl4pPr>
            <a:lvl5pPr marL="813600" lvl="4" indent="-147600">
              <a:lnSpc>
                <a:spcPct val="100000"/>
              </a:lnSpc>
              <a:spcBef>
                <a:spcPts val="0"/>
              </a:spcBef>
              <a:spcAft>
                <a:spcPts val="300"/>
              </a:spcAft>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a:t>Various</a:t>
            </a:r>
          </a:p>
        </p:txBody>
      </p:sp>
      <p:sp>
        <p:nvSpPr>
          <p:cNvPr id="24" name="TextBox 23">
            <a:extLst>
              <a:ext uri="{FF2B5EF4-FFF2-40B4-BE49-F238E27FC236}">
                <a16:creationId xmlns:a16="http://schemas.microsoft.com/office/drawing/2014/main" id="{862B4E15-57A8-D6B9-3E4B-4A98449A1AE0}"/>
              </a:ext>
            </a:extLst>
          </p:cNvPr>
          <p:cNvSpPr txBox="1">
            <a:spLocks/>
          </p:cNvSpPr>
          <p:nvPr/>
        </p:nvSpPr>
        <p:spPr>
          <a:xfrm>
            <a:off x="9922801" y="2066694"/>
            <a:ext cx="1797131" cy="457200"/>
          </a:xfrm>
          <a:prstGeom prst="rect">
            <a:avLst/>
          </a:prstGeom>
        </p:spPr>
        <p:txBody>
          <a:bodyPr vert="horz" wrap="square" lIns="0" tIns="0" rIns="0" bIns="0" rtlCol="0" anchor="b" anchorCtr="0">
            <a:no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228600" lvl="1" indent="-230400">
              <a:lnSpc>
                <a:spcPct val="100000"/>
              </a:lnSpc>
              <a:spcBef>
                <a:spcPts val="0"/>
              </a:spcBef>
              <a:spcAft>
                <a:spcPts val="300"/>
              </a:spcAft>
              <a:buSzPct val="110000"/>
              <a:buFont typeface="Wingdings" panose="05000000000000000000" pitchFamily="2" charset="2"/>
              <a:buChar char=""/>
              <a:defRPr lang="en-US" sz="1600" dirty="0"/>
            </a:lvl2pPr>
            <a:lvl3pPr marL="439200" lvl="2" indent="-208800">
              <a:lnSpc>
                <a:spcPct val="100000"/>
              </a:lnSpc>
              <a:spcBef>
                <a:spcPts val="0"/>
              </a:spcBef>
              <a:spcAft>
                <a:spcPts val="300"/>
              </a:spcAft>
              <a:buSzPct val="110000"/>
              <a:buFont typeface="Arial" panose="020B0604020202020204" pitchFamily="34" charset="0"/>
              <a:buChar char="‒"/>
              <a:defRPr lang="en-US" sz="1600" dirty="0"/>
            </a:lvl3pPr>
            <a:lvl4pPr marL="604800" lvl="3" indent="-154800">
              <a:lnSpc>
                <a:spcPct val="100000"/>
              </a:lnSpc>
              <a:spcBef>
                <a:spcPts val="0"/>
              </a:spcBef>
              <a:spcAft>
                <a:spcPts val="300"/>
              </a:spcAft>
              <a:buFont typeface="Arial" panose="020B0604020202020204" pitchFamily="34" charset="0"/>
              <a:buChar char="•"/>
              <a:defRPr lang="en-US" sz="1600" dirty="0"/>
            </a:lvl4pPr>
            <a:lvl5pPr marL="813600" lvl="4" indent="-147600">
              <a:lnSpc>
                <a:spcPct val="100000"/>
              </a:lnSpc>
              <a:spcBef>
                <a:spcPts val="0"/>
              </a:spcBef>
              <a:spcAft>
                <a:spcPts val="300"/>
              </a:spcAft>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b="1">
                <a:cs typeface="+mn-cs"/>
              </a:rPr>
              <a:t>Micro</a:t>
            </a:r>
          </a:p>
        </p:txBody>
      </p:sp>
      <p:cxnSp>
        <p:nvCxnSpPr>
          <p:cNvPr id="25" name="LineBasicStrong 22">
            <a:extLst>
              <a:ext uri="{FF2B5EF4-FFF2-40B4-BE49-F238E27FC236}">
                <a16:creationId xmlns:a16="http://schemas.microsoft.com/office/drawing/2014/main" id="{EC36815B-4C5A-97C8-DDE1-C5FAAC710431}"/>
              </a:ext>
            </a:extLst>
          </p:cNvPr>
          <p:cNvCxnSpPr>
            <a:cxnSpLocks/>
          </p:cNvCxnSpPr>
          <p:nvPr>
            <p:custDataLst>
              <p:tags r:id="rId3"/>
            </p:custDataLst>
          </p:nvPr>
        </p:nvCxnSpPr>
        <p:spPr>
          <a:xfrm>
            <a:off x="5674999" y="1955853"/>
            <a:ext cx="6044933" cy="0"/>
          </a:xfrm>
          <a:prstGeom prst="straightConnector1">
            <a:avLst/>
          </a:prstGeom>
          <a:ln w="19050" cap="flat">
            <a:solidFill>
              <a:schemeClr val="accent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6" name="LineBasicStrong 22">
            <a:extLst>
              <a:ext uri="{FF2B5EF4-FFF2-40B4-BE49-F238E27FC236}">
                <a16:creationId xmlns:a16="http://schemas.microsoft.com/office/drawing/2014/main" id="{23E8D557-3AC9-86F2-82D0-9A42C7578E5F}"/>
              </a:ext>
            </a:extLst>
          </p:cNvPr>
          <p:cNvCxnSpPr>
            <a:cxnSpLocks/>
          </p:cNvCxnSpPr>
          <p:nvPr>
            <p:custDataLst>
              <p:tags r:id="rId4"/>
            </p:custDataLst>
          </p:nvPr>
        </p:nvCxnSpPr>
        <p:spPr>
          <a:xfrm>
            <a:off x="2224753" y="1955853"/>
            <a:ext cx="3143504" cy="0"/>
          </a:xfrm>
          <a:prstGeom prst="straightConnector1">
            <a:avLst/>
          </a:prstGeom>
          <a:ln w="190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7" name="TextBox 26">
            <a:extLst>
              <a:ext uri="{FF2B5EF4-FFF2-40B4-BE49-F238E27FC236}">
                <a16:creationId xmlns:a16="http://schemas.microsoft.com/office/drawing/2014/main" id="{14C35890-E34F-2ED6-E1C5-57BE7BD16DF2}"/>
              </a:ext>
            </a:extLst>
          </p:cNvPr>
          <p:cNvSpPr txBox="1">
            <a:spLocks/>
          </p:cNvSpPr>
          <p:nvPr/>
        </p:nvSpPr>
        <p:spPr>
          <a:xfrm>
            <a:off x="554736" y="4426099"/>
            <a:ext cx="1363275" cy="1005840"/>
          </a:xfrm>
          <a:prstGeom prst="rect">
            <a:avLst/>
          </a:prstGeom>
        </p:spPr>
        <p:txBody>
          <a:bodyPr vert="horz" wrap="square" lIns="0" tIns="0" rIns="0" bIns="0" rtlCol="0">
            <a:no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228600" lvl="1" indent="-230400">
              <a:lnSpc>
                <a:spcPct val="100000"/>
              </a:lnSpc>
              <a:spcBef>
                <a:spcPts val="0"/>
              </a:spcBef>
              <a:spcAft>
                <a:spcPts val="300"/>
              </a:spcAft>
              <a:buSzPct val="110000"/>
              <a:buFont typeface="Wingdings" panose="05000000000000000000" pitchFamily="2" charset="2"/>
              <a:buChar char=""/>
              <a:defRPr lang="en-US" sz="1600" dirty="0"/>
            </a:lvl2pPr>
            <a:lvl3pPr marL="439200" lvl="2" indent="-208800">
              <a:lnSpc>
                <a:spcPct val="100000"/>
              </a:lnSpc>
              <a:spcBef>
                <a:spcPts val="0"/>
              </a:spcBef>
              <a:spcAft>
                <a:spcPts val="300"/>
              </a:spcAft>
              <a:buSzPct val="110000"/>
              <a:buFont typeface="Arial" panose="020B0604020202020204" pitchFamily="34" charset="0"/>
              <a:buChar char="‒"/>
              <a:defRPr lang="en-US" sz="1600" dirty="0"/>
            </a:lvl3pPr>
            <a:lvl4pPr marL="604800" lvl="3" indent="-154800">
              <a:lnSpc>
                <a:spcPct val="100000"/>
              </a:lnSpc>
              <a:spcBef>
                <a:spcPts val="0"/>
              </a:spcBef>
              <a:spcAft>
                <a:spcPts val="300"/>
              </a:spcAft>
              <a:buFont typeface="Arial" panose="020B0604020202020204" pitchFamily="34" charset="0"/>
              <a:buChar char="•"/>
              <a:defRPr lang="en-US" sz="1600" dirty="0"/>
            </a:lvl4pPr>
            <a:lvl5pPr marL="813600" lvl="4" indent="-147600">
              <a:lnSpc>
                <a:spcPct val="100000"/>
              </a:lnSpc>
              <a:spcBef>
                <a:spcPts val="0"/>
              </a:spcBef>
              <a:spcAft>
                <a:spcPts val="300"/>
              </a:spcAft>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None/>
              <a:tabLst/>
              <a:defRPr/>
            </a:pPr>
            <a:r>
              <a:rPr lang="en-US" b="1">
                <a:solidFill>
                  <a:srgbClr val="000000"/>
                </a:solidFill>
                <a:latin typeface="Arial"/>
              </a:rPr>
              <a:t>Select programs (reactor developer)</a:t>
            </a:r>
            <a:endParaRPr kumimoji="0" lang="en-US" b="1"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cxnSp>
        <p:nvCxnSpPr>
          <p:cNvPr id="28" name="LineBasicStrong 22">
            <a:extLst>
              <a:ext uri="{FF2B5EF4-FFF2-40B4-BE49-F238E27FC236}">
                <a16:creationId xmlns:a16="http://schemas.microsoft.com/office/drawing/2014/main" id="{2720EC1F-55D5-5555-1AD9-5942B4A4D4AF}"/>
              </a:ext>
            </a:extLst>
          </p:cNvPr>
          <p:cNvCxnSpPr>
            <a:cxnSpLocks/>
          </p:cNvCxnSpPr>
          <p:nvPr>
            <p:custDataLst>
              <p:tags r:id="rId5"/>
            </p:custDataLst>
          </p:nvPr>
        </p:nvCxnSpPr>
        <p:spPr>
          <a:xfrm>
            <a:off x="554736" y="4322953"/>
            <a:ext cx="11165196" cy="0"/>
          </a:xfrm>
          <a:prstGeom prst="straightConnector1">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9" name="TextBox 28">
            <a:extLst>
              <a:ext uri="{FF2B5EF4-FFF2-40B4-BE49-F238E27FC236}">
                <a16:creationId xmlns:a16="http://schemas.microsoft.com/office/drawing/2014/main" id="{586767B4-F9D2-52EC-1293-05DA0ABB4934}"/>
              </a:ext>
            </a:extLst>
          </p:cNvPr>
          <p:cNvSpPr txBox="1">
            <a:spLocks/>
          </p:cNvSpPr>
          <p:nvPr/>
        </p:nvSpPr>
        <p:spPr>
          <a:xfrm>
            <a:off x="2224753" y="4423208"/>
            <a:ext cx="1509849" cy="1005840"/>
          </a:xfrm>
          <a:prstGeom prst="rect">
            <a:avLst/>
          </a:prstGeom>
          <a:noFill/>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228600" lvl="1" indent="-230400">
              <a:lnSpc>
                <a:spcPct val="100000"/>
              </a:lnSpc>
              <a:spcBef>
                <a:spcPts val="0"/>
              </a:spcBef>
              <a:spcAft>
                <a:spcPts val="300"/>
              </a:spcAft>
              <a:buSzPct val="110000"/>
              <a:buFont typeface="Wingdings" panose="05000000000000000000" pitchFamily="2" charset="2"/>
              <a:buChar char=""/>
              <a:defRPr lang="en-US" sz="1600" dirty="0"/>
            </a:lvl2pPr>
            <a:lvl3pPr marL="439200" lvl="2" indent="-208800">
              <a:lnSpc>
                <a:spcPct val="100000"/>
              </a:lnSpc>
              <a:spcBef>
                <a:spcPts val="0"/>
              </a:spcBef>
              <a:spcAft>
                <a:spcPts val="300"/>
              </a:spcAft>
              <a:buSzPct val="110000"/>
              <a:buFont typeface="Arial" panose="020B0604020202020204" pitchFamily="34" charset="0"/>
              <a:buChar char="‒"/>
              <a:defRPr lang="en-US" sz="1600" dirty="0"/>
            </a:lvl3pPr>
            <a:lvl4pPr marL="604800" lvl="3" indent="-154800">
              <a:lnSpc>
                <a:spcPct val="100000"/>
              </a:lnSpc>
              <a:spcBef>
                <a:spcPts val="0"/>
              </a:spcBef>
              <a:spcAft>
                <a:spcPts val="300"/>
              </a:spcAft>
              <a:buFont typeface="Arial" panose="020B0604020202020204" pitchFamily="34" charset="0"/>
              <a:buChar char="•"/>
              <a:defRPr lang="en-US" sz="1600" dirty="0"/>
            </a:lvl4pPr>
            <a:lvl5pPr marL="813600" lvl="4" indent="-147600">
              <a:lnSpc>
                <a:spcPct val="100000"/>
              </a:lnSpc>
              <a:spcBef>
                <a:spcPts val="0"/>
              </a:spcBef>
              <a:spcAft>
                <a:spcPts val="300"/>
              </a:spcAft>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a:t>LPO loan guarantees for Vogtle Units 3 and 4 (Westinghouse)</a:t>
            </a:r>
          </a:p>
        </p:txBody>
      </p:sp>
      <p:sp>
        <p:nvSpPr>
          <p:cNvPr id="30" name="TextBox 29">
            <a:extLst>
              <a:ext uri="{FF2B5EF4-FFF2-40B4-BE49-F238E27FC236}">
                <a16:creationId xmlns:a16="http://schemas.microsoft.com/office/drawing/2014/main" id="{0138E884-F346-9310-F3B6-8CA8C8D60E75}"/>
              </a:ext>
            </a:extLst>
          </p:cNvPr>
          <p:cNvSpPr txBox="1">
            <a:spLocks/>
          </p:cNvSpPr>
          <p:nvPr/>
        </p:nvSpPr>
        <p:spPr>
          <a:xfrm>
            <a:off x="3927956" y="4423208"/>
            <a:ext cx="1396461" cy="1005840"/>
          </a:xfrm>
          <a:prstGeom prst="rect">
            <a:avLst/>
          </a:prstGeom>
          <a:noFill/>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228600" lvl="1" indent="-230400">
              <a:lnSpc>
                <a:spcPct val="100000"/>
              </a:lnSpc>
              <a:spcBef>
                <a:spcPts val="0"/>
              </a:spcBef>
              <a:spcAft>
                <a:spcPts val="300"/>
              </a:spcAft>
              <a:buSzPct val="110000"/>
              <a:buFont typeface="Wingdings" panose="05000000000000000000" pitchFamily="2" charset="2"/>
              <a:buChar char=""/>
              <a:defRPr lang="en-US" sz="1600" dirty="0"/>
            </a:lvl2pPr>
            <a:lvl3pPr marL="439200" lvl="2" indent="-208800">
              <a:lnSpc>
                <a:spcPct val="100000"/>
              </a:lnSpc>
              <a:spcBef>
                <a:spcPts val="0"/>
              </a:spcBef>
              <a:spcAft>
                <a:spcPts val="300"/>
              </a:spcAft>
              <a:buSzPct val="110000"/>
              <a:buFont typeface="Arial" panose="020B0604020202020204" pitchFamily="34" charset="0"/>
              <a:buChar char="‒"/>
              <a:defRPr lang="en-US" sz="1600" dirty="0"/>
            </a:lvl3pPr>
            <a:lvl4pPr marL="604800" lvl="3" indent="-154800">
              <a:lnSpc>
                <a:spcPct val="100000"/>
              </a:lnSpc>
              <a:spcBef>
                <a:spcPts val="0"/>
              </a:spcBef>
              <a:spcAft>
                <a:spcPts val="300"/>
              </a:spcAft>
              <a:buFont typeface="Arial" panose="020B0604020202020204" pitchFamily="34" charset="0"/>
              <a:buChar char="•"/>
              <a:defRPr lang="en-US" sz="1600" dirty="0"/>
            </a:lvl4pPr>
            <a:lvl5pPr marL="813600" lvl="4" indent="-147600">
              <a:lnSpc>
                <a:spcPct val="100000"/>
              </a:lnSpc>
              <a:spcBef>
                <a:spcPts val="0"/>
              </a:spcBef>
              <a:spcAft>
                <a:spcPts val="300"/>
              </a:spcAft>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a:t>Carbon Free Power Project (</a:t>
            </a:r>
            <a:r>
              <a:rPr lang="en-US" err="1"/>
              <a:t>NuScale</a:t>
            </a:r>
            <a:r>
              <a:rPr lang="en-US"/>
              <a:t>)</a:t>
            </a:r>
          </a:p>
        </p:txBody>
      </p:sp>
      <p:sp>
        <p:nvSpPr>
          <p:cNvPr id="31" name="TextBox 30">
            <a:extLst>
              <a:ext uri="{FF2B5EF4-FFF2-40B4-BE49-F238E27FC236}">
                <a16:creationId xmlns:a16="http://schemas.microsoft.com/office/drawing/2014/main" id="{72BF7D76-D3BB-853E-6A31-1EBC5800EE07}"/>
              </a:ext>
            </a:extLst>
          </p:cNvPr>
          <p:cNvSpPr txBox="1">
            <a:spLocks/>
          </p:cNvSpPr>
          <p:nvPr/>
        </p:nvSpPr>
        <p:spPr>
          <a:xfrm>
            <a:off x="5677174" y="4423208"/>
            <a:ext cx="1396461" cy="1005840"/>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228600" lvl="1" indent="-230400">
              <a:lnSpc>
                <a:spcPct val="100000"/>
              </a:lnSpc>
              <a:spcBef>
                <a:spcPts val="0"/>
              </a:spcBef>
              <a:spcAft>
                <a:spcPts val="300"/>
              </a:spcAft>
              <a:buSzPct val="110000"/>
              <a:buFont typeface="Wingdings" panose="05000000000000000000" pitchFamily="2" charset="2"/>
              <a:buChar char=""/>
              <a:defRPr lang="en-US" sz="1600" dirty="0"/>
            </a:lvl2pPr>
            <a:lvl3pPr marL="439200" lvl="2" indent="-208800">
              <a:lnSpc>
                <a:spcPct val="100000"/>
              </a:lnSpc>
              <a:spcBef>
                <a:spcPts val="0"/>
              </a:spcBef>
              <a:spcAft>
                <a:spcPts val="300"/>
              </a:spcAft>
              <a:buSzPct val="110000"/>
              <a:buFont typeface="Arial" panose="020B0604020202020204" pitchFamily="34" charset="0"/>
              <a:buChar char="‒"/>
              <a:defRPr lang="en-US" sz="1600" dirty="0"/>
            </a:lvl3pPr>
            <a:lvl4pPr marL="604800" lvl="3" indent="-154800">
              <a:lnSpc>
                <a:spcPct val="100000"/>
              </a:lnSpc>
              <a:spcBef>
                <a:spcPts val="0"/>
              </a:spcBef>
              <a:spcAft>
                <a:spcPts val="300"/>
              </a:spcAft>
              <a:buFont typeface="Arial" panose="020B0604020202020204" pitchFamily="34" charset="0"/>
              <a:buChar char="•"/>
              <a:defRPr lang="en-US" sz="1600" dirty="0"/>
            </a:lvl4pPr>
            <a:lvl5pPr marL="813600" lvl="4" indent="-147600">
              <a:lnSpc>
                <a:spcPct val="100000"/>
              </a:lnSpc>
              <a:spcBef>
                <a:spcPts val="0"/>
              </a:spcBef>
              <a:spcAft>
                <a:spcPts val="300"/>
              </a:spcAft>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a:t>Advanced Reactor Demo. Program	    (X-energy)</a:t>
            </a:r>
          </a:p>
        </p:txBody>
      </p:sp>
      <p:sp>
        <p:nvSpPr>
          <p:cNvPr id="32" name="TextBox 31">
            <a:extLst>
              <a:ext uri="{FF2B5EF4-FFF2-40B4-BE49-F238E27FC236}">
                <a16:creationId xmlns:a16="http://schemas.microsoft.com/office/drawing/2014/main" id="{5CD44AB3-1D7E-9C25-B226-75A019B56324}"/>
              </a:ext>
            </a:extLst>
          </p:cNvPr>
          <p:cNvSpPr txBox="1">
            <a:spLocks/>
          </p:cNvSpPr>
          <p:nvPr/>
        </p:nvSpPr>
        <p:spPr>
          <a:xfrm>
            <a:off x="7781797" y="4423208"/>
            <a:ext cx="1396461" cy="1005840"/>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228600" lvl="1" indent="-230400">
              <a:lnSpc>
                <a:spcPct val="100000"/>
              </a:lnSpc>
              <a:spcBef>
                <a:spcPts val="0"/>
              </a:spcBef>
              <a:spcAft>
                <a:spcPts val="300"/>
              </a:spcAft>
              <a:buSzPct val="110000"/>
              <a:buFont typeface="Wingdings" panose="05000000000000000000" pitchFamily="2" charset="2"/>
              <a:buChar char=""/>
              <a:defRPr lang="en-US" sz="1600" dirty="0"/>
            </a:lvl2pPr>
            <a:lvl3pPr marL="439200" lvl="2" indent="-208800">
              <a:lnSpc>
                <a:spcPct val="100000"/>
              </a:lnSpc>
              <a:spcBef>
                <a:spcPts val="0"/>
              </a:spcBef>
              <a:spcAft>
                <a:spcPts val="300"/>
              </a:spcAft>
              <a:buSzPct val="110000"/>
              <a:buFont typeface="Arial" panose="020B0604020202020204" pitchFamily="34" charset="0"/>
              <a:buChar char="‒"/>
              <a:defRPr lang="en-US" sz="1600" dirty="0"/>
            </a:lvl3pPr>
            <a:lvl4pPr marL="604800" lvl="3" indent="-154800">
              <a:lnSpc>
                <a:spcPct val="100000"/>
              </a:lnSpc>
              <a:spcBef>
                <a:spcPts val="0"/>
              </a:spcBef>
              <a:spcAft>
                <a:spcPts val="300"/>
              </a:spcAft>
              <a:buFont typeface="Arial" panose="020B0604020202020204" pitchFamily="34" charset="0"/>
              <a:buChar char="•"/>
              <a:defRPr lang="en-US" sz="1600" dirty="0"/>
            </a:lvl4pPr>
            <a:lvl5pPr marL="813600" lvl="4" indent="-147600">
              <a:lnSpc>
                <a:spcPct val="100000"/>
              </a:lnSpc>
              <a:spcBef>
                <a:spcPts val="0"/>
              </a:spcBef>
              <a:spcAft>
                <a:spcPts val="300"/>
              </a:spcAft>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a:t>Advanced Reactor Demo. Program (</a:t>
            </a:r>
            <a:r>
              <a:rPr lang="en-US" err="1"/>
              <a:t>TerraPower</a:t>
            </a:r>
            <a:r>
              <a:rPr lang="en-US"/>
              <a:t>)</a:t>
            </a:r>
          </a:p>
        </p:txBody>
      </p:sp>
      <p:sp>
        <p:nvSpPr>
          <p:cNvPr id="33" name="TextBox 32">
            <a:extLst>
              <a:ext uri="{FF2B5EF4-FFF2-40B4-BE49-F238E27FC236}">
                <a16:creationId xmlns:a16="http://schemas.microsoft.com/office/drawing/2014/main" id="{01F7150A-C8D3-7AA4-D309-55B5ED02A834}"/>
              </a:ext>
            </a:extLst>
          </p:cNvPr>
          <p:cNvSpPr txBox="1">
            <a:spLocks/>
          </p:cNvSpPr>
          <p:nvPr/>
        </p:nvSpPr>
        <p:spPr>
          <a:xfrm>
            <a:off x="9922801" y="4423208"/>
            <a:ext cx="1396461" cy="1005840"/>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228600" lvl="1" indent="-230400">
              <a:lnSpc>
                <a:spcPct val="100000"/>
              </a:lnSpc>
              <a:spcBef>
                <a:spcPts val="0"/>
              </a:spcBef>
              <a:spcAft>
                <a:spcPts val="300"/>
              </a:spcAft>
              <a:buSzPct val="110000"/>
              <a:buFont typeface="Wingdings" panose="05000000000000000000" pitchFamily="2" charset="2"/>
              <a:buChar char=""/>
              <a:defRPr lang="en-US" sz="1600" dirty="0"/>
            </a:lvl2pPr>
            <a:lvl3pPr marL="439200" lvl="2" indent="-208800">
              <a:lnSpc>
                <a:spcPct val="100000"/>
              </a:lnSpc>
              <a:spcBef>
                <a:spcPts val="0"/>
              </a:spcBef>
              <a:spcAft>
                <a:spcPts val="300"/>
              </a:spcAft>
              <a:buSzPct val="110000"/>
              <a:buFont typeface="Arial" panose="020B0604020202020204" pitchFamily="34" charset="0"/>
              <a:buChar char="‒"/>
              <a:defRPr lang="en-US" sz="1600" dirty="0"/>
            </a:lvl3pPr>
            <a:lvl4pPr marL="604800" lvl="3" indent="-154800">
              <a:lnSpc>
                <a:spcPct val="100000"/>
              </a:lnSpc>
              <a:spcBef>
                <a:spcPts val="0"/>
              </a:spcBef>
              <a:spcAft>
                <a:spcPts val="300"/>
              </a:spcAft>
              <a:buFont typeface="Arial" panose="020B0604020202020204" pitchFamily="34" charset="0"/>
              <a:buChar char="•"/>
              <a:defRPr lang="en-US" sz="1600" dirty="0"/>
            </a:lvl4pPr>
            <a:lvl5pPr marL="813600" lvl="4" indent="-147600">
              <a:lnSpc>
                <a:spcPct val="100000"/>
              </a:lnSpc>
              <a:spcBef>
                <a:spcPts val="0"/>
              </a:spcBef>
              <a:spcAft>
                <a:spcPts val="300"/>
              </a:spcAft>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a:t>DOD Project Pele (BWXT), Eielson Air Force Base RFP (TBD)</a:t>
            </a:r>
          </a:p>
        </p:txBody>
      </p:sp>
      <p:cxnSp>
        <p:nvCxnSpPr>
          <p:cNvPr id="34" name="LineBasicStrong 22">
            <a:extLst>
              <a:ext uri="{FF2B5EF4-FFF2-40B4-BE49-F238E27FC236}">
                <a16:creationId xmlns:a16="http://schemas.microsoft.com/office/drawing/2014/main" id="{F491E455-4E04-7A93-EA60-0E8B3564D7AE}"/>
              </a:ext>
            </a:extLst>
          </p:cNvPr>
          <p:cNvCxnSpPr>
            <a:cxnSpLocks/>
          </p:cNvCxnSpPr>
          <p:nvPr>
            <p:custDataLst>
              <p:tags r:id="rId6"/>
            </p:custDataLst>
          </p:nvPr>
        </p:nvCxnSpPr>
        <p:spPr>
          <a:xfrm>
            <a:off x="554736" y="3169241"/>
            <a:ext cx="11165196" cy="0"/>
          </a:xfrm>
          <a:prstGeom prst="straightConnector1">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35" name="TextBox 34">
            <a:extLst>
              <a:ext uri="{FF2B5EF4-FFF2-40B4-BE49-F238E27FC236}">
                <a16:creationId xmlns:a16="http://schemas.microsoft.com/office/drawing/2014/main" id="{F2BBE82F-A4F2-81FF-8A88-06F3DC1119BC}"/>
              </a:ext>
            </a:extLst>
          </p:cNvPr>
          <p:cNvSpPr txBox="1">
            <a:spLocks/>
          </p:cNvSpPr>
          <p:nvPr/>
        </p:nvSpPr>
        <p:spPr>
          <a:xfrm>
            <a:off x="554736" y="3227145"/>
            <a:ext cx="1363275" cy="365760"/>
          </a:xfrm>
          <a:prstGeom prst="rect">
            <a:avLst/>
          </a:prstGeom>
        </p:spPr>
        <p:txBody>
          <a:bodyPr vert="horz" wrap="square" lIns="0" tIns="0" rIns="0" bIns="0" rtlCol="0" anchor="ctr">
            <a:no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228600" lvl="1" indent="-230400">
              <a:lnSpc>
                <a:spcPct val="100000"/>
              </a:lnSpc>
              <a:spcBef>
                <a:spcPts val="0"/>
              </a:spcBef>
              <a:spcAft>
                <a:spcPts val="300"/>
              </a:spcAft>
              <a:buSzPct val="110000"/>
              <a:buFont typeface="Wingdings" panose="05000000000000000000" pitchFamily="2" charset="2"/>
              <a:buChar char=""/>
              <a:defRPr lang="en-US" sz="1600" dirty="0"/>
            </a:lvl2pPr>
            <a:lvl3pPr marL="439200" lvl="2" indent="-208800">
              <a:lnSpc>
                <a:spcPct val="100000"/>
              </a:lnSpc>
              <a:spcBef>
                <a:spcPts val="0"/>
              </a:spcBef>
              <a:spcAft>
                <a:spcPts val="300"/>
              </a:spcAft>
              <a:buSzPct val="110000"/>
              <a:buFont typeface="Arial" panose="020B0604020202020204" pitchFamily="34" charset="0"/>
              <a:buChar char="‒"/>
              <a:defRPr lang="en-US" sz="1600" dirty="0"/>
            </a:lvl3pPr>
            <a:lvl4pPr marL="604800" lvl="3" indent="-154800">
              <a:lnSpc>
                <a:spcPct val="100000"/>
              </a:lnSpc>
              <a:spcBef>
                <a:spcPts val="0"/>
              </a:spcBef>
              <a:spcAft>
                <a:spcPts val="300"/>
              </a:spcAft>
              <a:buFont typeface="Arial" panose="020B0604020202020204" pitchFamily="34" charset="0"/>
              <a:buChar char="•"/>
              <a:defRPr lang="en-US" sz="1600" dirty="0"/>
            </a:lvl4pPr>
            <a:lvl5pPr marL="813600" lvl="4" indent="-147600">
              <a:lnSpc>
                <a:spcPct val="100000"/>
              </a:lnSpc>
              <a:spcBef>
                <a:spcPts val="0"/>
              </a:spcBef>
              <a:spcAft>
                <a:spcPts val="300"/>
              </a:spcAft>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None/>
              <a:tabLst/>
              <a:defRPr/>
            </a:pPr>
            <a:r>
              <a:rPr kumimoji="0" lang="en-US" b="1" i="0" u="none" strike="noStrike" kern="1200" cap="none" spc="0" normalizeH="0" baseline="0" noProof="0">
                <a:ln>
                  <a:noFill/>
                </a:ln>
                <a:solidFill>
                  <a:srgbClr val="000000"/>
                </a:solidFill>
                <a:effectLst/>
                <a:uLnTx/>
                <a:uFillTx/>
                <a:latin typeface="Arial"/>
                <a:ea typeface="+mn-ea"/>
                <a:cs typeface="Arial" panose="020B0604020202020204" pitchFamily="34" charset="0"/>
              </a:rPr>
              <a:t>Typical fuel</a:t>
            </a:r>
          </a:p>
        </p:txBody>
      </p:sp>
      <p:sp>
        <p:nvSpPr>
          <p:cNvPr id="36" name="TextBox 35">
            <a:extLst>
              <a:ext uri="{FF2B5EF4-FFF2-40B4-BE49-F238E27FC236}">
                <a16:creationId xmlns:a16="http://schemas.microsoft.com/office/drawing/2014/main" id="{701AD4E1-2761-4539-0BAB-B74BF0EC0FA9}"/>
              </a:ext>
            </a:extLst>
          </p:cNvPr>
          <p:cNvSpPr txBox="1">
            <a:spLocks/>
          </p:cNvSpPr>
          <p:nvPr/>
        </p:nvSpPr>
        <p:spPr>
          <a:xfrm>
            <a:off x="2224753" y="3290670"/>
            <a:ext cx="1396461" cy="365760"/>
          </a:xfrm>
          <a:prstGeom prst="rect">
            <a:avLst/>
          </a:prstGeom>
          <a:noFill/>
        </p:spPr>
        <p:txBody>
          <a:bodyPr vert="horz" wrap="square" lIns="0" tIns="0" rIns="0" bIns="0" rtlCol="0" anchor="ctr" anchorCtr="0">
            <a:no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228600" lvl="1" indent="-230400">
              <a:lnSpc>
                <a:spcPct val="100000"/>
              </a:lnSpc>
              <a:spcBef>
                <a:spcPts val="0"/>
              </a:spcBef>
              <a:spcAft>
                <a:spcPts val="300"/>
              </a:spcAft>
              <a:buSzPct val="110000"/>
              <a:buFont typeface="Wingdings" panose="05000000000000000000" pitchFamily="2" charset="2"/>
              <a:buChar char=""/>
              <a:defRPr lang="en-US" sz="1600" dirty="0"/>
            </a:lvl2pPr>
            <a:lvl3pPr marL="439200" lvl="2" indent="-208800">
              <a:lnSpc>
                <a:spcPct val="100000"/>
              </a:lnSpc>
              <a:spcBef>
                <a:spcPts val="0"/>
              </a:spcBef>
              <a:spcAft>
                <a:spcPts val="300"/>
              </a:spcAft>
              <a:buSzPct val="110000"/>
              <a:buFont typeface="Arial" panose="020B0604020202020204" pitchFamily="34" charset="0"/>
              <a:buChar char="‒"/>
              <a:defRPr lang="en-US" sz="1600" dirty="0"/>
            </a:lvl3pPr>
            <a:lvl4pPr marL="604800" lvl="3" indent="-154800">
              <a:lnSpc>
                <a:spcPct val="100000"/>
              </a:lnSpc>
              <a:spcBef>
                <a:spcPts val="0"/>
              </a:spcBef>
              <a:spcAft>
                <a:spcPts val="300"/>
              </a:spcAft>
              <a:buFont typeface="Arial" panose="020B0604020202020204" pitchFamily="34" charset="0"/>
              <a:buChar char="•"/>
              <a:defRPr lang="en-US" sz="1600" dirty="0"/>
            </a:lvl4pPr>
            <a:lvl5pPr marL="813600" lvl="4" indent="-147600">
              <a:lnSpc>
                <a:spcPct val="100000"/>
              </a:lnSpc>
              <a:spcBef>
                <a:spcPts val="0"/>
              </a:spcBef>
              <a:spcAft>
                <a:spcPts val="300"/>
              </a:spcAft>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a:t>LEU</a:t>
            </a:r>
          </a:p>
        </p:txBody>
      </p:sp>
      <p:sp>
        <p:nvSpPr>
          <p:cNvPr id="37" name="TextBox 36">
            <a:extLst>
              <a:ext uri="{FF2B5EF4-FFF2-40B4-BE49-F238E27FC236}">
                <a16:creationId xmlns:a16="http://schemas.microsoft.com/office/drawing/2014/main" id="{E67EDB6E-7AD7-4BB0-09DB-FAE0685B2071}"/>
              </a:ext>
            </a:extLst>
          </p:cNvPr>
          <p:cNvSpPr txBox="1">
            <a:spLocks/>
          </p:cNvSpPr>
          <p:nvPr/>
        </p:nvSpPr>
        <p:spPr>
          <a:xfrm>
            <a:off x="3927956" y="3290670"/>
            <a:ext cx="1440301" cy="365760"/>
          </a:xfrm>
          <a:prstGeom prst="rect">
            <a:avLst/>
          </a:prstGeom>
          <a:noFill/>
        </p:spPr>
        <p:txBody>
          <a:bodyPr vert="horz" wrap="square" lIns="0" tIns="0" rIns="0" bIns="0" rtlCol="0" anchor="ctr" anchorCtr="0">
            <a:no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228600" lvl="1" indent="-230400">
              <a:lnSpc>
                <a:spcPct val="100000"/>
              </a:lnSpc>
              <a:spcBef>
                <a:spcPts val="0"/>
              </a:spcBef>
              <a:spcAft>
                <a:spcPts val="300"/>
              </a:spcAft>
              <a:buSzPct val="110000"/>
              <a:buFont typeface="Wingdings" panose="05000000000000000000" pitchFamily="2" charset="2"/>
              <a:buChar char=""/>
              <a:defRPr lang="en-US" sz="1600" dirty="0"/>
            </a:lvl2pPr>
            <a:lvl3pPr marL="439200" lvl="2" indent="-208800">
              <a:lnSpc>
                <a:spcPct val="100000"/>
              </a:lnSpc>
              <a:spcBef>
                <a:spcPts val="0"/>
              </a:spcBef>
              <a:spcAft>
                <a:spcPts val="300"/>
              </a:spcAft>
              <a:buSzPct val="110000"/>
              <a:buFont typeface="Arial" panose="020B0604020202020204" pitchFamily="34" charset="0"/>
              <a:buChar char="‒"/>
              <a:defRPr lang="en-US" sz="1600" dirty="0"/>
            </a:lvl3pPr>
            <a:lvl4pPr marL="604800" lvl="3" indent="-154800">
              <a:lnSpc>
                <a:spcPct val="100000"/>
              </a:lnSpc>
              <a:spcBef>
                <a:spcPts val="0"/>
              </a:spcBef>
              <a:spcAft>
                <a:spcPts val="300"/>
              </a:spcAft>
              <a:buFont typeface="Arial" panose="020B0604020202020204" pitchFamily="34" charset="0"/>
              <a:buChar char="•"/>
              <a:defRPr lang="en-US" sz="1600" dirty="0"/>
            </a:lvl4pPr>
            <a:lvl5pPr marL="813600" lvl="4" indent="-147600">
              <a:lnSpc>
                <a:spcPct val="100000"/>
              </a:lnSpc>
              <a:spcBef>
                <a:spcPts val="0"/>
              </a:spcBef>
              <a:spcAft>
                <a:spcPts val="300"/>
              </a:spcAft>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a:t>LEU</a:t>
            </a:r>
          </a:p>
        </p:txBody>
      </p:sp>
      <p:sp>
        <p:nvSpPr>
          <p:cNvPr id="38" name="TextBox 37">
            <a:extLst>
              <a:ext uri="{FF2B5EF4-FFF2-40B4-BE49-F238E27FC236}">
                <a16:creationId xmlns:a16="http://schemas.microsoft.com/office/drawing/2014/main" id="{BF81F63E-C819-B1C9-D22E-CAA47D1F6A0D}"/>
              </a:ext>
            </a:extLst>
          </p:cNvPr>
          <p:cNvSpPr txBox="1">
            <a:spLocks/>
          </p:cNvSpPr>
          <p:nvPr/>
        </p:nvSpPr>
        <p:spPr>
          <a:xfrm>
            <a:off x="7778786" y="3290670"/>
            <a:ext cx="1837273" cy="365760"/>
          </a:xfrm>
          <a:prstGeom prst="rect">
            <a:avLst/>
          </a:prstGeom>
        </p:spPr>
        <p:txBody>
          <a:bodyPr vert="horz" wrap="square" lIns="0" tIns="0" rIns="0" bIns="0" rtlCol="0" anchor="ctr" anchorCtr="0">
            <a:no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228600" lvl="1" indent="-230400">
              <a:lnSpc>
                <a:spcPct val="100000"/>
              </a:lnSpc>
              <a:spcBef>
                <a:spcPts val="0"/>
              </a:spcBef>
              <a:spcAft>
                <a:spcPts val="300"/>
              </a:spcAft>
              <a:buSzPct val="110000"/>
              <a:buFont typeface="Wingdings" panose="05000000000000000000" pitchFamily="2" charset="2"/>
              <a:buChar char=""/>
              <a:defRPr lang="en-US" sz="1600" dirty="0"/>
            </a:lvl2pPr>
            <a:lvl3pPr marL="439200" lvl="2" indent="-208800">
              <a:lnSpc>
                <a:spcPct val="100000"/>
              </a:lnSpc>
              <a:spcBef>
                <a:spcPts val="0"/>
              </a:spcBef>
              <a:spcAft>
                <a:spcPts val="300"/>
              </a:spcAft>
              <a:buSzPct val="110000"/>
              <a:buFont typeface="Arial" panose="020B0604020202020204" pitchFamily="34" charset="0"/>
              <a:buChar char="‒"/>
              <a:defRPr lang="en-US" sz="1600" dirty="0"/>
            </a:lvl3pPr>
            <a:lvl4pPr marL="604800" lvl="3" indent="-154800">
              <a:lnSpc>
                <a:spcPct val="100000"/>
              </a:lnSpc>
              <a:spcBef>
                <a:spcPts val="0"/>
              </a:spcBef>
              <a:spcAft>
                <a:spcPts val="300"/>
              </a:spcAft>
              <a:buFont typeface="Arial" panose="020B0604020202020204" pitchFamily="34" charset="0"/>
              <a:buChar char="•"/>
              <a:defRPr lang="en-US" sz="1600" dirty="0"/>
            </a:lvl4pPr>
            <a:lvl5pPr marL="813600" lvl="4" indent="-147600">
              <a:lnSpc>
                <a:spcPct val="100000"/>
              </a:lnSpc>
              <a:spcBef>
                <a:spcPts val="0"/>
              </a:spcBef>
              <a:spcAft>
                <a:spcPts val="300"/>
              </a:spcAft>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a:t>HALEU</a:t>
            </a:r>
          </a:p>
        </p:txBody>
      </p:sp>
      <p:sp>
        <p:nvSpPr>
          <p:cNvPr id="39" name="TextBox 38">
            <a:extLst>
              <a:ext uri="{FF2B5EF4-FFF2-40B4-BE49-F238E27FC236}">
                <a16:creationId xmlns:a16="http://schemas.microsoft.com/office/drawing/2014/main" id="{305C394D-42CC-CFE3-1726-2A5B34FD9670}"/>
              </a:ext>
            </a:extLst>
          </p:cNvPr>
          <p:cNvSpPr txBox="1">
            <a:spLocks/>
          </p:cNvSpPr>
          <p:nvPr/>
        </p:nvSpPr>
        <p:spPr>
          <a:xfrm>
            <a:off x="5674999" y="3290670"/>
            <a:ext cx="1797045" cy="365760"/>
          </a:xfrm>
          <a:prstGeom prst="rect">
            <a:avLst/>
          </a:prstGeom>
        </p:spPr>
        <p:txBody>
          <a:bodyPr vert="horz" wrap="square" lIns="0" tIns="0" rIns="0" bIns="0" rtlCol="0" anchor="ctr" anchorCtr="0">
            <a:no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228600" lvl="1" indent="-230400">
              <a:lnSpc>
                <a:spcPct val="100000"/>
              </a:lnSpc>
              <a:spcBef>
                <a:spcPts val="0"/>
              </a:spcBef>
              <a:spcAft>
                <a:spcPts val="300"/>
              </a:spcAft>
              <a:buSzPct val="110000"/>
              <a:buFont typeface="Wingdings" panose="05000000000000000000" pitchFamily="2" charset="2"/>
              <a:buChar char=""/>
              <a:defRPr lang="en-US" sz="1600" dirty="0"/>
            </a:lvl2pPr>
            <a:lvl3pPr marL="439200" lvl="2" indent="-208800">
              <a:lnSpc>
                <a:spcPct val="100000"/>
              </a:lnSpc>
              <a:spcBef>
                <a:spcPts val="0"/>
              </a:spcBef>
              <a:spcAft>
                <a:spcPts val="300"/>
              </a:spcAft>
              <a:buSzPct val="110000"/>
              <a:buFont typeface="Arial" panose="020B0604020202020204" pitchFamily="34" charset="0"/>
              <a:buChar char="‒"/>
              <a:defRPr lang="en-US" sz="1600" dirty="0"/>
            </a:lvl3pPr>
            <a:lvl4pPr marL="604800" lvl="3" indent="-154800">
              <a:lnSpc>
                <a:spcPct val="100000"/>
              </a:lnSpc>
              <a:spcBef>
                <a:spcPts val="0"/>
              </a:spcBef>
              <a:spcAft>
                <a:spcPts val="300"/>
              </a:spcAft>
              <a:buFont typeface="Arial" panose="020B0604020202020204" pitchFamily="34" charset="0"/>
              <a:buChar char="•"/>
              <a:defRPr lang="en-US" sz="1600" dirty="0"/>
            </a:lvl4pPr>
            <a:lvl5pPr marL="813600" lvl="4" indent="-147600">
              <a:lnSpc>
                <a:spcPct val="100000"/>
              </a:lnSpc>
              <a:spcBef>
                <a:spcPts val="0"/>
              </a:spcBef>
              <a:spcAft>
                <a:spcPts val="300"/>
              </a:spcAft>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a:t>HALEU</a:t>
            </a:r>
          </a:p>
        </p:txBody>
      </p:sp>
      <p:sp>
        <p:nvSpPr>
          <p:cNvPr id="40" name="TextBox 39">
            <a:extLst>
              <a:ext uri="{FF2B5EF4-FFF2-40B4-BE49-F238E27FC236}">
                <a16:creationId xmlns:a16="http://schemas.microsoft.com/office/drawing/2014/main" id="{49F00A7B-4B74-E72E-36DE-2F332FACCC61}"/>
              </a:ext>
            </a:extLst>
          </p:cNvPr>
          <p:cNvSpPr txBox="1">
            <a:spLocks/>
          </p:cNvSpPr>
          <p:nvPr/>
        </p:nvSpPr>
        <p:spPr>
          <a:xfrm>
            <a:off x="9922801" y="3290670"/>
            <a:ext cx="1797131" cy="365760"/>
          </a:xfrm>
          <a:prstGeom prst="rect">
            <a:avLst/>
          </a:prstGeom>
        </p:spPr>
        <p:txBody>
          <a:bodyPr vert="horz" wrap="square" lIns="0" tIns="0" rIns="0" bIns="0" rtlCol="0" anchor="ctr" anchorCtr="0">
            <a:no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228600" lvl="1" indent="-230400">
              <a:lnSpc>
                <a:spcPct val="100000"/>
              </a:lnSpc>
              <a:spcBef>
                <a:spcPts val="0"/>
              </a:spcBef>
              <a:spcAft>
                <a:spcPts val="300"/>
              </a:spcAft>
              <a:buSzPct val="110000"/>
              <a:buFont typeface="Wingdings" panose="05000000000000000000" pitchFamily="2" charset="2"/>
              <a:buChar char=""/>
              <a:defRPr lang="en-US" sz="1600" dirty="0"/>
            </a:lvl2pPr>
            <a:lvl3pPr marL="439200" lvl="2" indent="-208800">
              <a:lnSpc>
                <a:spcPct val="100000"/>
              </a:lnSpc>
              <a:spcBef>
                <a:spcPts val="0"/>
              </a:spcBef>
              <a:spcAft>
                <a:spcPts val="300"/>
              </a:spcAft>
              <a:buSzPct val="110000"/>
              <a:buFont typeface="Arial" panose="020B0604020202020204" pitchFamily="34" charset="0"/>
              <a:buChar char="‒"/>
              <a:defRPr lang="en-US" sz="1600" dirty="0"/>
            </a:lvl3pPr>
            <a:lvl4pPr marL="604800" lvl="3" indent="-154800">
              <a:lnSpc>
                <a:spcPct val="100000"/>
              </a:lnSpc>
              <a:spcBef>
                <a:spcPts val="0"/>
              </a:spcBef>
              <a:spcAft>
                <a:spcPts val="300"/>
              </a:spcAft>
              <a:buFont typeface="Arial" panose="020B0604020202020204" pitchFamily="34" charset="0"/>
              <a:buChar char="•"/>
              <a:defRPr lang="en-US" sz="1600" dirty="0"/>
            </a:lvl4pPr>
            <a:lvl5pPr marL="813600" lvl="4" indent="-147600">
              <a:lnSpc>
                <a:spcPct val="100000"/>
              </a:lnSpc>
              <a:spcBef>
                <a:spcPts val="0"/>
              </a:spcBef>
              <a:spcAft>
                <a:spcPts val="300"/>
              </a:spcAft>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a:t>HALEU</a:t>
            </a:r>
          </a:p>
        </p:txBody>
      </p:sp>
    </p:spTree>
    <p:extLst>
      <p:ext uri="{BB962C8B-B14F-4D97-AF65-F5344CB8AC3E}">
        <p14:creationId xmlns:p14="http://schemas.microsoft.com/office/powerpoint/2010/main" val="2681105460"/>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Placeholder 8"/>
          <p:cNvPicPr>
            <a:picLocks noGrp="1" noChangeAspect="1"/>
          </p:cNvPicPr>
          <p:nvPr>
            <p:ph type="pic" sz="quarter" idx="13"/>
          </p:nvPr>
        </p:nvPicPr>
        <p:blipFill>
          <a:blip r:embed="rId3">
            <a:extLst>
              <a:ext uri="{28A0092B-C50C-407E-A947-70E740481C1C}">
                <a14:useLocalDpi xmlns:a14="http://schemas.microsoft.com/office/drawing/2010/main" val="0"/>
              </a:ext>
            </a:extLst>
          </a:blip>
          <a:srcRect t="32411" b="32411"/>
          <a:stretch>
            <a:fillRect/>
          </a:stretch>
        </p:blipFill>
        <p:spPr/>
      </p:pic>
      <p:sp>
        <p:nvSpPr>
          <p:cNvPr id="3" name="Text Placeholder 2"/>
          <p:cNvSpPr>
            <a:spLocks noGrp="1"/>
          </p:cNvSpPr>
          <p:nvPr>
            <p:ph type="body" sz="quarter" idx="14"/>
          </p:nvPr>
        </p:nvSpPr>
        <p:spPr/>
        <p:txBody>
          <a:bodyPr/>
          <a:lstStyle/>
          <a:p>
            <a:r>
              <a:rPr lang="en-US"/>
              <a:t>Conclusions</a:t>
            </a:r>
          </a:p>
          <a:p>
            <a:pPr>
              <a:spcBef>
                <a:spcPts val="1200"/>
              </a:spcBef>
            </a:pPr>
            <a:r>
              <a:rPr lang="en-US" sz="1800">
                <a:solidFill>
                  <a:schemeClr val="accent1"/>
                </a:solidFill>
              </a:rPr>
              <a:t>The vast array of advanced reactor and fuel cycle concepts, if realized, would significantly diversify reactor and fuel cycle technologies used in the U.S. </a:t>
            </a:r>
          </a:p>
          <a:p>
            <a:pPr>
              <a:spcBef>
                <a:spcPts val="1200"/>
              </a:spcBef>
            </a:pPr>
            <a:r>
              <a:rPr lang="en-US" sz="1800">
                <a:solidFill>
                  <a:schemeClr val="accent1"/>
                </a:solidFill>
              </a:rPr>
              <a:t>Tradeoffs are necessary when assessing potential merits and viabilities of different reactors and their associated fuel cycles. Not one advanced technology can concurrently provide for all the potential benefits relevant to the scope of this study. </a:t>
            </a:r>
          </a:p>
          <a:p>
            <a:pPr>
              <a:spcBef>
                <a:spcPts val="1200"/>
              </a:spcBef>
            </a:pPr>
            <a:r>
              <a:rPr lang="en-US" sz="1800">
                <a:solidFill>
                  <a:schemeClr val="accent1"/>
                </a:solidFill>
              </a:rPr>
              <a:t>The U.S. government and industry going forward will have to decide which features or attributes of advanced reactors and fuel cycles best align with the U.S. energy needs without increasing proliferation risks, having an adverse impact on the environment, or imposing an unacceptable economic burden on current and future generations.</a:t>
            </a:r>
            <a:endParaRPr lang="en-US" sz="1800"/>
          </a:p>
        </p:txBody>
      </p:sp>
      <p:sp>
        <p:nvSpPr>
          <p:cNvPr id="2" name="Slide Number Placeholder 1"/>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F687C33-47E0-407C-B61F-DB8DDD78F4C7}" type="slidenum">
              <a:rPr kumimoji="0" lang="en-US" sz="1267" b="0" i="0" u="none" strike="noStrike" kern="1200" cap="none" spc="0" normalizeH="0" baseline="0" noProof="0" smtClean="0">
                <a:ln>
                  <a:noFill/>
                </a:ln>
                <a:solidFill>
                  <a:srgbClr val="7F7F7F"/>
                </a:solidFill>
                <a:effectLst/>
                <a:uLnTx/>
                <a:uFillTx/>
                <a:latin typeface="Arial"/>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80</a:t>
            </a:fld>
            <a:endParaRPr kumimoji="0" lang="en-US" sz="1267" b="0" i="0" u="none" strike="noStrike" kern="1200" cap="none" spc="0" normalizeH="0" baseline="0" noProof="0">
              <a:ln>
                <a:noFill/>
              </a:ln>
              <a:solidFill>
                <a:srgbClr val="7F7F7F"/>
              </a:solidFill>
              <a:effectLst/>
              <a:uLnTx/>
              <a:uFillTx/>
              <a:latin typeface="Arial"/>
              <a:ea typeface="+mn-ea"/>
              <a:cs typeface="+mn-cs"/>
            </a:endParaRPr>
          </a:p>
        </p:txBody>
      </p:sp>
    </p:spTree>
    <p:extLst>
      <p:ext uri="{BB962C8B-B14F-4D97-AF65-F5344CB8AC3E}">
        <p14:creationId xmlns:p14="http://schemas.microsoft.com/office/powerpoint/2010/main" val="2251066834"/>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Thank you!</a:t>
            </a:r>
            <a:br>
              <a:rPr lang="en-US"/>
            </a:br>
            <a:br>
              <a:rPr lang="en-US"/>
            </a:br>
            <a:r>
              <a:rPr lang="en-US"/>
              <a:t>Any questions?</a:t>
            </a:r>
          </a:p>
        </p:txBody>
      </p:sp>
      <p:pic>
        <p:nvPicPr>
          <p:cNvPr id="6" name="Picture Placeholder 5"/>
          <p:cNvPicPr>
            <a:picLocks noGrp="1" noChangeAspect="1"/>
          </p:cNvPicPr>
          <p:nvPr>
            <p:ph type="pic" sz="quarter" idx="13"/>
          </p:nvPr>
        </p:nvPicPr>
        <p:blipFill>
          <a:blip r:embed="rId2">
            <a:extLst>
              <a:ext uri="{28A0092B-C50C-407E-A947-70E740481C1C}">
                <a14:useLocalDpi xmlns:a14="http://schemas.microsoft.com/office/drawing/2010/main" val="0"/>
              </a:ext>
            </a:extLst>
          </a:blip>
          <a:srcRect l="17939" r="17939"/>
          <a:stretch>
            <a:fillRect/>
          </a:stretch>
        </p:blipFill>
        <p:spPr/>
      </p:pic>
      <p:sp>
        <p:nvSpPr>
          <p:cNvPr id="3" name="Slide Number Placeholder 2"/>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F687C33-47E0-407C-B61F-DB8DDD78F4C7}" type="slidenum">
              <a:rPr kumimoji="0" lang="en-US" sz="1267" b="0" i="0" u="none" strike="noStrike" kern="1200" cap="none" spc="0" normalizeH="0" baseline="0" noProof="0" smtClean="0">
                <a:ln>
                  <a:noFill/>
                </a:ln>
                <a:solidFill>
                  <a:srgbClr val="7F7F7F"/>
                </a:solidFill>
                <a:effectLst/>
                <a:uLnTx/>
                <a:uFillTx/>
                <a:latin typeface="Arial"/>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81</a:t>
            </a:fld>
            <a:endParaRPr kumimoji="0" lang="en-US" sz="1267" b="0" i="0" u="none" strike="noStrike" kern="1200" cap="none" spc="0" normalizeH="0" baseline="0" noProof="0">
              <a:ln>
                <a:noFill/>
              </a:ln>
              <a:solidFill>
                <a:srgbClr val="7F7F7F"/>
              </a:solidFill>
              <a:effectLst/>
              <a:uLnTx/>
              <a:uFillTx/>
              <a:latin typeface="Arial"/>
              <a:ea typeface="+mn-ea"/>
              <a:cs typeface="+mn-cs"/>
            </a:endParaRPr>
          </a:p>
        </p:txBody>
      </p:sp>
    </p:spTree>
    <p:extLst>
      <p:ext uri="{BB962C8B-B14F-4D97-AF65-F5344CB8AC3E}">
        <p14:creationId xmlns:p14="http://schemas.microsoft.com/office/powerpoint/2010/main" val="2178979999"/>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Title 5">
            <a:extLst>
              <a:ext uri="{FF2B5EF4-FFF2-40B4-BE49-F238E27FC236}">
                <a16:creationId xmlns:a16="http://schemas.microsoft.com/office/drawing/2014/main" id="{7E9EEA3E-45E3-0239-E69A-BE3F5FBC9AB7}"/>
              </a:ext>
            </a:extLst>
          </p:cNvPr>
          <p:cNvSpPr>
            <a:spLocks noGrp="1" noChangeArrowheads="1"/>
          </p:cNvSpPr>
          <p:nvPr>
            <p:ph type="ctrTitle"/>
          </p:nvPr>
        </p:nvSpPr>
        <p:spPr>
          <a:xfrm>
            <a:off x="609600" y="1066800"/>
            <a:ext cx="10165976" cy="2590800"/>
          </a:xfrm>
        </p:spPr>
        <p:txBody>
          <a:bodyPr/>
          <a:lstStyle/>
          <a:p>
            <a:pPr algn="l"/>
            <a:r>
              <a:rPr lang="en-US" altLang="en-US" sz="5400" b="1">
                <a:solidFill>
                  <a:schemeClr val="bg1"/>
                </a:solidFill>
              </a:rPr>
              <a:t>Break</a:t>
            </a:r>
          </a:p>
        </p:txBody>
      </p:sp>
      <p:sp>
        <p:nvSpPr>
          <p:cNvPr id="20483" name="Subtitle 6">
            <a:extLst>
              <a:ext uri="{FF2B5EF4-FFF2-40B4-BE49-F238E27FC236}">
                <a16:creationId xmlns:a16="http://schemas.microsoft.com/office/drawing/2014/main" id="{681152D8-4998-8D5B-9854-96A67EBE53DE}"/>
              </a:ext>
            </a:extLst>
          </p:cNvPr>
          <p:cNvSpPr>
            <a:spLocks noGrp="1" noChangeArrowheads="1"/>
          </p:cNvSpPr>
          <p:nvPr>
            <p:ph type="subTitle" idx="1"/>
          </p:nvPr>
        </p:nvSpPr>
        <p:spPr>
          <a:xfrm>
            <a:off x="609600" y="3276600"/>
            <a:ext cx="8816975" cy="2209800"/>
          </a:xfrm>
        </p:spPr>
        <p:txBody>
          <a:bodyPr/>
          <a:lstStyle/>
          <a:p>
            <a:pPr algn="l"/>
            <a:endParaRPr lang="en-US" altLang="en-US" sz="2000" b="1" i="1">
              <a:solidFill>
                <a:schemeClr val="bg1"/>
              </a:solidFill>
            </a:endParaRPr>
          </a:p>
          <a:p>
            <a:pPr algn="l"/>
            <a:endParaRPr lang="en-US" altLang="en-US" sz="2000" b="1" i="1">
              <a:solidFill>
                <a:schemeClr val="bg1"/>
              </a:solidFill>
            </a:endParaRPr>
          </a:p>
          <a:p>
            <a:pPr algn="l"/>
            <a:r>
              <a:rPr lang="en-US" altLang="en-US" b="1">
                <a:solidFill>
                  <a:schemeClr val="bg1"/>
                </a:solidFill>
              </a:rPr>
              <a:t>Return: 11:40 AM</a:t>
            </a:r>
          </a:p>
          <a:p>
            <a:pPr algn="l"/>
            <a:r>
              <a:rPr lang="en-US" altLang="en-US" sz="2000" b="1" i="1">
                <a:solidFill>
                  <a:schemeClr val="bg1"/>
                </a:solidFill>
              </a:rPr>
              <a:t>				</a:t>
            </a:r>
            <a:endParaRPr lang="en-US" altLang="en-US" sz="2000" b="1">
              <a:solidFill>
                <a:schemeClr val="bg1"/>
              </a:solidFill>
            </a:endParaRPr>
          </a:p>
        </p:txBody>
      </p:sp>
    </p:spTree>
    <p:extLst>
      <p:ext uri="{BB962C8B-B14F-4D97-AF65-F5344CB8AC3E}">
        <p14:creationId xmlns:p14="http://schemas.microsoft.com/office/powerpoint/2010/main" val="2290847079"/>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Title 5">
            <a:extLst>
              <a:ext uri="{FF2B5EF4-FFF2-40B4-BE49-F238E27FC236}">
                <a16:creationId xmlns:a16="http://schemas.microsoft.com/office/drawing/2014/main" id="{7E9EEA3E-45E3-0239-E69A-BE3F5FBC9AB7}"/>
              </a:ext>
            </a:extLst>
          </p:cNvPr>
          <p:cNvSpPr>
            <a:spLocks noGrp="1" noChangeArrowheads="1"/>
          </p:cNvSpPr>
          <p:nvPr>
            <p:ph type="ctrTitle"/>
          </p:nvPr>
        </p:nvSpPr>
        <p:spPr>
          <a:xfrm>
            <a:off x="609600" y="1066800"/>
            <a:ext cx="10165976" cy="2590800"/>
          </a:xfrm>
        </p:spPr>
        <p:txBody>
          <a:bodyPr/>
          <a:lstStyle/>
          <a:p>
            <a:pPr algn="l"/>
            <a:r>
              <a:rPr lang="en-US" altLang="en-US" sz="5400" b="1">
                <a:solidFill>
                  <a:schemeClr val="bg1"/>
                </a:solidFill>
              </a:rPr>
              <a:t> Infrastructure</a:t>
            </a:r>
          </a:p>
        </p:txBody>
      </p:sp>
      <p:sp>
        <p:nvSpPr>
          <p:cNvPr id="20483" name="Subtitle 6">
            <a:extLst>
              <a:ext uri="{FF2B5EF4-FFF2-40B4-BE49-F238E27FC236}">
                <a16:creationId xmlns:a16="http://schemas.microsoft.com/office/drawing/2014/main" id="{681152D8-4998-8D5B-9854-96A67EBE53DE}"/>
              </a:ext>
            </a:extLst>
          </p:cNvPr>
          <p:cNvSpPr>
            <a:spLocks noGrp="1" noChangeArrowheads="1"/>
          </p:cNvSpPr>
          <p:nvPr>
            <p:ph type="subTitle" idx="1"/>
          </p:nvPr>
        </p:nvSpPr>
        <p:spPr>
          <a:xfrm>
            <a:off x="609600" y="3276600"/>
            <a:ext cx="8816975" cy="2209800"/>
          </a:xfrm>
        </p:spPr>
        <p:txBody>
          <a:bodyPr/>
          <a:lstStyle/>
          <a:p>
            <a:pPr algn="l"/>
            <a:endParaRPr lang="en-US" altLang="en-US" sz="2000" b="1" i="1">
              <a:solidFill>
                <a:schemeClr val="bg1"/>
              </a:solidFill>
            </a:endParaRPr>
          </a:p>
          <a:p>
            <a:pPr algn="l"/>
            <a:endParaRPr lang="en-US" altLang="en-US" sz="2000" b="1" i="1">
              <a:solidFill>
                <a:schemeClr val="bg1"/>
              </a:solidFill>
            </a:endParaRPr>
          </a:p>
          <a:p>
            <a:pPr algn="l"/>
            <a:r>
              <a:rPr lang="en-US" altLang="en-US" b="1">
                <a:solidFill>
                  <a:schemeClr val="bg1"/>
                </a:solidFill>
                <a:cs typeface="Calibri"/>
              </a:rPr>
              <a:t>Dr. Kemal </a:t>
            </a:r>
            <a:r>
              <a:rPr lang="en-US" altLang="en-US" b="1" err="1">
                <a:solidFill>
                  <a:schemeClr val="bg1"/>
                </a:solidFill>
                <a:cs typeface="Calibri"/>
              </a:rPr>
              <a:t>Pasamehmetoglu</a:t>
            </a:r>
            <a:endParaRPr lang="en-US" altLang="en-US" b="1" err="1">
              <a:solidFill>
                <a:schemeClr val="bg1"/>
              </a:solidFill>
            </a:endParaRPr>
          </a:p>
          <a:p>
            <a:pPr algn="l"/>
            <a:r>
              <a:rPr lang="en-US" altLang="en-US" b="1">
                <a:solidFill>
                  <a:schemeClr val="bg1"/>
                </a:solidFill>
              </a:rPr>
              <a:t>NEAC Subcommittee updates and discussion</a:t>
            </a:r>
            <a:r>
              <a:rPr lang="en-US" altLang="en-US" sz="2000" b="1" i="1">
                <a:solidFill>
                  <a:schemeClr val="bg1"/>
                </a:solidFill>
              </a:rPr>
              <a:t>		</a:t>
            </a:r>
            <a:endParaRPr lang="en-US" altLang="en-US" sz="2000" b="1">
              <a:solidFill>
                <a:schemeClr val="bg1"/>
              </a:solidFill>
              <a:cs typeface="Calibri"/>
            </a:endParaRPr>
          </a:p>
        </p:txBody>
      </p:sp>
    </p:spTree>
    <p:extLst>
      <p:ext uri="{BB962C8B-B14F-4D97-AF65-F5344CB8AC3E}">
        <p14:creationId xmlns:p14="http://schemas.microsoft.com/office/powerpoint/2010/main" val="2003934420"/>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7CD58E-BFF0-31D7-7AF0-B06E8CFA7E4E}"/>
              </a:ext>
            </a:extLst>
          </p:cNvPr>
          <p:cNvSpPr>
            <a:spLocks noGrp="1"/>
          </p:cNvSpPr>
          <p:nvPr>
            <p:ph type="title"/>
          </p:nvPr>
        </p:nvSpPr>
        <p:spPr/>
        <p:txBody>
          <a:bodyPr/>
          <a:lstStyle/>
          <a:p>
            <a:r>
              <a:rPr lang="en-US"/>
              <a:t>Overview of the scope and progress of the Infrastructure subcommittee</a:t>
            </a:r>
          </a:p>
        </p:txBody>
      </p:sp>
      <p:sp>
        <p:nvSpPr>
          <p:cNvPr id="3" name="Content Placeholder 2">
            <a:extLst>
              <a:ext uri="{FF2B5EF4-FFF2-40B4-BE49-F238E27FC236}">
                <a16:creationId xmlns:a16="http://schemas.microsoft.com/office/drawing/2014/main" id="{B905F302-2560-2185-10EC-E32876ABCF9F}"/>
              </a:ext>
            </a:extLst>
          </p:cNvPr>
          <p:cNvSpPr>
            <a:spLocks noGrp="1"/>
          </p:cNvSpPr>
          <p:nvPr>
            <p:ph idx="1"/>
          </p:nvPr>
        </p:nvSpPr>
        <p:spPr/>
        <p:txBody>
          <a:bodyPr/>
          <a:lstStyle/>
          <a:p>
            <a:r>
              <a:rPr lang="en-US" sz="2000"/>
              <a:t>Committee </a:t>
            </a:r>
            <a:r>
              <a:rPr lang="en-US" sz="2000" b="1"/>
              <a:t>had the mandate of understanding the infrastructure investment </a:t>
            </a:r>
            <a:r>
              <a:rPr lang="en-US" sz="2000"/>
              <a:t>needed to support the expansion of &lt;200 GW of capacity by 2050. </a:t>
            </a:r>
            <a:r>
              <a:rPr lang="en-US" sz="2000" b="1"/>
              <a:t>The scope of this can be broad</a:t>
            </a:r>
          </a:p>
          <a:p>
            <a:pPr lvl="1"/>
            <a:r>
              <a:rPr lang="en-US" sz="2000"/>
              <a:t>Workforce development</a:t>
            </a:r>
          </a:p>
          <a:p>
            <a:pPr lvl="1"/>
            <a:r>
              <a:rPr lang="en-US" sz="2000"/>
              <a:t>Continuing innovation</a:t>
            </a:r>
          </a:p>
          <a:p>
            <a:pPr lvl="1"/>
            <a:r>
              <a:rPr lang="en-US" sz="2000"/>
              <a:t>Demonstration of advanced concepts</a:t>
            </a:r>
          </a:p>
          <a:p>
            <a:pPr lvl="1"/>
            <a:r>
              <a:rPr lang="en-US" sz="2000"/>
              <a:t>Large-scale commercialization</a:t>
            </a:r>
          </a:p>
          <a:p>
            <a:r>
              <a:rPr lang="en-US" sz="2000"/>
              <a:t>The committee </a:t>
            </a:r>
            <a:r>
              <a:rPr lang="en-US" sz="2000" b="1"/>
              <a:t>also met with numerous DOE presenters</a:t>
            </a:r>
            <a:r>
              <a:rPr lang="en-US" sz="2000"/>
              <a:t> to understand current challenges in the Infrastructure space:</a:t>
            </a:r>
          </a:p>
          <a:p>
            <a:pPr lvl="1"/>
            <a:r>
              <a:rPr lang="en-US" sz="2000"/>
              <a:t>Alice </a:t>
            </a:r>
            <a:r>
              <a:rPr lang="en-US" sz="2000" err="1"/>
              <a:t>Caponiti</a:t>
            </a:r>
            <a:r>
              <a:rPr lang="en-US" sz="2000"/>
              <a:t>, Deputy Assistant Secretary (NE-5, Reactors)</a:t>
            </a:r>
          </a:p>
          <a:p>
            <a:pPr lvl="1"/>
            <a:r>
              <a:rPr lang="en-US" sz="2000"/>
              <a:t>Patrick Edgerton, Director, Office of Budget and Planning, NE</a:t>
            </a:r>
          </a:p>
          <a:p>
            <a:pPr lvl="1"/>
            <a:r>
              <a:rPr lang="en-US" sz="2000"/>
              <a:t>Julie </a:t>
            </a:r>
            <a:r>
              <a:rPr lang="en-US" sz="2000" err="1"/>
              <a:t>Kozeracki</a:t>
            </a:r>
            <a:r>
              <a:rPr lang="en-US" sz="2000"/>
              <a:t> and Christopher </a:t>
            </a:r>
            <a:r>
              <a:rPr lang="en-US" sz="2000" err="1"/>
              <a:t>Vlahoplus</a:t>
            </a:r>
            <a:r>
              <a:rPr lang="en-US" sz="2000"/>
              <a:t>, DOE Loan Programs Office</a:t>
            </a:r>
            <a:endParaRPr lang="en-US" sz="1600"/>
          </a:p>
          <a:p>
            <a:r>
              <a:rPr lang="en-US" sz="2000" b="1"/>
              <a:t>As a result, we have prepared a set of recommendations </a:t>
            </a:r>
            <a:r>
              <a:rPr lang="en-US" sz="2000"/>
              <a:t>to maintain scope in a way that is useful for NE</a:t>
            </a:r>
          </a:p>
        </p:txBody>
      </p:sp>
      <p:sp>
        <p:nvSpPr>
          <p:cNvPr id="4" name="Slide Number Placeholder 3">
            <a:extLst>
              <a:ext uri="{FF2B5EF4-FFF2-40B4-BE49-F238E27FC236}">
                <a16:creationId xmlns:a16="http://schemas.microsoft.com/office/drawing/2014/main" id="{AD91375A-CA17-BC66-AADD-7CE7A8289C1F}"/>
              </a:ext>
            </a:extLst>
          </p:cNvPr>
          <p:cNvSpPr>
            <a:spLocks noGrp="1"/>
          </p:cNvSpPr>
          <p:nvPr>
            <p:ph type="sldNum" sz="quarter" idx="10"/>
          </p:nvPr>
        </p:nvSpPr>
        <p:spPr/>
        <p:txBody>
          <a:bodyPr/>
          <a:lstStyle/>
          <a:p>
            <a:pPr>
              <a:defRPr/>
            </a:pPr>
            <a:fld id="{37926BA8-E0F8-42A8-A83C-EBAA1A1E8FCD}" type="slidenum">
              <a:rPr lang="en-US" smtClean="0"/>
              <a:pPr>
                <a:defRPr/>
              </a:pPr>
              <a:t>84</a:t>
            </a:fld>
            <a:endParaRPr lang="en-US"/>
          </a:p>
        </p:txBody>
      </p:sp>
    </p:spTree>
    <p:extLst>
      <p:ext uri="{BB962C8B-B14F-4D97-AF65-F5344CB8AC3E}">
        <p14:creationId xmlns:p14="http://schemas.microsoft.com/office/powerpoint/2010/main" val="80626018"/>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7CD58E-BFF0-31D7-7AF0-B06E8CFA7E4E}"/>
              </a:ext>
            </a:extLst>
          </p:cNvPr>
          <p:cNvSpPr>
            <a:spLocks noGrp="1"/>
          </p:cNvSpPr>
          <p:nvPr>
            <p:ph type="title"/>
          </p:nvPr>
        </p:nvSpPr>
        <p:spPr/>
        <p:txBody>
          <a:bodyPr/>
          <a:lstStyle/>
          <a:p>
            <a:r>
              <a:rPr lang="en-US"/>
              <a:t>Summary of recommendations</a:t>
            </a:r>
          </a:p>
        </p:txBody>
      </p:sp>
      <p:sp>
        <p:nvSpPr>
          <p:cNvPr id="4" name="Slide Number Placeholder 3">
            <a:extLst>
              <a:ext uri="{FF2B5EF4-FFF2-40B4-BE49-F238E27FC236}">
                <a16:creationId xmlns:a16="http://schemas.microsoft.com/office/drawing/2014/main" id="{AD91375A-CA17-BC66-AADD-7CE7A8289C1F}"/>
              </a:ext>
            </a:extLst>
          </p:cNvPr>
          <p:cNvSpPr>
            <a:spLocks noGrp="1"/>
          </p:cNvSpPr>
          <p:nvPr>
            <p:ph type="sldNum" sz="quarter" idx="10"/>
          </p:nvPr>
        </p:nvSpPr>
        <p:spPr/>
        <p:txBody>
          <a:bodyPr/>
          <a:lstStyle/>
          <a:p>
            <a:pPr>
              <a:defRPr/>
            </a:pPr>
            <a:fld id="{37926BA8-E0F8-42A8-A83C-EBAA1A1E8FCD}" type="slidenum">
              <a:rPr lang="en-US" smtClean="0"/>
              <a:pPr>
                <a:defRPr/>
              </a:pPr>
              <a:t>85</a:t>
            </a:fld>
            <a:endParaRPr lang="en-US"/>
          </a:p>
        </p:txBody>
      </p:sp>
      <p:pic>
        <p:nvPicPr>
          <p:cNvPr id="16" name="Graphic 15" descr="Globe outline">
            <a:extLst>
              <a:ext uri="{FF2B5EF4-FFF2-40B4-BE49-F238E27FC236}">
                <a16:creationId xmlns:a16="http://schemas.microsoft.com/office/drawing/2014/main" id="{A981A531-727C-3579-A067-3D893F938457}"/>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232727" y="1573383"/>
            <a:ext cx="731520" cy="731520"/>
          </a:xfrm>
          <a:prstGeom prst="rect">
            <a:avLst/>
          </a:prstGeom>
        </p:spPr>
      </p:pic>
      <p:pic>
        <p:nvPicPr>
          <p:cNvPr id="17" name="Graphic 16" descr="Atom outline">
            <a:extLst>
              <a:ext uri="{FF2B5EF4-FFF2-40B4-BE49-F238E27FC236}">
                <a16:creationId xmlns:a16="http://schemas.microsoft.com/office/drawing/2014/main" id="{6B95F17E-B49C-36A9-791C-527A97AFFFAF}"/>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5222699" y="2535219"/>
            <a:ext cx="731520" cy="731520"/>
          </a:xfrm>
          <a:prstGeom prst="rect">
            <a:avLst/>
          </a:prstGeom>
        </p:spPr>
      </p:pic>
      <p:sp>
        <p:nvSpPr>
          <p:cNvPr id="18" name="Content Placeholder 2">
            <a:extLst>
              <a:ext uri="{FF2B5EF4-FFF2-40B4-BE49-F238E27FC236}">
                <a16:creationId xmlns:a16="http://schemas.microsoft.com/office/drawing/2014/main" id="{755E3A32-CFB9-0EB6-D2FD-B9841BA78A57}"/>
              </a:ext>
            </a:extLst>
          </p:cNvPr>
          <p:cNvSpPr txBox="1">
            <a:spLocks/>
          </p:cNvSpPr>
          <p:nvPr/>
        </p:nvSpPr>
        <p:spPr bwMode="auto">
          <a:xfrm>
            <a:off x="970535" y="1855043"/>
            <a:ext cx="45720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171450" indent="-171450" algn="l" rtl="0" eaLnBrk="0" fontAlgn="base" hangingPunct="0">
              <a:lnSpc>
                <a:spcPct val="90000"/>
              </a:lnSpc>
              <a:spcBef>
                <a:spcPts val="750"/>
              </a:spcBef>
              <a:spcAft>
                <a:spcPct val="0"/>
              </a:spcAft>
              <a:buFont typeface="Arial" panose="020B0604020202020204" pitchFamily="34" charset="0"/>
              <a:buChar char="•"/>
              <a:defRPr sz="2100" kern="1200">
                <a:solidFill>
                  <a:schemeClr val="tx1"/>
                </a:solidFill>
                <a:latin typeface="+mn-lt"/>
                <a:ea typeface="+mn-ea"/>
                <a:cs typeface="+mn-cs"/>
              </a:defRPr>
            </a:lvl1pPr>
            <a:lvl2pPr marL="514350" indent="-171450" algn="l" rtl="0" eaLnBrk="0" fontAlgn="base" hangingPunct="0">
              <a:lnSpc>
                <a:spcPct val="90000"/>
              </a:lnSpc>
              <a:spcBef>
                <a:spcPts val="375"/>
              </a:spcBef>
              <a:spcAft>
                <a:spcPct val="0"/>
              </a:spcAft>
              <a:buFont typeface="Arial" panose="020B0604020202020204" pitchFamily="34" charset="0"/>
              <a:buChar char="•"/>
              <a:defRPr kern="1200">
                <a:solidFill>
                  <a:schemeClr val="tx1"/>
                </a:solidFill>
                <a:latin typeface="+mn-lt"/>
                <a:ea typeface="+mn-ea"/>
                <a:cs typeface="+mn-cs"/>
              </a:defRPr>
            </a:lvl2pPr>
            <a:lvl3pPr marL="857250" indent="-171450" algn="l" rtl="0" eaLnBrk="0" fontAlgn="base" hangingPunct="0">
              <a:lnSpc>
                <a:spcPct val="90000"/>
              </a:lnSpc>
              <a:spcBef>
                <a:spcPts val="375"/>
              </a:spcBef>
              <a:spcAft>
                <a:spcPct val="0"/>
              </a:spcAft>
              <a:buFont typeface="Arial" panose="020B0604020202020204" pitchFamily="34" charset="0"/>
              <a:buChar char="•"/>
              <a:defRPr sz="1500" kern="1200">
                <a:solidFill>
                  <a:schemeClr val="tx1"/>
                </a:solidFill>
                <a:latin typeface="+mn-lt"/>
                <a:ea typeface="+mn-ea"/>
                <a:cs typeface="+mn-cs"/>
              </a:defRPr>
            </a:lvl3pPr>
            <a:lvl4pPr marL="1200150" indent="-171450" algn="l" rtl="0" eaLnBrk="0" fontAlgn="base" hangingPunct="0">
              <a:lnSpc>
                <a:spcPct val="90000"/>
              </a:lnSpc>
              <a:spcBef>
                <a:spcPts val="375"/>
              </a:spcBef>
              <a:spcAft>
                <a:spcPct val="0"/>
              </a:spcAft>
              <a:buFont typeface="Arial" panose="020B0604020202020204" pitchFamily="34" charset="0"/>
              <a:buChar char="•"/>
              <a:defRPr kern="1200">
                <a:solidFill>
                  <a:schemeClr val="tx1"/>
                </a:solidFill>
                <a:latin typeface="+mn-lt"/>
                <a:ea typeface="+mn-ea"/>
                <a:cs typeface="+mn-cs"/>
              </a:defRPr>
            </a:lvl4pPr>
            <a:lvl5pPr marL="1543050" indent="-171450" algn="l" rtl="0" eaLnBrk="0" fontAlgn="base" hangingPunct="0">
              <a:lnSpc>
                <a:spcPct val="90000"/>
              </a:lnSpc>
              <a:spcBef>
                <a:spcPts val="375"/>
              </a:spcBef>
              <a:spcAft>
                <a:spcPct val="0"/>
              </a:spcAft>
              <a:buFont typeface="Arial" panose="020B0604020202020204" pitchFamily="34" charset="0"/>
              <a:buChar char="•"/>
              <a:defRPr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buNone/>
            </a:pPr>
            <a:r>
              <a:rPr lang="en-US" sz="2400" b="1">
                <a:solidFill>
                  <a:schemeClr val="accent5"/>
                </a:solidFill>
              </a:rPr>
              <a:t>Mission Need</a:t>
            </a:r>
            <a:endParaRPr lang="en-US" sz="2000" b="1">
              <a:solidFill>
                <a:schemeClr val="accent5"/>
              </a:solidFill>
            </a:endParaRPr>
          </a:p>
        </p:txBody>
      </p:sp>
      <p:sp>
        <p:nvSpPr>
          <p:cNvPr id="19" name="Content Placeholder 2">
            <a:extLst>
              <a:ext uri="{FF2B5EF4-FFF2-40B4-BE49-F238E27FC236}">
                <a16:creationId xmlns:a16="http://schemas.microsoft.com/office/drawing/2014/main" id="{2EBB7E2F-4945-5FD5-56E5-51E9BF27A5B8}"/>
              </a:ext>
            </a:extLst>
          </p:cNvPr>
          <p:cNvSpPr txBox="1">
            <a:spLocks/>
          </p:cNvSpPr>
          <p:nvPr/>
        </p:nvSpPr>
        <p:spPr bwMode="auto">
          <a:xfrm>
            <a:off x="970535" y="2713145"/>
            <a:ext cx="45720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171450" indent="-171450" algn="l" rtl="0" eaLnBrk="0" fontAlgn="base" hangingPunct="0">
              <a:lnSpc>
                <a:spcPct val="90000"/>
              </a:lnSpc>
              <a:spcBef>
                <a:spcPts val="750"/>
              </a:spcBef>
              <a:spcAft>
                <a:spcPct val="0"/>
              </a:spcAft>
              <a:buFont typeface="Arial" panose="020B0604020202020204" pitchFamily="34" charset="0"/>
              <a:buChar char="•"/>
              <a:defRPr sz="2100" kern="1200">
                <a:solidFill>
                  <a:schemeClr val="tx1"/>
                </a:solidFill>
                <a:latin typeface="+mn-lt"/>
                <a:ea typeface="+mn-ea"/>
                <a:cs typeface="+mn-cs"/>
              </a:defRPr>
            </a:lvl1pPr>
            <a:lvl2pPr marL="514350" indent="-171450" algn="l" rtl="0" eaLnBrk="0" fontAlgn="base" hangingPunct="0">
              <a:lnSpc>
                <a:spcPct val="90000"/>
              </a:lnSpc>
              <a:spcBef>
                <a:spcPts val="375"/>
              </a:spcBef>
              <a:spcAft>
                <a:spcPct val="0"/>
              </a:spcAft>
              <a:buFont typeface="Arial" panose="020B0604020202020204" pitchFamily="34" charset="0"/>
              <a:buChar char="•"/>
              <a:defRPr kern="1200">
                <a:solidFill>
                  <a:schemeClr val="tx1"/>
                </a:solidFill>
                <a:latin typeface="+mn-lt"/>
                <a:ea typeface="+mn-ea"/>
                <a:cs typeface="+mn-cs"/>
              </a:defRPr>
            </a:lvl2pPr>
            <a:lvl3pPr marL="857250" indent="-171450" algn="l" rtl="0" eaLnBrk="0" fontAlgn="base" hangingPunct="0">
              <a:lnSpc>
                <a:spcPct val="90000"/>
              </a:lnSpc>
              <a:spcBef>
                <a:spcPts val="375"/>
              </a:spcBef>
              <a:spcAft>
                <a:spcPct val="0"/>
              </a:spcAft>
              <a:buFont typeface="Arial" panose="020B0604020202020204" pitchFamily="34" charset="0"/>
              <a:buChar char="•"/>
              <a:defRPr sz="1500" kern="1200">
                <a:solidFill>
                  <a:schemeClr val="tx1"/>
                </a:solidFill>
                <a:latin typeface="+mn-lt"/>
                <a:ea typeface="+mn-ea"/>
                <a:cs typeface="+mn-cs"/>
              </a:defRPr>
            </a:lvl3pPr>
            <a:lvl4pPr marL="1200150" indent="-171450" algn="l" rtl="0" eaLnBrk="0" fontAlgn="base" hangingPunct="0">
              <a:lnSpc>
                <a:spcPct val="90000"/>
              </a:lnSpc>
              <a:spcBef>
                <a:spcPts val="375"/>
              </a:spcBef>
              <a:spcAft>
                <a:spcPct val="0"/>
              </a:spcAft>
              <a:buFont typeface="Arial" panose="020B0604020202020204" pitchFamily="34" charset="0"/>
              <a:buChar char="•"/>
              <a:defRPr kern="1200">
                <a:solidFill>
                  <a:schemeClr val="tx1"/>
                </a:solidFill>
                <a:latin typeface="+mn-lt"/>
                <a:ea typeface="+mn-ea"/>
                <a:cs typeface="+mn-cs"/>
              </a:defRPr>
            </a:lvl4pPr>
            <a:lvl5pPr marL="1543050" indent="-171450" algn="l" rtl="0" eaLnBrk="0" fontAlgn="base" hangingPunct="0">
              <a:lnSpc>
                <a:spcPct val="90000"/>
              </a:lnSpc>
              <a:spcBef>
                <a:spcPts val="375"/>
              </a:spcBef>
              <a:spcAft>
                <a:spcPct val="0"/>
              </a:spcAft>
              <a:buFont typeface="Arial" panose="020B0604020202020204" pitchFamily="34" charset="0"/>
              <a:buChar char="•"/>
              <a:defRPr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buNone/>
            </a:pPr>
            <a:r>
              <a:rPr lang="en-US" sz="2400" b="1">
                <a:solidFill>
                  <a:schemeClr val="accent5"/>
                </a:solidFill>
              </a:rPr>
              <a:t>Focused Deployment Strategy</a:t>
            </a:r>
            <a:endParaRPr lang="en-US" sz="2000" b="1">
              <a:solidFill>
                <a:schemeClr val="accent5"/>
              </a:solidFill>
            </a:endParaRPr>
          </a:p>
        </p:txBody>
      </p:sp>
      <p:pic>
        <p:nvPicPr>
          <p:cNvPr id="20" name="Graphic 19" descr="Badge with solid fill">
            <a:extLst>
              <a:ext uri="{FF2B5EF4-FFF2-40B4-BE49-F238E27FC236}">
                <a16:creationId xmlns:a16="http://schemas.microsoft.com/office/drawing/2014/main" id="{98AC52C4-099B-D7AB-8100-0336FE86A156}"/>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546697" y="2697050"/>
            <a:ext cx="477369" cy="477369"/>
          </a:xfrm>
          <a:prstGeom prst="rect">
            <a:avLst/>
          </a:prstGeom>
        </p:spPr>
      </p:pic>
      <p:pic>
        <p:nvPicPr>
          <p:cNvPr id="21" name="Graphic 20" descr="Badge 1 with solid fill">
            <a:extLst>
              <a:ext uri="{FF2B5EF4-FFF2-40B4-BE49-F238E27FC236}">
                <a16:creationId xmlns:a16="http://schemas.microsoft.com/office/drawing/2014/main" id="{273DE902-969D-9513-4682-CF222B85B5E4}"/>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546697" y="1800785"/>
            <a:ext cx="477369" cy="477369"/>
          </a:xfrm>
          <a:prstGeom prst="rect">
            <a:avLst/>
          </a:prstGeom>
        </p:spPr>
      </p:pic>
      <p:sp>
        <p:nvSpPr>
          <p:cNvPr id="22" name="Content Placeholder 2">
            <a:extLst>
              <a:ext uri="{FF2B5EF4-FFF2-40B4-BE49-F238E27FC236}">
                <a16:creationId xmlns:a16="http://schemas.microsoft.com/office/drawing/2014/main" id="{23C4551A-4BC1-ACEB-01F6-26F7C160A2D2}"/>
              </a:ext>
            </a:extLst>
          </p:cNvPr>
          <p:cNvSpPr txBox="1">
            <a:spLocks/>
          </p:cNvSpPr>
          <p:nvPr/>
        </p:nvSpPr>
        <p:spPr bwMode="auto">
          <a:xfrm>
            <a:off x="970535" y="3619605"/>
            <a:ext cx="45720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171450" indent="-171450" algn="l" rtl="0" eaLnBrk="0" fontAlgn="base" hangingPunct="0">
              <a:lnSpc>
                <a:spcPct val="90000"/>
              </a:lnSpc>
              <a:spcBef>
                <a:spcPts val="750"/>
              </a:spcBef>
              <a:spcAft>
                <a:spcPct val="0"/>
              </a:spcAft>
              <a:buFont typeface="Arial" panose="020B0604020202020204" pitchFamily="34" charset="0"/>
              <a:buChar char="•"/>
              <a:defRPr sz="2100" kern="1200">
                <a:solidFill>
                  <a:schemeClr val="tx1"/>
                </a:solidFill>
                <a:latin typeface="+mn-lt"/>
                <a:ea typeface="+mn-ea"/>
                <a:cs typeface="+mn-cs"/>
              </a:defRPr>
            </a:lvl1pPr>
            <a:lvl2pPr marL="514350" indent="-171450" algn="l" rtl="0" eaLnBrk="0" fontAlgn="base" hangingPunct="0">
              <a:lnSpc>
                <a:spcPct val="90000"/>
              </a:lnSpc>
              <a:spcBef>
                <a:spcPts val="375"/>
              </a:spcBef>
              <a:spcAft>
                <a:spcPct val="0"/>
              </a:spcAft>
              <a:buFont typeface="Arial" panose="020B0604020202020204" pitchFamily="34" charset="0"/>
              <a:buChar char="•"/>
              <a:defRPr kern="1200">
                <a:solidFill>
                  <a:schemeClr val="tx1"/>
                </a:solidFill>
                <a:latin typeface="+mn-lt"/>
                <a:ea typeface="+mn-ea"/>
                <a:cs typeface="+mn-cs"/>
              </a:defRPr>
            </a:lvl2pPr>
            <a:lvl3pPr marL="857250" indent="-171450" algn="l" rtl="0" eaLnBrk="0" fontAlgn="base" hangingPunct="0">
              <a:lnSpc>
                <a:spcPct val="90000"/>
              </a:lnSpc>
              <a:spcBef>
                <a:spcPts val="375"/>
              </a:spcBef>
              <a:spcAft>
                <a:spcPct val="0"/>
              </a:spcAft>
              <a:buFont typeface="Arial" panose="020B0604020202020204" pitchFamily="34" charset="0"/>
              <a:buChar char="•"/>
              <a:defRPr sz="1500" kern="1200">
                <a:solidFill>
                  <a:schemeClr val="tx1"/>
                </a:solidFill>
                <a:latin typeface="+mn-lt"/>
                <a:ea typeface="+mn-ea"/>
                <a:cs typeface="+mn-cs"/>
              </a:defRPr>
            </a:lvl3pPr>
            <a:lvl4pPr marL="1200150" indent="-171450" algn="l" rtl="0" eaLnBrk="0" fontAlgn="base" hangingPunct="0">
              <a:lnSpc>
                <a:spcPct val="90000"/>
              </a:lnSpc>
              <a:spcBef>
                <a:spcPts val="375"/>
              </a:spcBef>
              <a:spcAft>
                <a:spcPct val="0"/>
              </a:spcAft>
              <a:buFont typeface="Arial" panose="020B0604020202020204" pitchFamily="34" charset="0"/>
              <a:buChar char="•"/>
              <a:defRPr kern="1200">
                <a:solidFill>
                  <a:schemeClr val="tx1"/>
                </a:solidFill>
                <a:latin typeface="+mn-lt"/>
                <a:ea typeface="+mn-ea"/>
                <a:cs typeface="+mn-cs"/>
              </a:defRPr>
            </a:lvl4pPr>
            <a:lvl5pPr marL="1543050" indent="-171450" algn="l" rtl="0" eaLnBrk="0" fontAlgn="base" hangingPunct="0">
              <a:lnSpc>
                <a:spcPct val="90000"/>
              </a:lnSpc>
              <a:spcBef>
                <a:spcPts val="375"/>
              </a:spcBef>
              <a:spcAft>
                <a:spcPct val="0"/>
              </a:spcAft>
              <a:buFont typeface="Arial" panose="020B0604020202020204" pitchFamily="34" charset="0"/>
              <a:buChar char="•"/>
              <a:defRPr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buNone/>
            </a:pPr>
            <a:r>
              <a:rPr lang="en-US" sz="2400" b="1">
                <a:solidFill>
                  <a:schemeClr val="accent5"/>
                </a:solidFill>
              </a:rPr>
              <a:t>Demo projects (short-term)</a:t>
            </a:r>
            <a:endParaRPr lang="en-US" sz="2000" b="1">
              <a:solidFill>
                <a:schemeClr val="accent5"/>
              </a:solidFill>
            </a:endParaRPr>
          </a:p>
        </p:txBody>
      </p:sp>
      <p:sp>
        <p:nvSpPr>
          <p:cNvPr id="23" name="Content Placeholder 2">
            <a:extLst>
              <a:ext uri="{FF2B5EF4-FFF2-40B4-BE49-F238E27FC236}">
                <a16:creationId xmlns:a16="http://schemas.microsoft.com/office/drawing/2014/main" id="{ADB8885E-86DB-AF85-8801-E7AF8A36E01C}"/>
              </a:ext>
            </a:extLst>
          </p:cNvPr>
          <p:cNvSpPr txBox="1">
            <a:spLocks/>
          </p:cNvSpPr>
          <p:nvPr/>
        </p:nvSpPr>
        <p:spPr bwMode="auto">
          <a:xfrm>
            <a:off x="970535" y="4354651"/>
            <a:ext cx="4572000" cy="914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171450" indent="-171450" algn="l" rtl="0" eaLnBrk="0" fontAlgn="base" hangingPunct="0">
              <a:lnSpc>
                <a:spcPct val="90000"/>
              </a:lnSpc>
              <a:spcBef>
                <a:spcPts val="750"/>
              </a:spcBef>
              <a:spcAft>
                <a:spcPct val="0"/>
              </a:spcAft>
              <a:buFont typeface="Arial" panose="020B0604020202020204" pitchFamily="34" charset="0"/>
              <a:buChar char="•"/>
              <a:defRPr sz="2100" kern="1200">
                <a:solidFill>
                  <a:schemeClr val="tx1"/>
                </a:solidFill>
                <a:latin typeface="+mn-lt"/>
                <a:ea typeface="+mn-ea"/>
                <a:cs typeface="+mn-cs"/>
              </a:defRPr>
            </a:lvl1pPr>
            <a:lvl2pPr marL="514350" indent="-171450" algn="l" rtl="0" eaLnBrk="0" fontAlgn="base" hangingPunct="0">
              <a:lnSpc>
                <a:spcPct val="90000"/>
              </a:lnSpc>
              <a:spcBef>
                <a:spcPts val="375"/>
              </a:spcBef>
              <a:spcAft>
                <a:spcPct val="0"/>
              </a:spcAft>
              <a:buFont typeface="Arial" panose="020B0604020202020204" pitchFamily="34" charset="0"/>
              <a:buChar char="•"/>
              <a:defRPr kern="1200">
                <a:solidFill>
                  <a:schemeClr val="tx1"/>
                </a:solidFill>
                <a:latin typeface="+mn-lt"/>
                <a:ea typeface="+mn-ea"/>
                <a:cs typeface="+mn-cs"/>
              </a:defRPr>
            </a:lvl2pPr>
            <a:lvl3pPr marL="857250" indent="-171450" algn="l" rtl="0" eaLnBrk="0" fontAlgn="base" hangingPunct="0">
              <a:lnSpc>
                <a:spcPct val="90000"/>
              </a:lnSpc>
              <a:spcBef>
                <a:spcPts val="375"/>
              </a:spcBef>
              <a:spcAft>
                <a:spcPct val="0"/>
              </a:spcAft>
              <a:buFont typeface="Arial" panose="020B0604020202020204" pitchFamily="34" charset="0"/>
              <a:buChar char="•"/>
              <a:defRPr sz="1500" kern="1200">
                <a:solidFill>
                  <a:schemeClr val="tx1"/>
                </a:solidFill>
                <a:latin typeface="+mn-lt"/>
                <a:ea typeface="+mn-ea"/>
                <a:cs typeface="+mn-cs"/>
              </a:defRPr>
            </a:lvl3pPr>
            <a:lvl4pPr marL="1200150" indent="-171450" algn="l" rtl="0" eaLnBrk="0" fontAlgn="base" hangingPunct="0">
              <a:lnSpc>
                <a:spcPct val="90000"/>
              </a:lnSpc>
              <a:spcBef>
                <a:spcPts val="375"/>
              </a:spcBef>
              <a:spcAft>
                <a:spcPct val="0"/>
              </a:spcAft>
              <a:buFont typeface="Arial" panose="020B0604020202020204" pitchFamily="34" charset="0"/>
              <a:buChar char="•"/>
              <a:defRPr kern="1200">
                <a:solidFill>
                  <a:schemeClr val="tx1"/>
                </a:solidFill>
                <a:latin typeface="+mn-lt"/>
                <a:ea typeface="+mn-ea"/>
                <a:cs typeface="+mn-cs"/>
              </a:defRPr>
            </a:lvl4pPr>
            <a:lvl5pPr marL="1543050" indent="-171450" algn="l" rtl="0" eaLnBrk="0" fontAlgn="base" hangingPunct="0">
              <a:lnSpc>
                <a:spcPct val="90000"/>
              </a:lnSpc>
              <a:spcBef>
                <a:spcPts val="375"/>
              </a:spcBef>
              <a:spcAft>
                <a:spcPct val="0"/>
              </a:spcAft>
              <a:buFont typeface="Arial" panose="020B0604020202020204" pitchFamily="34" charset="0"/>
              <a:buChar char="•"/>
              <a:defRPr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buNone/>
            </a:pPr>
            <a:r>
              <a:rPr lang="en-US" sz="2400" b="1">
                <a:solidFill>
                  <a:schemeClr val="accent5"/>
                </a:solidFill>
              </a:rPr>
              <a:t>Materials, Construction, Workforce (medium &amp; long-term)</a:t>
            </a:r>
            <a:endParaRPr lang="en-US" sz="2000" b="1">
              <a:solidFill>
                <a:schemeClr val="accent5"/>
              </a:solidFill>
            </a:endParaRPr>
          </a:p>
        </p:txBody>
      </p:sp>
      <p:pic>
        <p:nvPicPr>
          <p:cNvPr id="24" name="Graphic 23" descr="Badge 3 with solid fill">
            <a:extLst>
              <a:ext uri="{FF2B5EF4-FFF2-40B4-BE49-F238E27FC236}">
                <a16:creationId xmlns:a16="http://schemas.microsoft.com/office/drawing/2014/main" id="{C64CCDB4-F2A2-056E-F4B3-E336EFDE9B26}"/>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546697" y="3593315"/>
            <a:ext cx="475488" cy="475488"/>
          </a:xfrm>
          <a:prstGeom prst="rect">
            <a:avLst/>
          </a:prstGeom>
        </p:spPr>
      </p:pic>
      <p:pic>
        <p:nvPicPr>
          <p:cNvPr id="25" name="Graphic 24" descr="Badge 4 with solid fill">
            <a:extLst>
              <a:ext uri="{FF2B5EF4-FFF2-40B4-BE49-F238E27FC236}">
                <a16:creationId xmlns:a16="http://schemas.microsoft.com/office/drawing/2014/main" id="{1DC6930F-ABE0-36D4-C661-FBF5CCB18888}"/>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546697" y="4487699"/>
            <a:ext cx="475488" cy="475488"/>
          </a:xfrm>
          <a:prstGeom prst="rect">
            <a:avLst/>
          </a:prstGeom>
        </p:spPr>
      </p:pic>
      <p:pic>
        <p:nvPicPr>
          <p:cNvPr id="26" name="Graphic 25" descr="Badge 5 with solid fill">
            <a:extLst>
              <a:ext uri="{FF2B5EF4-FFF2-40B4-BE49-F238E27FC236}">
                <a16:creationId xmlns:a16="http://schemas.microsoft.com/office/drawing/2014/main" id="{B5458DAD-3362-382C-3FBD-B574A873426C}"/>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546697" y="5382084"/>
            <a:ext cx="475488" cy="475488"/>
          </a:xfrm>
          <a:prstGeom prst="rect">
            <a:avLst/>
          </a:prstGeom>
        </p:spPr>
      </p:pic>
      <p:sp>
        <p:nvSpPr>
          <p:cNvPr id="27" name="Content Placeholder 2">
            <a:extLst>
              <a:ext uri="{FF2B5EF4-FFF2-40B4-BE49-F238E27FC236}">
                <a16:creationId xmlns:a16="http://schemas.microsoft.com/office/drawing/2014/main" id="{01E89A7E-D96F-1620-3AF0-16C85FC2D049}"/>
              </a:ext>
            </a:extLst>
          </p:cNvPr>
          <p:cNvSpPr txBox="1">
            <a:spLocks/>
          </p:cNvSpPr>
          <p:nvPr/>
        </p:nvSpPr>
        <p:spPr bwMode="auto">
          <a:xfrm>
            <a:off x="970535" y="5295074"/>
            <a:ext cx="4572000" cy="914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171450" indent="-171450" algn="l" rtl="0" eaLnBrk="0" fontAlgn="base" hangingPunct="0">
              <a:lnSpc>
                <a:spcPct val="90000"/>
              </a:lnSpc>
              <a:spcBef>
                <a:spcPts val="750"/>
              </a:spcBef>
              <a:spcAft>
                <a:spcPct val="0"/>
              </a:spcAft>
              <a:buFont typeface="Arial" panose="020B0604020202020204" pitchFamily="34" charset="0"/>
              <a:buChar char="•"/>
              <a:defRPr sz="2100" kern="1200">
                <a:solidFill>
                  <a:schemeClr val="tx1"/>
                </a:solidFill>
                <a:latin typeface="+mn-lt"/>
                <a:ea typeface="+mn-ea"/>
                <a:cs typeface="+mn-cs"/>
              </a:defRPr>
            </a:lvl1pPr>
            <a:lvl2pPr marL="514350" indent="-171450" algn="l" rtl="0" eaLnBrk="0" fontAlgn="base" hangingPunct="0">
              <a:lnSpc>
                <a:spcPct val="90000"/>
              </a:lnSpc>
              <a:spcBef>
                <a:spcPts val="375"/>
              </a:spcBef>
              <a:spcAft>
                <a:spcPct val="0"/>
              </a:spcAft>
              <a:buFont typeface="Arial" panose="020B0604020202020204" pitchFamily="34" charset="0"/>
              <a:buChar char="•"/>
              <a:defRPr kern="1200">
                <a:solidFill>
                  <a:schemeClr val="tx1"/>
                </a:solidFill>
                <a:latin typeface="+mn-lt"/>
                <a:ea typeface="+mn-ea"/>
                <a:cs typeface="+mn-cs"/>
              </a:defRPr>
            </a:lvl2pPr>
            <a:lvl3pPr marL="857250" indent="-171450" algn="l" rtl="0" eaLnBrk="0" fontAlgn="base" hangingPunct="0">
              <a:lnSpc>
                <a:spcPct val="90000"/>
              </a:lnSpc>
              <a:spcBef>
                <a:spcPts val="375"/>
              </a:spcBef>
              <a:spcAft>
                <a:spcPct val="0"/>
              </a:spcAft>
              <a:buFont typeface="Arial" panose="020B0604020202020204" pitchFamily="34" charset="0"/>
              <a:buChar char="•"/>
              <a:defRPr sz="1500" kern="1200">
                <a:solidFill>
                  <a:schemeClr val="tx1"/>
                </a:solidFill>
                <a:latin typeface="+mn-lt"/>
                <a:ea typeface="+mn-ea"/>
                <a:cs typeface="+mn-cs"/>
              </a:defRPr>
            </a:lvl3pPr>
            <a:lvl4pPr marL="1200150" indent="-171450" algn="l" rtl="0" eaLnBrk="0" fontAlgn="base" hangingPunct="0">
              <a:lnSpc>
                <a:spcPct val="90000"/>
              </a:lnSpc>
              <a:spcBef>
                <a:spcPts val="375"/>
              </a:spcBef>
              <a:spcAft>
                <a:spcPct val="0"/>
              </a:spcAft>
              <a:buFont typeface="Arial" panose="020B0604020202020204" pitchFamily="34" charset="0"/>
              <a:buChar char="•"/>
              <a:defRPr kern="1200">
                <a:solidFill>
                  <a:schemeClr val="tx1"/>
                </a:solidFill>
                <a:latin typeface="+mn-lt"/>
                <a:ea typeface="+mn-ea"/>
                <a:cs typeface="+mn-cs"/>
              </a:defRPr>
            </a:lvl4pPr>
            <a:lvl5pPr marL="1543050" indent="-171450" algn="l" rtl="0" eaLnBrk="0" fontAlgn="base" hangingPunct="0">
              <a:lnSpc>
                <a:spcPct val="90000"/>
              </a:lnSpc>
              <a:spcBef>
                <a:spcPts val="375"/>
              </a:spcBef>
              <a:spcAft>
                <a:spcPct val="0"/>
              </a:spcAft>
              <a:buFont typeface="Arial" panose="020B0604020202020204" pitchFamily="34" charset="0"/>
              <a:buChar char="•"/>
              <a:defRPr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buNone/>
            </a:pPr>
            <a:r>
              <a:rPr lang="en-US" sz="2400" b="1">
                <a:solidFill>
                  <a:schemeClr val="accent5"/>
                </a:solidFill>
              </a:rPr>
              <a:t>Timescale strategies (medium &amp; long-term)</a:t>
            </a:r>
            <a:endParaRPr lang="en-US" sz="2000" b="1">
              <a:solidFill>
                <a:schemeClr val="accent5"/>
              </a:solidFill>
            </a:endParaRPr>
          </a:p>
        </p:txBody>
      </p:sp>
      <p:pic>
        <p:nvPicPr>
          <p:cNvPr id="28" name="Graphic 27" descr="List outline">
            <a:extLst>
              <a:ext uri="{FF2B5EF4-FFF2-40B4-BE49-F238E27FC236}">
                <a16:creationId xmlns:a16="http://schemas.microsoft.com/office/drawing/2014/main" id="{372E8112-A9D4-B72C-6109-529DB97E3DE2}"/>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5236860" y="3404131"/>
            <a:ext cx="731520" cy="731520"/>
          </a:xfrm>
          <a:prstGeom prst="rect">
            <a:avLst/>
          </a:prstGeom>
        </p:spPr>
      </p:pic>
      <p:pic>
        <p:nvPicPr>
          <p:cNvPr id="29" name="Graphic 28" descr="Daily calendar outline">
            <a:extLst>
              <a:ext uri="{FF2B5EF4-FFF2-40B4-BE49-F238E27FC236}">
                <a16:creationId xmlns:a16="http://schemas.microsoft.com/office/drawing/2014/main" id="{99E3F9A5-F306-CFEA-98BD-C3EE5D53935B}"/>
              </a:ext>
            </a:extLst>
          </p:cNvPr>
          <p:cNvPicPr>
            <a:picLocks noChangeAspect="1"/>
          </p:cNvPicPr>
          <p:nvPr/>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5289229" y="5205487"/>
            <a:ext cx="731520" cy="731520"/>
          </a:xfrm>
          <a:prstGeom prst="rect">
            <a:avLst/>
          </a:prstGeom>
        </p:spPr>
      </p:pic>
      <p:pic>
        <p:nvPicPr>
          <p:cNvPr id="30" name="Graphic 29" descr="Crane outline">
            <a:extLst>
              <a:ext uri="{FF2B5EF4-FFF2-40B4-BE49-F238E27FC236}">
                <a16:creationId xmlns:a16="http://schemas.microsoft.com/office/drawing/2014/main" id="{FE91CE60-C1CF-E5EA-B7C9-E1C2BCBD6C94}"/>
              </a:ext>
            </a:extLst>
          </p:cNvPr>
          <p:cNvPicPr>
            <a:picLocks noChangeAspect="1"/>
          </p:cNvPicPr>
          <p:nvPr/>
        </p:nvPicPr>
        <p:blipFill>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5320707" y="4328628"/>
            <a:ext cx="731520" cy="731520"/>
          </a:xfrm>
          <a:prstGeom prst="rect">
            <a:avLst/>
          </a:prstGeom>
        </p:spPr>
      </p:pic>
      <p:sp>
        <p:nvSpPr>
          <p:cNvPr id="33" name="Content Placeholder 2">
            <a:extLst>
              <a:ext uri="{FF2B5EF4-FFF2-40B4-BE49-F238E27FC236}">
                <a16:creationId xmlns:a16="http://schemas.microsoft.com/office/drawing/2014/main" id="{80D51801-C3DB-9E88-75AB-20BB80091488}"/>
              </a:ext>
            </a:extLst>
          </p:cNvPr>
          <p:cNvSpPr txBox="1">
            <a:spLocks/>
          </p:cNvSpPr>
          <p:nvPr/>
        </p:nvSpPr>
        <p:spPr bwMode="auto">
          <a:xfrm>
            <a:off x="6768681" y="1819509"/>
            <a:ext cx="45720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171450" indent="-171450" algn="l" rtl="0" eaLnBrk="0" fontAlgn="base" hangingPunct="0">
              <a:lnSpc>
                <a:spcPct val="90000"/>
              </a:lnSpc>
              <a:spcBef>
                <a:spcPts val="750"/>
              </a:spcBef>
              <a:spcAft>
                <a:spcPct val="0"/>
              </a:spcAft>
              <a:buFont typeface="Arial" panose="020B0604020202020204" pitchFamily="34" charset="0"/>
              <a:buChar char="•"/>
              <a:defRPr sz="2100" kern="1200">
                <a:solidFill>
                  <a:schemeClr val="tx1"/>
                </a:solidFill>
                <a:latin typeface="+mn-lt"/>
                <a:ea typeface="+mn-ea"/>
                <a:cs typeface="+mn-cs"/>
              </a:defRPr>
            </a:lvl1pPr>
            <a:lvl2pPr marL="514350" indent="-171450" algn="l" rtl="0" eaLnBrk="0" fontAlgn="base" hangingPunct="0">
              <a:lnSpc>
                <a:spcPct val="90000"/>
              </a:lnSpc>
              <a:spcBef>
                <a:spcPts val="375"/>
              </a:spcBef>
              <a:spcAft>
                <a:spcPct val="0"/>
              </a:spcAft>
              <a:buFont typeface="Arial" panose="020B0604020202020204" pitchFamily="34" charset="0"/>
              <a:buChar char="•"/>
              <a:defRPr kern="1200">
                <a:solidFill>
                  <a:schemeClr val="tx1"/>
                </a:solidFill>
                <a:latin typeface="+mn-lt"/>
                <a:ea typeface="+mn-ea"/>
                <a:cs typeface="+mn-cs"/>
              </a:defRPr>
            </a:lvl2pPr>
            <a:lvl3pPr marL="857250" indent="-171450" algn="l" rtl="0" eaLnBrk="0" fontAlgn="base" hangingPunct="0">
              <a:lnSpc>
                <a:spcPct val="90000"/>
              </a:lnSpc>
              <a:spcBef>
                <a:spcPts val="375"/>
              </a:spcBef>
              <a:spcAft>
                <a:spcPct val="0"/>
              </a:spcAft>
              <a:buFont typeface="Arial" panose="020B0604020202020204" pitchFamily="34" charset="0"/>
              <a:buChar char="•"/>
              <a:defRPr sz="1500" kern="1200">
                <a:solidFill>
                  <a:schemeClr val="tx1"/>
                </a:solidFill>
                <a:latin typeface="+mn-lt"/>
                <a:ea typeface="+mn-ea"/>
                <a:cs typeface="+mn-cs"/>
              </a:defRPr>
            </a:lvl3pPr>
            <a:lvl4pPr marL="1200150" indent="-171450" algn="l" rtl="0" eaLnBrk="0" fontAlgn="base" hangingPunct="0">
              <a:lnSpc>
                <a:spcPct val="90000"/>
              </a:lnSpc>
              <a:spcBef>
                <a:spcPts val="375"/>
              </a:spcBef>
              <a:spcAft>
                <a:spcPct val="0"/>
              </a:spcAft>
              <a:buFont typeface="Arial" panose="020B0604020202020204" pitchFamily="34" charset="0"/>
              <a:buChar char="•"/>
              <a:defRPr kern="1200">
                <a:solidFill>
                  <a:schemeClr val="tx1"/>
                </a:solidFill>
                <a:latin typeface="+mn-lt"/>
                <a:ea typeface="+mn-ea"/>
                <a:cs typeface="+mn-cs"/>
              </a:defRPr>
            </a:lvl4pPr>
            <a:lvl5pPr marL="1543050" indent="-171450" algn="l" rtl="0" eaLnBrk="0" fontAlgn="base" hangingPunct="0">
              <a:lnSpc>
                <a:spcPct val="90000"/>
              </a:lnSpc>
              <a:spcBef>
                <a:spcPts val="375"/>
              </a:spcBef>
              <a:spcAft>
                <a:spcPct val="0"/>
              </a:spcAft>
              <a:buFont typeface="Arial" panose="020B0604020202020204" pitchFamily="34" charset="0"/>
              <a:buChar char="•"/>
              <a:defRPr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buNone/>
            </a:pPr>
            <a:r>
              <a:rPr lang="en-US" sz="2400" b="1">
                <a:solidFill>
                  <a:schemeClr val="accent5"/>
                </a:solidFill>
              </a:rPr>
              <a:t>HALEU prioritization</a:t>
            </a:r>
            <a:endParaRPr lang="en-US" sz="2000" b="1">
              <a:solidFill>
                <a:schemeClr val="accent5"/>
              </a:solidFill>
            </a:endParaRPr>
          </a:p>
        </p:txBody>
      </p:sp>
      <p:sp>
        <p:nvSpPr>
          <p:cNvPr id="34" name="Content Placeholder 2">
            <a:extLst>
              <a:ext uri="{FF2B5EF4-FFF2-40B4-BE49-F238E27FC236}">
                <a16:creationId xmlns:a16="http://schemas.microsoft.com/office/drawing/2014/main" id="{3D4080C1-9171-43E5-F196-F08E21CFDB34}"/>
              </a:ext>
            </a:extLst>
          </p:cNvPr>
          <p:cNvSpPr txBox="1">
            <a:spLocks/>
          </p:cNvSpPr>
          <p:nvPr/>
        </p:nvSpPr>
        <p:spPr bwMode="auto">
          <a:xfrm>
            <a:off x="6727415" y="2534236"/>
            <a:ext cx="45720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171450" indent="-171450" algn="l" rtl="0" eaLnBrk="0" fontAlgn="base" hangingPunct="0">
              <a:lnSpc>
                <a:spcPct val="90000"/>
              </a:lnSpc>
              <a:spcBef>
                <a:spcPts val="750"/>
              </a:spcBef>
              <a:spcAft>
                <a:spcPct val="0"/>
              </a:spcAft>
              <a:buFont typeface="Arial" panose="020B0604020202020204" pitchFamily="34" charset="0"/>
              <a:buChar char="•"/>
              <a:defRPr sz="2100" kern="1200">
                <a:solidFill>
                  <a:schemeClr val="tx1"/>
                </a:solidFill>
                <a:latin typeface="+mn-lt"/>
                <a:ea typeface="+mn-ea"/>
                <a:cs typeface="+mn-cs"/>
              </a:defRPr>
            </a:lvl1pPr>
            <a:lvl2pPr marL="514350" indent="-171450" algn="l" rtl="0" eaLnBrk="0" fontAlgn="base" hangingPunct="0">
              <a:lnSpc>
                <a:spcPct val="90000"/>
              </a:lnSpc>
              <a:spcBef>
                <a:spcPts val="375"/>
              </a:spcBef>
              <a:spcAft>
                <a:spcPct val="0"/>
              </a:spcAft>
              <a:buFont typeface="Arial" panose="020B0604020202020204" pitchFamily="34" charset="0"/>
              <a:buChar char="•"/>
              <a:defRPr kern="1200">
                <a:solidFill>
                  <a:schemeClr val="tx1"/>
                </a:solidFill>
                <a:latin typeface="+mn-lt"/>
                <a:ea typeface="+mn-ea"/>
                <a:cs typeface="+mn-cs"/>
              </a:defRPr>
            </a:lvl2pPr>
            <a:lvl3pPr marL="857250" indent="-171450" algn="l" rtl="0" eaLnBrk="0" fontAlgn="base" hangingPunct="0">
              <a:lnSpc>
                <a:spcPct val="90000"/>
              </a:lnSpc>
              <a:spcBef>
                <a:spcPts val="375"/>
              </a:spcBef>
              <a:spcAft>
                <a:spcPct val="0"/>
              </a:spcAft>
              <a:buFont typeface="Arial" panose="020B0604020202020204" pitchFamily="34" charset="0"/>
              <a:buChar char="•"/>
              <a:defRPr sz="1500" kern="1200">
                <a:solidFill>
                  <a:schemeClr val="tx1"/>
                </a:solidFill>
                <a:latin typeface="+mn-lt"/>
                <a:ea typeface="+mn-ea"/>
                <a:cs typeface="+mn-cs"/>
              </a:defRPr>
            </a:lvl3pPr>
            <a:lvl4pPr marL="1200150" indent="-171450" algn="l" rtl="0" eaLnBrk="0" fontAlgn="base" hangingPunct="0">
              <a:lnSpc>
                <a:spcPct val="90000"/>
              </a:lnSpc>
              <a:spcBef>
                <a:spcPts val="375"/>
              </a:spcBef>
              <a:spcAft>
                <a:spcPct val="0"/>
              </a:spcAft>
              <a:buFont typeface="Arial" panose="020B0604020202020204" pitchFamily="34" charset="0"/>
              <a:buChar char="•"/>
              <a:defRPr kern="1200">
                <a:solidFill>
                  <a:schemeClr val="tx1"/>
                </a:solidFill>
                <a:latin typeface="+mn-lt"/>
                <a:ea typeface="+mn-ea"/>
                <a:cs typeface="+mn-cs"/>
              </a:defRPr>
            </a:lvl4pPr>
            <a:lvl5pPr marL="1543050" indent="-171450" algn="l" rtl="0" eaLnBrk="0" fontAlgn="base" hangingPunct="0">
              <a:lnSpc>
                <a:spcPct val="90000"/>
              </a:lnSpc>
              <a:spcBef>
                <a:spcPts val="375"/>
              </a:spcBef>
              <a:spcAft>
                <a:spcPct val="0"/>
              </a:spcAft>
              <a:buFont typeface="Arial" panose="020B0604020202020204" pitchFamily="34" charset="0"/>
              <a:buChar char="•"/>
              <a:defRPr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buNone/>
            </a:pPr>
            <a:r>
              <a:rPr lang="en-US" sz="2400" b="1">
                <a:solidFill>
                  <a:schemeClr val="accent5"/>
                </a:solidFill>
              </a:rPr>
              <a:t>Reprocessing and recycling</a:t>
            </a:r>
            <a:endParaRPr lang="en-US" sz="2000" b="1">
              <a:solidFill>
                <a:schemeClr val="accent5"/>
              </a:solidFill>
            </a:endParaRPr>
          </a:p>
        </p:txBody>
      </p:sp>
      <p:pic>
        <p:nvPicPr>
          <p:cNvPr id="35" name="Graphic 34" descr="Badge 6 with solid fill">
            <a:extLst>
              <a:ext uri="{FF2B5EF4-FFF2-40B4-BE49-F238E27FC236}">
                <a16:creationId xmlns:a16="http://schemas.microsoft.com/office/drawing/2014/main" id="{AC4119C8-4F84-27D0-F967-1667CDEFC433}"/>
              </a:ext>
            </a:extLst>
          </p:cNvPr>
          <p:cNvPicPr>
            <a:picLocks noChangeAspect="1"/>
          </p:cNvPicPr>
          <p:nvPr/>
        </p:nvPicPr>
        <p:blipFill>
          <a:blip r:embed="rId22">
            <a:extLst>
              <a:ext uri="{28A0092B-C50C-407E-A947-70E740481C1C}">
                <a14:useLocalDpi xmlns:a14="http://schemas.microsoft.com/office/drawing/2010/main" val="0"/>
              </a:ext>
              <a:ext uri="{96DAC541-7B7A-43D3-8B79-37D633B846F1}">
                <asvg:svgBlip xmlns:asvg="http://schemas.microsoft.com/office/drawing/2016/SVG/main" r:embed="rId23"/>
              </a:ext>
            </a:extLst>
          </a:blip>
          <a:stretch>
            <a:fillRect/>
          </a:stretch>
        </p:blipFill>
        <p:spPr>
          <a:xfrm>
            <a:off x="6251927" y="1800785"/>
            <a:ext cx="475488" cy="475488"/>
          </a:xfrm>
          <a:prstGeom prst="rect">
            <a:avLst/>
          </a:prstGeom>
        </p:spPr>
      </p:pic>
      <p:pic>
        <p:nvPicPr>
          <p:cNvPr id="36" name="Graphic 35" descr="Badge 7 with solid fill">
            <a:extLst>
              <a:ext uri="{FF2B5EF4-FFF2-40B4-BE49-F238E27FC236}">
                <a16:creationId xmlns:a16="http://schemas.microsoft.com/office/drawing/2014/main" id="{73C2A093-A0B9-DBAF-0918-B1387291A17E}"/>
              </a:ext>
            </a:extLst>
          </p:cNvPr>
          <p:cNvPicPr>
            <a:picLocks noChangeAspect="1"/>
          </p:cNvPicPr>
          <p:nvPr/>
        </p:nvPicPr>
        <p:blipFill>
          <a:blip r:embed="rId24">
            <a:extLst>
              <a:ext uri="{28A0092B-C50C-407E-A947-70E740481C1C}">
                <a14:useLocalDpi xmlns:a14="http://schemas.microsoft.com/office/drawing/2010/main" val="0"/>
              </a:ext>
              <a:ext uri="{96DAC541-7B7A-43D3-8B79-37D633B846F1}">
                <asvg:svgBlip xmlns:asvg="http://schemas.microsoft.com/office/drawing/2016/SVG/main" r:embed="rId25"/>
              </a:ext>
            </a:extLst>
          </a:blip>
          <a:stretch>
            <a:fillRect/>
          </a:stretch>
        </p:blipFill>
        <p:spPr>
          <a:xfrm>
            <a:off x="6251927" y="2517330"/>
            <a:ext cx="475488" cy="475488"/>
          </a:xfrm>
          <a:prstGeom prst="rect">
            <a:avLst/>
          </a:prstGeom>
        </p:spPr>
      </p:pic>
      <p:pic>
        <p:nvPicPr>
          <p:cNvPr id="37" name="Graphic 36" descr="Recycle outline">
            <a:extLst>
              <a:ext uri="{FF2B5EF4-FFF2-40B4-BE49-F238E27FC236}">
                <a16:creationId xmlns:a16="http://schemas.microsoft.com/office/drawing/2014/main" id="{129F5B80-3C74-86BC-0F02-D3250C4743F4}"/>
              </a:ext>
            </a:extLst>
          </p:cNvPr>
          <p:cNvPicPr>
            <a:picLocks noChangeAspect="1"/>
          </p:cNvPicPr>
          <p:nvPr/>
        </p:nvPicPr>
        <p:blipFill>
          <a:blip r:embed="rId26">
            <a:extLst>
              <a:ext uri="{28A0092B-C50C-407E-A947-70E740481C1C}">
                <a14:useLocalDpi xmlns:a14="http://schemas.microsoft.com/office/drawing/2010/main" val="0"/>
              </a:ext>
              <a:ext uri="{96DAC541-7B7A-43D3-8B79-37D633B846F1}">
                <asvg:svgBlip xmlns:asvg="http://schemas.microsoft.com/office/drawing/2016/SVG/main" r:embed="rId27"/>
              </a:ext>
            </a:extLst>
          </a:blip>
          <a:stretch>
            <a:fillRect/>
          </a:stretch>
        </p:blipFill>
        <p:spPr>
          <a:xfrm>
            <a:off x="10855705" y="2286528"/>
            <a:ext cx="731520" cy="731520"/>
          </a:xfrm>
          <a:prstGeom prst="rect">
            <a:avLst/>
          </a:prstGeom>
        </p:spPr>
      </p:pic>
      <p:pic>
        <p:nvPicPr>
          <p:cNvPr id="38" name="Graphic 37" descr="Gauge outline">
            <a:extLst>
              <a:ext uri="{FF2B5EF4-FFF2-40B4-BE49-F238E27FC236}">
                <a16:creationId xmlns:a16="http://schemas.microsoft.com/office/drawing/2014/main" id="{68C667DE-24AD-A65B-C598-C7E096D50A5E}"/>
              </a:ext>
            </a:extLst>
          </p:cNvPr>
          <p:cNvPicPr>
            <a:picLocks noChangeAspect="1"/>
          </p:cNvPicPr>
          <p:nvPr/>
        </p:nvPicPr>
        <p:blipFill>
          <a:blip r:embed="rId28">
            <a:extLst>
              <a:ext uri="{28A0092B-C50C-407E-A947-70E740481C1C}">
                <a14:useLocalDpi xmlns:a14="http://schemas.microsoft.com/office/drawing/2010/main" val="0"/>
              </a:ext>
              <a:ext uri="{96DAC541-7B7A-43D3-8B79-37D633B846F1}">
                <asvg:svgBlip xmlns:asvg="http://schemas.microsoft.com/office/drawing/2016/SVG/main" r:embed="rId29"/>
              </a:ext>
            </a:extLst>
          </a:blip>
          <a:stretch>
            <a:fillRect/>
          </a:stretch>
        </p:blipFill>
        <p:spPr>
          <a:xfrm>
            <a:off x="10855705" y="1565862"/>
            <a:ext cx="731520" cy="731520"/>
          </a:xfrm>
          <a:prstGeom prst="rect">
            <a:avLst/>
          </a:prstGeom>
        </p:spPr>
      </p:pic>
      <p:sp>
        <p:nvSpPr>
          <p:cNvPr id="39" name="Content Placeholder 2">
            <a:extLst>
              <a:ext uri="{FF2B5EF4-FFF2-40B4-BE49-F238E27FC236}">
                <a16:creationId xmlns:a16="http://schemas.microsoft.com/office/drawing/2014/main" id="{10E9CFEF-7485-2DC9-49CF-DEC5ECA842E8}"/>
              </a:ext>
            </a:extLst>
          </p:cNvPr>
          <p:cNvSpPr txBox="1">
            <a:spLocks/>
          </p:cNvSpPr>
          <p:nvPr/>
        </p:nvSpPr>
        <p:spPr bwMode="auto">
          <a:xfrm>
            <a:off x="6768681" y="3265203"/>
            <a:ext cx="45720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171450" indent="-171450" algn="l" rtl="0" eaLnBrk="0" fontAlgn="base" hangingPunct="0">
              <a:lnSpc>
                <a:spcPct val="90000"/>
              </a:lnSpc>
              <a:spcBef>
                <a:spcPts val="750"/>
              </a:spcBef>
              <a:spcAft>
                <a:spcPct val="0"/>
              </a:spcAft>
              <a:buFont typeface="Arial" panose="020B0604020202020204" pitchFamily="34" charset="0"/>
              <a:buChar char="•"/>
              <a:defRPr sz="2100" kern="1200">
                <a:solidFill>
                  <a:schemeClr val="tx1"/>
                </a:solidFill>
                <a:latin typeface="+mn-lt"/>
                <a:ea typeface="+mn-ea"/>
                <a:cs typeface="+mn-cs"/>
              </a:defRPr>
            </a:lvl1pPr>
            <a:lvl2pPr marL="514350" indent="-171450" algn="l" rtl="0" eaLnBrk="0" fontAlgn="base" hangingPunct="0">
              <a:lnSpc>
                <a:spcPct val="90000"/>
              </a:lnSpc>
              <a:spcBef>
                <a:spcPts val="375"/>
              </a:spcBef>
              <a:spcAft>
                <a:spcPct val="0"/>
              </a:spcAft>
              <a:buFont typeface="Arial" panose="020B0604020202020204" pitchFamily="34" charset="0"/>
              <a:buChar char="•"/>
              <a:defRPr kern="1200">
                <a:solidFill>
                  <a:schemeClr val="tx1"/>
                </a:solidFill>
                <a:latin typeface="+mn-lt"/>
                <a:ea typeface="+mn-ea"/>
                <a:cs typeface="+mn-cs"/>
              </a:defRPr>
            </a:lvl2pPr>
            <a:lvl3pPr marL="857250" indent="-171450" algn="l" rtl="0" eaLnBrk="0" fontAlgn="base" hangingPunct="0">
              <a:lnSpc>
                <a:spcPct val="90000"/>
              </a:lnSpc>
              <a:spcBef>
                <a:spcPts val="375"/>
              </a:spcBef>
              <a:spcAft>
                <a:spcPct val="0"/>
              </a:spcAft>
              <a:buFont typeface="Arial" panose="020B0604020202020204" pitchFamily="34" charset="0"/>
              <a:buChar char="•"/>
              <a:defRPr sz="1500" kern="1200">
                <a:solidFill>
                  <a:schemeClr val="tx1"/>
                </a:solidFill>
                <a:latin typeface="+mn-lt"/>
                <a:ea typeface="+mn-ea"/>
                <a:cs typeface="+mn-cs"/>
              </a:defRPr>
            </a:lvl3pPr>
            <a:lvl4pPr marL="1200150" indent="-171450" algn="l" rtl="0" eaLnBrk="0" fontAlgn="base" hangingPunct="0">
              <a:lnSpc>
                <a:spcPct val="90000"/>
              </a:lnSpc>
              <a:spcBef>
                <a:spcPts val="375"/>
              </a:spcBef>
              <a:spcAft>
                <a:spcPct val="0"/>
              </a:spcAft>
              <a:buFont typeface="Arial" panose="020B0604020202020204" pitchFamily="34" charset="0"/>
              <a:buChar char="•"/>
              <a:defRPr kern="1200">
                <a:solidFill>
                  <a:schemeClr val="tx1"/>
                </a:solidFill>
                <a:latin typeface="+mn-lt"/>
                <a:ea typeface="+mn-ea"/>
                <a:cs typeface="+mn-cs"/>
              </a:defRPr>
            </a:lvl4pPr>
            <a:lvl5pPr marL="1543050" indent="-171450" algn="l" rtl="0" eaLnBrk="0" fontAlgn="base" hangingPunct="0">
              <a:lnSpc>
                <a:spcPct val="90000"/>
              </a:lnSpc>
              <a:spcBef>
                <a:spcPts val="375"/>
              </a:spcBef>
              <a:spcAft>
                <a:spcPct val="0"/>
              </a:spcAft>
              <a:buFont typeface="Arial" panose="020B0604020202020204" pitchFamily="34" charset="0"/>
              <a:buChar char="•"/>
              <a:defRPr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buNone/>
            </a:pPr>
            <a:r>
              <a:rPr lang="en-US" sz="2400" b="1">
                <a:solidFill>
                  <a:schemeClr val="accent5"/>
                </a:solidFill>
              </a:rPr>
              <a:t>User Facility Models</a:t>
            </a:r>
            <a:endParaRPr lang="en-US" sz="2000" b="1">
              <a:solidFill>
                <a:schemeClr val="accent5"/>
              </a:solidFill>
            </a:endParaRPr>
          </a:p>
        </p:txBody>
      </p:sp>
      <p:sp>
        <p:nvSpPr>
          <p:cNvPr id="40" name="Content Placeholder 2">
            <a:extLst>
              <a:ext uri="{FF2B5EF4-FFF2-40B4-BE49-F238E27FC236}">
                <a16:creationId xmlns:a16="http://schemas.microsoft.com/office/drawing/2014/main" id="{F59E350A-F45D-1046-36E1-049D76E7016A}"/>
              </a:ext>
            </a:extLst>
          </p:cNvPr>
          <p:cNvSpPr txBox="1">
            <a:spLocks/>
          </p:cNvSpPr>
          <p:nvPr/>
        </p:nvSpPr>
        <p:spPr bwMode="auto">
          <a:xfrm>
            <a:off x="6837605" y="3990806"/>
            <a:ext cx="45720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171450" indent="-171450" algn="l" rtl="0" eaLnBrk="0" fontAlgn="base" hangingPunct="0">
              <a:lnSpc>
                <a:spcPct val="90000"/>
              </a:lnSpc>
              <a:spcBef>
                <a:spcPts val="750"/>
              </a:spcBef>
              <a:spcAft>
                <a:spcPct val="0"/>
              </a:spcAft>
              <a:buFont typeface="Arial" panose="020B0604020202020204" pitchFamily="34" charset="0"/>
              <a:buChar char="•"/>
              <a:defRPr sz="2100" kern="1200">
                <a:solidFill>
                  <a:schemeClr val="tx1"/>
                </a:solidFill>
                <a:latin typeface="+mn-lt"/>
                <a:ea typeface="+mn-ea"/>
                <a:cs typeface="+mn-cs"/>
              </a:defRPr>
            </a:lvl1pPr>
            <a:lvl2pPr marL="514350" indent="-171450" algn="l" rtl="0" eaLnBrk="0" fontAlgn="base" hangingPunct="0">
              <a:lnSpc>
                <a:spcPct val="90000"/>
              </a:lnSpc>
              <a:spcBef>
                <a:spcPts val="375"/>
              </a:spcBef>
              <a:spcAft>
                <a:spcPct val="0"/>
              </a:spcAft>
              <a:buFont typeface="Arial" panose="020B0604020202020204" pitchFamily="34" charset="0"/>
              <a:buChar char="•"/>
              <a:defRPr kern="1200">
                <a:solidFill>
                  <a:schemeClr val="tx1"/>
                </a:solidFill>
                <a:latin typeface="+mn-lt"/>
                <a:ea typeface="+mn-ea"/>
                <a:cs typeface="+mn-cs"/>
              </a:defRPr>
            </a:lvl2pPr>
            <a:lvl3pPr marL="857250" indent="-171450" algn="l" rtl="0" eaLnBrk="0" fontAlgn="base" hangingPunct="0">
              <a:lnSpc>
                <a:spcPct val="90000"/>
              </a:lnSpc>
              <a:spcBef>
                <a:spcPts val="375"/>
              </a:spcBef>
              <a:spcAft>
                <a:spcPct val="0"/>
              </a:spcAft>
              <a:buFont typeface="Arial" panose="020B0604020202020204" pitchFamily="34" charset="0"/>
              <a:buChar char="•"/>
              <a:defRPr sz="1500" kern="1200">
                <a:solidFill>
                  <a:schemeClr val="tx1"/>
                </a:solidFill>
                <a:latin typeface="+mn-lt"/>
                <a:ea typeface="+mn-ea"/>
                <a:cs typeface="+mn-cs"/>
              </a:defRPr>
            </a:lvl3pPr>
            <a:lvl4pPr marL="1200150" indent="-171450" algn="l" rtl="0" eaLnBrk="0" fontAlgn="base" hangingPunct="0">
              <a:lnSpc>
                <a:spcPct val="90000"/>
              </a:lnSpc>
              <a:spcBef>
                <a:spcPts val="375"/>
              </a:spcBef>
              <a:spcAft>
                <a:spcPct val="0"/>
              </a:spcAft>
              <a:buFont typeface="Arial" panose="020B0604020202020204" pitchFamily="34" charset="0"/>
              <a:buChar char="•"/>
              <a:defRPr kern="1200">
                <a:solidFill>
                  <a:schemeClr val="tx1"/>
                </a:solidFill>
                <a:latin typeface="+mn-lt"/>
                <a:ea typeface="+mn-ea"/>
                <a:cs typeface="+mn-cs"/>
              </a:defRPr>
            </a:lvl4pPr>
            <a:lvl5pPr marL="1543050" indent="-171450" algn="l" rtl="0" eaLnBrk="0" fontAlgn="base" hangingPunct="0">
              <a:lnSpc>
                <a:spcPct val="90000"/>
              </a:lnSpc>
              <a:spcBef>
                <a:spcPts val="375"/>
              </a:spcBef>
              <a:spcAft>
                <a:spcPct val="0"/>
              </a:spcAft>
              <a:buFont typeface="Arial" panose="020B0604020202020204" pitchFamily="34" charset="0"/>
              <a:buChar char="•"/>
              <a:defRPr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buNone/>
            </a:pPr>
            <a:r>
              <a:rPr lang="en-US" sz="2400" b="1">
                <a:solidFill>
                  <a:schemeClr val="accent5"/>
                </a:solidFill>
              </a:rPr>
              <a:t>Capability Metrics</a:t>
            </a:r>
            <a:endParaRPr lang="en-US" sz="2000" b="1">
              <a:solidFill>
                <a:schemeClr val="accent5"/>
              </a:solidFill>
            </a:endParaRPr>
          </a:p>
        </p:txBody>
      </p:sp>
      <p:pic>
        <p:nvPicPr>
          <p:cNvPr id="41" name="Graphic 40" descr="Radar Chart outline">
            <a:extLst>
              <a:ext uri="{FF2B5EF4-FFF2-40B4-BE49-F238E27FC236}">
                <a16:creationId xmlns:a16="http://schemas.microsoft.com/office/drawing/2014/main" id="{6C0E3738-AFAB-E311-7D9B-807BD529BDB5}"/>
              </a:ext>
            </a:extLst>
          </p:cNvPr>
          <p:cNvPicPr>
            <a:picLocks noChangeAspect="1"/>
          </p:cNvPicPr>
          <p:nvPr/>
        </p:nvPicPr>
        <p:blipFill>
          <a:blip r:embed="rId30">
            <a:extLst>
              <a:ext uri="{28A0092B-C50C-407E-A947-70E740481C1C}">
                <a14:useLocalDpi xmlns:a14="http://schemas.microsoft.com/office/drawing/2010/main" val="0"/>
              </a:ext>
              <a:ext uri="{96DAC541-7B7A-43D3-8B79-37D633B846F1}">
                <asvg:svgBlip xmlns:asvg="http://schemas.microsoft.com/office/drawing/2016/SVG/main" r:embed="rId31"/>
              </a:ext>
            </a:extLst>
          </a:blip>
          <a:stretch>
            <a:fillRect/>
          </a:stretch>
        </p:blipFill>
        <p:spPr>
          <a:xfrm>
            <a:off x="10855705" y="3727860"/>
            <a:ext cx="731520" cy="731520"/>
          </a:xfrm>
          <a:prstGeom prst="rect">
            <a:avLst/>
          </a:prstGeom>
        </p:spPr>
      </p:pic>
      <p:pic>
        <p:nvPicPr>
          <p:cNvPr id="42" name="Graphic 41" descr="Badge 9 with solid fill">
            <a:extLst>
              <a:ext uri="{FF2B5EF4-FFF2-40B4-BE49-F238E27FC236}">
                <a16:creationId xmlns:a16="http://schemas.microsoft.com/office/drawing/2014/main" id="{9382BD04-5E18-5D24-A75C-CED4B4395B99}"/>
              </a:ext>
            </a:extLst>
          </p:cNvPr>
          <p:cNvPicPr>
            <a:picLocks noChangeAspect="1"/>
          </p:cNvPicPr>
          <p:nvPr/>
        </p:nvPicPr>
        <p:blipFill>
          <a:blip r:embed="rId32">
            <a:extLst>
              <a:ext uri="{28A0092B-C50C-407E-A947-70E740481C1C}">
                <a14:useLocalDpi xmlns:a14="http://schemas.microsoft.com/office/drawing/2010/main" val="0"/>
              </a:ext>
              <a:ext uri="{96DAC541-7B7A-43D3-8B79-37D633B846F1}">
                <asvg:svgBlip xmlns:asvg="http://schemas.microsoft.com/office/drawing/2016/SVG/main" r:embed="rId33"/>
              </a:ext>
            </a:extLst>
          </a:blip>
          <a:stretch>
            <a:fillRect/>
          </a:stretch>
        </p:blipFill>
        <p:spPr>
          <a:xfrm>
            <a:off x="6251927" y="3950420"/>
            <a:ext cx="475488" cy="475488"/>
          </a:xfrm>
          <a:prstGeom prst="rect">
            <a:avLst/>
          </a:prstGeom>
        </p:spPr>
      </p:pic>
      <p:pic>
        <p:nvPicPr>
          <p:cNvPr id="43" name="Graphic 42" descr="Badge 8 with solid fill">
            <a:extLst>
              <a:ext uri="{FF2B5EF4-FFF2-40B4-BE49-F238E27FC236}">
                <a16:creationId xmlns:a16="http://schemas.microsoft.com/office/drawing/2014/main" id="{56D09CBB-F2DF-BF18-3916-418D8DF6E87D}"/>
              </a:ext>
            </a:extLst>
          </p:cNvPr>
          <p:cNvPicPr>
            <a:picLocks noChangeAspect="1"/>
          </p:cNvPicPr>
          <p:nvPr/>
        </p:nvPicPr>
        <p:blipFill>
          <a:blip r:embed="rId34">
            <a:extLst>
              <a:ext uri="{28A0092B-C50C-407E-A947-70E740481C1C}">
                <a14:useLocalDpi xmlns:a14="http://schemas.microsoft.com/office/drawing/2010/main" val="0"/>
              </a:ext>
              <a:ext uri="{96DAC541-7B7A-43D3-8B79-37D633B846F1}">
                <asvg:svgBlip xmlns:asvg="http://schemas.microsoft.com/office/drawing/2016/SVG/main" r:embed="rId35"/>
              </a:ext>
            </a:extLst>
          </a:blip>
          <a:stretch>
            <a:fillRect/>
          </a:stretch>
        </p:blipFill>
        <p:spPr>
          <a:xfrm>
            <a:off x="6251927" y="3233875"/>
            <a:ext cx="475488" cy="475488"/>
          </a:xfrm>
          <a:prstGeom prst="rect">
            <a:avLst/>
          </a:prstGeom>
        </p:spPr>
      </p:pic>
      <p:pic>
        <p:nvPicPr>
          <p:cNvPr id="44" name="Graphic 43" descr="Schoolhouse outline">
            <a:extLst>
              <a:ext uri="{FF2B5EF4-FFF2-40B4-BE49-F238E27FC236}">
                <a16:creationId xmlns:a16="http://schemas.microsoft.com/office/drawing/2014/main" id="{83209D65-EF3A-D4A6-4C33-6A377A03C86F}"/>
              </a:ext>
            </a:extLst>
          </p:cNvPr>
          <p:cNvPicPr>
            <a:picLocks noChangeAspect="1"/>
          </p:cNvPicPr>
          <p:nvPr/>
        </p:nvPicPr>
        <p:blipFill>
          <a:blip r:embed="rId36">
            <a:extLst>
              <a:ext uri="{28A0092B-C50C-407E-A947-70E740481C1C}">
                <a14:useLocalDpi xmlns:a14="http://schemas.microsoft.com/office/drawing/2010/main" val="0"/>
              </a:ext>
              <a:ext uri="{96DAC541-7B7A-43D3-8B79-37D633B846F1}">
                <asvg:svgBlip xmlns:asvg="http://schemas.microsoft.com/office/drawing/2016/SVG/main" r:embed="rId37"/>
              </a:ext>
            </a:extLst>
          </a:blip>
          <a:stretch>
            <a:fillRect/>
          </a:stretch>
        </p:blipFill>
        <p:spPr>
          <a:xfrm>
            <a:off x="10855705" y="3007194"/>
            <a:ext cx="731520" cy="731520"/>
          </a:xfrm>
          <a:prstGeom prst="rect">
            <a:avLst/>
          </a:prstGeom>
        </p:spPr>
      </p:pic>
      <p:sp>
        <p:nvSpPr>
          <p:cNvPr id="45" name="Content Placeholder 2">
            <a:extLst>
              <a:ext uri="{FF2B5EF4-FFF2-40B4-BE49-F238E27FC236}">
                <a16:creationId xmlns:a16="http://schemas.microsoft.com/office/drawing/2014/main" id="{1BD47761-2800-C668-C06E-2F2FEE8957FA}"/>
              </a:ext>
            </a:extLst>
          </p:cNvPr>
          <p:cNvSpPr txBox="1">
            <a:spLocks/>
          </p:cNvSpPr>
          <p:nvPr/>
        </p:nvSpPr>
        <p:spPr bwMode="auto">
          <a:xfrm>
            <a:off x="6837605" y="4681148"/>
            <a:ext cx="45720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171450" indent="-171450" algn="l" rtl="0" eaLnBrk="0" fontAlgn="base" hangingPunct="0">
              <a:lnSpc>
                <a:spcPct val="90000"/>
              </a:lnSpc>
              <a:spcBef>
                <a:spcPts val="750"/>
              </a:spcBef>
              <a:spcAft>
                <a:spcPct val="0"/>
              </a:spcAft>
              <a:buFont typeface="Arial" panose="020B0604020202020204" pitchFamily="34" charset="0"/>
              <a:buChar char="•"/>
              <a:defRPr sz="2100" kern="1200">
                <a:solidFill>
                  <a:schemeClr val="tx1"/>
                </a:solidFill>
                <a:latin typeface="+mn-lt"/>
                <a:ea typeface="+mn-ea"/>
                <a:cs typeface="+mn-cs"/>
              </a:defRPr>
            </a:lvl1pPr>
            <a:lvl2pPr marL="514350" indent="-171450" algn="l" rtl="0" eaLnBrk="0" fontAlgn="base" hangingPunct="0">
              <a:lnSpc>
                <a:spcPct val="90000"/>
              </a:lnSpc>
              <a:spcBef>
                <a:spcPts val="375"/>
              </a:spcBef>
              <a:spcAft>
                <a:spcPct val="0"/>
              </a:spcAft>
              <a:buFont typeface="Arial" panose="020B0604020202020204" pitchFamily="34" charset="0"/>
              <a:buChar char="•"/>
              <a:defRPr kern="1200">
                <a:solidFill>
                  <a:schemeClr val="tx1"/>
                </a:solidFill>
                <a:latin typeface="+mn-lt"/>
                <a:ea typeface="+mn-ea"/>
                <a:cs typeface="+mn-cs"/>
              </a:defRPr>
            </a:lvl2pPr>
            <a:lvl3pPr marL="857250" indent="-171450" algn="l" rtl="0" eaLnBrk="0" fontAlgn="base" hangingPunct="0">
              <a:lnSpc>
                <a:spcPct val="90000"/>
              </a:lnSpc>
              <a:spcBef>
                <a:spcPts val="375"/>
              </a:spcBef>
              <a:spcAft>
                <a:spcPct val="0"/>
              </a:spcAft>
              <a:buFont typeface="Arial" panose="020B0604020202020204" pitchFamily="34" charset="0"/>
              <a:buChar char="•"/>
              <a:defRPr sz="1500" kern="1200">
                <a:solidFill>
                  <a:schemeClr val="tx1"/>
                </a:solidFill>
                <a:latin typeface="+mn-lt"/>
                <a:ea typeface="+mn-ea"/>
                <a:cs typeface="+mn-cs"/>
              </a:defRPr>
            </a:lvl3pPr>
            <a:lvl4pPr marL="1200150" indent="-171450" algn="l" rtl="0" eaLnBrk="0" fontAlgn="base" hangingPunct="0">
              <a:lnSpc>
                <a:spcPct val="90000"/>
              </a:lnSpc>
              <a:spcBef>
                <a:spcPts val="375"/>
              </a:spcBef>
              <a:spcAft>
                <a:spcPct val="0"/>
              </a:spcAft>
              <a:buFont typeface="Arial" panose="020B0604020202020204" pitchFamily="34" charset="0"/>
              <a:buChar char="•"/>
              <a:defRPr kern="1200">
                <a:solidFill>
                  <a:schemeClr val="tx1"/>
                </a:solidFill>
                <a:latin typeface="+mn-lt"/>
                <a:ea typeface="+mn-ea"/>
                <a:cs typeface="+mn-cs"/>
              </a:defRPr>
            </a:lvl4pPr>
            <a:lvl5pPr marL="1543050" indent="-171450" algn="l" rtl="0" eaLnBrk="0" fontAlgn="base" hangingPunct="0">
              <a:lnSpc>
                <a:spcPct val="90000"/>
              </a:lnSpc>
              <a:spcBef>
                <a:spcPts val="375"/>
              </a:spcBef>
              <a:spcAft>
                <a:spcPct val="0"/>
              </a:spcAft>
              <a:buFont typeface="Arial" panose="020B0604020202020204" pitchFamily="34" charset="0"/>
              <a:buChar char="•"/>
              <a:defRPr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buNone/>
            </a:pPr>
            <a:r>
              <a:rPr lang="en-US" sz="2400" b="1">
                <a:solidFill>
                  <a:schemeClr val="accent5"/>
                </a:solidFill>
              </a:rPr>
              <a:t>Advanced Reactors Input</a:t>
            </a:r>
            <a:endParaRPr lang="en-US" sz="2000" b="1">
              <a:solidFill>
                <a:schemeClr val="accent5"/>
              </a:solidFill>
            </a:endParaRPr>
          </a:p>
        </p:txBody>
      </p:sp>
      <p:sp>
        <p:nvSpPr>
          <p:cNvPr id="46" name="Content Placeholder 2">
            <a:extLst>
              <a:ext uri="{FF2B5EF4-FFF2-40B4-BE49-F238E27FC236}">
                <a16:creationId xmlns:a16="http://schemas.microsoft.com/office/drawing/2014/main" id="{F69983F1-D457-3E05-D28B-45AC0F6E3A67}"/>
              </a:ext>
            </a:extLst>
          </p:cNvPr>
          <p:cNvSpPr txBox="1">
            <a:spLocks/>
          </p:cNvSpPr>
          <p:nvPr/>
        </p:nvSpPr>
        <p:spPr bwMode="auto">
          <a:xfrm>
            <a:off x="6818253" y="5402062"/>
            <a:ext cx="45720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171450" indent="-171450" algn="l" rtl="0" eaLnBrk="0" fontAlgn="base" hangingPunct="0">
              <a:lnSpc>
                <a:spcPct val="90000"/>
              </a:lnSpc>
              <a:spcBef>
                <a:spcPts val="750"/>
              </a:spcBef>
              <a:spcAft>
                <a:spcPct val="0"/>
              </a:spcAft>
              <a:buFont typeface="Arial" panose="020B0604020202020204" pitchFamily="34" charset="0"/>
              <a:buChar char="•"/>
              <a:defRPr sz="2100" kern="1200">
                <a:solidFill>
                  <a:schemeClr val="tx1"/>
                </a:solidFill>
                <a:latin typeface="+mn-lt"/>
                <a:ea typeface="+mn-ea"/>
                <a:cs typeface="+mn-cs"/>
              </a:defRPr>
            </a:lvl1pPr>
            <a:lvl2pPr marL="514350" indent="-171450" algn="l" rtl="0" eaLnBrk="0" fontAlgn="base" hangingPunct="0">
              <a:lnSpc>
                <a:spcPct val="90000"/>
              </a:lnSpc>
              <a:spcBef>
                <a:spcPts val="375"/>
              </a:spcBef>
              <a:spcAft>
                <a:spcPct val="0"/>
              </a:spcAft>
              <a:buFont typeface="Arial" panose="020B0604020202020204" pitchFamily="34" charset="0"/>
              <a:buChar char="•"/>
              <a:defRPr kern="1200">
                <a:solidFill>
                  <a:schemeClr val="tx1"/>
                </a:solidFill>
                <a:latin typeface="+mn-lt"/>
                <a:ea typeface="+mn-ea"/>
                <a:cs typeface="+mn-cs"/>
              </a:defRPr>
            </a:lvl2pPr>
            <a:lvl3pPr marL="857250" indent="-171450" algn="l" rtl="0" eaLnBrk="0" fontAlgn="base" hangingPunct="0">
              <a:lnSpc>
                <a:spcPct val="90000"/>
              </a:lnSpc>
              <a:spcBef>
                <a:spcPts val="375"/>
              </a:spcBef>
              <a:spcAft>
                <a:spcPct val="0"/>
              </a:spcAft>
              <a:buFont typeface="Arial" panose="020B0604020202020204" pitchFamily="34" charset="0"/>
              <a:buChar char="•"/>
              <a:defRPr sz="1500" kern="1200">
                <a:solidFill>
                  <a:schemeClr val="tx1"/>
                </a:solidFill>
                <a:latin typeface="+mn-lt"/>
                <a:ea typeface="+mn-ea"/>
                <a:cs typeface="+mn-cs"/>
              </a:defRPr>
            </a:lvl3pPr>
            <a:lvl4pPr marL="1200150" indent="-171450" algn="l" rtl="0" eaLnBrk="0" fontAlgn="base" hangingPunct="0">
              <a:lnSpc>
                <a:spcPct val="90000"/>
              </a:lnSpc>
              <a:spcBef>
                <a:spcPts val="375"/>
              </a:spcBef>
              <a:spcAft>
                <a:spcPct val="0"/>
              </a:spcAft>
              <a:buFont typeface="Arial" panose="020B0604020202020204" pitchFamily="34" charset="0"/>
              <a:buChar char="•"/>
              <a:defRPr kern="1200">
                <a:solidFill>
                  <a:schemeClr val="tx1"/>
                </a:solidFill>
                <a:latin typeface="+mn-lt"/>
                <a:ea typeface="+mn-ea"/>
                <a:cs typeface="+mn-cs"/>
              </a:defRPr>
            </a:lvl4pPr>
            <a:lvl5pPr marL="1543050" indent="-171450" algn="l" rtl="0" eaLnBrk="0" fontAlgn="base" hangingPunct="0">
              <a:lnSpc>
                <a:spcPct val="90000"/>
              </a:lnSpc>
              <a:spcBef>
                <a:spcPts val="375"/>
              </a:spcBef>
              <a:spcAft>
                <a:spcPct val="0"/>
              </a:spcAft>
              <a:buFont typeface="Arial" panose="020B0604020202020204" pitchFamily="34" charset="0"/>
              <a:buChar char="•"/>
              <a:defRPr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buNone/>
            </a:pPr>
            <a:r>
              <a:rPr lang="en-US" sz="2400" b="1">
                <a:solidFill>
                  <a:schemeClr val="accent5"/>
                </a:solidFill>
              </a:rPr>
              <a:t>Commercial deployment R&amp;D</a:t>
            </a:r>
            <a:endParaRPr lang="en-US" sz="2000" b="1">
              <a:solidFill>
                <a:schemeClr val="accent5"/>
              </a:solidFill>
            </a:endParaRPr>
          </a:p>
        </p:txBody>
      </p:sp>
      <p:pic>
        <p:nvPicPr>
          <p:cNvPr id="47" name="Graphic 46" descr="Badge 10 with solid fill">
            <a:extLst>
              <a:ext uri="{FF2B5EF4-FFF2-40B4-BE49-F238E27FC236}">
                <a16:creationId xmlns:a16="http://schemas.microsoft.com/office/drawing/2014/main" id="{49555D00-CA6D-2969-9E91-F9BD142F93F9}"/>
              </a:ext>
            </a:extLst>
          </p:cNvPr>
          <p:cNvPicPr>
            <a:picLocks noChangeAspect="1"/>
          </p:cNvPicPr>
          <p:nvPr/>
        </p:nvPicPr>
        <p:blipFill>
          <a:blip r:embed="rId38">
            <a:extLst>
              <a:ext uri="{28A0092B-C50C-407E-A947-70E740481C1C}">
                <a14:useLocalDpi xmlns:a14="http://schemas.microsoft.com/office/drawing/2010/main" val="0"/>
              </a:ext>
              <a:ext uri="{96DAC541-7B7A-43D3-8B79-37D633B846F1}">
                <asvg:svgBlip xmlns:asvg="http://schemas.microsoft.com/office/drawing/2016/SVG/main" r:embed="rId39"/>
              </a:ext>
            </a:extLst>
          </a:blip>
          <a:stretch>
            <a:fillRect/>
          </a:stretch>
        </p:blipFill>
        <p:spPr>
          <a:xfrm>
            <a:off x="6251927" y="4666965"/>
            <a:ext cx="475488" cy="475488"/>
          </a:xfrm>
          <a:prstGeom prst="rect">
            <a:avLst/>
          </a:prstGeom>
        </p:spPr>
      </p:pic>
      <p:pic>
        <p:nvPicPr>
          <p:cNvPr id="48" name="Graphic 47" descr="Desk outline">
            <a:extLst>
              <a:ext uri="{FF2B5EF4-FFF2-40B4-BE49-F238E27FC236}">
                <a16:creationId xmlns:a16="http://schemas.microsoft.com/office/drawing/2014/main" id="{1A7C4BCA-EE01-C73D-14FE-9F64F759EAE4}"/>
              </a:ext>
            </a:extLst>
          </p:cNvPr>
          <p:cNvPicPr>
            <a:picLocks noChangeAspect="1"/>
          </p:cNvPicPr>
          <p:nvPr/>
        </p:nvPicPr>
        <p:blipFill>
          <a:blip r:embed="rId40">
            <a:extLst>
              <a:ext uri="{28A0092B-C50C-407E-A947-70E740481C1C}">
                <a14:useLocalDpi xmlns:a14="http://schemas.microsoft.com/office/drawing/2010/main" val="0"/>
              </a:ext>
              <a:ext uri="{96DAC541-7B7A-43D3-8B79-37D633B846F1}">
                <asvg:svgBlip xmlns:asvg="http://schemas.microsoft.com/office/drawing/2016/SVG/main" r:embed="rId41"/>
              </a:ext>
            </a:extLst>
          </a:blip>
          <a:stretch>
            <a:fillRect/>
          </a:stretch>
        </p:blipFill>
        <p:spPr>
          <a:xfrm>
            <a:off x="10855705" y="5169191"/>
            <a:ext cx="731520" cy="731520"/>
          </a:xfrm>
          <a:prstGeom prst="rect">
            <a:avLst/>
          </a:prstGeom>
        </p:spPr>
      </p:pic>
      <p:pic>
        <p:nvPicPr>
          <p:cNvPr id="49" name="Graphic 48" descr="Megaphone outline">
            <a:extLst>
              <a:ext uri="{FF2B5EF4-FFF2-40B4-BE49-F238E27FC236}">
                <a16:creationId xmlns:a16="http://schemas.microsoft.com/office/drawing/2014/main" id="{634F98F4-B68C-1D3A-03E1-211FDC2D9CFF}"/>
              </a:ext>
            </a:extLst>
          </p:cNvPr>
          <p:cNvPicPr>
            <a:picLocks noChangeAspect="1"/>
          </p:cNvPicPr>
          <p:nvPr/>
        </p:nvPicPr>
        <p:blipFill>
          <a:blip r:embed="rId42">
            <a:extLst>
              <a:ext uri="{28A0092B-C50C-407E-A947-70E740481C1C}">
                <a14:useLocalDpi xmlns:a14="http://schemas.microsoft.com/office/drawing/2010/main" val="0"/>
              </a:ext>
              <a:ext uri="{96DAC541-7B7A-43D3-8B79-37D633B846F1}">
                <asvg:svgBlip xmlns:asvg="http://schemas.microsoft.com/office/drawing/2016/SVG/main" r:embed="rId43"/>
              </a:ext>
            </a:extLst>
          </a:blip>
          <a:stretch>
            <a:fillRect/>
          </a:stretch>
        </p:blipFill>
        <p:spPr>
          <a:xfrm>
            <a:off x="10855705" y="4448526"/>
            <a:ext cx="731520" cy="731520"/>
          </a:xfrm>
          <a:prstGeom prst="rect">
            <a:avLst/>
          </a:prstGeom>
        </p:spPr>
      </p:pic>
      <p:grpSp>
        <p:nvGrpSpPr>
          <p:cNvPr id="57" name="Group 56">
            <a:extLst>
              <a:ext uri="{FF2B5EF4-FFF2-40B4-BE49-F238E27FC236}">
                <a16:creationId xmlns:a16="http://schemas.microsoft.com/office/drawing/2014/main" id="{0C592D2B-C3F3-1511-A6EB-912CDC289D0A}"/>
              </a:ext>
            </a:extLst>
          </p:cNvPr>
          <p:cNvGrpSpPr/>
          <p:nvPr/>
        </p:nvGrpSpPr>
        <p:grpSpPr>
          <a:xfrm>
            <a:off x="6251927" y="5383509"/>
            <a:ext cx="863102" cy="475488"/>
            <a:chOff x="6311778" y="5633733"/>
            <a:chExt cx="863102" cy="475488"/>
          </a:xfrm>
        </p:grpSpPr>
        <p:grpSp>
          <p:nvGrpSpPr>
            <p:cNvPr id="50" name="Group 49">
              <a:extLst>
                <a:ext uri="{FF2B5EF4-FFF2-40B4-BE49-F238E27FC236}">
                  <a16:creationId xmlns:a16="http://schemas.microsoft.com/office/drawing/2014/main" id="{DB9941C4-3DB9-23B7-2502-451D7D369031}"/>
                </a:ext>
              </a:extLst>
            </p:cNvPr>
            <p:cNvGrpSpPr/>
            <p:nvPr/>
          </p:nvGrpSpPr>
          <p:grpSpPr>
            <a:xfrm>
              <a:off x="6311778" y="5633733"/>
              <a:ext cx="475488" cy="475488"/>
              <a:chOff x="5777395" y="2757761"/>
              <a:chExt cx="475488" cy="475488"/>
            </a:xfrm>
          </p:grpSpPr>
          <p:pic>
            <p:nvPicPr>
              <p:cNvPr id="51" name="Graphic 50" descr="Badge 9 with solid fill">
                <a:extLst>
                  <a:ext uri="{FF2B5EF4-FFF2-40B4-BE49-F238E27FC236}">
                    <a16:creationId xmlns:a16="http://schemas.microsoft.com/office/drawing/2014/main" id="{904BCD50-06C2-134D-F175-760236BD8503}"/>
                  </a:ext>
                </a:extLst>
              </p:cNvPr>
              <p:cNvPicPr>
                <a:picLocks noChangeAspect="1"/>
              </p:cNvPicPr>
              <p:nvPr/>
            </p:nvPicPr>
            <p:blipFill>
              <a:blip r:embed="rId32">
                <a:extLst>
                  <a:ext uri="{28A0092B-C50C-407E-A947-70E740481C1C}">
                    <a14:useLocalDpi xmlns:a14="http://schemas.microsoft.com/office/drawing/2010/main" val="0"/>
                  </a:ext>
                  <a:ext uri="{96DAC541-7B7A-43D3-8B79-37D633B846F1}">
                    <asvg:svgBlip xmlns:asvg="http://schemas.microsoft.com/office/drawing/2016/SVG/main" r:embed="rId33"/>
                  </a:ext>
                </a:extLst>
              </a:blip>
              <a:stretch>
                <a:fillRect/>
              </a:stretch>
            </p:blipFill>
            <p:spPr>
              <a:xfrm>
                <a:off x="5777395" y="2757761"/>
                <a:ext cx="475488" cy="475488"/>
              </a:xfrm>
              <a:prstGeom prst="rect">
                <a:avLst/>
              </a:prstGeom>
            </p:spPr>
          </p:pic>
          <p:sp>
            <p:nvSpPr>
              <p:cNvPr id="52" name="Rectangle 51">
                <a:extLst>
                  <a:ext uri="{FF2B5EF4-FFF2-40B4-BE49-F238E27FC236}">
                    <a16:creationId xmlns:a16="http://schemas.microsoft.com/office/drawing/2014/main" id="{6FC0A6FB-953F-57BE-B985-DA687C88F57B}"/>
                  </a:ext>
                </a:extLst>
              </p:cNvPr>
              <p:cNvSpPr/>
              <p:nvPr/>
            </p:nvSpPr>
            <p:spPr>
              <a:xfrm>
                <a:off x="5914525" y="2870056"/>
                <a:ext cx="201227" cy="250897"/>
              </a:xfrm>
              <a:prstGeom prst="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noFill/>
                </a:endParaRPr>
              </a:p>
            </p:txBody>
          </p:sp>
        </p:grpSp>
        <p:sp>
          <p:nvSpPr>
            <p:cNvPr id="53" name="TextBox 52">
              <a:extLst>
                <a:ext uri="{FF2B5EF4-FFF2-40B4-BE49-F238E27FC236}">
                  <a16:creationId xmlns:a16="http://schemas.microsoft.com/office/drawing/2014/main" id="{DA139851-13EF-CC77-D45B-F627A94A3FBC}"/>
                </a:ext>
              </a:extLst>
            </p:cNvPr>
            <p:cNvSpPr txBox="1"/>
            <p:nvPr/>
          </p:nvSpPr>
          <p:spPr>
            <a:xfrm>
              <a:off x="6336454" y="5686664"/>
              <a:ext cx="838426" cy="369332"/>
            </a:xfrm>
            <a:prstGeom prst="rect">
              <a:avLst/>
            </a:prstGeom>
            <a:noFill/>
          </p:spPr>
          <p:txBody>
            <a:bodyPr wrap="square" rtlCol="0">
              <a:spAutoFit/>
            </a:bodyPr>
            <a:lstStyle/>
            <a:p>
              <a:r>
                <a:rPr lang="en-US" b="1">
                  <a:solidFill>
                    <a:schemeClr val="bg1"/>
                  </a:solidFill>
                  <a:latin typeface="Arial" panose="020B0604020202020204" pitchFamily="34" charset="0"/>
                  <a:cs typeface="Arial" panose="020B0604020202020204" pitchFamily="34" charset="0"/>
                </a:rPr>
                <a:t>11</a:t>
              </a:r>
            </a:p>
          </p:txBody>
        </p:sp>
      </p:grpSp>
    </p:spTree>
    <p:extLst>
      <p:ext uri="{BB962C8B-B14F-4D97-AF65-F5344CB8AC3E}">
        <p14:creationId xmlns:p14="http://schemas.microsoft.com/office/powerpoint/2010/main" val="1332317031"/>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7CD58E-BFF0-31D7-7AF0-B06E8CFA7E4E}"/>
              </a:ext>
            </a:extLst>
          </p:cNvPr>
          <p:cNvSpPr>
            <a:spLocks noGrp="1"/>
          </p:cNvSpPr>
          <p:nvPr>
            <p:ph type="title"/>
          </p:nvPr>
        </p:nvSpPr>
        <p:spPr/>
        <p:txBody>
          <a:bodyPr/>
          <a:lstStyle/>
          <a:p>
            <a:r>
              <a:rPr lang="en-US"/>
              <a:t>Detailed recommendations: General (1-2)</a:t>
            </a:r>
          </a:p>
        </p:txBody>
      </p:sp>
      <p:sp>
        <p:nvSpPr>
          <p:cNvPr id="4" name="Slide Number Placeholder 3">
            <a:extLst>
              <a:ext uri="{FF2B5EF4-FFF2-40B4-BE49-F238E27FC236}">
                <a16:creationId xmlns:a16="http://schemas.microsoft.com/office/drawing/2014/main" id="{AD91375A-CA17-BC66-AADD-7CE7A8289C1F}"/>
              </a:ext>
            </a:extLst>
          </p:cNvPr>
          <p:cNvSpPr>
            <a:spLocks noGrp="1"/>
          </p:cNvSpPr>
          <p:nvPr>
            <p:ph type="sldNum" sz="quarter" idx="10"/>
          </p:nvPr>
        </p:nvSpPr>
        <p:spPr/>
        <p:txBody>
          <a:bodyPr/>
          <a:lstStyle/>
          <a:p>
            <a:pPr>
              <a:defRPr/>
            </a:pPr>
            <a:fld id="{37926BA8-E0F8-42A8-A83C-EBAA1A1E8FCD}" type="slidenum">
              <a:rPr lang="en-US" smtClean="0"/>
              <a:pPr>
                <a:defRPr/>
              </a:pPr>
              <a:t>86</a:t>
            </a:fld>
            <a:endParaRPr lang="en-US"/>
          </a:p>
        </p:txBody>
      </p:sp>
      <p:sp>
        <p:nvSpPr>
          <p:cNvPr id="5" name="Content Placeholder 2">
            <a:extLst>
              <a:ext uri="{FF2B5EF4-FFF2-40B4-BE49-F238E27FC236}">
                <a16:creationId xmlns:a16="http://schemas.microsoft.com/office/drawing/2014/main" id="{56D0DF78-BB94-A10A-55D3-7F089FE4142D}"/>
              </a:ext>
            </a:extLst>
          </p:cNvPr>
          <p:cNvSpPr txBox="1">
            <a:spLocks/>
          </p:cNvSpPr>
          <p:nvPr/>
        </p:nvSpPr>
        <p:spPr bwMode="auto">
          <a:xfrm>
            <a:off x="1013014" y="3345307"/>
            <a:ext cx="4715433" cy="12909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171450" indent="-171450" algn="l" rtl="0" eaLnBrk="0" fontAlgn="base" hangingPunct="0">
              <a:lnSpc>
                <a:spcPct val="90000"/>
              </a:lnSpc>
              <a:spcBef>
                <a:spcPts val="750"/>
              </a:spcBef>
              <a:spcAft>
                <a:spcPct val="0"/>
              </a:spcAft>
              <a:buFont typeface="Arial" panose="020B0604020202020204" pitchFamily="34" charset="0"/>
              <a:buChar char="•"/>
              <a:defRPr sz="2100" kern="1200">
                <a:solidFill>
                  <a:schemeClr val="tx1"/>
                </a:solidFill>
                <a:latin typeface="+mn-lt"/>
                <a:ea typeface="+mn-ea"/>
                <a:cs typeface="+mn-cs"/>
              </a:defRPr>
            </a:lvl1pPr>
            <a:lvl2pPr marL="514350" indent="-171450" algn="l" rtl="0" eaLnBrk="0" fontAlgn="base" hangingPunct="0">
              <a:lnSpc>
                <a:spcPct val="90000"/>
              </a:lnSpc>
              <a:spcBef>
                <a:spcPts val="375"/>
              </a:spcBef>
              <a:spcAft>
                <a:spcPct val="0"/>
              </a:spcAft>
              <a:buFont typeface="Arial" panose="020B0604020202020204" pitchFamily="34" charset="0"/>
              <a:buChar char="•"/>
              <a:defRPr kern="1200">
                <a:solidFill>
                  <a:schemeClr val="tx1"/>
                </a:solidFill>
                <a:latin typeface="+mn-lt"/>
                <a:ea typeface="+mn-ea"/>
                <a:cs typeface="+mn-cs"/>
              </a:defRPr>
            </a:lvl2pPr>
            <a:lvl3pPr marL="857250" indent="-171450" algn="l" rtl="0" eaLnBrk="0" fontAlgn="base" hangingPunct="0">
              <a:lnSpc>
                <a:spcPct val="90000"/>
              </a:lnSpc>
              <a:spcBef>
                <a:spcPts val="375"/>
              </a:spcBef>
              <a:spcAft>
                <a:spcPct val="0"/>
              </a:spcAft>
              <a:buFont typeface="Arial" panose="020B0604020202020204" pitchFamily="34" charset="0"/>
              <a:buChar char="•"/>
              <a:defRPr sz="1500" kern="1200">
                <a:solidFill>
                  <a:schemeClr val="tx1"/>
                </a:solidFill>
                <a:latin typeface="+mn-lt"/>
                <a:ea typeface="+mn-ea"/>
                <a:cs typeface="+mn-cs"/>
              </a:defRPr>
            </a:lvl3pPr>
            <a:lvl4pPr marL="1200150" indent="-171450" algn="l" rtl="0" eaLnBrk="0" fontAlgn="base" hangingPunct="0">
              <a:lnSpc>
                <a:spcPct val="90000"/>
              </a:lnSpc>
              <a:spcBef>
                <a:spcPts val="375"/>
              </a:spcBef>
              <a:spcAft>
                <a:spcPct val="0"/>
              </a:spcAft>
              <a:buFont typeface="Arial" panose="020B0604020202020204" pitchFamily="34" charset="0"/>
              <a:buChar char="•"/>
              <a:defRPr kern="1200">
                <a:solidFill>
                  <a:schemeClr val="tx1"/>
                </a:solidFill>
                <a:latin typeface="+mn-lt"/>
                <a:ea typeface="+mn-ea"/>
                <a:cs typeface="+mn-cs"/>
              </a:defRPr>
            </a:lvl4pPr>
            <a:lvl5pPr marL="1543050" indent="-171450" algn="l" rtl="0" eaLnBrk="0" fontAlgn="base" hangingPunct="0">
              <a:lnSpc>
                <a:spcPct val="90000"/>
              </a:lnSpc>
              <a:spcBef>
                <a:spcPts val="375"/>
              </a:spcBef>
              <a:spcAft>
                <a:spcPct val="0"/>
              </a:spcAft>
              <a:buFont typeface="Arial" panose="020B0604020202020204" pitchFamily="34" charset="0"/>
              <a:buChar char="•"/>
              <a:defRPr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buNone/>
            </a:pPr>
            <a:r>
              <a:rPr lang="en-US" sz="2000"/>
              <a:t>NE should </a:t>
            </a:r>
            <a:r>
              <a:rPr lang="en-US" sz="2000" b="1"/>
              <a:t>develop an effective narrative around the need for and benefits of nuclear energy given the worldwide efforts to decarbonize</a:t>
            </a:r>
            <a:r>
              <a:rPr lang="en-US" sz="2000"/>
              <a:t>. </a:t>
            </a:r>
          </a:p>
          <a:p>
            <a:pPr marL="0" indent="0">
              <a:buNone/>
            </a:pPr>
            <a:r>
              <a:rPr lang="en-US" sz="2000"/>
              <a:t>The narrative should acknowledge the needs associated with combating climate change in the near term but also sustain those efforts beyond 2050 with continuous improvements</a:t>
            </a:r>
            <a:endParaRPr lang="en-US" sz="1800"/>
          </a:p>
        </p:txBody>
      </p:sp>
      <p:sp>
        <p:nvSpPr>
          <p:cNvPr id="6" name="Content Placeholder 2">
            <a:extLst>
              <a:ext uri="{FF2B5EF4-FFF2-40B4-BE49-F238E27FC236}">
                <a16:creationId xmlns:a16="http://schemas.microsoft.com/office/drawing/2014/main" id="{7234A854-19E3-9845-FABF-8B8E5055A6F9}"/>
              </a:ext>
            </a:extLst>
          </p:cNvPr>
          <p:cNvSpPr txBox="1">
            <a:spLocks/>
          </p:cNvSpPr>
          <p:nvPr/>
        </p:nvSpPr>
        <p:spPr bwMode="auto">
          <a:xfrm>
            <a:off x="6252883" y="3325903"/>
            <a:ext cx="4715433" cy="12909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171450" indent="-171450" algn="l" rtl="0" eaLnBrk="0" fontAlgn="base" hangingPunct="0">
              <a:lnSpc>
                <a:spcPct val="90000"/>
              </a:lnSpc>
              <a:spcBef>
                <a:spcPts val="750"/>
              </a:spcBef>
              <a:spcAft>
                <a:spcPct val="0"/>
              </a:spcAft>
              <a:buFont typeface="Arial" panose="020B0604020202020204" pitchFamily="34" charset="0"/>
              <a:buChar char="•"/>
              <a:defRPr sz="2100" kern="1200">
                <a:solidFill>
                  <a:schemeClr val="tx1"/>
                </a:solidFill>
                <a:latin typeface="+mn-lt"/>
                <a:ea typeface="+mn-ea"/>
                <a:cs typeface="+mn-cs"/>
              </a:defRPr>
            </a:lvl1pPr>
            <a:lvl2pPr marL="514350" indent="-171450" algn="l" rtl="0" eaLnBrk="0" fontAlgn="base" hangingPunct="0">
              <a:lnSpc>
                <a:spcPct val="90000"/>
              </a:lnSpc>
              <a:spcBef>
                <a:spcPts val="375"/>
              </a:spcBef>
              <a:spcAft>
                <a:spcPct val="0"/>
              </a:spcAft>
              <a:buFont typeface="Arial" panose="020B0604020202020204" pitchFamily="34" charset="0"/>
              <a:buChar char="•"/>
              <a:defRPr kern="1200">
                <a:solidFill>
                  <a:schemeClr val="tx1"/>
                </a:solidFill>
                <a:latin typeface="+mn-lt"/>
                <a:ea typeface="+mn-ea"/>
                <a:cs typeface="+mn-cs"/>
              </a:defRPr>
            </a:lvl2pPr>
            <a:lvl3pPr marL="857250" indent="-171450" algn="l" rtl="0" eaLnBrk="0" fontAlgn="base" hangingPunct="0">
              <a:lnSpc>
                <a:spcPct val="90000"/>
              </a:lnSpc>
              <a:spcBef>
                <a:spcPts val="375"/>
              </a:spcBef>
              <a:spcAft>
                <a:spcPct val="0"/>
              </a:spcAft>
              <a:buFont typeface="Arial" panose="020B0604020202020204" pitchFamily="34" charset="0"/>
              <a:buChar char="•"/>
              <a:defRPr sz="1500" kern="1200">
                <a:solidFill>
                  <a:schemeClr val="tx1"/>
                </a:solidFill>
                <a:latin typeface="+mn-lt"/>
                <a:ea typeface="+mn-ea"/>
                <a:cs typeface="+mn-cs"/>
              </a:defRPr>
            </a:lvl3pPr>
            <a:lvl4pPr marL="1200150" indent="-171450" algn="l" rtl="0" eaLnBrk="0" fontAlgn="base" hangingPunct="0">
              <a:lnSpc>
                <a:spcPct val="90000"/>
              </a:lnSpc>
              <a:spcBef>
                <a:spcPts val="375"/>
              </a:spcBef>
              <a:spcAft>
                <a:spcPct val="0"/>
              </a:spcAft>
              <a:buFont typeface="Arial" panose="020B0604020202020204" pitchFamily="34" charset="0"/>
              <a:buChar char="•"/>
              <a:defRPr kern="1200">
                <a:solidFill>
                  <a:schemeClr val="tx1"/>
                </a:solidFill>
                <a:latin typeface="+mn-lt"/>
                <a:ea typeface="+mn-ea"/>
                <a:cs typeface="+mn-cs"/>
              </a:defRPr>
            </a:lvl4pPr>
            <a:lvl5pPr marL="1543050" indent="-171450" algn="l" rtl="0" eaLnBrk="0" fontAlgn="base" hangingPunct="0">
              <a:lnSpc>
                <a:spcPct val="90000"/>
              </a:lnSpc>
              <a:spcBef>
                <a:spcPts val="375"/>
              </a:spcBef>
              <a:spcAft>
                <a:spcPct val="0"/>
              </a:spcAft>
              <a:buFont typeface="Arial" panose="020B0604020202020204" pitchFamily="34" charset="0"/>
              <a:buChar char="•"/>
              <a:defRPr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buNone/>
            </a:pPr>
            <a:r>
              <a:rPr lang="en-US" sz="2000"/>
              <a:t>NE </a:t>
            </a:r>
            <a:r>
              <a:rPr lang="en-US" sz="2000" b="1"/>
              <a:t>develop an infrastructure strategy that is focused on achieving established priorities</a:t>
            </a:r>
            <a:r>
              <a:rPr lang="en-US" sz="2000"/>
              <a:t>, the most important of which is accelerating commercial deployment of existing reactor technology in the near term and advanced reactor technology in the long term.  </a:t>
            </a:r>
          </a:p>
          <a:p>
            <a:pPr marL="0" indent="0">
              <a:buNone/>
            </a:pPr>
            <a:r>
              <a:rPr lang="en-US" sz="2000"/>
              <a:t>The strategy should include a clear indication on the goals, timelines, and expected benefits.</a:t>
            </a:r>
            <a:endParaRPr lang="en-US" sz="1800"/>
          </a:p>
        </p:txBody>
      </p:sp>
      <p:pic>
        <p:nvPicPr>
          <p:cNvPr id="7" name="Graphic 6" descr="Globe outline">
            <a:extLst>
              <a:ext uri="{FF2B5EF4-FFF2-40B4-BE49-F238E27FC236}">
                <a16:creationId xmlns:a16="http://schemas.microsoft.com/office/drawing/2014/main" id="{C7355088-4D74-3851-4E39-67A19BED58C1}"/>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2772493" y="1515493"/>
            <a:ext cx="1129553" cy="1129553"/>
          </a:xfrm>
          <a:prstGeom prst="rect">
            <a:avLst/>
          </a:prstGeom>
        </p:spPr>
      </p:pic>
      <p:pic>
        <p:nvPicPr>
          <p:cNvPr id="8" name="Graphic 7" descr="Atom outline">
            <a:extLst>
              <a:ext uri="{FF2B5EF4-FFF2-40B4-BE49-F238E27FC236}">
                <a16:creationId xmlns:a16="http://schemas.microsoft.com/office/drawing/2014/main" id="{B8CA4FC8-FDA9-BED9-F080-3AF73A3EF0E2}"/>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7897905" y="1525195"/>
            <a:ext cx="1129553" cy="1129553"/>
          </a:xfrm>
          <a:prstGeom prst="rect">
            <a:avLst/>
          </a:prstGeom>
        </p:spPr>
      </p:pic>
      <p:sp>
        <p:nvSpPr>
          <p:cNvPr id="9" name="Content Placeholder 2">
            <a:extLst>
              <a:ext uri="{FF2B5EF4-FFF2-40B4-BE49-F238E27FC236}">
                <a16:creationId xmlns:a16="http://schemas.microsoft.com/office/drawing/2014/main" id="{2B7CD02F-593B-5132-38C1-12F5120D25B3}"/>
              </a:ext>
            </a:extLst>
          </p:cNvPr>
          <p:cNvSpPr txBox="1">
            <a:spLocks/>
          </p:cNvSpPr>
          <p:nvPr/>
        </p:nvSpPr>
        <p:spPr bwMode="auto">
          <a:xfrm>
            <a:off x="1013014" y="2803021"/>
            <a:ext cx="4715433" cy="12909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171450" indent="-171450" algn="l" rtl="0" eaLnBrk="0" fontAlgn="base" hangingPunct="0">
              <a:lnSpc>
                <a:spcPct val="90000"/>
              </a:lnSpc>
              <a:spcBef>
                <a:spcPts val="750"/>
              </a:spcBef>
              <a:spcAft>
                <a:spcPct val="0"/>
              </a:spcAft>
              <a:buFont typeface="Arial" panose="020B0604020202020204" pitchFamily="34" charset="0"/>
              <a:buChar char="•"/>
              <a:defRPr sz="2100" kern="1200">
                <a:solidFill>
                  <a:schemeClr val="tx1"/>
                </a:solidFill>
                <a:latin typeface="+mn-lt"/>
                <a:ea typeface="+mn-ea"/>
                <a:cs typeface="+mn-cs"/>
              </a:defRPr>
            </a:lvl1pPr>
            <a:lvl2pPr marL="514350" indent="-171450" algn="l" rtl="0" eaLnBrk="0" fontAlgn="base" hangingPunct="0">
              <a:lnSpc>
                <a:spcPct val="90000"/>
              </a:lnSpc>
              <a:spcBef>
                <a:spcPts val="375"/>
              </a:spcBef>
              <a:spcAft>
                <a:spcPct val="0"/>
              </a:spcAft>
              <a:buFont typeface="Arial" panose="020B0604020202020204" pitchFamily="34" charset="0"/>
              <a:buChar char="•"/>
              <a:defRPr kern="1200">
                <a:solidFill>
                  <a:schemeClr val="tx1"/>
                </a:solidFill>
                <a:latin typeface="+mn-lt"/>
                <a:ea typeface="+mn-ea"/>
                <a:cs typeface="+mn-cs"/>
              </a:defRPr>
            </a:lvl2pPr>
            <a:lvl3pPr marL="857250" indent="-171450" algn="l" rtl="0" eaLnBrk="0" fontAlgn="base" hangingPunct="0">
              <a:lnSpc>
                <a:spcPct val="90000"/>
              </a:lnSpc>
              <a:spcBef>
                <a:spcPts val="375"/>
              </a:spcBef>
              <a:spcAft>
                <a:spcPct val="0"/>
              </a:spcAft>
              <a:buFont typeface="Arial" panose="020B0604020202020204" pitchFamily="34" charset="0"/>
              <a:buChar char="•"/>
              <a:defRPr sz="1500" kern="1200">
                <a:solidFill>
                  <a:schemeClr val="tx1"/>
                </a:solidFill>
                <a:latin typeface="+mn-lt"/>
                <a:ea typeface="+mn-ea"/>
                <a:cs typeface="+mn-cs"/>
              </a:defRPr>
            </a:lvl3pPr>
            <a:lvl4pPr marL="1200150" indent="-171450" algn="l" rtl="0" eaLnBrk="0" fontAlgn="base" hangingPunct="0">
              <a:lnSpc>
                <a:spcPct val="90000"/>
              </a:lnSpc>
              <a:spcBef>
                <a:spcPts val="375"/>
              </a:spcBef>
              <a:spcAft>
                <a:spcPct val="0"/>
              </a:spcAft>
              <a:buFont typeface="Arial" panose="020B0604020202020204" pitchFamily="34" charset="0"/>
              <a:buChar char="•"/>
              <a:defRPr kern="1200">
                <a:solidFill>
                  <a:schemeClr val="tx1"/>
                </a:solidFill>
                <a:latin typeface="+mn-lt"/>
                <a:ea typeface="+mn-ea"/>
                <a:cs typeface="+mn-cs"/>
              </a:defRPr>
            </a:lvl4pPr>
            <a:lvl5pPr marL="1543050" indent="-171450" algn="l" rtl="0" eaLnBrk="0" fontAlgn="base" hangingPunct="0">
              <a:lnSpc>
                <a:spcPct val="90000"/>
              </a:lnSpc>
              <a:spcBef>
                <a:spcPts val="375"/>
              </a:spcBef>
              <a:spcAft>
                <a:spcPct val="0"/>
              </a:spcAft>
              <a:buFont typeface="Arial" panose="020B0604020202020204" pitchFamily="34" charset="0"/>
              <a:buChar char="•"/>
              <a:defRPr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buNone/>
            </a:pPr>
            <a:r>
              <a:rPr lang="en-US" sz="2400" b="1" u="sng">
                <a:solidFill>
                  <a:schemeClr val="accent5"/>
                </a:solidFill>
              </a:rPr>
              <a:t>Mission Need:</a:t>
            </a:r>
            <a:endParaRPr lang="en-US" sz="2000" b="1" u="sng">
              <a:solidFill>
                <a:schemeClr val="accent5"/>
              </a:solidFill>
            </a:endParaRPr>
          </a:p>
        </p:txBody>
      </p:sp>
      <p:sp>
        <p:nvSpPr>
          <p:cNvPr id="10" name="Content Placeholder 2">
            <a:extLst>
              <a:ext uri="{FF2B5EF4-FFF2-40B4-BE49-F238E27FC236}">
                <a16:creationId xmlns:a16="http://schemas.microsoft.com/office/drawing/2014/main" id="{CCB2571C-45C7-4241-E40F-6FC9E2D62F67}"/>
              </a:ext>
            </a:extLst>
          </p:cNvPr>
          <p:cNvSpPr txBox="1">
            <a:spLocks/>
          </p:cNvSpPr>
          <p:nvPr/>
        </p:nvSpPr>
        <p:spPr bwMode="auto">
          <a:xfrm>
            <a:off x="6252883" y="2803021"/>
            <a:ext cx="4715433" cy="12909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171450" indent="-171450" algn="l" rtl="0" eaLnBrk="0" fontAlgn="base" hangingPunct="0">
              <a:lnSpc>
                <a:spcPct val="90000"/>
              </a:lnSpc>
              <a:spcBef>
                <a:spcPts val="750"/>
              </a:spcBef>
              <a:spcAft>
                <a:spcPct val="0"/>
              </a:spcAft>
              <a:buFont typeface="Arial" panose="020B0604020202020204" pitchFamily="34" charset="0"/>
              <a:buChar char="•"/>
              <a:defRPr sz="2100" kern="1200">
                <a:solidFill>
                  <a:schemeClr val="tx1"/>
                </a:solidFill>
                <a:latin typeface="+mn-lt"/>
                <a:ea typeface="+mn-ea"/>
                <a:cs typeface="+mn-cs"/>
              </a:defRPr>
            </a:lvl1pPr>
            <a:lvl2pPr marL="514350" indent="-171450" algn="l" rtl="0" eaLnBrk="0" fontAlgn="base" hangingPunct="0">
              <a:lnSpc>
                <a:spcPct val="90000"/>
              </a:lnSpc>
              <a:spcBef>
                <a:spcPts val="375"/>
              </a:spcBef>
              <a:spcAft>
                <a:spcPct val="0"/>
              </a:spcAft>
              <a:buFont typeface="Arial" panose="020B0604020202020204" pitchFamily="34" charset="0"/>
              <a:buChar char="•"/>
              <a:defRPr kern="1200">
                <a:solidFill>
                  <a:schemeClr val="tx1"/>
                </a:solidFill>
                <a:latin typeface="+mn-lt"/>
                <a:ea typeface="+mn-ea"/>
                <a:cs typeface="+mn-cs"/>
              </a:defRPr>
            </a:lvl2pPr>
            <a:lvl3pPr marL="857250" indent="-171450" algn="l" rtl="0" eaLnBrk="0" fontAlgn="base" hangingPunct="0">
              <a:lnSpc>
                <a:spcPct val="90000"/>
              </a:lnSpc>
              <a:spcBef>
                <a:spcPts val="375"/>
              </a:spcBef>
              <a:spcAft>
                <a:spcPct val="0"/>
              </a:spcAft>
              <a:buFont typeface="Arial" panose="020B0604020202020204" pitchFamily="34" charset="0"/>
              <a:buChar char="•"/>
              <a:defRPr sz="1500" kern="1200">
                <a:solidFill>
                  <a:schemeClr val="tx1"/>
                </a:solidFill>
                <a:latin typeface="+mn-lt"/>
                <a:ea typeface="+mn-ea"/>
                <a:cs typeface="+mn-cs"/>
              </a:defRPr>
            </a:lvl3pPr>
            <a:lvl4pPr marL="1200150" indent="-171450" algn="l" rtl="0" eaLnBrk="0" fontAlgn="base" hangingPunct="0">
              <a:lnSpc>
                <a:spcPct val="90000"/>
              </a:lnSpc>
              <a:spcBef>
                <a:spcPts val="375"/>
              </a:spcBef>
              <a:spcAft>
                <a:spcPct val="0"/>
              </a:spcAft>
              <a:buFont typeface="Arial" panose="020B0604020202020204" pitchFamily="34" charset="0"/>
              <a:buChar char="•"/>
              <a:defRPr kern="1200">
                <a:solidFill>
                  <a:schemeClr val="tx1"/>
                </a:solidFill>
                <a:latin typeface="+mn-lt"/>
                <a:ea typeface="+mn-ea"/>
                <a:cs typeface="+mn-cs"/>
              </a:defRPr>
            </a:lvl4pPr>
            <a:lvl5pPr marL="1543050" indent="-171450" algn="l" rtl="0" eaLnBrk="0" fontAlgn="base" hangingPunct="0">
              <a:lnSpc>
                <a:spcPct val="90000"/>
              </a:lnSpc>
              <a:spcBef>
                <a:spcPts val="375"/>
              </a:spcBef>
              <a:spcAft>
                <a:spcPct val="0"/>
              </a:spcAft>
              <a:buFont typeface="Arial" panose="020B0604020202020204" pitchFamily="34" charset="0"/>
              <a:buChar char="•"/>
              <a:defRPr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buNone/>
            </a:pPr>
            <a:r>
              <a:rPr lang="en-US" sz="2400" b="1" u="sng">
                <a:solidFill>
                  <a:schemeClr val="accent5"/>
                </a:solidFill>
              </a:rPr>
              <a:t>Focused Deployment Strategy:</a:t>
            </a:r>
            <a:endParaRPr lang="en-US" sz="2000" b="1" u="sng">
              <a:solidFill>
                <a:schemeClr val="accent5"/>
              </a:solidFill>
            </a:endParaRPr>
          </a:p>
        </p:txBody>
      </p:sp>
      <p:pic>
        <p:nvPicPr>
          <p:cNvPr id="12" name="Graphic 11" descr="Badge with solid fill">
            <a:extLst>
              <a:ext uri="{FF2B5EF4-FFF2-40B4-BE49-F238E27FC236}">
                <a16:creationId xmlns:a16="http://schemas.microsoft.com/office/drawing/2014/main" id="{8A297E3D-1055-F7B2-4B19-7053F3A9DDA0}"/>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5857315" y="2788950"/>
            <a:ext cx="477369" cy="477369"/>
          </a:xfrm>
          <a:prstGeom prst="rect">
            <a:avLst/>
          </a:prstGeom>
        </p:spPr>
      </p:pic>
      <p:pic>
        <p:nvPicPr>
          <p:cNvPr id="16" name="Graphic 15" descr="Badge 1 with solid fill">
            <a:extLst>
              <a:ext uri="{FF2B5EF4-FFF2-40B4-BE49-F238E27FC236}">
                <a16:creationId xmlns:a16="http://schemas.microsoft.com/office/drawing/2014/main" id="{B75C37EA-2B77-141A-12F6-B8B6DCF21D53}"/>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599515" y="2788950"/>
            <a:ext cx="477369" cy="477369"/>
          </a:xfrm>
          <a:prstGeom prst="rect">
            <a:avLst/>
          </a:prstGeom>
        </p:spPr>
      </p:pic>
    </p:spTree>
    <p:extLst>
      <p:ext uri="{BB962C8B-B14F-4D97-AF65-F5344CB8AC3E}">
        <p14:creationId xmlns:p14="http://schemas.microsoft.com/office/powerpoint/2010/main" val="799128743"/>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7CD58E-BFF0-31D7-7AF0-B06E8CFA7E4E}"/>
              </a:ext>
            </a:extLst>
          </p:cNvPr>
          <p:cNvSpPr>
            <a:spLocks noGrp="1"/>
          </p:cNvSpPr>
          <p:nvPr>
            <p:ph type="title"/>
          </p:nvPr>
        </p:nvSpPr>
        <p:spPr/>
        <p:txBody>
          <a:bodyPr/>
          <a:lstStyle/>
          <a:p>
            <a:r>
              <a:rPr lang="en-US"/>
              <a:t>Detailed recommendations: Short, medium and long-term (3-5)</a:t>
            </a:r>
          </a:p>
        </p:txBody>
      </p:sp>
      <p:sp>
        <p:nvSpPr>
          <p:cNvPr id="4" name="Slide Number Placeholder 3">
            <a:extLst>
              <a:ext uri="{FF2B5EF4-FFF2-40B4-BE49-F238E27FC236}">
                <a16:creationId xmlns:a16="http://schemas.microsoft.com/office/drawing/2014/main" id="{AD91375A-CA17-BC66-AADD-7CE7A8289C1F}"/>
              </a:ext>
            </a:extLst>
          </p:cNvPr>
          <p:cNvSpPr>
            <a:spLocks noGrp="1"/>
          </p:cNvSpPr>
          <p:nvPr>
            <p:ph type="sldNum" sz="quarter" idx="10"/>
          </p:nvPr>
        </p:nvSpPr>
        <p:spPr/>
        <p:txBody>
          <a:bodyPr/>
          <a:lstStyle/>
          <a:p>
            <a:pPr>
              <a:defRPr/>
            </a:pPr>
            <a:fld id="{37926BA8-E0F8-42A8-A83C-EBAA1A1E8FCD}" type="slidenum">
              <a:rPr lang="en-US" smtClean="0"/>
              <a:pPr>
                <a:defRPr/>
              </a:pPr>
              <a:t>87</a:t>
            </a:fld>
            <a:endParaRPr lang="en-US"/>
          </a:p>
        </p:txBody>
      </p:sp>
      <p:sp>
        <p:nvSpPr>
          <p:cNvPr id="5" name="Content Placeholder 2">
            <a:extLst>
              <a:ext uri="{FF2B5EF4-FFF2-40B4-BE49-F238E27FC236}">
                <a16:creationId xmlns:a16="http://schemas.microsoft.com/office/drawing/2014/main" id="{06FD2DE0-28EF-739C-CCF7-AD419E9B8AAB}"/>
              </a:ext>
            </a:extLst>
          </p:cNvPr>
          <p:cNvSpPr txBox="1">
            <a:spLocks/>
          </p:cNvSpPr>
          <p:nvPr/>
        </p:nvSpPr>
        <p:spPr bwMode="auto">
          <a:xfrm>
            <a:off x="1041582" y="3267445"/>
            <a:ext cx="3008570" cy="12909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171450" indent="-171450" algn="l" rtl="0" eaLnBrk="0" fontAlgn="base" hangingPunct="0">
              <a:lnSpc>
                <a:spcPct val="90000"/>
              </a:lnSpc>
              <a:spcBef>
                <a:spcPts val="750"/>
              </a:spcBef>
              <a:spcAft>
                <a:spcPct val="0"/>
              </a:spcAft>
              <a:buFont typeface="Arial" panose="020B0604020202020204" pitchFamily="34" charset="0"/>
              <a:buChar char="•"/>
              <a:defRPr sz="2100" kern="1200">
                <a:solidFill>
                  <a:schemeClr val="tx1"/>
                </a:solidFill>
                <a:latin typeface="+mn-lt"/>
                <a:ea typeface="+mn-ea"/>
                <a:cs typeface="+mn-cs"/>
              </a:defRPr>
            </a:lvl1pPr>
            <a:lvl2pPr marL="514350" indent="-171450" algn="l" rtl="0" eaLnBrk="0" fontAlgn="base" hangingPunct="0">
              <a:lnSpc>
                <a:spcPct val="90000"/>
              </a:lnSpc>
              <a:spcBef>
                <a:spcPts val="375"/>
              </a:spcBef>
              <a:spcAft>
                <a:spcPct val="0"/>
              </a:spcAft>
              <a:buFont typeface="Arial" panose="020B0604020202020204" pitchFamily="34" charset="0"/>
              <a:buChar char="•"/>
              <a:defRPr kern="1200">
                <a:solidFill>
                  <a:schemeClr val="tx1"/>
                </a:solidFill>
                <a:latin typeface="+mn-lt"/>
                <a:ea typeface="+mn-ea"/>
                <a:cs typeface="+mn-cs"/>
              </a:defRPr>
            </a:lvl2pPr>
            <a:lvl3pPr marL="857250" indent="-171450" algn="l" rtl="0" eaLnBrk="0" fontAlgn="base" hangingPunct="0">
              <a:lnSpc>
                <a:spcPct val="90000"/>
              </a:lnSpc>
              <a:spcBef>
                <a:spcPts val="375"/>
              </a:spcBef>
              <a:spcAft>
                <a:spcPct val="0"/>
              </a:spcAft>
              <a:buFont typeface="Arial" panose="020B0604020202020204" pitchFamily="34" charset="0"/>
              <a:buChar char="•"/>
              <a:defRPr sz="1500" kern="1200">
                <a:solidFill>
                  <a:schemeClr val="tx1"/>
                </a:solidFill>
                <a:latin typeface="+mn-lt"/>
                <a:ea typeface="+mn-ea"/>
                <a:cs typeface="+mn-cs"/>
              </a:defRPr>
            </a:lvl3pPr>
            <a:lvl4pPr marL="1200150" indent="-171450" algn="l" rtl="0" eaLnBrk="0" fontAlgn="base" hangingPunct="0">
              <a:lnSpc>
                <a:spcPct val="90000"/>
              </a:lnSpc>
              <a:spcBef>
                <a:spcPts val="375"/>
              </a:spcBef>
              <a:spcAft>
                <a:spcPct val="0"/>
              </a:spcAft>
              <a:buFont typeface="Arial" panose="020B0604020202020204" pitchFamily="34" charset="0"/>
              <a:buChar char="•"/>
              <a:defRPr kern="1200">
                <a:solidFill>
                  <a:schemeClr val="tx1"/>
                </a:solidFill>
                <a:latin typeface="+mn-lt"/>
                <a:ea typeface="+mn-ea"/>
                <a:cs typeface="+mn-cs"/>
              </a:defRPr>
            </a:lvl4pPr>
            <a:lvl5pPr marL="1543050" indent="-171450" algn="l" rtl="0" eaLnBrk="0" fontAlgn="base" hangingPunct="0">
              <a:lnSpc>
                <a:spcPct val="90000"/>
              </a:lnSpc>
              <a:spcBef>
                <a:spcPts val="375"/>
              </a:spcBef>
              <a:spcAft>
                <a:spcPct val="0"/>
              </a:spcAft>
              <a:buFont typeface="Arial" panose="020B0604020202020204" pitchFamily="34" charset="0"/>
              <a:buChar char="•"/>
              <a:defRPr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buNone/>
            </a:pPr>
            <a:r>
              <a:rPr lang="en-US" sz="1800"/>
              <a:t>Highest priority focus in the near term is </a:t>
            </a:r>
            <a:r>
              <a:rPr lang="en-US" sz="1800" b="1"/>
              <a:t>moving forward expeditiously on getting more nuclear capability into commercial operation through demo projects utilizing </a:t>
            </a:r>
            <a:r>
              <a:rPr lang="en-US" sz="1800"/>
              <a:t>existing technology.  Longer term these issues tie to integration into industrial use cases, which may require new facilities for systems testing. </a:t>
            </a:r>
            <a:endParaRPr lang="en-US" sz="1600"/>
          </a:p>
        </p:txBody>
      </p:sp>
      <p:sp>
        <p:nvSpPr>
          <p:cNvPr id="6" name="Content Placeholder 2">
            <a:extLst>
              <a:ext uri="{FF2B5EF4-FFF2-40B4-BE49-F238E27FC236}">
                <a16:creationId xmlns:a16="http://schemas.microsoft.com/office/drawing/2014/main" id="{E19216D7-EFF6-ABA3-4A14-777B0D3CA045}"/>
              </a:ext>
            </a:extLst>
          </p:cNvPr>
          <p:cNvSpPr txBox="1">
            <a:spLocks/>
          </p:cNvSpPr>
          <p:nvPr/>
        </p:nvSpPr>
        <p:spPr bwMode="auto">
          <a:xfrm>
            <a:off x="4798275" y="3556571"/>
            <a:ext cx="3591124" cy="12909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171450" indent="-171450" algn="l" rtl="0" eaLnBrk="0" fontAlgn="base" hangingPunct="0">
              <a:lnSpc>
                <a:spcPct val="90000"/>
              </a:lnSpc>
              <a:spcBef>
                <a:spcPts val="750"/>
              </a:spcBef>
              <a:spcAft>
                <a:spcPct val="0"/>
              </a:spcAft>
              <a:buFont typeface="Arial" panose="020B0604020202020204" pitchFamily="34" charset="0"/>
              <a:buChar char="•"/>
              <a:defRPr sz="2100" kern="1200">
                <a:solidFill>
                  <a:schemeClr val="tx1"/>
                </a:solidFill>
                <a:latin typeface="+mn-lt"/>
                <a:ea typeface="+mn-ea"/>
                <a:cs typeface="+mn-cs"/>
              </a:defRPr>
            </a:lvl1pPr>
            <a:lvl2pPr marL="514350" indent="-171450" algn="l" rtl="0" eaLnBrk="0" fontAlgn="base" hangingPunct="0">
              <a:lnSpc>
                <a:spcPct val="90000"/>
              </a:lnSpc>
              <a:spcBef>
                <a:spcPts val="375"/>
              </a:spcBef>
              <a:spcAft>
                <a:spcPct val="0"/>
              </a:spcAft>
              <a:buFont typeface="Arial" panose="020B0604020202020204" pitchFamily="34" charset="0"/>
              <a:buChar char="•"/>
              <a:defRPr kern="1200">
                <a:solidFill>
                  <a:schemeClr val="tx1"/>
                </a:solidFill>
                <a:latin typeface="+mn-lt"/>
                <a:ea typeface="+mn-ea"/>
                <a:cs typeface="+mn-cs"/>
              </a:defRPr>
            </a:lvl2pPr>
            <a:lvl3pPr marL="857250" indent="-171450" algn="l" rtl="0" eaLnBrk="0" fontAlgn="base" hangingPunct="0">
              <a:lnSpc>
                <a:spcPct val="90000"/>
              </a:lnSpc>
              <a:spcBef>
                <a:spcPts val="375"/>
              </a:spcBef>
              <a:spcAft>
                <a:spcPct val="0"/>
              </a:spcAft>
              <a:buFont typeface="Arial" panose="020B0604020202020204" pitchFamily="34" charset="0"/>
              <a:buChar char="•"/>
              <a:defRPr sz="1500" kern="1200">
                <a:solidFill>
                  <a:schemeClr val="tx1"/>
                </a:solidFill>
                <a:latin typeface="+mn-lt"/>
                <a:ea typeface="+mn-ea"/>
                <a:cs typeface="+mn-cs"/>
              </a:defRPr>
            </a:lvl3pPr>
            <a:lvl4pPr marL="1200150" indent="-171450" algn="l" rtl="0" eaLnBrk="0" fontAlgn="base" hangingPunct="0">
              <a:lnSpc>
                <a:spcPct val="90000"/>
              </a:lnSpc>
              <a:spcBef>
                <a:spcPts val="375"/>
              </a:spcBef>
              <a:spcAft>
                <a:spcPct val="0"/>
              </a:spcAft>
              <a:buFont typeface="Arial" panose="020B0604020202020204" pitchFamily="34" charset="0"/>
              <a:buChar char="•"/>
              <a:defRPr kern="1200">
                <a:solidFill>
                  <a:schemeClr val="tx1"/>
                </a:solidFill>
                <a:latin typeface="+mn-lt"/>
                <a:ea typeface="+mn-ea"/>
                <a:cs typeface="+mn-cs"/>
              </a:defRPr>
            </a:lvl4pPr>
            <a:lvl5pPr marL="1543050" indent="-171450" algn="l" rtl="0" eaLnBrk="0" fontAlgn="base" hangingPunct="0">
              <a:lnSpc>
                <a:spcPct val="90000"/>
              </a:lnSpc>
              <a:spcBef>
                <a:spcPts val="375"/>
              </a:spcBef>
              <a:spcAft>
                <a:spcPct val="0"/>
              </a:spcAft>
              <a:buFont typeface="Arial" panose="020B0604020202020204" pitchFamily="34" charset="0"/>
              <a:buChar char="•"/>
              <a:defRPr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buNone/>
            </a:pPr>
            <a:r>
              <a:rPr lang="en-US" sz="1800"/>
              <a:t>The recent report from National Academy of Engineering and the DOE Liftoff report recommended a </a:t>
            </a:r>
            <a:r>
              <a:rPr lang="en-US" sz="1800" b="1"/>
              <a:t>focus on materials development, construction technology R&amp;D and workforce development</a:t>
            </a:r>
            <a:r>
              <a:rPr lang="en-US" sz="1800"/>
              <a:t>. </a:t>
            </a:r>
          </a:p>
          <a:p>
            <a:pPr marL="0" indent="0">
              <a:buNone/>
            </a:pPr>
            <a:r>
              <a:rPr lang="en-US" sz="1800"/>
              <a:t>Infrastructure is needed to support materials and construction R&amp;D and certainly university training infrastructure to build workforce could be an area of emphasis.  </a:t>
            </a:r>
            <a:endParaRPr lang="en-US" sz="1600"/>
          </a:p>
        </p:txBody>
      </p:sp>
      <p:sp>
        <p:nvSpPr>
          <p:cNvPr id="9" name="Content Placeholder 2">
            <a:extLst>
              <a:ext uri="{FF2B5EF4-FFF2-40B4-BE49-F238E27FC236}">
                <a16:creationId xmlns:a16="http://schemas.microsoft.com/office/drawing/2014/main" id="{164E4156-B382-2B08-F5B4-BFEB69EE5C53}"/>
              </a:ext>
            </a:extLst>
          </p:cNvPr>
          <p:cNvSpPr txBox="1">
            <a:spLocks/>
          </p:cNvSpPr>
          <p:nvPr/>
        </p:nvSpPr>
        <p:spPr bwMode="auto">
          <a:xfrm>
            <a:off x="1053358" y="2419770"/>
            <a:ext cx="3594846" cy="12909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171450" indent="-171450" algn="l" rtl="0" eaLnBrk="0" fontAlgn="base" hangingPunct="0">
              <a:lnSpc>
                <a:spcPct val="90000"/>
              </a:lnSpc>
              <a:spcBef>
                <a:spcPts val="750"/>
              </a:spcBef>
              <a:spcAft>
                <a:spcPct val="0"/>
              </a:spcAft>
              <a:buFont typeface="Arial" panose="020B0604020202020204" pitchFamily="34" charset="0"/>
              <a:buChar char="•"/>
              <a:defRPr sz="2100" kern="1200">
                <a:solidFill>
                  <a:schemeClr val="tx1"/>
                </a:solidFill>
                <a:latin typeface="+mn-lt"/>
                <a:ea typeface="+mn-ea"/>
                <a:cs typeface="+mn-cs"/>
              </a:defRPr>
            </a:lvl1pPr>
            <a:lvl2pPr marL="514350" indent="-171450" algn="l" rtl="0" eaLnBrk="0" fontAlgn="base" hangingPunct="0">
              <a:lnSpc>
                <a:spcPct val="90000"/>
              </a:lnSpc>
              <a:spcBef>
                <a:spcPts val="375"/>
              </a:spcBef>
              <a:spcAft>
                <a:spcPct val="0"/>
              </a:spcAft>
              <a:buFont typeface="Arial" panose="020B0604020202020204" pitchFamily="34" charset="0"/>
              <a:buChar char="•"/>
              <a:defRPr kern="1200">
                <a:solidFill>
                  <a:schemeClr val="tx1"/>
                </a:solidFill>
                <a:latin typeface="+mn-lt"/>
                <a:ea typeface="+mn-ea"/>
                <a:cs typeface="+mn-cs"/>
              </a:defRPr>
            </a:lvl2pPr>
            <a:lvl3pPr marL="857250" indent="-171450" algn="l" rtl="0" eaLnBrk="0" fontAlgn="base" hangingPunct="0">
              <a:lnSpc>
                <a:spcPct val="90000"/>
              </a:lnSpc>
              <a:spcBef>
                <a:spcPts val="375"/>
              </a:spcBef>
              <a:spcAft>
                <a:spcPct val="0"/>
              </a:spcAft>
              <a:buFont typeface="Arial" panose="020B0604020202020204" pitchFamily="34" charset="0"/>
              <a:buChar char="•"/>
              <a:defRPr sz="1500" kern="1200">
                <a:solidFill>
                  <a:schemeClr val="tx1"/>
                </a:solidFill>
                <a:latin typeface="+mn-lt"/>
                <a:ea typeface="+mn-ea"/>
                <a:cs typeface="+mn-cs"/>
              </a:defRPr>
            </a:lvl3pPr>
            <a:lvl4pPr marL="1200150" indent="-171450" algn="l" rtl="0" eaLnBrk="0" fontAlgn="base" hangingPunct="0">
              <a:lnSpc>
                <a:spcPct val="90000"/>
              </a:lnSpc>
              <a:spcBef>
                <a:spcPts val="375"/>
              </a:spcBef>
              <a:spcAft>
                <a:spcPct val="0"/>
              </a:spcAft>
              <a:buFont typeface="Arial" panose="020B0604020202020204" pitchFamily="34" charset="0"/>
              <a:buChar char="•"/>
              <a:defRPr kern="1200">
                <a:solidFill>
                  <a:schemeClr val="tx1"/>
                </a:solidFill>
                <a:latin typeface="+mn-lt"/>
                <a:ea typeface="+mn-ea"/>
                <a:cs typeface="+mn-cs"/>
              </a:defRPr>
            </a:lvl4pPr>
            <a:lvl5pPr marL="1543050" indent="-171450" algn="l" rtl="0" eaLnBrk="0" fontAlgn="base" hangingPunct="0">
              <a:lnSpc>
                <a:spcPct val="90000"/>
              </a:lnSpc>
              <a:spcBef>
                <a:spcPts val="375"/>
              </a:spcBef>
              <a:spcAft>
                <a:spcPct val="0"/>
              </a:spcAft>
              <a:buFont typeface="Arial" panose="020B0604020202020204" pitchFamily="34" charset="0"/>
              <a:buChar char="•"/>
              <a:defRPr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buNone/>
            </a:pPr>
            <a:r>
              <a:rPr lang="en-US" sz="2400" b="1" u="sng">
                <a:solidFill>
                  <a:schemeClr val="accent5"/>
                </a:solidFill>
              </a:rPr>
              <a:t>Demo projects (short-term):</a:t>
            </a:r>
            <a:endParaRPr lang="en-US" sz="2000" b="1" u="sng">
              <a:solidFill>
                <a:schemeClr val="accent5"/>
              </a:solidFill>
            </a:endParaRPr>
          </a:p>
        </p:txBody>
      </p:sp>
      <p:sp>
        <p:nvSpPr>
          <p:cNvPr id="10" name="Content Placeholder 2">
            <a:extLst>
              <a:ext uri="{FF2B5EF4-FFF2-40B4-BE49-F238E27FC236}">
                <a16:creationId xmlns:a16="http://schemas.microsoft.com/office/drawing/2014/main" id="{0870AF80-D4F9-4392-33BB-081650C82046}"/>
              </a:ext>
            </a:extLst>
          </p:cNvPr>
          <p:cNvSpPr txBox="1">
            <a:spLocks/>
          </p:cNvSpPr>
          <p:nvPr/>
        </p:nvSpPr>
        <p:spPr bwMode="auto">
          <a:xfrm>
            <a:off x="4786498" y="2433841"/>
            <a:ext cx="3327693" cy="12909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171450" indent="-171450" algn="l" rtl="0" eaLnBrk="0" fontAlgn="base" hangingPunct="0">
              <a:lnSpc>
                <a:spcPct val="90000"/>
              </a:lnSpc>
              <a:spcBef>
                <a:spcPts val="750"/>
              </a:spcBef>
              <a:spcAft>
                <a:spcPct val="0"/>
              </a:spcAft>
              <a:buFont typeface="Arial" panose="020B0604020202020204" pitchFamily="34" charset="0"/>
              <a:buChar char="•"/>
              <a:defRPr sz="2100" kern="1200">
                <a:solidFill>
                  <a:schemeClr val="tx1"/>
                </a:solidFill>
                <a:latin typeface="+mn-lt"/>
                <a:ea typeface="+mn-ea"/>
                <a:cs typeface="+mn-cs"/>
              </a:defRPr>
            </a:lvl1pPr>
            <a:lvl2pPr marL="514350" indent="-171450" algn="l" rtl="0" eaLnBrk="0" fontAlgn="base" hangingPunct="0">
              <a:lnSpc>
                <a:spcPct val="90000"/>
              </a:lnSpc>
              <a:spcBef>
                <a:spcPts val="375"/>
              </a:spcBef>
              <a:spcAft>
                <a:spcPct val="0"/>
              </a:spcAft>
              <a:buFont typeface="Arial" panose="020B0604020202020204" pitchFamily="34" charset="0"/>
              <a:buChar char="•"/>
              <a:defRPr kern="1200">
                <a:solidFill>
                  <a:schemeClr val="tx1"/>
                </a:solidFill>
                <a:latin typeface="+mn-lt"/>
                <a:ea typeface="+mn-ea"/>
                <a:cs typeface="+mn-cs"/>
              </a:defRPr>
            </a:lvl2pPr>
            <a:lvl3pPr marL="857250" indent="-171450" algn="l" rtl="0" eaLnBrk="0" fontAlgn="base" hangingPunct="0">
              <a:lnSpc>
                <a:spcPct val="90000"/>
              </a:lnSpc>
              <a:spcBef>
                <a:spcPts val="375"/>
              </a:spcBef>
              <a:spcAft>
                <a:spcPct val="0"/>
              </a:spcAft>
              <a:buFont typeface="Arial" panose="020B0604020202020204" pitchFamily="34" charset="0"/>
              <a:buChar char="•"/>
              <a:defRPr sz="1500" kern="1200">
                <a:solidFill>
                  <a:schemeClr val="tx1"/>
                </a:solidFill>
                <a:latin typeface="+mn-lt"/>
                <a:ea typeface="+mn-ea"/>
                <a:cs typeface="+mn-cs"/>
              </a:defRPr>
            </a:lvl3pPr>
            <a:lvl4pPr marL="1200150" indent="-171450" algn="l" rtl="0" eaLnBrk="0" fontAlgn="base" hangingPunct="0">
              <a:lnSpc>
                <a:spcPct val="90000"/>
              </a:lnSpc>
              <a:spcBef>
                <a:spcPts val="375"/>
              </a:spcBef>
              <a:spcAft>
                <a:spcPct val="0"/>
              </a:spcAft>
              <a:buFont typeface="Arial" panose="020B0604020202020204" pitchFamily="34" charset="0"/>
              <a:buChar char="•"/>
              <a:defRPr kern="1200">
                <a:solidFill>
                  <a:schemeClr val="tx1"/>
                </a:solidFill>
                <a:latin typeface="+mn-lt"/>
                <a:ea typeface="+mn-ea"/>
                <a:cs typeface="+mn-cs"/>
              </a:defRPr>
            </a:lvl4pPr>
            <a:lvl5pPr marL="1543050" indent="-171450" algn="l" rtl="0" eaLnBrk="0" fontAlgn="base" hangingPunct="0">
              <a:lnSpc>
                <a:spcPct val="90000"/>
              </a:lnSpc>
              <a:spcBef>
                <a:spcPts val="375"/>
              </a:spcBef>
              <a:spcAft>
                <a:spcPct val="0"/>
              </a:spcAft>
              <a:buFont typeface="Arial" panose="020B0604020202020204" pitchFamily="34" charset="0"/>
              <a:buChar char="•"/>
              <a:defRPr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buNone/>
            </a:pPr>
            <a:r>
              <a:rPr lang="en-US" sz="2400" b="1" u="sng">
                <a:solidFill>
                  <a:schemeClr val="accent5"/>
                </a:solidFill>
              </a:rPr>
              <a:t>Materials, Construction, Workforce (medium &amp; long-term)</a:t>
            </a:r>
            <a:endParaRPr lang="en-US" sz="2000" b="1" u="sng">
              <a:solidFill>
                <a:schemeClr val="accent5"/>
              </a:solidFill>
            </a:endParaRPr>
          </a:p>
        </p:txBody>
      </p:sp>
      <p:pic>
        <p:nvPicPr>
          <p:cNvPr id="14" name="Graphic 13" descr="Badge 3 with solid fill">
            <a:extLst>
              <a:ext uri="{FF2B5EF4-FFF2-40B4-BE49-F238E27FC236}">
                <a16:creationId xmlns:a16="http://schemas.microsoft.com/office/drawing/2014/main" id="{FC84A189-0DAF-A4F1-E59F-A751FA9CBC23}"/>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96725" y="2401613"/>
            <a:ext cx="475488" cy="475488"/>
          </a:xfrm>
          <a:prstGeom prst="rect">
            <a:avLst/>
          </a:prstGeom>
        </p:spPr>
      </p:pic>
      <p:pic>
        <p:nvPicPr>
          <p:cNvPr id="16" name="Graphic 15" descr="Badge 4 with solid fill">
            <a:extLst>
              <a:ext uri="{FF2B5EF4-FFF2-40B4-BE49-F238E27FC236}">
                <a16:creationId xmlns:a16="http://schemas.microsoft.com/office/drawing/2014/main" id="{C506C395-99BB-A344-F744-F631143A1EFC}"/>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4316804" y="2412026"/>
            <a:ext cx="475488" cy="475488"/>
          </a:xfrm>
          <a:prstGeom prst="rect">
            <a:avLst/>
          </a:prstGeom>
        </p:spPr>
      </p:pic>
      <p:pic>
        <p:nvPicPr>
          <p:cNvPr id="18" name="Graphic 17" descr="Badge 5 with solid fill">
            <a:extLst>
              <a:ext uri="{FF2B5EF4-FFF2-40B4-BE49-F238E27FC236}">
                <a16:creationId xmlns:a16="http://schemas.microsoft.com/office/drawing/2014/main" id="{53EDF0D8-05FD-1C47-880C-EB85B891D24B}"/>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8125967" y="2412026"/>
            <a:ext cx="475488" cy="475488"/>
          </a:xfrm>
          <a:prstGeom prst="rect">
            <a:avLst/>
          </a:prstGeom>
        </p:spPr>
      </p:pic>
      <p:sp>
        <p:nvSpPr>
          <p:cNvPr id="19" name="Content Placeholder 2">
            <a:extLst>
              <a:ext uri="{FF2B5EF4-FFF2-40B4-BE49-F238E27FC236}">
                <a16:creationId xmlns:a16="http://schemas.microsoft.com/office/drawing/2014/main" id="{79E72ED0-8006-0081-0FA8-48A77BBB2164}"/>
              </a:ext>
            </a:extLst>
          </p:cNvPr>
          <p:cNvSpPr txBox="1">
            <a:spLocks/>
          </p:cNvSpPr>
          <p:nvPr/>
        </p:nvSpPr>
        <p:spPr bwMode="auto">
          <a:xfrm>
            <a:off x="8622376" y="3267445"/>
            <a:ext cx="2927474" cy="12909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171450" indent="-171450" algn="l" rtl="0" eaLnBrk="0" fontAlgn="base" hangingPunct="0">
              <a:lnSpc>
                <a:spcPct val="90000"/>
              </a:lnSpc>
              <a:spcBef>
                <a:spcPts val="750"/>
              </a:spcBef>
              <a:spcAft>
                <a:spcPct val="0"/>
              </a:spcAft>
              <a:buFont typeface="Arial" panose="020B0604020202020204" pitchFamily="34" charset="0"/>
              <a:buChar char="•"/>
              <a:defRPr sz="2100" kern="1200">
                <a:solidFill>
                  <a:schemeClr val="tx1"/>
                </a:solidFill>
                <a:latin typeface="+mn-lt"/>
                <a:ea typeface="+mn-ea"/>
                <a:cs typeface="+mn-cs"/>
              </a:defRPr>
            </a:lvl1pPr>
            <a:lvl2pPr marL="514350" indent="-171450" algn="l" rtl="0" eaLnBrk="0" fontAlgn="base" hangingPunct="0">
              <a:lnSpc>
                <a:spcPct val="90000"/>
              </a:lnSpc>
              <a:spcBef>
                <a:spcPts val="375"/>
              </a:spcBef>
              <a:spcAft>
                <a:spcPct val="0"/>
              </a:spcAft>
              <a:buFont typeface="Arial" panose="020B0604020202020204" pitchFamily="34" charset="0"/>
              <a:buChar char="•"/>
              <a:defRPr kern="1200">
                <a:solidFill>
                  <a:schemeClr val="tx1"/>
                </a:solidFill>
                <a:latin typeface="+mn-lt"/>
                <a:ea typeface="+mn-ea"/>
                <a:cs typeface="+mn-cs"/>
              </a:defRPr>
            </a:lvl2pPr>
            <a:lvl3pPr marL="857250" indent="-171450" algn="l" rtl="0" eaLnBrk="0" fontAlgn="base" hangingPunct="0">
              <a:lnSpc>
                <a:spcPct val="90000"/>
              </a:lnSpc>
              <a:spcBef>
                <a:spcPts val="375"/>
              </a:spcBef>
              <a:spcAft>
                <a:spcPct val="0"/>
              </a:spcAft>
              <a:buFont typeface="Arial" panose="020B0604020202020204" pitchFamily="34" charset="0"/>
              <a:buChar char="•"/>
              <a:defRPr sz="1500" kern="1200">
                <a:solidFill>
                  <a:schemeClr val="tx1"/>
                </a:solidFill>
                <a:latin typeface="+mn-lt"/>
                <a:ea typeface="+mn-ea"/>
                <a:cs typeface="+mn-cs"/>
              </a:defRPr>
            </a:lvl3pPr>
            <a:lvl4pPr marL="1200150" indent="-171450" algn="l" rtl="0" eaLnBrk="0" fontAlgn="base" hangingPunct="0">
              <a:lnSpc>
                <a:spcPct val="90000"/>
              </a:lnSpc>
              <a:spcBef>
                <a:spcPts val="375"/>
              </a:spcBef>
              <a:spcAft>
                <a:spcPct val="0"/>
              </a:spcAft>
              <a:buFont typeface="Arial" panose="020B0604020202020204" pitchFamily="34" charset="0"/>
              <a:buChar char="•"/>
              <a:defRPr kern="1200">
                <a:solidFill>
                  <a:schemeClr val="tx1"/>
                </a:solidFill>
                <a:latin typeface="+mn-lt"/>
                <a:ea typeface="+mn-ea"/>
                <a:cs typeface="+mn-cs"/>
              </a:defRPr>
            </a:lvl4pPr>
            <a:lvl5pPr marL="1543050" indent="-171450" algn="l" rtl="0" eaLnBrk="0" fontAlgn="base" hangingPunct="0">
              <a:lnSpc>
                <a:spcPct val="90000"/>
              </a:lnSpc>
              <a:spcBef>
                <a:spcPts val="375"/>
              </a:spcBef>
              <a:spcAft>
                <a:spcPct val="0"/>
              </a:spcAft>
              <a:buFont typeface="Arial" panose="020B0604020202020204" pitchFamily="34" charset="0"/>
              <a:buChar char="•"/>
              <a:defRPr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buNone/>
            </a:pPr>
            <a:r>
              <a:rPr lang="en-US" sz="1800"/>
              <a:t>NE should focus on strategies (including project management tools) to </a:t>
            </a:r>
            <a:r>
              <a:rPr lang="en-US" sz="1800" b="1"/>
              <a:t>shorten the timescales for nuclear projects </a:t>
            </a:r>
            <a:r>
              <a:rPr lang="en-US" sz="1800"/>
              <a:t>and a new science-based paradigm for material qualification and licensing process.</a:t>
            </a:r>
            <a:endParaRPr lang="en-US" sz="1600"/>
          </a:p>
        </p:txBody>
      </p:sp>
      <p:sp>
        <p:nvSpPr>
          <p:cNvPr id="20" name="Content Placeholder 2">
            <a:extLst>
              <a:ext uri="{FF2B5EF4-FFF2-40B4-BE49-F238E27FC236}">
                <a16:creationId xmlns:a16="http://schemas.microsoft.com/office/drawing/2014/main" id="{6EC7CD8B-B8C6-A05C-7070-BFF402CB8BBE}"/>
              </a:ext>
            </a:extLst>
          </p:cNvPr>
          <p:cNvSpPr txBox="1">
            <a:spLocks/>
          </p:cNvSpPr>
          <p:nvPr/>
        </p:nvSpPr>
        <p:spPr bwMode="auto">
          <a:xfrm>
            <a:off x="8622375" y="2433841"/>
            <a:ext cx="3327693" cy="12909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171450" indent="-171450" algn="l" rtl="0" eaLnBrk="0" fontAlgn="base" hangingPunct="0">
              <a:lnSpc>
                <a:spcPct val="90000"/>
              </a:lnSpc>
              <a:spcBef>
                <a:spcPts val="750"/>
              </a:spcBef>
              <a:spcAft>
                <a:spcPct val="0"/>
              </a:spcAft>
              <a:buFont typeface="Arial" panose="020B0604020202020204" pitchFamily="34" charset="0"/>
              <a:buChar char="•"/>
              <a:defRPr sz="2100" kern="1200">
                <a:solidFill>
                  <a:schemeClr val="tx1"/>
                </a:solidFill>
                <a:latin typeface="+mn-lt"/>
                <a:ea typeface="+mn-ea"/>
                <a:cs typeface="+mn-cs"/>
              </a:defRPr>
            </a:lvl1pPr>
            <a:lvl2pPr marL="514350" indent="-171450" algn="l" rtl="0" eaLnBrk="0" fontAlgn="base" hangingPunct="0">
              <a:lnSpc>
                <a:spcPct val="90000"/>
              </a:lnSpc>
              <a:spcBef>
                <a:spcPts val="375"/>
              </a:spcBef>
              <a:spcAft>
                <a:spcPct val="0"/>
              </a:spcAft>
              <a:buFont typeface="Arial" panose="020B0604020202020204" pitchFamily="34" charset="0"/>
              <a:buChar char="•"/>
              <a:defRPr kern="1200">
                <a:solidFill>
                  <a:schemeClr val="tx1"/>
                </a:solidFill>
                <a:latin typeface="+mn-lt"/>
                <a:ea typeface="+mn-ea"/>
                <a:cs typeface="+mn-cs"/>
              </a:defRPr>
            </a:lvl2pPr>
            <a:lvl3pPr marL="857250" indent="-171450" algn="l" rtl="0" eaLnBrk="0" fontAlgn="base" hangingPunct="0">
              <a:lnSpc>
                <a:spcPct val="90000"/>
              </a:lnSpc>
              <a:spcBef>
                <a:spcPts val="375"/>
              </a:spcBef>
              <a:spcAft>
                <a:spcPct val="0"/>
              </a:spcAft>
              <a:buFont typeface="Arial" panose="020B0604020202020204" pitchFamily="34" charset="0"/>
              <a:buChar char="•"/>
              <a:defRPr sz="1500" kern="1200">
                <a:solidFill>
                  <a:schemeClr val="tx1"/>
                </a:solidFill>
                <a:latin typeface="+mn-lt"/>
                <a:ea typeface="+mn-ea"/>
                <a:cs typeface="+mn-cs"/>
              </a:defRPr>
            </a:lvl3pPr>
            <a:lvl4pPr marL="1200150" indent="-171450" algn="l" rtl="0" eaLnBrk="0" fontAlgn="base" hangingPunct="0">
              <a:lnSpc>
                <a:spcPct val="90000"/>
              </a:lnSpc>
              <a:spcBef>
                <a:spcPts val="375"/>
              </a:spcBef>
              <a:spcAft>
                <a:spcPct val="0"/>
              </a:spcAft>
              <a:buFont typeface="Arial" panose="020B0604020202020204" pitchFamily="34" charset="0"/>
              <a:buChar char="•"/>
              <a:defRPr kern="1200">
                <a:solidFill>
                  <a:schemeClr val="tx1"/>
                </a:solidFill>
                <a:latin typeface="+mn-lt"/>
                <a:ea typeface="+mn-ea"/>
                <a:cs typeface="+mn-cs"/>
              </a:defRPr>
            </a:lvl4pPr>
            <a:lvl5pPr marL="1543050" indent="-171450" algn="l" rtl="0" eaLnBrk="0" fontAlgn="base" hangingPunct="0">
              <a:lnSpc>
                <a:spcPct val="90000"/>
              </a:lnSpc>
              <a:spcBef>
                <a:spcPts val="375"/>
              </a:spcBef>
              <a:spcAft>
                <a:spcPct val="0"/>
              </a:spcAft>
              <a:buFont typeface="Arial" panose="020B0604020202020204" pitchFamily="34" charset="0"/>
              <a:buChar char="•"/>
              <a:defRPr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buNone/>
            </a:pPr>
            <a:r>
              <a:rPr lang="en-US" sz="2400" b="1" u="sng">
                <a:solidFill>
                  <a:schemeClr val="accent5"/>
                </a:solidFill>
              </a:rPr>
              <a:t>Timescale strategies (medium &amp; long-term)</a:t>
            </a:r>
            <a:endParaRPr lang="en-US" sz="2000" b="1" u="sng">
              <a:solidFill>
                <a:schemeClr val="accent5"/>
              </a:solidFill>
            </a:endParaRPr>
          </a:p>
        </p:txBody>
      </p:sp>
      <p:pic>
        <p:nvPicPr>
          <p:cNvPr id="22" name="Graphic 21" descr="List outline">
            <a:extLst>
              <a:ext uri="{FF2B5EF4-FFF2-40B4-BE49-F238E27FC236}">
                <a16:creationId xmlns:a16="http://schemas.microsoft.com/office/drawing/2014/main" id="{47FD82AE-21D5-C305-7B84-0D1DFA888FD6}"/>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794424" y="1475276"/>
            <a:ext cx="914400" cy="914400"/>
          </a:xfrm>
          <a:prstGeom prst="rect">
            <a:avLst/>
          </a:prstGeom>
        </p:spPr>
      </p:pic>
      <p:pic>
        <p:nvPicPr>
          <p:cNvPr id="24" name="Graphic 23" descr="Daily calendar outline">
            <a:extLst>
              <a:ext uri="{FF2B5EF4-FFF2-40B4-BE49-F238E27FC236}">
                <a16:creationId xmlns:a16="http://schemas.microsoft.com/office/drawing/2014/main" id="{E7F1C3B7-1066-365B-3052-327C67534792}"/>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9628913" y="1489347"/>
            <a:ext cx="914400" cy="914400"/>
          </a:xfrm>
          <a:prstGeom prst="rect">
            <a:avLst/>
          </a:prstGeom>
        </p:spPr>
      </p:pic>
      <p:pic>
        <p:nvPicPr>
          <p:cNvPr id="26" name="Graphic 25" descr="Crane outline">
            <a:extLst>
              <a:ext uri="{FF2B5EF4-FFF2-40B4-BE49-F238E27FC236}">
                <a16:creationId xmlns:a16="http://schemas.microsoft.com/office/drawing/2014/main" id="{5D1B1C3B-AB58-DAB5-9A07-A9212B8EA28F}"/>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5711668" y="1478684"/>
            <a:ext cx="914400" cy="914400"/>
          </a:xfrm>
          <a:prstGeom prst="rect">
            <a:avLst/>
          </a:prstGeom>
        </p:spPr>
      </p:pic>
    </p:spTree>
    <p:extLst>
      <p:ext uri="{BB962C8B-B14F-4D97-AF65-F5344CB8AC3E}">
        <p14:creationId xmlns:p14="http://schemas.microsoft.com/office/powerpoint/2010/main" val="2895929238"/>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7CD58E-BFF0-31D7-7AF0-B06E8CFA7E4E}"/>
              </a:ext>
            </a:extLst>
          </p:cNvPr>
          <p:cNvSpPr>
            <a:spLocks noGrp="1"/>
          </p:cNvSpPr>
          <p:nvPr>
            <p:ph type="title"/>
          </p:nvPr>
        </p:nvSpPr>
        <p:spPr/>
        <p:txBody>
          <a:bodyPr/>
          <a:lstStyle/>
          <a:p>
            <a:r>
              <a:rPr lang="en-US"/>
              <a:t>Detailed recommendations: Supply chain for advanced reactors (6-7)</a:t>
            </a:r>
          </a:p>
        </p:txBody>
      </p:sp>
      <p:sp>
        <p:nvSpPr>
          <p:cNvPr id="4" name="Slide Number Placeholder 3">
            <a:extLst>
              <a:ext uri="{FF2B5EF4-FFF2-40B4-BE49-F238E27FC236}">
                <a16:creationId xmlns:a16="http://schemas.microsoft.com/office/drawing/2014/main" id="{AD91375A-CA17-BC66-AADD-7CE7A8289C1F}"/>
              </a:ext>
            </a:extLst>
          </p:cNvPr>
          <p:cNvSpPr>
            <a:spLocks noGrp="1"/>
          </p:cNvSpPr>
          <p:nvPr>
            <p:ph type="sldNum" sz="quarter" idx="10"/>
          </p:nvPr>
        </p:nvSpPr>
        <p:spPr/>
        <p:txBody>
          <a:bodyPr/>
          <a:lstStyle/>
          <a:p>
            <a:pPr>
              <a:defRPr/>
            </a:pPr>
            <a:fld id="{37926BA8-E0F8-42A8-A83C-EBAA1A1E8FCD}" type="slidenum">
              <a:rPr lang="en-US" smtClean="0"/>
              <a:pPr>
                <a:defRPr/>
              </a:pPr>
              <a:t>88</a:t>
            </a:fld>
            <a:endParaRPr lang="en-US"/>
          </a:p>
        </p:txBody>
      </p:sp>
      <p:sp>
        <p:nvSpPr>
          <p:cNvPr id="5" name="Content Placeholder 2">
            <a:extLst>
              <a:ext uri="{FF2B5EF4-FFF2-40B4-BE49-F238E27FC236}">
                <a16:creationId xmlns:a16="http://schemas.microsoft.com/office/drawing/2014/main" id="{71AFD0B5-4DB7-8493-775A-313A96D039F9}"/>
              </a:ext>
            </a:extLst>
          </p:cNvPr>
          <p:cNvSpPr txBox="1">
            <a:spLocks/>
          </p:cNvSpPr>
          <p:nvPr/>
        </p:nvSpPr>
        <p:spPr bwMode="auto">
          <a:xfrm>
            <a:off x="1013014" y="3345307"/>
            <a:ext cx="4715433" cy="12909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171450" indent="-171450" algn="l" rtl="0" eaLnBrk="0" fontAlgn="base" hangingPunct="0">
              <a:lnSpc>
                <a:spcPct val="90000"/>
              </a:lnSpc>
              <a:spcBef>
                <a:spcPts val="750"/>
              </a:spcBef>
              <a:spcAft>
                <a:spcPct val="0"/>
              </a:spcAft>
              <a:buFont typeface="Arial" panose="020B0604020202020204" pitchFamily="34" charset="0"/>
              <a:buChar char="•"/>
              <a:defRPr sz="2100" kern="1200">
                <a:solidFill>
                  <a:schemeClr val="tx1"/>
                </a:solidFill>
                <a:latin typeface="+mn-lt"/>
                <a:ea typeface="+mn-ea"/>
                <a:cs typeface="+mn-cs"/>
              </a:defRPr>
            </a:lvl1pPr>
            <a:lvl2pPr marL="514350" indent="-171450" algn="l" rtl="0" eaLnBrk="0" fontAlgn="base" hangingPunct="0">
              <a:lnSpc>
                <a:spcPct val="90000"/>
              </a:lnSpc>
              <a:spcBef>
                <a:spcPts val="375"/>
              </a:spcBef>
              <a:spcAft>
                <a:spcPct val="0"/>
              </a:spcAft>
              <a:buFont typeface="Arial" panose="020B0604020202020204" pitchFamily="34" charset="0"/>
              <a:buChar char="•"/>
              <a:defRPr kern="1200">
                <a:solidFill>
                  <a:schemeClr val="tx1"/>
                </a:solidFill>
                <a:latin typeface="+mn-lt"/>
                <a:ea typeface="+mn-ea"/>
                <a:cs typeface="+mn-cs"/>
              </a:defRPr>
            </a:lvl2pPr>
            <a:lvl3pPr marL="857250" indent="-171450" algn="l" rtl="0" eaLnBrk="0" fontAlgn="base" hangingPunct="0">
              <a:lnSpc>
                <a:spcPct val="90000"/>
              </a:lnSpc>
              <a:spcBef>
                <a:spcPts val="375"/>
              </a:spcBef>
              <a:spcAft>
                <a:spcPct val="0"/>
              </a:spcAft>
              <a:buFont typeface="Arial" panose="020B0604020202020204" pitchFamily="34" charset="0"/>
              <a:buChar char="•"/>
              <a:defRPr sz="1500" kern="1200">
                <a:solidFill>
                  <a:schemeClr val="tx1"/>
                </a:solidFill>
                <a:latin typeface="+mn-lt"/>
                <a:ea typeface="+mn-ea"/>
                <a:cs typeface="+mn-cs"/>
              </a:defRPr>
            </a:lvl3pPr>
            <a:lvl4pPr marL="1200150" indent="-171450" algn="l" rtl="0" eaLnBrk="0" fontAlgn="base" hangingPunct="0">
              <a:lnSpc>
                <a:spcPct val="90000"/>
              </a:lnSpc>
              <a:spcBef>
                <a:spcPts val="375"/>
              </a:spcBef>
              <a:spcAft>
                <a:spcPct val="0"/>
              </a:spcAft>
              <a:buFont typeface="Arial" panose="020B0604020202020204" pitchFamily="34" charset="0"/>
              <a:buChar char="•"/>
              <a:defRPr kern="1200">
                <a:solidFill>
                  <a:schemeClr val="tx1"/>
                </a:solidFill>
                <a:latin typeface="+mn-lt"/>
                <a:ea typeface="+mn-ea"/>
                <a:cs typeface="+mn-cs"/>
              </a:defRPr>
            </a:lvl4pPr>
            <a:lvl5pPr marL="1543050" indent="-171450" algn="l" rtl="0" eaLnBrk="0" fontAlgn="base" hangingPunct="0">
              <a:lnSpc>
                <a:spcPct val="90000"/>
              </a:lnSpc>
              <a:spcBef>
                <a:spcPts val="375"/>
              </a:spcBef>
              <a:spcAft>
                <a:spcPct val="0"/>
              </a:spcAft>
              <a:buFont typeface="Arial" panose="020B0604020202020204" pitchFamily="34" charset="0"/>
              <a:buChar char="•"/>
              <a:defRPr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buNone/>
            </a:pPr>
            <a:r>
              <a:rPr lang="en-US" sz="1800"/>
              <a:t>NE should prioritize implementation of the infrastructure necessary for </a:t>
            </a:r>
            <a:r>
              <a:rPr lang="en-US" sz="1800" b="1"/>
              <a:t>commercialization of High Assay Low Enrichment Uranium (HALEU) </a:t>
            </a:r>
            <a:r>
              <a:rPr lang="en-US" sz="1800"/>
              <a:t>advanced reactors</a:t>
            </a:r>
          </a:p>
          <a:p>
            <a:pPr marL="0" indent="0">
              <a:buNone/>
            </a:pPr>
            <a:r>
              <a:rPr lang="en-US" sz="1800"/>
              <a:t>There needs to be a longer term focus, to focus on the commercialization of nuclear technologies, on solving this problem, and </a:t>
            </a:r>
            <a:r>
              <a:rPr lang="en-US" sz="1800" b="1"/>
              <a:t>stimulating production in the absence of specific orders with a recognition</a:t>
            </a:r>
            <a:r>
              <a:rPr lang="en-US" sz="1800"/>
              <a:t> that there will be demand for the product once larger scale production is a reality</a:t>
            </a:r>
          </a:p>
        </p:txBody>
      </p:sp>
      <p:sp>
        <p:nvSpPr>
          <p:cNvPr id="6" name="Content Placeholder 2">
            <a:extLst>
              <a:ext uri="{FF2B5EF4-FFF2-40B4-BE49-F238E27FC236}">
                <a16:creationId xmlns:a16="http://schemas.microsoft.com/office/drawing/2014/main" id="{D3303DFD-F32B-8312-40A6-AEACF2EC3CB0}"/>
              </a:ext>
            </a:extLst>
          </p:cNvPr>
          <p:cNvSpPr txBox="1">
            <a:spLocks/>
          </p:cNvSpPr>
          <p:nvPr/>
        </p:nvSpPr>
        <p:spPr bwMode="auto">
          <a:xfrm>
            <a:off x="6252883" y="3325903"/>
            <a:ext cx="4715433" cy="12909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171450" indent="-171450" algn="l" rtl="0" eaLnBrk="0" fontAlgn="base" hangingPunct="0">
              <a:lnSpc>
                <a:spcPct val="90000"/>
              </a:lnSpc>
              <a:spcBef>
                <a:spcPts val="750"/>
              </a:spcBef>
              <a:spcAft>
                <a:spcPct val="0"/>
              </a:spcAft>
              <a:buFont typeface="Arial" panose="020B0604020202020204" pitchFamily="34" charset="0"/>
              <a:buChar char="•"/>
              <a:defRPr sz="2100" kern="1200">
                <a:solidFill>
                  <a:schemeClr val="tx1"/>
                </a:solidFill>
                <a:latin typeface="+mn-lt"/>
                <a:ea typeface="+mn-ea"/>
                <a:cs typeface="+mn-cs"/>
              </a:defRPr>
            </a:lvl1pPr>
            <a:lvl2pPr marL="514350" indent="-171450" algn="l" rtl="0" eaLnBrk="0" fontAlgn="base" hangingPunct="0">
              <a:lnSpc>
                <a:spcPct val="90000"/>
              </a:lnSpc>
              <a:spcBef>
                <a:spcPts val="375"/>
              </a:spcBef>
              <a:spcAft>
                <a:spcPct val="0"/>
              </a:spcAft>
              <a:buFont typeface="Arial" panose="020B0604020202020204" pitchFamily="34" charset="0"/>
              <a:buChar char="•"/>
              <a:defRPr kern="1200">
                <a:solidFill>
                  <a:schemeClr val="tx1"/>
                </a:solidFill>
                <a:latin typeface="+mn-lt"/>
                <a:ea typeface="+mn-ea"/>
                <a:cs typeface="+mn-cs"/>
              </a:defRPr>
            </a:lvl2pPr>
            <a:lvl3pPr marL="857250" indent="-171450" algn="l" rtl="0" eaLnBrk="0" fontAlgn="base" hangingPunct="0">
              <a:lnSpc>
                <a:spcPct val="90000"/>
              </a:lnSpc>
              <a:spcBef>
                <a:spcPts val="375"/>
              </a:spcBef>
              <a:spcAft>
                <a:spcPct val="0"/>
              </a:spcAft>
              <a:buFont typeface="Arial" panose="020B0604020202020204" pitchFamily="34" charset="0"/>
              <a:buChar char="•"/>
              <a:defRPr sz="1500" kern="1200">
                <a:solidFill>
                  <a:schemeClr val="tx1"/>
                </a:solidFill>
                <a:latin typeface="+mn-lt"/>
                <a:ea typeface="+mn-ea"/>
                <a:cs typeface="+mn-cs"/>
              </a:defRPr>
            </a:lvl3pPr>
            <a:lvl4pPr marL="1200150" indent="-171450" algn="l" rtl="0" eaLnBrk="0" fontAlgn="base" hangingPunct="0">
              <a:lnSpc>
                <a:spcPct val="90000"/>
              </a:lnSpc>
              <a:spcBef>
                <a:spcPts val="375"/>
              </a:spcBef>
              <a:spcAft>
                <a:spcPct val="0"/>
              </a:spcAft>
              <a:buFont typeface="Arial" panose="020B0604020202020204" pitchFamily="34" charset="0"/>
              <a:buChar char="•"/>
              <a:defRPr kern="1200">
                <a:solidFill>
                  <a:schemeClr val="tx1"/>
                </a:solidFill>
                <a:latin typeface="+mn-lt"/>
                <a:ea typeface="+mn-ea"/>
                <a:cs typeface="+mn-cs"/>
              </a:defRPr>
            </a:lvl4pPr>
            <a:lvl5pPr marL="1543050" indent="-171450" algn="l" rtl="0" eaLnBrk="0" fontAlgn="base" hangingPunct="0">
              <a:lnSpc>
                <a:spcPct val="90000"/>
              </a:lnSpc>
              <a:spcBef>
                <a:spcPts val="375"/>
              </a:spcBef>
              <a:spcAft>
                <a:spcPct val="0"/>
              </a:spcAft>
              <a:buFont typeface="Arial" panose="020B0604020202020204" pitchFamily="34" charset="0"/>
              <a:buChar char="•"/>
              <a:defRPr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buNone/>
            </a:pPr>
            <a:r>
              <a:rPr lang="en-US" sz="1800"/>
              <a:t>Assuming nuclear energy production transitions to HALEU fuel, reprocessing and recycling </a:t>
            </a:r>
            <a:r>
              <a:rPr lang="en-US" sz="1800" b="1"/>
              <a:t>will need to be seriously considered</a:t>
            </a:r>
            <a:r>
              <a:rPr lang="en-US" sz="1800"/>
              <a:t>.  </a:t>
            </a:r>
          </a:p>
          <a:p>
            <a:pPr marL="0" indent="0">
              <a:buNone/>
            </a:pPr>
            <a:r>
              <a:rPr lang="en-US" sz="1800"/>
              <a:t>Reprocessing HALEU fuel should follow along with addressing the </a:t>
            </a:r>
            <a:r>
              <a:rPr lang="en-US" sz="1800" b="1"/>
              <a:t>large-scale supply issue </a:t>
            </a:r>
            <a:r>
              <a:rPr lang="en-US" sz="1800"/>
              <a:t>to ensure we address uranium utilization and supply reliability </a:t>
            </a:r>
          </a:p>
          <a:p>
            <a:pPr marL="0" indent="0">
              <a:buNone/>
            </a:pPr>
            <a:r>
              <a:rPr lang="en-US" sz="1800"/>
              <a:t>Incorporating recycling into advanced reactor deployment </a:t>
            </a:r>
            <a:r>
              <a:rPr lang="en-US" sz="1800" b="1"/>
              <a:t>would take 15-20 years</a:t>
            </a:r>
            <a:r>
              <a:rPr lang="en-US" sz="1800"/>
              <a:t>; thus, the foundations must be established today</a:t>
            </a:r>
            <a:endParaRPr lang="en-US" sz="1600"/>
          </a:p>
        </p:txBody>
      </p:sp>
      <p:sp>
        <p:nvSpPr>
          <p:cNvPr id="9" name="Content Placeholder 2">
            <a:extLst>
              <a:ext uri="{FF2B5EF4-FFF2-40B4-BE49-F238E27FC236}">
                <a16:creationId xmlns:a16="http://schemas.microsoft.com/office/drawing/2014/main" id="{5E0D645F-C87D-7663-8BDC-AA8DC4676DC2}"/>
              </a:ext>
            </a:extLst>
          </p:cNvPr>
          <p:cNvSpPr txBox="1">
            <a:spLocks/>
          </p:cNvSpPr>
          <p:nvPr/>
        </p:nvSpPr>
        <p:spPr bwMode="auto">
          <a:xfrm>
            <a:off x="1013014" y="2803021"/>
            <a:ext cx="4715433" cy="12909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171450" indent="-171450" algn="l" rtl="0" eaLnBrk="0" fontAlgn="base" hangingPunct="0">
              <a:lnSpc>
                <a:spcPct val="90000"/>
              </a:lnSpc>
              <a:spcBef>
                <a:spcPts val="750"/>
              </a:spcBef>
              <a:spcAft>
                <a:spcPct val="0"/>
              </a:spcAft>
              <a:buFont typeface="Arial" panose="020B0604020202020204" pitchFamily="34" charset="0"/>
              <a:buChar char="•"/>
              <a:defRPr sz="2100" kern="1200">
                <a:solidFill>
                  <a:schemeClr val="tx1"/>
                </a:solidFill>
                <a:latin typeface="+mn-lt"/>
                <a:ea typeface="+mn-ea"/>
                <a:cs typeface="+mn-cs"/>
              </a:defRPr>
            </a:lvl1pPr>
            <a:lvl2pPr marL="514350" indent="-171450" algn="l" rtl="0" eaLnBrk="0" fontAlgn="base" hangingPunct="0">
              <a:lnSpc>
                <a:spcPct val="90000"/>
              </a:lnSpc>
              <a:spcBef>
                <a:spcPts val="375"/>
              </a:spcBef>
              <a:spcAft>
                <a:spcPct val="0"/>
              </a:spcAft>
              <a:buFont typeface="Arial" panose="020B0604020202020204" pitchFamily="34" charset="0"/>
              <a:buChar char="•"/>
              <a:defRPr kern="1200">
                <a:solidFill>
                  <a:schemeClr val="tx1"/>
                </a:solidFill>
                <a:latin typeface="+mn-lt"/>
                <a:ea typeface="+mn-ea"/>
                <a:cs typeface="+mn-cs"/>
              </a:defRPr>
            </a:lvl2pPr>
            <a:lvl3pPr marL="857250" indent="-171450" algn="l" rtl="0" eaLnBrk="0" fontAlgn="base" hangingPunct="0">
              <a:lnSpc>
                <a:spcPct val="90000"/>
              </a:lnSpc>
              <a:spcBef>
                <a:spcPts val="375"/>
              </a:spcBef>
              <a:spcAft>
                <a:spcPct val="0"/>
              </a:spcAft>
              <a:buFont typeface="Arial" panose="020B0604020202020204" pitchFamily="34" charset="0"/>
              <a:buChar char="•"/>
              <a:defRPr sz="1500" kern="1200">
                <a:solidFill>
                  <a:schemeClr val="tx1"/>
                </a:solidFill>
                <a:latin typeface="+mn-lt"/>
                <a:ea typeface="+mn-ea"/>
                <a:cs typeface="+mn-cs"/>
              </a:defRPr>
            </a:lvl3pPr>
            <a:lvl4pPr marL="1200150" indent="-171450" algn="l" rtl="0" eaLnBrk="0" fontAlgn="base" hangingPunct="0">
              <a:lnSpc>
                <a:spcPct val="90000"/>
              </a:lnSpc>
              <a:spcBef>
                <a:spcPts val="375"/>
              </a:spcBef>
              <a:spcAft>
                <a:spcPct val="0"/>
              </a:spcAft>
              <a:buFont typeface="Arial" panose="020B0604020202020204" pitchFamily="34" charset="0"/>
              <a:buChar char="•"/>
              <a:defRPr kern="1200">
                <a:solidFill>
                  <a:schemeClr val="tx1"/>
                </a:solidFill>
                <a:latin typeface="+mn-lt"/>
                <a:ea typeface="+mn-ea"/>
                <a:cs typeface="+mn-cs"/>
              </a:defRPr>
            </a:lvl4pPr>
            <a:lvl5pPr marL="1543050" indent="-171450" algn="l" rtl="0" eaLnBrk="0" fontAlgn="base" hangingPunct="0">
              <a:lnSpc>
                <a:spcPct val="90000"/>
              </a:lnSpc>
              <a:spcBef>
                <a:spcPts val="375"/>
              </a:spcBef>
              <a:spcAft>
                <a:spcPct val="0"/>
              </a:spcAft>
              <a:buFont typeface="Arial" panose="020B0604020202020204" pitchFamily="34" charset="0"/>
              <a:buChar char="•"/>
              <a:defRPr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buNone/>
            </a:pPr>
            <a:r>
              <a:rPr lang="en-US" sz="2400" b="1" u="sng">
                <a:solidFill>
                  <a:schemeClr val="accent5"/>
                </a:solidFill>
              </a:rPr>
              <a:t>HALEU Prioritization:</a:t>
            </a:r>
            <a:endParaRPr lang="en-US" sz="2000" b="1" u="sng">
              <a:solidFill>
                <a:schemeClr val="accent5"/>
              </a:solidFill>
            </a:endParaRPr>
          </a:p>
        </p:txBody>
      </p:sp>
      <p:sp>
        <p:nvSpPr>
          <p:cNvPr id="10" name="Content Placeholder 2">
            <a:extLst>
              <a:ext uri="{FF2B5EF4-FFF2-40B4-BE49-F238E27FC236}">
                <a16:creationId xmlns:a16="http://schemas.microsoft.com/office/drawing/2014/main" id="{CF95471D-3DEE-3185-5FFF-07857B3FAC33}"/>
              </a:ext>
            </a:extLst>
          </p:cNvPr>
          <p:cNvSpPr txBox="1">
            <a:spLocks/>
          </p:cNvSpPr>
          <p:nvPr/>
        </p:nvSpPr>
        <p:spPr bwMode="auto">
          <a:xfrm>
            <a:off x="6226906" y="2803021"/>
            <a:ext cx="4715433" cy="12909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171450" indent="-171450" algn="l" rtl="0" eaLnBrk="0" fontAlgn="base" hangingPunct="0">
              <a:lnSpc>
                <a:spcPct val="90000"/>
              </a:lnSpc>
              <a:spcBef>
                <a:spcPts val="750"/>
              </a:spcBef>
              <a:spcAft>
                <a:spcPct val="0"/>
              </a:spcAft>
              <a:buFont typeface="Arial" panose="020B0604020202020204" pitchFamily="34" charset="0"/>
              <a:buChar char="•"/>
              <a:defRPr sz="2100" kern="1200">
                <a:solidFill>
                  <a:schemeClr val="tx1"/>
                </a:solidFill>
                <a:latin typeface="+mn-lt"/>
                <a:ea typeface="+mn-ea"/>
                <a:cs typeface="+mn-cs"/>
              </a:defRPr>
            </a:lvl1pPr>
            <a:lvl2pPr marL="514350" indent="-171450" algn="l" rtl="0" eaLnBrk="0" fontAlgn="base" hangingPunct="0">
              <a:lnSpc>
                <a:spcPct val="90000"/>
              </a:lnSpc>
              <a:spcBef>
                <a:spcPts val="375"/>
              </a:spcBef>
              <a:spcAft>
                <a:spcPct val="0"/>
              </a:spcAft>
              <a:buFont typeface="Arial" panose="020B0604020202020204" pitchFamily="34" charset="0"/>
              <a:buChar char="•"/>
              <a:defRPr kern="1200">
                <a:solidFill>
                  <a:schemeClr val="tx1"/>
                </a:solidFill>
                <a:latin typeface="+mn-lt"/>
                <a:ea typeface="+mn-ea"/>
                <a:cs typeface="+mn-cs"/>
              </a:defRPr>
            </a:lvl2pPr>
            <a:lvl3pPr marL="857250" indent="-171450" algn="l" rtl="0" eaLnBrk="0" fontAlgn="base" hangingPunct="0">
              <a:lnSpc>
                <a:spcPct val="90000"/>
              </a:lnSpc>
              <a:spcBef>
                <a:spcPts val="375"/>
              </a:spcBef>
              <a:spcAft>
                <a:spcPct val="0"/>
              </a:spcAft>
              <a:buFont typeface="Arial" panose="020B0604020202020204" pitchFamily="34" charset="0"/>
              <a:buChar char="•"/>
              <a:defRPr sz="1500" kern="1200">
                <a:solidFill>
                  <a:schemeClr val="tx1"/>
                </a:solidFill>
                <a:latin typeface="+mn-lt"/>
                <a:ea typeface="+mn-ea"/>
                <a:cs typeface="+mn-cs"/>
              </a:defRPr>
            </a:lvl3pPr>
            <a:lvl4pPr marL="1200150" indent="-171450" algn="l" rtl="0" eaLnBrk="0" fontAlgn="base" hangingPunct="0">
              <a:lnSpc>
                <a:spcPct val="90000"/>
              </a:lnSpc>
              <a:spcBef>
                <a:spcPts val="375"/>
              </a:spcBef>
              <a:spcAft>
                <a:spcPct val="0"/>
              </a:spcAft>
              <a:buFont typeface="Arial" panose="020B0604020202020204" pitchFamily="34" charset="0"/>
              <a:buChar char="•"/>
              <a:defRPr kern="1200">
                <a:solidFill>
                  <a:schemeClr val="tx1"/>
                </a:solidFill>
                <a:latin typeface="+mn-lt"/>
                <a:ea typeface="+mn-ea"/>
                <a:cs typeface="+mn-cs"/>
              </a:defRPr>
            </a:lvl4pPr>
            <a:lvl5pPr marL="1543050" indent="-171450" algn="l" rtl="0" eaLnBrk="0" fontAlgn="base" hangingPunct="0">
              <a:lnSpc>
                <a:spcPct val="90000"/>
              </a:lnSpc>
              <a:spcBef>
                <a:spcPts val="375"/>
              </a:spcBef>
              <a:spcAft>
                <a:spcPct val="0"/>
              </a:spcAft>
              <a:buFont typeface="Arial" panose="020B0604020202020204" pitchFamily="34" charset="0"/>
              <a:buChar char="•"/>
              <a:defRPr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buNone/>
            </a:pPr>
            <a:r>
              <a:rPr lang="en-US" sz="2400" b="1" u="sng">
                <a:solidFill>
                  <a:schemeClr val="accent5"/>
                </a:solidFill>
              </a:rPr>
              <a:t>Reprocessing and Recycling:</a:t>
            </a:r>
            <a:endParaRPr lang="en-US" sz="2000" b="1" u="sng">
              <a:solidFill>
                <a:schemeClr val="accent5"/>
              </a:solidFill>
            </a:endParaRPr>
          </a:p>
        </p:txBody>
      </p:sp>
      <p:pic>
        <p:nvPicPr>
          <p:cNvPr id="14" name="Graphic 13" descr="Badge 6 with solid fill">
            <a:extLst>
              <a:ext uri="{FF2B5EF4-FFF2-40B4-BE49-F238E27FC236}">
                <a16:creationId xmlns:a16="http://schemas.microsoft.com/office/drawing/2014/main" id="{A4A76CF7-C225-34D2-6187-99F382E3203A}"/>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00456" y="2776279"/>
            <a:ext cx="475488" cy="475488"/>
          </a:xfrm>
          <a:prstGeom prst="rect">
            <a:avLst/>
          </a:prstGeom>
        </p:spPr>
      </p:pic>
      <p:pic>
        <p:nvPicPr>
          <p:cNvPr id="16" name="Graphic 15" descr="Badge 7 with solid fill">
            <a:extLst>
              <a:ext uri="{FF2B5EF4-FFF2-40B4-BE49-F238E27FC236}">
                <a16:creationId xmlns:a16="http://schemas.microsoft.com/office/drawing/2014/main" id="{8AACEF57-A4AF-83A7-3D67-02C915161F56}"/>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5858256" y="2776279"/>
            <a:ext cx="475488" cy="475488"/>
          </a:xfrm>
          <a:prstGeom prst="rect">
            <a:avLst/>
          </a:prstGeom>
        </p:spPr>
      </p:pic>
      <p:pic>
        <p:nvPicPr>
          <p:cNvPr id="18" name="Graphic 17" descr="Recycle outline">
            <a:extLst>
              <a:ext uri="{FF2B5EF4-FFF2-40B4-BE49-F238E27FC236}">
                <a16:creationId xmlns:a16="http://schemas.microsoft.com/office/drawing/2014/main" id="{E6866F1B-8907-521E-0A0A-B982C6A2E7F2}"/>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858217" y="1692862"/>
            <a:ext cx="914400" cy="914400"/>
          </a:xfrm>
          <a:prstGeom prst="rect">
            <a:avLst/>
          </a:prstGeom>
        </p:spPr>
      </p:pic>
      <p:pic>
        <p:nvPicPr>
          <p:cNvPr id="20" name="Graphic 19" descr="Gauge outline">
            <a:extLst>
              <a:ext uri="{FF2B5EF4-FFF2-40B4-BE49-F238E27FC236}">
                <a16:creationId xmlns:a16="http://schemas.microsoft.com/office/drawing/2014/main" id="{62A169BB-2590-D1C3-1929-A60D7677B6B3}"/>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2726924" y="1692862"/>
            <a:ext cx="914400" cy="914400"/>
          </a:xfrm>
          <a:prstGeom prst="rect">
            <a:avLst/>
          </a:prstGeom>
        </p:spPr>
      </p:pic>
    </p:spTree>
    <p:extLst>
      <p:ext uri="{BB962C8B-B14F-4D97-AF65-F5344CB8AC3E}">
        <p14:creationId xmlns:p14="http://schemas.microsoft.com/office/powerpoint/2010/main" val="3643410706"/>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7CD58E-BFF0-31D7-7AF0-B06E8CFA7E4E}"/>
              </a:ext>
            </a:extLst>
          </p:cNvPr>
          <p:cNvSpPr>
            <a:spLocks noGrp="1"/>
          </p:cNvSpPr>
          <p:nvPr>
            <p:ph type="title"/>
          </p:nvPr>
        </p:nvSpPr>
        <p:spPr/>
        <p:txBody>
          <a:bodyPr>
            <a:normAutofit fontScale="90000"/>
          </a:bodyPr>
          <a:lstStyle/>
          <a:p>
            <a:r>
              <a:rPr lang="en-US"/>
              <a:t>Detailed recommendations: Physical and intellectual infrastructure (8-9)</a:t>
            </a:r>
          </a:p>
        </p:txBody>
      </p:sp>
      <p:sp>
        <p:nvSpPr>
          <p:cNvPr id="4" name="Slide Number Placeholder 3">
            <a:extLst>
              <a:ext uri="{FF2B5EF4-FFF2-40B4-BE49-F238E27FC236}">
                <a16:creationId xmlns:a16="http://schemas.microsoft.com/office/drawing/2014/main" id="{AD91375A-CA17-BC66-AADD-7CE7A8289C1F}"/>
              </a:ext>
            </a:extLst>
          </p:cNvPr>
          <p:cNvSpPr>
            <a:spLocks noGrp="1"/>
          </p:cNvSpPr>
          <p:nvPr>
            <p:ph type="sldNum" sz="quarter" idx="10"/>
          </p:nvPr>
        </p:nvSpPr>
        <p:spPr/>
        <p:txBody>
          <a:bodyPr/>
          <a:lstStyle/>
          <a:p>
            <a:pPr>
              <a:defRPr/>
            </a:pPr>
            <a:fld id="{37926BA8-E0F8-42A8-A83C-EBAA1A1E8FCD}" type="slidenum">
              <a:rPr lang="en-US" smtClean="0"/>
              <a:pPr>
                <a:defRPr/>
              </a:pPr>
              <a:t>89</a:t>
            </a:fld>
            <a:endParaRPr lang="en-US"/>
          </a:p>
        </p:txBody>
      </p:sp>
      <p:sp>
        <p:nvSpPr>
          <p:cNvPr id="5" name="Content Placeholder 2">
            <a:extLst>
              <a:ext uri="{FF2B5EF4-FFF2-40B4-BE49-F238E27FC236}">
                <a16:creationId xmlns:a16="http://schemas.microsoft.com/office/drawing/2014/main" id="{E6391C65-9309-2A6B-CE7A-400FC59152A9}"/>
              </a:ext>
            </a:extLst>
          </p:cNvPr>
          <p:cNvSpPr txBox="1">
            <a:spLocks/>
          </p:cNvSpPr>
          <p:nvPr/>
        </p:nvSpPr>
        <p:spPr bwMode="auto">
          <a:xfrm>
            <a:off x="1013014" y="3345307"/>
            <a:ext cx="4715433" cy="12909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171450" indent="-171450" algn="l" rtl="0" eaLnBrk="0" fontAlgn="base" hangingPunct="0">
              <a:lnSpc>
                <a:spcPct val="90000"/>
              </a:lnSpc>
              <a:spcBef>
                <a:spcPts val="750"/>
              </a:spcBef>
              <a:spcAft>
                <a:spcPct val="0"/>
              </a:spcAft>
              <a:buFont typeface="Arial" panose="020B0604020202020204" pitchFamily="34" charset="0"/>
              <a:buChar char="•"/>
              <a:defRPr sz="2100" kern="1200">
                <a:solidFill>
                  <a:schemeClr val="tx1"/>
                </a:solidFill>
                <a:latin typeface="+mn-lt"/>
                <a:ea typeface="+mn-ea"/>
                <a:cs typeface="+mn-cs"/>
              </a:defRPr>
            </a:lvl1pPr>
            <a:lvl2pPr marL="514350" indent="-171450" algn="l" rtl="0" eaLnBrk="0" fontAlgn="base" hangingPunct="0">
              <a:lnSpc>
                <a:spcPct val="90000"/>
              </a:lnSpc>
              <a:spcBef>
                <a:spcPts val="375"/>
              </a:spcBef>
              <a:spcAft>
                <a:spcPct val="0"/>
              </a:spcAft>
              <a:buFont typeface="Arial" panose="020B0604020202020204" pitchFamily="34" charset="0"/>
              <a:buChar char="•"/>
              <a:defRPr kern="1200">
                <a:solidFill>
                  <a:schemeClr val="tx1"/>
                </a:solidFill>
                <a:latin typeface="+mn-lt"/>
                <a:ea typeface="+mn-ea"/>
                <a:cs typeface="+mn-cs"/>
              </a:defRPr>
            </a:lvl2pPr>
            <a:lvl3pPr marL="857250" indent="-171450" algn="l" rtl="0" eaLnBrk="0" fontAlgn="base" hangingPunct="0">
              <a:lnSpc>
                <a:spcPct val="90000"/>
              </a:lnSpc>
              <a:spcBef>
                <a:spcPts val="375"/>
              </a:spcBef>
              <a:spcAft>
                <a:spcPct val="0"/>
              </a:spcAft>
              <a:buFont typeface="Arial" panose="020B0604020202020204" pitchFamily="34" charset="0"/>
              <a:buChar char="•"/>
              <a:defRPr sz="1500" kern="1200">
                <a:solidFill>
                  <a:schemeClr val="tx1"/>
                </a:solidFill>
                <a:latin typeface="+mn-lt"/>
                <a:ea typeface="+mn-ea"/>
                <a:cs typeface="+mn-cs"/>
              </a:defRPr>
            </a:lvl3pPr>
            <a:lvl4pPr marL="1200150" indent="-171450" algn="l" rtl="0" eaLnBrk="0" fontAlgn="base" hangingPunct="0">
              <a:lnSpc>
                <a:spcPct val="90000"/>
              </a:lnSpc>
              <a:spcBef>
                <a:spcPts val="375"/>
              </a:spcBef>
              <a:spcAft>
                <a:spcPct val="0"/>
              </a:spcAft>
              <a:buFont typeface="Arial" panose="020B0604020202020204" pitchFamily="34" charset="0"/>
              <a:buChar char="•"/>
              <a:defRPr kern="1200">
                <a:solidFill>
                  <a:schemeClr val="tx1"/>
                </a:solidFill>
                <a:latin typeface="+mn-lt"/>
                <a:ea typeface="+mn-ea"/>
                <a:cs typeface="+mn-cs"/>
              </a:defRPr>
            </a:lvl4pPr>
            <a:lvl5pPr marL="1543050" indent="-171450" algn="l" rtl="0" eaLnBrk="0" fontAlgn="base" hangingPunct="0">
              <a:lnSpc>
                <a:spcPct val="90000"/>
              </a:lnSpc>
              <a:spcBef>
                <a:spcPts val="375"/>
              </a:spcBef>
              <a:spcAft>
                <a:spcPct val="0"/>
              </a:spcAft>
              <a:buFont typeface="Arial" panose="020B0604020202020204" pitchFamily="34" charset="0"/>
              <a:buChar char="•"/>
              <a:defRPr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buNone/>
            </a:pPr>
            <a:r>
              <a:rPr lang="en-US" sz="1800"/>
              <a:t>Establish tight coordination between the </a:t>
            </a:r>
            <a:r>
              <a:rPr lang="en-US" sz="1800" b="1"/>
              <a:t>university infrastructure and national laboratory physical infrastructure programs </a:t>
            </a:r>
            <a:r>
              <a:rPr lang="en-US" sz="1800"/>
              <a:t>with adequate access models (user facility models) to an integrated set of capabilities.  </a:t>
            </a:r>
          </a:p>
          <a:p>
            <a:pPr marL="0" indent="0">
              <a:buNone/>
            </a:pPr>
            <a:r>
              <a:rPr lang="en-US" sz="1800"/>
              <a:t>It appears this is successfully being done by Nuclear Science User Facility, which can be expanded as the capabilities at the universities grow with additional investments</a:t>
            </a:r>
          </a:p>
        </p:txBody>
      </p:sp>
      <p:sp>
        <p:nvSpPr>
          <p:cNvPr id="6" name="Content Placeholder 2">
            <a:extLst>
              <a:ext uri="{FF2B5EF4-FFF2-40B4-BE49-F238E27FC236}">
                <a16:creationId xmlns:a16="http://schemas.microsoft.com/office/drawing/2014/main" id="{DF43F04A-2D1C-EE29-C761-65CD689F4CE5}"/>
              </a:ext>
            </a:extLst>
          </p:cNvPr>
          <p:cNvSpPr txBox="1">
            <a:spLocks/>
          </p:cNvSpPr>
          <p:nvPr/>
        </p:nvSpPr>
        <p:spPr bwMode="auto">
          <a:xfrm>
            <a:off x="6252883" y="3325903"/>
            <a:ext cx="4715433" cy="12909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171450" indent="-171450" algn="l" rtl="0" eaLnBrk="0" fontAlgn="base" hangingPunct="0">
              <a:lnSpc>
                <a:spcPct val="90000"/>
              </a:lnSpc>
              <a:spcBef>
                <a:spcPts val="750"/>
              </a:spcBef>
              <a:spcAft>
                <a:spcPct val="0"/>
              </a:spcAft>
              <a:buFont typeface="Arial" panose="020B0604020202020204" pitchFamily="34" charset="0"/>
              <a:buChar char="•"/>
              <a:defRPr sz="2100" kern="1200">
                <a:solidFill>
                  <a:schemeClr val="tx1"/>
                </a:solidFill>
                <a:latin typeface="+mn-lt"/>
                <a:ea typeface="+mn-ea"/>
                <a:cs typeface="+mn-cs"/>
              </a:defRPr>
            </a:lvl1pPr>
            <a:lvl2pPr marL="514350" indent="-171450" algn="l" rtl="0" eaLnBrk="0" fontAlgn="base" hangingPunct="0">
              <a:lnSpc>
                <a:spcPct val="90000"/>
              </a:lnSpc>
              <a:spcBef>
                <a:spcPts val="375"/>
              </a:spcBef>
              <a:spcAft>
                <a:spcPct val="0"/>
              </a:spcAft>
              <a:buFont typeface="Arial" panose="020B0604020202020204" pitchFamily="34" charset="0"/>
              <a:buChar char="•"/>
              <a:defRPr kern="1200">
                <a:solidFill>
                  <a:schemeClr val="tx1"/>
                </a:solidFill>
                <a:latin typeface="+mn-lt"/>
                <a:ea typeface="+mn-ea"/>
                <a:cs typeface="+mn-cs"/>
              </a:defRPr>
            </a:lvl2pPr>
            <a:lvl3pPr marL="857250" indent="-171450" algn="l" rtl="0" eaLnBrk="0" fontAlgn="base" hangingPunct="0">
              <a:lnSpc>
                <a:spcPct val="90000"/>
              </a:lnSpc>
              <a:spcBef>
                <a:spcPts val="375"/>
              </a:spcBef>
              <a:spcAft>
                <a:spcPct val="0"/>
              </a:spcAft>
              <a:buFont typeface="Arial" panose="020B0604020202020204" pitchFamily="34" charset="0"/>
              <a:buChar char="•"/>
              <a:defRPr sz="1500" kern="1200">
                <a:solidFill>
                  <a:schemeClr val="tx1"/>
                </a:solidFill>
                <a:latin typeface="+mn-lt"/>
                <a:ea typeface="+mn-ea"/>
                <a:cs typeface="+mn-cs"/>
              </a:defRPr>
            </a:lvl3pPr>
            <a:lvl4pPr marL="1200150" indent="-171450" algn="l" rtl="0" eaLnBrk="0" fontAlgn="base" hangingPunct="0">
              <a:lnSpc>
                <a:spcPct val="90000"/>
              </a:lnSpc>
              <a:spcBef>
                <a:spcPts val="375"/>
              </a:spcBef>
              <a:spcAft>
                <a:spcPct val="0"/>
              </a:spcAft>
              <a:buFont typeface="Arial" panose="020B0604020202020204" pitchFamily="34" charset="0"/>
              <a:buChar char="•"/>
              <a:defRPr kern="1200">
                <a:solidFill>
                  <a:schemeClr val="tx1"/>
                </a:solidFill>
                <a:latin typeface="+mn-lt"/>
                <a:ea typeface="+mn-ea"/>
                <a:cs typeface="+mn-cs"/>
              </a:defRPr>
            </a:lvl4pPr>
            <a:lvl5pPr marL="1543050" indent="-171450" algn="l" rtl="0" eaLnBrk="0" fontAlgn="base" hangingPunct="0">
              <a:lnSpc>
                <a:spcPct val="90000"/>
              </a:lnSpc>
              <a:spcBef>
                <a:spcPts val="375"/>
              </a:spcBef>
              <a:spcAft>
                <a:spcPct val="0"/>
              </a:spcAft>
              <a:buFont typeface="Arial" panose="020B0604020202020204" pitchFamily="34" charset="0"/>
              <a:buChar char="•"/>
              <a:defRPr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buNone/>
            </a:pPr>
            <a:r>
              <a:rPr lang="en-US" sz="1800"/>
              <a:t>Develop a metric to </a:t>
            </a:r>
            <a:r>
              <a:rPr lang="en-US" sz="1800" b="1"/>
              <a:t>measure how well the different pieces of the existing infrastructure is being used </a:t>
            </a:r>
            <a:r>
              <a:rPr lang="en-US" sz="1800"/>
              <a:t>to support the national priorities and evaluate if there are some savings there by repurposing or shutting down facilities with little or no interest to free up funding for other priorities.  </a:t>
            </a:r>
          </a:p>
          <a:p>
            <a:pPr marL="0" indent="0">
              <a:buNone/>
            </a:pPr>
            <a:r>
              <a:rPr lang="en-US" sz="1800"/>
              <a:t>Determination of the </a:t>
            </a:r>
            <a:r>
              <a:rPr lang="en-US" sz="1800" b="1"/>
              <a:t>most important capabilities that MUST be preserved </a:t>
            </a:r>
            <a:r>
              <a:rPr lang="en-US" sz="1800"/>
              <a:t>to support the nuclear energy strategy with quantitative analysis of benefits would be very informative</a:t>
            </a:r>
            <a:endParaRPr lang="en-US" sz="1600"/>
          </a:p>
        </p:txBody>
      </p:sp>
      <p:sp>
        <p:nvSpPr>
          <p:cNvPr id="7" name="Content Placeholder 2">
            <a:extLst>
              <a:ext uri="{FF2B5EF4-FFF2-40B4-BE49-F238E27FC236}">
                <a16:creationId xmlns:a16="http://schemas.microsoft.com/office/drawing/2014/main" id="{D8DCD3EC-5D35-10CB-4C5B-2D6BF922759D}"/>
              </a:ext>
            </a:extLst>
          </p:cNvPr>
          <p:cNvSpPr txBox="1">
            <a:spLocks/>
          </p:cNvSpPr>
          <p:nvPr/>
        </p:nvSpPr>
        <p:spPr bwMode="auto">
          <a:xfrm>
            <a:off x="1013014" y="2803021"/>
            <a:ext cx="4715433" cy="12909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171450" indent="-171450" algn="l" rtl="0" eaLnBrk="0" fontAlgn="base" hangingPunct="0">
              <a:lnSpc>
                <a:spcPct val="90000"/>
              </a:lnSpc>
              <a:spcBef>
                <a:spcPts val="750"/>
              </a:spcBef>
              <a:spcAft>
                <a:spcPct val="0"/>
              </a:spcAft>
              <a:buFont typeface="Arial" panose="020B0604020202020204" pitchFamily="34" charset="0"/>
              <a:buChar char="•"/>
              <a:defRPr sz="2100" kern="1200">
                <a:solidFill>
                  <a:schemeClr val="tx1"/>
                </a:solidFill>
                <a:latin typeface="+mn-lt"/>
                <a:ea typeface="+mn-ea"/>
                <a:cs typeface="+mn-cs"/>
              </a:defRPr>
            </a:lvl1pPr>
            <a:lvl2pPr marL="514350" indent="-171450" algn="l" rtl="0" eaLnBrk="0" fontAlgn="base" hangingPunct="0">
              <a:lnSpc>
                <a:spcPct val="90000"/>
              </a:lnSpc>
              <a:spcBef>
                <a:spcPts val="375"/>
              </a:spcBef>
              <a:spcAft>
                <a:spcPct val="0"/>
              </a:spcAft>
              <a:buFont typeface="Arial" panose="020B0604020202020204" pitchFamily="34" charset="0"/>
              <a:buChar char="•"/>
              <a:defRPr kern="1200">
                <a:solidFill>
                  <a:schemeClr val="tx1"/>
                </a:solidFill>
                <a:latin typeface="+mn-lt"/>
                <a:ea typeface="+mn-ea"/>
                <a:cs typeface="+mn-cs"/>
              </a:defRPr>
            </a:lvl2pPr>
            <a:lvl3pPr marL="857250" indent="-171450" algn="l" rtl="0" eaLnBrk="0" fontAlgn="base" hangingPunct="0">
              <a:lnSpc>
                <a:spcPct val="90000"/>
              </a:lnSpc>
              <a:spcBef>
                <a:spcPts val="375"/>
              </a:spcBef>
              <a:spcAft>
                <a:spcPct val="0"/>
              </a:spcAft>
              <a:buFont typeface="Arial" panose="020B0604020202020204" pitchFamily="34" charset="0"/>
              <a:buChar char="•"/>
              <a:defRPr sz="1500" kern="1200">
                <a:solidFill>
                  <a:schemeClr val="tx1"/>
                </a:solidFill>
                <a:latin typeface="+mn-lt"/>
                <a:ea typeface="+mn-ea"/>
                <a:cs typeface="+mn-cs"/>
              </a:defRPr>
            </a:lvl3pPr>
            <a:lvl4pPr marL="1200150" indent="-171450" algn="l" rtl="0" eaLnBrk="0" fontAlgn="base" hangingPunct="0">
              <a:lnSpc>
                <a:spcPct val="90000"/>
              </a:lnSpc>
              <a:spcBef>
                <a:spcPts val="375"/>
              </a:spcBef>
              <a:spcAft>
                <a:spcPct val="0"/>
              </a:spcAft>
              <a:buFont typeface="Arial" panose="020B0604020202020204" pitchFamily="34" charset="0"/>
              <a:buChar char="•"/>
              <a:defRPr kern="1200">
                <a:solidFill>
                  <a:schemeClr val="tx1"/>
                </a:solidFill>
                <a:latin typeface="+mn-lt"/>
                <a:ea typeface="+mn-ea"/>
                <a:cs typeface="+mn-cs"/>
              </a:defRPr>
            </a:lvl4pPr>
            <a:lvl5pPr marL="1543050" indent="-171450" algn="l" rtl="0" eaLnBrk="0" fontAlgn="base" hangingPunct="0">
              <a:lnSpc>
                <a:spcPct val="90000"/>
              </a:lnSpc>
              <a:spcBef>
                <a:spcPts val="375"/>
              </a:spcBef>
              <a:spcAft>
                <a:spcPct val="0"/>
              </a:spcAft>
              <a:buFont typeface="Arial" panose="020B0604020202020204" pitchFamily="34" charset="0"/>
              <a:buChar char="•"/>
              <a:defRPr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buNone/>
            </a:pPr>
            <a:r>
              <a:rPr lang="en-US" sz="2400" b="1" u="sng">
                <a:solidFill>
                  <a:schemeClr val="accent5"/>
                </a:solidFill>
              </a:rPr>
              <a:t>User Facility Models:</a:t>
            </a:r>
            <a:endParaRPr lang="en-US" sz="2000" b="1" u="sng">
              <a:solidFill>
                <a:schemeClr val="accent5"/>
              </a:solidFill>
            </a:endParaRPr>
          </a:p>
        </p:txBody>
      </p:sp>
      <p:sp>
        <p:nvSpPr>
          <p:cNvPr id="8" name="Content Placeholder 2">
            <a:extLst>
              <a:ext uri="{FF2B5EF4-FFF2-40B4-BE49-F238E27FC236}">
                <a16:creationId xmlns:a16="http://schemas.microsoft.com/office/drawing/2014/main" id="{7F7CD2BD-1526-D23E-14A0-176947D1BE57}"/>
              </a:ext>
            </a:extLst>
          </p:cNvPr>
          <p:cNvSpPr txBox="1">
            <a:spLocks/>
          </p:cNvSpPr>
          <p:nvPr/>
        </p:nvSpPr>
        <p:spPr bwMode="auto">
          <a:xfrm>
            <a:off x="6252883" y="2803021"/>
            <a:ext cx="4715433" cy="12909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171450" indent="-171450" algn="l" rtl="0" eaLnBrk="0" fontAlgn="base" hangingPunct="0">
              <a:lnSpc>
                <a:spcPct val="90000"/>
              </a:lnSpc>
              <a:spcBef>
                <a:spcPts val="750"/>
              </a:spcBef>
              <a:spcAft>
                <a:spcPct val="0"/>
              </a:spcAft>
              <a:buFont typeface="Arial" panose="020B0604020202020204" pitchFamily="34" charset="0"/>
              <a:buChar char="•"/>
              <a:defRPr sz="2100" kern="1200">
                <a:solidFill>
                  <a:schemeClr val="tx1"/>
                </a:solidFill>
                <a:latin typeface="+mn-lt"/>
                <a:ea typeface="+mn-ea"/>
                <a:cs typeface="+mn-cs"/>
              </a:defRPr>
            </a:lvl1pPr>
            <a:lvl2pPr marL="514350" indent="-171450" algn="l" rtl="0" eaLnBrk="0" fontAlgn="base" hangingPunct="0">
              <a:lnSpc>
                <a:spcPct val="90000"/>
              </a:lnSpc>
              <a:spcBef>
                <a:spcPts val="375"/>
              </a:spcBef>
              <a:spcAft>
                <a:spcPct val="0"/>
              </a:spcAft>
              <a:buFont typeface="Arial" panose="020B0604020202020204" pitchFamily="34" charset="0"/>
              <a:buChar char="•"/>
              <a:defRPr kern="1200">
                <a:solidFill>
                  <a:schemeClr val="tx1"/>
                </a:solidFill>
                <a:latin typeface="+mn-lt"/>
                <a:ea typeface="+mn-ea"/>
                <a:cs typeface="+mn-cs"/>
              </a:defRPr>
            </a:lvl2pPr>
            <a:lvl3pPr marL="857250" indent="-171450" algn="l" rtl="0" eaLnBrk="0" fontAlgn="base" hangingPunct="0">
              <a:lnSpc>
                <a:spcPct val="90000"/>
              </a:lnSpc>
              <a:spcBef>
                <a:spcPts val="375"/>
              </a:spcBef>
              <a:spcAft>
                <a:spcPct val="0"/>
              </a:spcAft>
              <a:buFont typeface="Arial" panose="020B0604020202020204" pitchFamily="34" charset="0"/>
              <a:buChar char="•"/>
              <a:defRPr sz="1500" kern="1200">
                <a:solidFill>
                  <a:schemeClr val="tx1"/>
                </a:solidFill>
                <a:latin typeface="+mn-lt"/>
                <a:ea typeface="+mn-ea"/>
                <a:cs typeface="+mn-cs"/>
              </a:defRPr>
            </a:lvl3pPr>
            <a:lvl4pPr marL="1200150" indent="-171450" algn="l" rtl="0" eaLnBrk="0" fontAlgn="base" hangingPunct="0">
              <a:lnSpc>
                <a:spcPct val="90000"/>
              </a:lnSpc>
              <a:spcBef>
                <a:spcPts val="375"/>
              </a:spcBef>
              <a:spcAft>
                <a:spcPct val="0"/>
              </a:spcAft>
              <a:buFont typeface="Arial" panose="020B0604020202020204" pitchFamily="34" charset="0"/>
              <a:buChar char="•"/>
              <a:defRPr kern="1200">
                <a:solidFill>
                  <a:schemeClr val="tx1"/>
                </a:solidFill>
                <a:latin typeface="+mn-lt"/>
                <a:ea typeface="+mn-ea"/>
                <a:cs typeface="+mn-cs"/>
              </a:defRPr>
            </a:lvl4pPr>
            <a:lvl5pPr marL="1543050" indent="-171450" algn="l" rtl="0" eaLnBrk="0" fontAlgn="base" hangingPunct="0">
              <a:lnSpc>
                <a:spcPct val="90000"/>
              </a:lnSpc>
              <a:spcBef>
                <a:spcPts val="375"/>
              </a:spcBef>
              <a:spcAft>
                <a:spcPct val="0"/>
              </a:spcAft>
              <a:buFont typeface="Arial" panose="020B0604020202020204" pitchFamily="34" charset="0"/>
              <a:buChar char="•"/>
              <a:defRPr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buNone/>
            </a:pPr>
            <a:r>
              <a:rPr lang="en-US" sz="2400" b="1" u="sng">
                <a:solidFill>
                  <a:schemeClr val="accent5"/>
                </a:solidFill>
              </a:rPr>
              <a:t>Capability Metrics:</a:t>
            </a:r>
            <a:endParaRPr lang="en-US" sz="2000" b="1" u="sng">
              <a:solidFill>
                <a:schemeClr val="accent5"/>
              </a:solidFill>
            </a:endParaRPr>
          </a:p>
        </p:txBody>
      </p:sp>
      <p:pic>
        <p:nvPicPr>
          <p:cNvPr id="14" name="Graphic 13" descr="Radar Chart outline">
            <a:extLst>
              <a:ext uri="{FF2B5EF4-FFF2-40B4-BE49-F238E27FC236}">
                <a16:creationId xmlns:a16="http://schemas.microsoft.com/office/drawing/2014/main" id="{CC316E5A-1792-DDDE-E3ED-0F845A2405C8}"/>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153399" y="1664504"/>
            <a:ext cx="914400" cy="914400"/>
          </a:xfrm>
          <a:prstGeom prst="rect">
            <a:avLst/>
          </a:prstGeom>
        </p:spPr>
      </p:pic>
      <p:pic>
        <p:nvPicPr>
          <p:cNvPr id="16" name="Graphic 15" descr="Badge 9 with solid fill">
            <a:extLst>
              <a:ext uri="{FF2B5EF4-FFF2-40B4-BE49-F238E27FC236}">
                <a16:creationId xmlns:a16="http://schemas.microsoft.com/office/drawing/2014/main" id="{1091F37F-3179-73F6-D177-CFF2BAD44C16}"/>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5777395" y="2757761"/>
            <a:ext cx="475488" cy="475488"/>
          </a:xfrm>
          <a:prstGeom prst="rect">
            <a:avLst/>
          </a:prstGeom>
        </p:spPr>
      </p:pic>
      <p:pic>
        <p:nvPicPr>
          <p:cNvPr id="18" name="Graphic 17" descr="Badge 8 with solid fill">
            <a:extLst>
              <a:ext uri="{FF2B5EF4-FFF2-40B4-BE49-F238E27FC236}">
                <a16:creationId xmlns:a16="http://schemas.microsoft.com/office/drawing/2014/main" id="{4D66E0FA-71E8-9BBF-2EA4-7104E2901D1B}"/>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600456" y="2757761"/>
            <a:ext cx="475488" cy="475488"/>
          </a:xfrm>
          <a:prstGeom prst="rect">
            <a:avLst/>
          </a:prstGeom>
        </p:spPr>
      </p:pic>
      <p:pic>
        <p:nvPicPr>
          <p:cNvPr id="20" name="Graphic 19" descr="Schoolhouse outline">
            <a:extLst>
              <a:ext uri="{FF2B5EF4-FFF2-40B4-BE49-F238E27FC236}">
                <a16:creationId xmlns:a16="http://schemas.microsoft.com/office/drawing/2014/main" id="{5029F916-48AE-1B5F-C8A4-61193EE3643A}"/>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2456330" y="1664504"/>
            <a:ext cx="914400" cy="914400"/>
          </a:xfrm>
          <a:prstGeom prst="rect">
            <a:avLst/>
          </a:prstGeom>
        </p:spPr>
      </p:pic>
    </p:spTree>
    <p:extLst>
      <p:ext uri="{BB962C8B-B14F-4D97-AF65-F5344CB8AC3E}">
        <p14:creationId xmlns:p14="http://schemas.microsoft.com/office/powerpoint/2010/main" val="40562646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71DE96E-CE74-75B4-BC9E-5130DEE61620}"/>
              </a:ext>
            </a:extLst>
          </p:cNvPr>
          <p:cNvSpPr>
            <a:spLocks noGrp="1"/>
          </p:cNvSpPr>
          <p:nvPr>
            <p:ph type="title"/>
          </p:nvPr>
        </p:nvSpPr>
        <p:spPr/>
        <p:txBody>
          <a:bodyPr/>
          <a:lstStyle/>
          <a:p>
            <a:r>
              <a:rPr lang="en-US"/>
              <a:t>Achieving net-zero in the U.S. by 2050 would require ~550–770 GW of additional clean, firm capacity</a:t>
            </a:r>
          </a:p>
        </p:txBody>
      </p:sp>
      <p:graphicFrame>
        <p:nvGraphicFramePr>
          <p:cNvPr id="4" name="Chart 3">
            <a:extLst>
              <a:ext uri="{FF2B5EF4-FFF2-40B4-BE49-F238E27FC236}">
                <a16:creationId xmlns:a16="http://schemas.microsoft.com/office/drawing/2014/main" id="{0C360EA5-59AD-A92A-CD96-C1C612AA66F3}"/>
              </a:ext>
            </a:extLst>
          </p:cNvPr>
          <p:cNvGraphicFramePr/>
          <p:nvPr>
            <p:custDataLst>
              <p:tags r:id="rId1"/>
            </p:custDataLst>
            <p:extLst>
              <p:ext uri="{D42A27DB-BD31-4B8C-83A1-F6EECF244321}">
                <p14:modId xmlns:p14="http://schemas.microsoft.com/office/powerpoint/2010/main" val="230371371"/>
              </p:ext>
            </p:extLst>
          </p:nvPr>
        </p:nvGraphicFramePr>
        <p:xfrm>
          <a:off x="471488" y="2932301"/>
          <a:ext cx="4240212" cy="2569975"/>
        </p:xfrm>
        <a:graphic>
          <a:graphicData uri="http://schemas.openxmlformats.org/drawingml/2006/chart">
            <c:chart xmlns:c="http://schemas.openxmlformats.org/drawingml/2006/chart" xmlns:r="http://schemas.openxmlformats.org/officeDocument/2006/relationships" r:id="rId30"/>
          </a:graphicData>
        </a:graphic>
      </p:graphicFrame>
      <p:sp>
        <p:nvSpPr>
          <p:cNvPr id="5" name="Text Placeholder 4">
            <a:extLst>
              <a:ext uri="{FF2B5EF4-FFF2-40B4-BE49-F238E27FC236}">
                <a16:creationId xmlns:a16="http://schemas.microsoft.com/office/drawing/2014/main" id="{8D43FB24-C00F-5295-5682-3D5FE008D214}"/>
              </a:ext>
            </a:extLst>
          </p:cNvPr>
          <p:cNvSpPr>
            <a:spLocks noGrp="1"/>
          </p:cNvSpPr>
          <p:nvPr>
            <p:custDataLst>
              <p:tags r:id="rId2"/>
            </p:custDataLst>
          </p:nvPr>
        </p:nvSpPr>
        <p:spPr bwMode="gray">
          <a:xfrm>
            <a:off x="1327150" y="4028475"/>
            <a:ext cx="493713"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numCol="1" spcCol="0" rtlCol="0" anchor="b"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30400" algn="l" defTabSz="914400" rtl="0" eaLnBrk="1" latinLnBrk="0" hangingPunct="1">
              <a:lnSpc>
                <a:spcPct val="100000"/>
              </a:lnSpc>
              <a:spcBef>
                <a:spcPts val="0"/>
              </a:spcBef>
              <a:spcAft>
                <a:spcPts val="300"/>
              </a:spcAft>
              <a:buSzPct val="110000"/>
              <a:buFont typeface="Wingdings" panose="05000000000000000000" pitchFamily="2" charset="2"/>
              <a:buChar char=""/>
              <a:defRPr lang="en-US" sz="1600" kern="1200" dirty="0">
                <a:solidFill>
                  <a:schemeClr val="tx1"/>
                </a:solidFill>
                <a:latin typeface="+mn-lt"/>
                <a:ea typeface="+mn-ea"/>
                <a:cs typeface="+mn-cs"/>
              </a:defRPr>
            </a:lvl2pPr>
            <a:lvl3pPr marL="439200" indent="-208800" algn="l" defTabSz="914400" rtl="0" eaLnBrk="1" latinLnBrk="0" hangingPunct="1">
              <a:lnSpc>
                <a:spcPct val="100000"/>
              </a:lnSpc>
              <a:spcBef>
                <a:spcPts val="0"/>
              </a:spcBef>
              <a:spcAft>
                <a:spcPts val="300"/>
              </a:spcAft>
              <a:buSzPct val="110000"/>
              <a:buFont typeface="Arial" panose="020B0604020202020204" pitchFamily="34" charset="0"/>
              <a:buChar char="‒"/>
              <a:defRPr lang="en-US" sz="1600" kern="1200" dirty="0">
                <a:solidFill>
                  <a:schemeClr val="tx1"/>
                </a:solidFill>
                <a:latin typeface="+mn-lt"/>
                <a:ea typeface="+mn-ea"/>
                <a:cs typeface="+mn-cs"/>
              </a:defRPr>
            </a:lvl3pPr>
            <a:lvl4pPr marL="604800" indent="-154800" algn="l" defTabSz="914400" rtl="0" eaLnBrk="1" latinLnBrk="0" hangingPunct="1">
              <a:lnSpc>
                <a:spcPct val="100000"/>
              </a:lnSpc>
              <a:spcBef>
                <a:spcPts val="0"/>
              </a:spcBef>
              <a:spcAft>
                <a:spcPts val="300"/>
              </a:spcAft>
              <a:buFont typeface="Arial" panose="020B0604020202020204" pitchFamily="34" charset="0"/>
              <a:buChar char="•"/>
              <a:defRPr lang="en-US" sz="1600" kern="1200" dirty="0">
                <a:solidFill>
                  <a:schemeClr val="tx1"/>
                </a:solidFill>
                <a:latin typeface="+mn-lt"/>
                <a:ea typeface="+mn-ea"/>
                <a:cs typeface="+mn-cs"/>
              </a:defRPr>
            </a:lvl4pPr>
            <a:lvl5pPr marL="813600" indent="-147600" algn="l" defTabSz="914400" rtl="0" eaLnBrk="1" latinLnBrk="0" hangingPunct="1">
              <a:lnSpc>
                <a:spcPct val="100000"/>
              </a:lnSpc>
              <a:spcBef>
                <a:spcPts val="0"/>
              </a:spcBef>
              <a:spcAft>
                <a:spcPts val="300"/>
              </a:spcAft>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fld id="{47FAC7ED-1846-4B2F-9A17-959A534D10A5}" type="datetime'1'''''''''',''''''2''''''7''''''''''8'">
              <a:rPr kumimoji="0" lang="en-US" altLang="en-US" sz="1400" b="1"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ctr"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t>1,278</a:t>
            </a:fld>
            <a:endParaRPr kumimoji="0" lang="en-US" sz="1400" b="1"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
        <p:nvSpPr>
          <p:cNvPr id="6" name="Text Placeholder 4">
            <a:extLst>
              <a:ext uri="{FF2B5EF4-FFF2-40B4-BE49-F238E27FC236}">
                <a16:creationId xmlns:a16="http://schemas.microsoft.com/office/drawing/2014/main" id="{96ACE908-589F-E764-837F-E6BABB21E76D}"/>
              </a:ext>
            </a:extLst>
          </p:cNvPr>
          <p:cNvSpPr>
            <a:spLocks noGrp="1"/>
          </p:cNvSpPr>
          <p:nvPr>
            <p:custDataLst>
              <p:tags r:id="rId3"/>
            </p:custDataLst>
          </p:nvPr>
        </p:nvSpPr>
        <p:spPr bwMode="auto">
          <a:xfrm>
            <a:off x="1370013" y="5478463"/>
            <a:ext cx="40640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30400" algn="l" defTabSz="914400" rtl="0" eaLnBrk="1" latinLnBrk="0" hangingPunct="1">
              <a:lnSpc>
                <a:spcPct val="100000"/>
              </a:lnSpc>
              <a:spcBef>
                <a:spcPts val="0"/>
              </a:spcBef>
              <a:spcAft>
                <a:spcPts val="300"/>
              </a:spcAft>
              <a:buSzPct val="110000"/>
              <a:buFont typeface="Wingdings" panose="05000000000000000000" pitchFamily="2" charset="2"/>
              <a:buChar char=""/>
              <a:defRPr lang="en-US" sz="1600" kern="1200" dirty="0">
                <a:solidFill>
                  <a:schemeClr val="tx1"/>
                </a:solidFill>
                <a:latin typeface="+mn-lt"/>
                <a:ea typeface="+mn-ea"/>
                <a:cs typeface="+mn-cs"/>
              </a:defRPr>
            </a:lvl2pPr>
            <a:lvl3pPr marL="439200" indent="-208800" algn="l" defTabSz="914400" rtl="0" eaLnBrk="1" latinLnBrk="0" hangingPunct="1">
              <a:lnSpc>
                <a:spcPct val="100000"/>
              </a:lnSpc>
              <a:spcBef>
                <a:spcPts val="0"/>
              </a:spcBef>
              <a:spcAft>
                <a:spcPts val="300"/>
              </a:spcAft>
              <a:buSzPct val="110000"/>
              <a:buFont typeface="Arial" panose="020B0604020202020204" pitchFamily="34" charset="0"/>
              <a:buChar char="‒"/>
              <a:defRPr lang="en-US" sz="1600" kern="1200" dirty="0">
                <a:solidFill>
                  <a:schemeClr val="tx1"/>
                </a:solidFill>
                <a:latin typeface="+mn-lt"/>
                <a:ea typeface="+mn-ea"/>
                <a:cs typeface="+mn-cs"/>
              </a:defRPr>
            </a:lvl3pPr>
            <a:lvl4pPr marL="604800" indent="-154800" algn="l" defTabSz="914400" rtl="0" eaLnBrk="1" latinLnBrk="0" hangingPunct="1">
              <a:lnSpc>
                <a:spcPct val="100000"/>
              </a:lnSpc>
              <a:spcBef>
                <a:spcPts val="0"/>
              </a:spcBef>
              <a:spcAft>
                <a:spcPts val="300"/>
              </a:spcAft>
              <a:buFont typeface="Arial" panose="020B0604020202020204" pitchFamily="34" charset="0"/>
              <a:buChar char="•"/>
              <a:defRPr lang="en-US" sz="1600" kern="1200" dirty="0">
                <a:solidFill>
                  <a:schemeClr val="tx1"/>
                </a:solidFill>
                <a:latin typeface="+mn-lt"/>
                <a:ea typeface="+mn-ea"/>
                <a:cs typeface="+mn-cs"/>
              </a:defRPr>
            </a:lvl4pPr>
            <a:lvl5pPr marL="813600" indent="-147600" algn="l" defTabSz="914400" rtl="0" eaLnBrk="1" latinLnBrk="0" hangingPunct="1">
              <a:lnSpc>
                <a:spcPct val="100000"/>
              </a:lnSpc>
              <a:spcBef>
                <a:spcPts val="0"/>
              </a:spcBef>
              <a:spcAft>
                <a:spcPts val="300"/>
              </a:spcAft>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fld id="{575BAB71-73EF-461D-9AC3-0982EA79D5FF}" type="datetime'''2''''0''2''''1'''''''''''''''''''''''''''''''''''''''''''''">
              <a:rPr kumimoji="0" lang="en-US" altLang="en-US" sz="14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ctr"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t>2021</a:t>
            </a:fld>
            <a:endParaRPr kumimoji="0" lang="en-US" sz="14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
        <p:nvSpPr>
          <p:cNvPr id="7" name="Text Placeholder 4">
            <a:extLst>
              <a:ext uri="{FF2B5EF4-FFF2-40B4-BE49-F238E27FC236}">
                <a16:creationId xmlns:a16="http://schemas.microsoft.com/office/drawing/2014/main" id="{489A4396-2FFC-E502-CCD3-E3E2328863F0}"/>
              </a:ext>
            </a:extLst>
          </p:cNvPr>
          <p:cNvSpPr>
            <a:spLocks noGrp="1"/>
          </p:cNvSpPr>
          <p:nvPr>
            <p:custDataLst>
              <p:tags r:id="rId4"/>
            </p:custDataLst>
          </p:nvPr>
        </p:nvSpPr>
        <p:spPr bwMode="auto">
          <a:xfrm>
            <a:off x="3406775" y="5478463"/>
            <a:ext cx="40640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30400" algn="l" defTabSz="914400" rtl="0" eaLnBrk="1" latinLnBrk="0" hangingPunct="1">
              <a:lnSpc>
                <a:spcPct val="100000"/>
              </a:lnSpc>
              <a:spcBef>
                <a:spcPts val="0"/>
              </a:spcBef>
              <a:spcAft>
                <a:spcPts val="300"/>
              </a:spcAft>
              <a:buSzPct val="110000"/>
              <a:buFont typeface="Wingdings" panose="05000000000000000000" pitchFamily="2" charset="2"/>
              <a:buChar char=""/>
              <a:defRPr lang="en-US" sz="1600" kern="1200" dirty="0">
                <a:solidFill>
                  <a:schemeClr val="tx1"/>
                </a:solidFill>
                <a:latin typeface="+mn-lt"/>
                <a:ea typeface="+mn-ea"/>
                <a:cs typeface="+mn-cs"/>
              </a:defRPr>
            </a:lvl2pPr>
            <a:lvl3pPr marL="439200" indent="-208800" algn="l" defTabSz="914400" rtl="0" eaLnBrk="1" latinLnBrk="0" hangingPunct="1">
              <a:lnSpc>
                <a:spcPct val="100000"/>
              </a:lnSpc>
              <a:spcBef>
                <a:spcPts val="0"/>
              </a:spcBef>
              <a:spcAft>
                <a:spcPts val="300"/>
              </a:spcAft>
              <a:buSzPct val="110000"/>
              <a:buFont typeface="Arial" panose="020B0604020202020204" pitchFamily="34" charset="0"/>
              <a:buChar char="‒"/>
              <a:defRPr lang="en-US" sz="1600" kern="1200" dirty="0">
                <a:solidFill>
                  <a:schemeClr val="tx1"/>
                </a:solidFill>
                <a:latin typeface="+mn-lt"/>
                <a:ea typeface="+mn-ea"/>
                <a:cs typeface="+mn-cs"/>
              </a:defRPr>
            </a:lvl3pPr>
            <a:lvl4pPr marL="604800" indent="-154800" algn="l" defTabSz="914400" rtl="0" eaLnBrk="1" latinLnBrk="0" hangingPunct="1">
              <a:lnSpc>
                <a:spcPct val="100000"/>
              </a:lnSpc>
              <a:spcBef>
                <a:spcPts val="0"/>
              </a:spcBef>
              <a:spcAft>
                <a:spcPts val="300"/>
              </a:spcAft>
              <a:buFont typeface="Arial" panose="020B0604020202020204" pitchFamily="34" charset="0"/>
              <a:buChar char="•"/>
              <a:defRPr lang="en-US" sz="1600" kern="1200" dirty="0">
                <a:solidFill>
                  <a:schemeClr val="tx1"/>
                </a:solidFill>
                <a:latin typeface="+mn-lt"/>
                <a:ea typeface="+mn-ea"/>
                <a:cs typeface="+mn-cs"/>
              </a:defRPr>
            </a:lvl4pPr>
            <a:lvl5pPr marL="813600" indent="-147600" algn="l" defTabSz="914400" rtl="0" eaLnBrk="1" latinLnBrk="0" hangingPunct="1">
              <a:lnSpc>
                <a:spcPct val="100000"/>
              </a:lnSpc>
              <a:spcBef>
                <a:spcPts val="0"/>
              </a:spcBef>
              <a:spcAft>
                <a:spcPts val="300"/>
              </a:spcAft>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fld id="{95E3E172-72F2-4E72-8921-9FC8209E83F6}" type="datetime'''2''''''''0''''''''''5''''''''''''0'''">
              <a:rPr kumimoji="0" lang="en-US" altLang="en-US" sz="14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ctr"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t>2050</a:t>
            </a:fld>
            <a:endParaRPr kumimoji="0" lang="en-US" sz="14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
        <p:nvSpPr>
          <p:cNvPr id="8" name="Text Placeholder 4">
            <a:extLst>
              <a:ext uri="{FF2B5EF4-FFF2-40B4-BE49-F238E27FC236}">
                <a16:creationId xmlns:a16="http://schemas.microsoft.com/office/drawing/2014/main" id="{FCBF049A-7BC3-CEC1-E829-549104E4197F}"/>
              </a:ext>
            </a:extLst>
          </p:cNvPr>
          <p:cNvSpPr>
            <a:spLocks noGrp="1"/>
          </p:cNvSpPr>
          <p:nvPr>
            <p:custDataLst>
              <p:tags r:id="rId5"/>
            </p:custDataLst>
          </p:nvPr>
        </p:nvSpPr>
        <p:spPr bwMode="gray">
          <a:xfrm>
            <a:off x="3363913" y="2776923"/>
            <a:ext cx="493713"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numCol="1" spcCol="0" rtlCol="0" anchor="b"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30400" algn="l" defTabSz="914400" rtl="0" eaLnBrk="1" latinLnBrk="0" hangingPunct="1">
              <a:lnSpc>
                <a:spcPct val="100000"/>
              </a:lnSpc>
              <a:spcBef>
                <a:spcPts val="0"/>
              </a:spcBef>
              <a:spcAft>
                <a:spcPts val="300"/>
              </a:spcAft>
              <a:buSzPct val="110000"/>
              <a:buFont typeface="Wingdings" panose="05000000000000000000" pitchFamily="2" charset="2"/>
              <a:buChar char=""/>
              <a:defRPr lang="en-US" sz="1600" kern="1200" dirty="0">
                <a:solidFill>
                  <a:schemeClr val="tx1"/>
                </a:solidFill>
                <a:latin typeface="+mn-lt"/>
                <a:ea typeface="+mn-ea"/>
                <a:cs typeface="+mn-cs"/>
              </a:defRPr>
            </a:lvl2pPr>
            <a:lvl3pPr marL="439200" indent="-208800" algn="l" defTabSz="914400" rtl="0" eaLnBrk="1" latinLnBrk="0" hangingPunct="1">
              <a:lnSpc>
                <a:spcPct val="100000"/>
              </a:lnSpc>
              <a:spcBef>
                <a:spcPts val="0"/>
              </a:spcBef>
              <a:spcAft>
                <a:spcPts val="300"/>
              </a:spcAft>
              <a:buSzPct val="110000"/>
              <a:buFont typeface="Arial" panose="020B0604020202020204" pitchFamily="34" charset="0"/>
              <a:buChar char="‒"/>
              <a:defRPr lang="en-US" sz="1600" kern="1200" dirty="0">
                <a:solidFill>
                  <a:schemeClr val="tx1"/>
                </a:solidFill>
                <a:latin typeface="+mn-lt"/>
                <a:ea typeface="+mn-ea"/>
                <a:cs typeface="+mn-cs"/>
              </a:defRPr>
            </a:lvl3pPr>
            <a:lvl4pPr marL="604800" indent="-154800" algn="l" defTabSz="914400" rtl="0" eaLnBrk="1" latinLnBrk="0" hangingPunct="1">
              <a:lnSpc>
                <a:spcPct val="100000"/>
              </a:lnSpc>
              <a:spcBef>
                <a:spcPts val="0"/>
              </a:spcBef>
              <a:spcAft>
                <a:spcPts val="300"/>
              </a:spcAft>
              <a:buFont typeface="Arial" panose="020B0604020202020204" pitchFamily="34" charset="0"/>
              <a:buChar char="•"/>
              <a:defRPr lang="en-US" sz="1600" kern="1200" dirty="0">
                <a:solidFill>
                  <a:schemeClr val="tx1"/>
                </a:solidFill>
                <a:latin typeface="+mn-lt"/>
                <a:ea typeface="+mn-ea"/>
                <a:cs typeface="+mn-cs"/>
              </a:defRPr>
            </a:lvl4pPr>
            <a:lvl5pPr marL="813600" indent="-147600" algn="l" defTabSz="914400" rtl="0" eaLnBrk="1" latinLnBrk="0" hangingPunct="1">
              <a:lnSpc>
                <a:spcPct val="100000"/>
              </a:lnSpc>
              <a:spcBef>
                <a:spcPts val="0"/>
              </a:spcBef>
              <a:spcAft>
                <a:spcPts val="300"/>
              </a:spcAft>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fld id="{705D81ED-0EDD-4D59-9C21-15CDA7E1C650}" type="datetime'''2'',''''''6''''''''''6''''''''''''''''''9'''''''">
              <a:rPr kumimoji="0" lang="en-US" altLang="en-US" sz="1400" b="1"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ctr"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t>2,669</a:t>
            </a:fld>
            <a:endParaRPr kumimoji="0" lang="en-US" sz="1400" b="1"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
        <p:nvSpPr>
          <p:cNvPr id="9" name="Rectangle 8">
            <a:extLst>
              <a:ext uri="{FF2B5EF4-FFF2-40B4-BE49-F238E27FC236}">
                <a16:creationId xmlns:a16="http://schemas.microsoft.com/office/drawing/2014/main" id="{E5DEF83F-CD6A-CA3E-6E74-E0408ECF7CDE}"/>
              </a:ext>
            </a:extLst>
          </p:cNvPr>
          <p:cNvSpPr/>
          <p:nvPr>
            <p:custDataLst>
              <p:tags r:id="rId6"/>
            </p:custDataLst>
          </p:nvPr>
        </p:nvSpPr>
        <p:spPr bwMode="auto">
          <a:xfrm>
            <a:off x="9775177" y="3486120"/>
            <a:ext cx="165100" cy="165100"/>
          </a:xfrm>
          <a:prstGeom prst="rect">
            <a:avLst/>
          </a:prstGeom>
          <a:solidFill>
            <a:schemeClr val="accent4"/>
          </a:solidFill>
          <a:ln w="9525" cap="sq" algn="ctr">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1" i="0" u="none" strike="noStrike" kern="1200" cap="none" spc="0" normalizeH="0" baseline="0" noProof="0" err="1">
              <a:ln>
                <a:noFill/>
              </a:ln>
              <a:solidFill>
                <a:srgbClr val="FFFFFF"/>
              </a:solidFill>
              <a:effectLst/>
              <a:uLnTx/>
              <a:uFillTx/>
              <a:latin typeface="Arial"/>
              <a:ea typeface="+mn-ea"/>
              <a:cs typeface="+mn-cs"/>
            </a:endParaRPr>
          </a:p>
        </p:txBody>
      </p:sp>
      <p:sp>
        <p:nvSpPr>
          <p:cNvPr id="10" name="Rectangle 9">
            <a:extLst>
              <a:ext uri="{FF2B5EF4-FFF2-40B4-BE49-F238E27FC236}">
                <a16:creationId xmlns:a16="http://schemas.microsoft.com/office/drawing/2014/main" id="{905AEE2B-CFB6-751D-BBE3-E65BDE01F78D}"/>
              </a:ext>
            </a:extLst>
          </p:cNvPr>
          <p:cNvSpPr/>
          <p:nvPr>
            <p:custDataLst>
              <p:tags r:id="rId7"/>
            </p:custDataLst>
          </p:nvPr>
        </p:nvSpPr>
        <p:spPr bwMode="auto">
          <a:xfrm>
            <a:off x="9775177" y="5070565"/>
            <a:ext cx="165100" cy="165100"/>
          </a:xfrm>
          <a:prstGeom prst="rect">
            <a:avLst/>
          </a:prstGeom>
          <a:solidFill>
            <a:schemeClr val="accent1"/>
          </a:solidFill>
          <a:ln w="9525" cap="sq" algn="ctr">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1" i="0" u="none" strike="noStrike" kern="1200" cap="none" spc="0" normalizeH="0" baseline="0" noProof="0" err="1">
              <a:ln>
                <a:noFill/>
              </a:ln>
              <a:solidFill>
                <a:srgbClr val="FFFFFF"/>
              </a:solidFill>
              <a:effectLst/>
              <a:uLnTx/>
              <a:uFillTx/>
              <a:latin typeface="Arial"/>
              <a:ea typeface="+mn-ea"/>
              <a:cs typeface="+mn-cs"/>
            </a:endParaRPr>
          </a:p>
        </p:txBody>
      </p:sp>
      <p:sp>
        <p:nvSpPr>
          <p:cNvPr id="11" name="Rectangle 10">
            <a:extLst>
              <a:ext uri="{FF2B5EF4-FFF2-40B4-BE49-F238E27FC236}">
                <a16:creationId xmlns:a16="http://schemas.microsoft.com/office/drawing/2014/main" id="{91D52A15-24B8-D631-B094-30160A7F1C67}"/>
              </a:ext>
            </a:extLst>
          </p:cNvPr>
          <p:cNvSpPr/>
          <p:nvPr>
            <p:custDataLst>
              <p:tags r:id="rId8"/>
            </p:custDataLst>
          </p:nvPr>
        </p:nvSpPr>
        <p:spPr bwMode="auto">
          <a:xfrm>
            <a:off x="9775177" y="4610070"/>
            <a:ext cx="165100" cy="165100"/>
          </a:xfrm>
          <a:prstGeom prst="rect">
            <a:avLst/>
          </a:prstGeom>
          <a:solidFill>
            <a:schemeClr val="accent2"/>
          </a:solidFill>
          <a:ln w="9525" cap="sq" algn="ctr">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1" i="0" u="none" strike="noStrike" kern="1200" cap="none" spc="0" normalizeH="0" baseline="0" noProof="0" err="1">
              <a:ln>
                <a:noFill/>
              </a:ln>
              <a:solidFill>
                <a:srgbClr val="FFFFFF"/>
              </a:solidFill>
              <a:effectLst/>
              <a:uLnTx/>
              <a:uFillTx/>
              <a:latin typeface="Arial"/>
              <a:ea typeface="+mn-ea"/>
              <a:cs typeface="+mn-cs"/>
            </a:endParaRPr>
          </a:p>
        </p:txBody>
      </p:sp>
      <p:sp>
        <p:nvSpPr>
          <p:cNvPr id="12" name="Text Placeholder 4">
            <a:extLst>
              <a:ext uri="{FF2B5EF4-FFF2-40B4-BE49-F238E27FC236}">
                <a16:creationId xmlns:a16="http://schemas.microsoft.com/office/drawing/2014/main" id="{D28CB227-6514-8546-8EEB-94AF654D3BC9}"/>
              </a:ext>
            </a:extLst>
          </p:cNvPr>
          <p:cNvSpPr>
            <a:spLocks noGrp="1"/>
          </p:cNvSpPr>
          <p:nvPr>
            <p:custDataLst>
              <p:tags r:id="rId9"/>
            </p:custDataLst>
          </p:nvPr>
        </p:nvSpPr>
        <p:spPr bwMode="auto">
          <a:xfrm>
            <a:off x="9991077" y="5061834"/>
            <a:ext cx="7350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30400" algn="l" defTabSz="914400" rtl="0" eaLnBrk="1" latinLnBrk="0" hangingPunct="1">
              <a:lnSpc>
                <a:spcPct val="100000"/>
              </a:lnSpc>
              <a:spcBef>
                <a:spcPts val="0"/>
              </a:spcBef>
              <a:spcAft>
                <a:spcPts val="300"/>
              </a:spcAft>
              <a:buSzPct val="110000"/>
              <a:buFont typeface="Wingdings" panose="05000000000000000000" pitchFamily="2" charset="2"/>
              <a:buChar char=""/>
              <a:defRPr lang="en-US" sz="1600" kern="1200" dirty="0">
                <a:solidFill>
                  <a:schemeClr val="tx1"/>
                </a:solidFill>
                <a:latin typeface="+mn-lt"/>
                <a:ea typeface="+mn-ea"/>
                <a:cs typeface="+mn-cs"/>
              </a:defRPr>
            </a:lvl2pPr>
            <a:lvl3pPr marL="439200" indent="-208800" algn="l" defTabSz="914400" rtl="0" eaLnBrk="1" latinLnBrk="0" hangingPunct="1">
              <a:lnSpc>
                <a:spcPct val="100000"/>
              </a:lnSpc>
              <a:spcBef>
                <a:spcPts val="0"/>
              </a:spcBef>
              <a:spcAft>
                <a:spcPts val="300"/>
              </a:spcAft>
              <a:buSzPct val="110000"/>
              <a:buFont typeface="Arial" panose="020B0604020202020204" pitchFamily="34" charset="0"/>
              <a:buChar char="‒"/>
              <a:defRPr lang="en-US" sz="1600" kern="1200" dirty="0">
                <a:solidFill>
                  <a:schemeClr val="tx1"/>
                </a:solidFill>
                <a:latin typeface="+mn-lt"/>
                <a:ea typeface="+mn-ea"/>
                <a:cs typeface="+mn-cs"/>
              </a:defRPr>
            </a:lvl3pPr>
            <a:lvl4pPr marL="604800" indent="-154800" algn="l" defTabSz="914400" rtl="0" eaLnBrk="1" latinLnBrk="0" hangingPunct="1">
              <a:lnSpc>
                <a:spcPct val="100000"/>
              </a:lnSpc>
              <a:spcBef>
                <a:spcPts val="0"/>
              </a:spcBef>
              <a:spcAft>
                <a:spcPts val="300"/>
              </a:spcAft>
              <a:buFont typeface="Arial" panose="020B0604020202020204" pitchFamily="34" charset="0"/>
              <a:buChar char="•"/>
              <a:defRPr lang="en-US" sz="1600" kern="1200" dirty="0">
                <a:solidFill>
                  <a:schemeClr val="tx1"/>
                </a:solidFill>
                <a:latin typeface="+mn-lt"/>
                <a:ea typeface="+mn-ea"/>
                <a:cs typeface="+mn-cs"/>
              </a:defRPr>
            </a:lvl4pPr>
            <a:lvl5pPr marL="813600" indent="-147600" algn="l" defTabSz="914400" rtl="0" eaLnBrk="1" latinLnBrk="0" hangingPunct="1">
              <a:lnSpc>
                <a:spcPct val="100000"/>
              </a:lnSpc>
              <a:spcBef>
                <a:spcPts val="0"/>
              </a:spcBef>
              <a:spcAft>
                <a:spcPts val="300"/>
              </a:spcAft>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fld id="{F694F6E2-3D4C-495A-B0A7-2C2219300AF8}" type="datetime'''''''C''l''''''e''''''a''''n,'' ''''f''''''i''''''rm'''''''">
              <a:rPr kumimoji="0" lang="en-US" altLang="en-US" sz="1200" b="1"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t>Clean, firm</a:t>
            </a:fld>
            <a:endParaRPr kumimoji="0" lang="en-US" sz="1200" b="1"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
        <p:nvSpPr>
          <p:cNvPr id="13" name="Text Placeholder 4">
            <a:extLst>
              <a:ext uri="{FF2B5EF4-FFF2-40B4-BE49-F238E27FC236}">
                <a16:creationId xmlns:a16="http://schemas.microsoft.com/office/drawing/2014/main" id="{49327B3B-6D34-10C8-92BB-5B408AC6AE8A}"/>
              </a:ext>
            </a:extLst>
          </p:cNvPr>
          <p:cNvSpPr>
            <a:spLocks noGrp="1"/>
          </p:cNvSpPr>
          <p:nvPr>
            <p:custDataLst>
              <p:tags r:id="rId10"/>
            </p:custDataLst>
          </p:nvPr>
        </p:nvSpPr>
        <p:spPr bwMode="auto">
          <a:xfrm>
            <a:off x="9991077" y="3477389"/>
            <a:ext cx="8048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30400" algn="l" defTabSz="914400" rtl="0" eaLnBrk="1" latinLnBrk="0" hangingPunct="1">
              <a:lnSpc>
                <a:spcPct val="100000"/>
              </a:lnSpc>
              <a:spcBef>
                <a:spcPts val="0"/>
              </a:spcBef>
              <a:spcAft>
                <a:spcPts val="300"/>
              </a:spcAft>
              <a:buSzPct val="110000"/>
              <a:buFont typeface="Wingdings" panose="05000000000000000000" pitchFamily="2" charset="2"/>
              <a:buChar char=""/>
              <a:defRPr lang="en-US" sz="1600" kern="1200" dirty="0">
                <a:solidFill>
                  <a:schemeClr val="tx1"/>
                </a:solidFill>
                <a:latin typeface="+mn-lt"/>
                <a:ea typeface="+mn-ea"/>
                <a:cs typeface="+mn-cs"/>
              </a:defRPr>
            </a:lvl2pPr>
            <a:lvl3pPr marL="439200" indent="-208800" algn="l" defTabSz="914400" rtl="0" eaLnBrk="1" latinLnBrk="0" hangingPunct="1">
              <a:lnSpc>
                <a:spcPct val="100000"/>
              </a:lnSpc>
              <a:spcBef>
                <a:spcPts val="0"/>
              </a:spcBef>
              <a:spcAft>
                <a:spcPts val="300"/>
              </a:spcAft>
              <a:buSzPct val="110000"/>
              <a:buFont typeface="Arial" panose="020B0604020202020204" pitchFamily="34" charset="0"/>
              <a:buChar char="‒"/>
              <a:defRPr lang="en-US" sz="1600" kern="1200" dirty="0">
                <a:solidFill>
                  <a:schemeClr val="tx1"/>
                </a:solidFill>
                <a:latin typeface="+mn-lt"/>
                <a:ea typeface="+mn-ea"/>
                <a:cs typeface="+mn-cs"/>
              </a:defRPr>
            </a:lvl3pPr>
            <a:lvl4pPr marL="604800" indent="-154800" algn="l" defTabSz="914400" rtl="0" eaLnBrk="1" latinLnBrk="0" hangingPunct="1">
              <a:lnSpc>
                <a:spcPct val="100000"/>
              </a:lnSpc>
              <a:spcBef>
                <a:spcPts val="0"/>
              </a:spcBef>
              <a:spcAft>
                <a:spcPts val="300"/>
              </a:spcAft>
              <a:buFont typeface="Arial" panose="020B0604020202020204" pitchFamily="34" charset="0"/>
              <a:buChar char="•"/>
              <a:defRPr lang="en-US" sz="1600" kern="1200" dirty="0">
                <a:solidFill>
                  <a:schemeClr val="tx1"/>
                </a:solidFill>
                <a:latin typeface="+mn-lt"/>
                <a:ea typeface="+mn-ea"/>
                <a:cs typeface="+mn-cs"/>
              </a:defRPr>
            </a:lvl4pPr>
            <a:lvl5pPr marL="813600" indent="-147600" algn="l" defTabSz="914400" rtl="0" eaLnBrk="1" latinLnBrk="0" hangingPunct="1">
              <a:lnSpc>
                <a:spcPct val="100000"/>
              </a:lnSpc>
              <a:spcBef>
                <a:spcPts val="0"/>
              </a:spcBef>
              <a:spcAft>
                <a:spcPts val="300"/>
              </a:spcAft>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r>
              <a:rPr kumimoji="0" lang="en-US" altLang="en-US" sz="1200" b="1" i="0" u="none" strike="noStrike" kern="1200" cap="none" spc="0" normalizeH="0" baseline="0" noProof="0">
                <a:ln>
                  <a:noFill/>
                </a:ln>
                <a:solidFill>
                  <a:srgbClr val="000000"/>
                </a:solidFill>
                <a:effectLst/>
                <a:uLnTx/>
                <a:uFillTx/>
                <a:latin typeface="Arial"/>
                <a:ea typeface="+mn-ea"/>
                <a:cs typeface="Arial" panose="020B0604020202020204" pitchFamily="34" charset="0"/>
              </a:rPr>
              <a:t>Variable</a:t>
            </a:r>
            <a:endParaRPr kumimoji="0" lang="en-US" sz="1200" b="1"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
        <p:nvSpPr>
          <p:cNvPr id="14" name="Text Placeholder 4">
            <a:extLst>
              <a:ext uri="{FF2B5EF4-FFF2-40B4-BE49-F238E27FC236}">
                <a16:creationId xmlns:a16="http://schemas.microsoft.com/office/drawing/2014/main" id="{1E09D1CE-8FDB-C747-0BBF-838795FBC4F8}"/>
              </a:ext>
            </a:extLst>
          </p:cNvPr>
          <p:cNvSpPr>
            <a:spLocks noGrp="1"/>
          </p:cNvSpPr>
          <p:nvPr>
            <p:custDataLst>
              <p:tags r:id="rId11"/>
            </p:custDataLst>
          </p:nvPr>
        </p:nvSpPr>
        <p:spPr bwMode="auto">
          <a:xfrm>
            <a:off x="9991077" y="4601339"/>
            <a:ext cx="103028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30400" algn="l" defTabSz="914400" rtl="0" eaLnBrk="1" latinLnBrk="0" hangingPunct="1">
              <a:lnSpc>
                <a:spcPct val="100000"/>
              </a:lnSpc>
              <a:spcBef>
                <a:spcPts val="0"/>
              </a:spcBef>
              <a:spcAft>
                <a:spcPts val="300"/>
              </a:spcAft>
              <a:buSzPct val="110000"/>
              <a:buFont typeface="Wingdings" panose="05000000000000000000" pitchFamily="2" charset="2"/>
              <a:buChar char=""/>
              <a:defRPr lang="en-US" sz="1600" kern="1200" dirty="0">
                <a:solidFill>
                  <a:schemeClr val="tx1"/>
                </a:solidFill>
                <a:latin typeface="+mn-lt"/>
                <a:ea typeface="+mn-ea"/>
                <a:cs typeface="+mn-cs"/>
              </a:defRPr>
            </a:lvl2pPr>
            <a:lvl3pPr marL="439200" indent="-208800" algn="l" defTabSz="914400" rtl="0" eaLnBrk="1" latinLnBrk="0" hangingPunct="1">
              <a:lnSpc>
                <a:spcPct val="100000"/>
              </a:lnSpc>
              <a:spcBef>
                <a:spcPts val="0"/>
              </a:spcBef>
              <a:spcAft>
                <a:spcPts val="300"/>
              </a:spcAft>
              <a:buSzPct val="110000"/>
              <a:buFont typeface="Arial" panose="020B0604020202020204" pitchFamily="34" charset="0"/>
              <a:buChar char="‒"/>
              <a:defRPr lang="en-US" sz="1600" kern="1200" dirty="0">
                <a:solidFill>
                  <a:schemeClr val="tx1"/>
                </a:solidFill>
                <a:latin typeface="+mn-lt"/>
                <a:ea typeface="+mn-ea"/>
                <a:cs typeface="+mn-cs"/>
              </a:defRPr>
            </a:lvl3pPr>
            <a:lvl4pPr marL="604800" indent="-154800" algn="l" defTabSz="914400" rtl="0" eaLnBrk="1" latinLnBrk="0" hangingPunct="1">
              <a:lnSpc>
                <a:spcPct val="100000"/>
              </a:lnSpc>
              <a:spcBef>
                <a:spcPts val="0"/>
              </a:spcBef>
              <a:spcAft>
                <a:spcPts val="300"/>
              </a:spcAft>
              <a:buFont typeface="Arial" panose="020B0604020202020204" pitchFamily="34" charset="0"/>
              <a:buChar char="•"/>
              <a:defRPr lang="en-US" sz="1600" kern="1200" dirty="0">
                <a:solidFill>
                  <a:schemeClr val="tx1"/>
                </a:solidFill>
                <a:latin typeface="+mn-lt"/>
                <a:ea typeface="+mn-ea"/>
                <a:cs typeface="+mn-cs"/>
              </a:defRPr>
            </a:lvl4pPr>
            <a:lvl5pPr marL="813600" indent="-147600" algn="l" defTabSz="914400" rtl="0" eaLnBrk="1" latinLnBrk="0" hangingPunct="1">
              <a:lnSpc>
                <a:spcPct val="100000"/>
              </a:lnSpc>
              <a:spcBef>
                <a:spcPts val="0"/>
              </a:spcBef>
              <a:spcAft>
                <a:spcPts val="300"/>
              </a:spcAft>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fld id="{05BD38FA-964C-4EB4-93BC-87E465F5AFFC}" type="datetime'''N''''''''on''-''''c''''l''e''''''an, f''i''r''''''''''''m'''">
              <a:rPr kumimoji="0" lang="en-US" altLang="en-US" sz="1200" b="1"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t>Non-clean, firm</a:t>
            </a:fld>
            <a:endParaRPr kumimoji="0" lang="en-US" sz="1200" b="1"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graphicFrame>
        <p:nvGraphicFramePr>
          <p:cNvPr id="15" name="Chart 14">
            <a:extLst>
              <a:ext uri="{FF2B5EF4-FFF2-40B4-BE49-F238E27FC236}">
                <a16:creationId xmlns:a16="http://schemas.microsoft.com/office/drawing/2014/main" id="{6D36548B-9C45-A038-E0DE-C5B39B189EFA}"/>
              </a:ext>
            </a:extLst>
          </p:cNvPr>
          <p:cNvGraphicFramePr/>
          <p:nvPr>
            <p:custDataLst>
              <p:tags r:id="rId12"/>
            </p:custDataLst>
            <p:extLst>
              <p:ext uri="{D42A27DB-BD31-4B8C-83A1-F6EECF244321}">
                <p14:modId xmlns:p14="http://schemas.microsoft.com/office/powerpoint/2010/main" val="3792140244"/>
              </p:ext>
            </p:extLst>
          </p:nvPr>
        </p:nvGraphicFramePr>
        <p:xfrm>
          <a:off x="5154613" y="1844556"/>
          <a:ext cx="4240212" cy="3657720"/>
        </p:xfrm>
        <a:graphic>
          <a:graphicData uri="http://schemas.openxmlformats.org/drawingml/2006/chart">
            <c:chart xmlns:c="http://schemas.openxmlformats.org/drawingml/2006/chart" xmlns:r="http://schemas.openxmlformats.org/officeDocument/2006/relationships" r:id="rId31"/>
          </a:graphicData>
        </a:graphic>
      </p:graphicFrame>
      <p:sp>
        <p:nvSpPr>
          <p:cNvPr id="16" name="Text Placeholder 4">
            <a:extLst>
              <a:ext uri="{FF2B5EF4-FFF2-40B4-BE49-F238E27FC236}">
                <a16:creationId xmlns:a16="http://schemas.microsoft.com/office/drawing/2014/main" id="{0D65ABA2-07AE-7EAD-9D10-3EDAEF6EFDCB}"/>
              </a:ext>
            </a:extLst>
          </p:cNvPr>
          <p:cNvSpPr>
            <a:spLocks noGrp="1"/>
          </p:cNvSpPr>
          <p:nvPr>
            <p:custDataLst>
              <p:tags r:id="rId13"/>
            </p:custDataLst>
          </p:nvPr>
        </p:nvSpPr>
        <p:spPr bwMode="gray">
          <a:xfrm>
            <a:off x="6083300" y="5203818"/>
            <a:ext cx="346075" cy="212725"/>
          </a:xfrm>
          <a:prstGeom prst="rect">
            <a:avLst/>
          </a:prstGeom>
          <a:noFill/>
          <a:ln>
            <a:noFill/>
          </a:ln>
          <a:effectLst/>
        </p:spPr>
        <p:txBody>
          <a:bodyPr vert="horz" wrap="none" lIns="25400" tIns="0" rIns="25400" bIns="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30400" algn="l" defTabSz="914400" rtl="0" eaLnBrk="1" latinLnBrk="0" hangingPunct="1">
              <a:lnSpc>
                <a:spcPct val="100000"/>
              </a:lnSpc>
              <a:spcBef>
                <a:spcPts val="0"/>
              </a:spcBef>
              <a:spcAft>
                <a:spcPts val="300"/>
              </a:spcAft>
              <a:buSzPct val="110000"/>
              <a:buFont typeface="Wingdings" panose="05000000000000000000" pitchFamily="2" charset="2"/>
              <a:buChar char=""/>
              <a:defRPr lang="en-US" sz="1600" kern="1200" dirty="0">
                <a:solidFill>
                  <a:schemeClr val="tx1"/>
                </a:solidFill>
                <a:latin typeface="+mn-lt"/>
                <a:ea typeface="+mn-ea"/>
                <a:cs typeface="+mn-cs"/>
              </a:defRPr>
            </a:lvl2pPr>
            <a:lvl3pPr marL="439200" indent="-208800" algn="l" defTabSz="914400" rtl="0" eaLnBrk="1" latinLnBrk="0" hangingPunct="1">
              <a:lnSpc>
                <a:spcPct val="100000"/>
              </a:lnSpc>
              <a:spcBef>
                <a:spcPts val="0"/>
              </a:spcBef>
              <a:spcAft>
                <a:spcPts val="300"/>
              </a:spcAft>
              <a:buSzPct val="110000"/>
              <a:buFont typeface="Arial" panose="020B0604020202020204" pitchFamily="34" charset="0"/>
              <a:buChar char="‒"/>
              <a:defRPr lang="en-US" sz="1600" kern="1200" dirty="0">
                <a:solidFill>
                  <a:schemeClr val="tx1"/>
                </a:solidFill>
                <a:latin typeface="+mn-lt"/>
                <a:ea typeface="+mn-ea"/>
                <a:cs typeface="+mn-cs"/>
              </a:defRPr>
            </a:lvl3pPr>
            <a:lvl4pPr marL="604800" indent="-154800" algn="l" defTabSz="914400" rtl="0" eaLnBrk="1" latinLnBrk="0" hangingPunct="1">
              <a:lnSpc>
                <a:spcPct val="100000"/>
              </a:lnSpc>
              <a:spcBef>
                <a:spcPts val="0"/>
              </a:spcBef>
              <a:spcAft>
                <a:spcPts val="300"/>
              </a:spcAft>
              <a:buFont typeface="Arial" panose="020B0604020202020204" pitchFamily="34" charset="0"/>
              <a:buChar char="•"/>
              <a:defRPr lang="en-US" sz="1600" kern="1200" dirty="0">
                <a:solidFill>
                  <a:schemeClr val="tx1"/>
                </a:solidFill>
                <a:latin typeface="+mn-lt"/>
                <a:ea typeface="+mn-ea"/>
                <a:cs typeface="+mn-cs"/>
              </a:defRPr>
            </a:lvl4pPr>
            <a:lvl5pPr marL="813600" indent="-147600" algn="l" defTabSz="914400" rtl="0" eaLnBrk="1" latinLnBrk="0" hangingPunct="1">
              <a:lnSpc>
                <a:spcPct val="100000"/>
              </a:lnSpc>
              <a:spcBef>
                <a:spcPts val="0"/>
              </a:spcBef>
              <a:spcAft>
                <a:spcPts val="300"/>
              </a:spcAft>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E51266A3-F726-4046-AA42-12F4B5503A30}" type="datetime'''''2''0''''''''''''''6'''''''''''''''''''''''">
              <a:rPr lang="en-US" altLang="en-US" sz="1400" smtClean="0">
                <a:solidFill>
                  <a:schemeClr val="tx2"/>
                </a:solidFill>
                <a:effectLst/>
                <a:cs typeface="+mn-cs"/>
              </a:rPr>
              <a:pPr algn="ctr">
                <a:spcBef>
                  <a:spcPct val="0"/>
                </a:spcBef>
                <a:spcAft>
                  <a:spcPct val="0"/>
                </a:spcAft>
              </a:pPr>
              <a:t>206</a:t>
            </a:fld>
            <a:endParaRPr lang="en-US" sz="1400">
              <a:solidFill>
                <a:schemeClr val="tx2"/>
              </a:solidFill>
              <a:cs typeface="+mn-cs"/>
            </a:endParaRPr>
          </a:p>
        </p:txBody>
      </p:sp>
      <p:sp>
        <p:nvSpPr>
          <p:cNvPr id="17" name="Text Placeholder 4">
            <a:extLst>
              <a:ext uri="{FF2B5EF4-FFF2-40B4-BE49-F238E27FC236}">
                <a16:creationId xmlns:a16="http://schemas.microsoft.com/office/drawing/2014/main" id="{DEBA4095-FF2F-FF3E-43C7-C5F4F68B94DD}"/>
              </a:ext>
            </a:extLst>
          </p:cNvPr>
          <p:cNvSpPr>
            <a:spLocks noGrp="1"/>
          </p:cNvSpPr>
          <p:nvPr>
            <p:custDataLst>
              <p:tags r:id="rId14"/>
            </p:custDataLst>
          </p:nvPr>
        </p:nvSpPr>
        <p:spPr bwMode="gray">
          <a:xfrm>
            <a:off x="6083300" y="4246245"/>
            <a:ext cx="346075" cy="212725"/>
          </a:xfrm>
          <a:prstGeom prst="rect">
            <a:avLst/>
          </a:prstGeom>
          <a:noFill/>
          <a:ln>
            <a:noFill/>
          </a:ln>
          <a:effectLst/>
        </p:spPr>
        <p:txBody>
          <a:bodyPr vert="horz" wrap="none" lIns="25400" tIns="0" rIns="25400" bIns="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30400" algn="l" defTabSz="914400" rtl="0" eaLnBrk="1" latinLnBrk="0" hangingPunct="1">
              <a:lnSpc>
                <a:spcPct val="100000"/>
              </a:lnSpc>
              <a:spcBef>
                <a:spcPts val="0"/>
              </a:spcBef>
              <a:spcAft>
                <a:spcPts val="300"/>
              </a:spcAft>
              <a:buSzPct val="110000"/>
              <a:buFont typeface="Wingdings" panose="05000000000000000000" pitchFamily="2" charset="2"/>
              <a:buChar char=""/>
              <a:defRPr lang="en-US" sz="1600" kern="1200" dirty="0">
                <a:solidFill>
                  <a:schemeClr val="tx1"/>
                </a:solidFill>
                <a:latin typeface="+mn-lt"/>
                <a:ea typeface="+mn-ea"/>
                <a:cs typeface="+mn-cs"/>
              </a:defRPr>
            </a:lvl2pPr>
            <a:lvl3pPr marL="439200" indent="-208800" algn="l" defTabSz="914400" rtl="0" eaLnBrk="1" latinLnBrk="0" hangingPunct="1">
              <a:lnSpc>
                <a:spcPct val="100000"/>
              </a:lnSpc>
              <a:spcBef>
                <a:spcPts val="0"/>
              </a:spcBef>
              <a:spcAft>
                <a:spcPts val="300"/>
              </a:spcAft>
              <a:buSzPct val="110000"/>
              <a:buFont typeface="Arial" panose="020B0604020202020204" pitchFamily="34" charset="0"/>
              <a:buChar char="‒"/>
              <a:defRPr lang="en-US" sz="1600" kern="1200" dirty="0">
                <a:solidFill>
                  <a:schemeClr val="tx1"/>
                </a:solidFill>
                <a:latin typeface="+mn-lt"/>
                <a:ea typeface="+mn-ea"/>
                <a:cs typeface="+mn-cs"/>
              </a:defRPr>
            </a:lvl3pPr>
            <a:lvl4pPr marL="604800" indent="-154800" algn="l" defTabSz="914400" rtl="0" eaLnBrk="1" latinLnBrk="0" hangingPunct="1">
              <a:lnSpc>
                <a:spcPct val="100000"/>
              </a:lnSpc>
              <a:spcBef>
                <a:spcPts val="0"/>
              </a:spcBef>
              <a:spcAft>
                <a:spcPts val="300"/>
              </a:spcAft>
              <a:buFont typeface="Arial" panose="020B0604020202020204" pitchFamily="34" charset="0"/>
              <a:buChar char="•"/>
              <a:defRPr lang="en-US" sz="1600" kern="1200" dirty="0">
                <a:solidFill>
                  <a:schemeClr val="tx1"/>
                </a:solidFill>
                <a:latin typeface="+mn-lt"/>
                <a:ea typeface="+mn-ea"/>
                <a:cs typeface="+mn-cs"/>
              </a:defRPr>
            </a:lvl4pPr>
            <a:lvl5pPr marL="813600" indent="-147600" algn="l" defTabSz="914400" rtl="0" eaLnBrk="1" latinLnBrk="0" hangingPunct="1">
              <a:lnSpc>
                <a:spcPct val="100000"/>
              </a:lnSpc>
              <a:spcBef>
                <a:spcPts val="0"/>
              </a:spcBef>
              <a:spcAft>
                <a:spcPts val="300"/>
              </a:spcAft>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AA4582C1-5893-4A22-8400-C76ECD8DE64A}" type="datetime'2''0''''''''''''''''''''''''''''''5'''''''">
              <a:rPr lang="en-US" altLang="en-US" sz="1400" smtClean="0">
                <a:effectLst/>
                <a:cs typeface="+mn-cs"/>
              </a:rPr>
              <a:pPr algn="ctr">
                <a:spcBef>
                  <a:spcPct val="0"/>
                </a:spcBef>
                <a:spcAft>
                  <a:spcPct val="0"/>
                </a:spcAft>
              </a:pPr>
              <a:t>205</a:t>
            </a:fld>
            <a:endParaRPr lang="en-US" sz="1400">
              <a:cs typeface="+mn-cs"/>
            </a:endParaRPr>
          </a:p>
        </p:txBody>
      </p:sp>
      <p:sp>
        <p:nvSpPr>
          <p:cNvPr id="18" name="Text Placeholder 4">
            <a:extLst>
              <a:ext uri="{FF2B5EF4-FFF2-40B4-BE49-F238E27FC236}">
                <a16:creationId xmlns:a16="http://schemas.microsoft.com/office/drawing/2014/main" id="{1124A02E-E274-769C-B95B-FC81DF27A86B}"/>
              </a:ext>
            </a:extLst>
          </p:cNvPr>
          <p:cNvSpPr>
            <a:spLocks noGrp="1"/>
          </p:cNvSpPr>
          <p:nvPr>
            <p:custDataLst>
              <p:tags r:id="rId15"/>
            </p:custDataLst>
          </p:nvPr>
        </p:nvSpPr>
        <p:spPr bwMode="auto">
          <a:xfrm>
            <a:off x="6053138" y="5508625"/>
            <a:ext cx="40640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30400" algn="l" defTabSz="914400" rtl="0" eaLnBrk="1" latinLnBrk="0" hangingPunct="1">
              <a:lnSpc>
                <a:spcPct val="100000"/>
              </a:lnSpc>
              <a:spcBef>
                <a:spcPts val="0"/>
              </a:spcBef>
              <a:spcAft>
                <a:spcPts val="300"/>
              </a:spcAft>
              <a:buSzPct val="110000"/>
              <a:buFont typeface="Wingdings" panose="05000000000000000000" pitchFamily="2" charset="2"/>
              <a:buChar char=""/>
              <a:defRPr lang="en-US" sz="1600" kern="1200" dirty="0">
                <a:solidFill>
                  <a:schemeClr val="tx1"/>
                </a:solidFill>
                <a:latin typeface="+mn-lt"/>
                <a:ea typeface="+mn-ea"/>
                <a:cs typeface="+mn-cs"/>
              </a:defRPr>
            </a:lvl2pPr>
            <a:lvl3pPr marL="439200" indent="-208800" algn="l" defTabSz="914400" rtl="0" eaLnBrk="1" latinLnBrk="0" hangingPunct="1">
              <a:lnSpc>
                <a:spcPct val="100000"/>
              </a:lnSpc>
              <a:spcBef>
                <a:spcPts val="0"/>
              </a:spcBef>
              <a:spcAft>
                <a:spcPts val="300"/>
              </a:spcAft>
              <a:buSzPct val="110000"/>
              <a:buFont typeface="Arial" panose="020B0604020202020204" pitchFamily="34" charset="0"/>
              <a:buChar char="‒"/>
              <a:defRPr lang="en-US" sz="1600" kern="1200" dirty="0">
                <a:solidFill>
                  <a:schemeClr val="tx1"/>
                </a:solidFill>
                <a:latin typeface="+mn-lt"/>
                <a:ea typeface="+mn-ea"/>
                <a:cs typeface="+mn-cs"/>
              </a:defRPr>
            </a:lvl3pPr>
            <a:lvl4pPr marL="604800" indent="-154800" algn="l" defTabSz="914400" rtl="0" eaLnBrk="1" latinLnBrk="0" hangingPunct="1">
              <a:lnSpc>
                <a:spcPct val="100000"/>
              </a:lnSpc>
              <a:spcBef>
                <a:spcPts val="0"/>
              </a:spcBef>
              <a:spcAft>
                <a:spcPts val="300"/>
              </a:spcAft>
              <a:buFont typeface="Arial" panose="020B0604020202020204" pitchFamily="34" charset="0"/>
              <a:buChar char="•"/>
              <a:defRPr lang="en-US" sz="1600" kern="1200" dirty="0">
                <a:solidFill>
                  <a:schemeClr val="tx1"/>
                </a:solidFill>
                <a:latin typeface="+mn-lt"/>
                <a:ea typeface="+mn-ea"/>
                <a:cs typeface="+mn-cs"/>
              </a:defRPr>
            </a:lvl4pPr>
            <a:lvl5pPr marL="813600" indent="-147600" algn="l" defTabSz="914400" rtl="0" eaLnBrk="1" latinLnBrk="0" hangingPunct="1">
              <a:lnSpc>
                <a:spcPct val="100000"/>
              </a:lnSpc>
              <a:spcBef>
                <a:spcPts val="0"/>
              </a:spcBef>
              <a:spcAft>
                <a:spcPts val="300"/>
              </a:spcAft>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r>
              <a:rPr kumimoji="0" lang="en-US" altLang="en-US" sz="14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2021</a:t>
            </a:r>
            <a:endParaRPr kumimoji="0" lang="en-US" sz="14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
        <p:nvSpPr>
          <p:cNvPr id="19" name="Text Placeholder 4">
            <a:extLst>
              <a:ext uri="{FF2B5EF4-FFF2-40B4-BE49-F238E27FC236}">
                <a16:creationId xmlns:a16="http://schemas.microsoft.com/office/drawing/2014/main" id="{C26082F5-E688-360F-CB4A-C9A7F3602C93}"/>
              </a:ext>
            </a:extLst>
          </p:cNvPr>
          <p:cNvSpPr>
            <a:spLocks noGrp="1"/>
          </p:cNvSpPr>
          <p:nvPr>
            <p:custDataLst>
              <p:tags r:id="rId16"/>
            </p:custDataLst>
          </p:nvPr>
        </p:nvSpPr>
        <p:spPr bwMode="auto">
          <a:xfrm>
            <a:off x="8089900" y="5508625"/>
            <a:ext cx="40640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30400" algn="l" defTabSz="914400" rtl="0" eaLnBrk="1" latinLnBrk="0" hangingPunct="1">
              <a:lnSpc>
                <a:spcPct val="100000"/>
              </a:lnSpc>
              <a:spcBef>
                <a:spcPts val="0"/>
              </a:spcBef>
              <a:spcAft>
                <a:spcPts val="300"/>
              </a:spcAft>
              <a:buSzPct val="110000"/>
              <a:buFont typeface="Wingdings" panose="05000000000000000000" pitchFamily="2" charset="2"/>
              <a:buChar char=""/>
              <a:defRPr lang="en-US" sz="1600" kern="1200" dirty="0">
                <a:solidFill>
                  <a:schemeClr val="tx1"/>
                </a:solidFill>
                <a:latin typeface="+mn-lt"/>
                <a:ea typeface="+mn-ea"/>
                <a:cs typeface="+mn-cs"/>
              </a:defRPr>
            </a:lvl2pPr>
            <a:lvl3pPr marL="439200" indent="-208800" algn="l" defTabSz="914400" rtl="0" eaLnBrk="1" latinLnBrk="0" hangingPunct="1">
              <a:lnSpc>
                <a:spcPct val="100000"/>
              </a:lnSpc>
              <a:spcBef>
                <a:spcPts val="0"/>
              </a:spcBef>
              <a:spcAft>
                <a:spcPts val="300"/>
              </a:spcAft>
              <a:buSzPct val="110000"/>
              <a:buFont typeface="Arial" panose="020B0604020202020204" pitchFamily="34" charset="0"/>
              <a:buChar char="‒"/>
              <a:defRPr lang="en-US" sz="1600" kern="1200" dirty="0">
                <a:solidFill>
                  <a:schemeClr val="tx1"/>
                </a:solidFill>
                <a:latin typeface="+mn-lt"/>
                <a:ea typeface="+mn-ea"/>
                <a:cs typeface="+mn-cs"/>
              </a:defRPr>
            </a:lvl3pPr>
            <a:lvl4pPr marL="604800" indent="-154800" algn="l" defTabSz="914400" rtl="0" eaLnBrk="1" latinLnBrk="0" hangingPunct="1">
              <a:lnSpc>
                <a:spcPct val="100000"/>
              </a:lnSpc>
              <a:spcBef>
                <a:spcPts val="0"/>
              </a:spcBef>
              <a:spcAft>
                <a:spcPts val="300"/>
              </a:spcAft>
              <a:buFont typeface="Arial" panose="020B0604020202020204" pitchFamily="34" charset="0"/>
              <a:buChar char="•"/>
              <a:defRPr lang="en-US" sz="1600" kern="1200" dirty="0">
                <a:solidFill>
                  <a:schemeClr val="tx1"/>
                </a:solidFill>
                <a:latin typeface="+mn-lt"/>
                <a:ea typeface="+mn-ea"/>
                <a:cs typeface="+mn-cs"/>
              </a:defRPr>
            </a:lvl4pPr>
            <a:lvl5pPr marL="813600" indent="-147600" algn="l" defTabSz="914400" rtl="0" eaLnBrk="1" latinLnBrk="0" hangingPunct="1">
              <a:lnSpc>
                <a:spcPct val="100000"/>
              </a:lnSpc>
              <a:spcBef>
                <a:spcPts val="0"/>
              </a:spcBef>
              <a:spcAft>
                <a:spcPts val="300"/>
              </a:spcAft>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r>
              <a:rPr kumimoji="0" lang="en-US" altLang="en-US" sz="14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2050</a:t>
            </a:r>
            <a:endParaRPr kumimoji="0" lang="en-US" sz="14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
        <p:nvSpPr>
          <p:cNvPr id="20" name="Text Placeholder 4">
            <a:extLst>
              <a:ext uri="{FF2B5EF4-FFF2-40B4-BE49-F238E27FC236}">
                <a16:creationId xmlns:a16="http://schemas.microsoft.com/office/drawing/2014/main" id="{7D9FEFEC-7752-6179-5BE9-243906C30E66}"/>
              </a:ext>
            </a:extLst>
          </p:cNvPr>
          <p:cNvSpPr>
            <a:spLocks noGrp="1"/>
          </p:cNvSpPr>
          <p:nvPr>
            <p:custDataLst>
              <p:tags r:id="rId17"/>
            </p:custDataLst>
          </p:nvPr>
        </p:nvSpPr>
        <p:spPr bwMode="gray">
          <a:xfrm>
            <a:off x="6010275" y="4038100"/>
            <a:ext cx="493713"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numCol="1" spcCol="0" rtlCol="0" anchor="b"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30400" algn="l" defTabSz="914400" rtl="0" eaLnBrk="1" latinLnBrk="0" hangingPunct="1">
              <a:lnSpc>
                <a:spcPct val="100000"/>
              </a:lnSpc>
              <a:spcBef>
                <a:spcPts val="0"/>
              </a:spcBef>
              <a:spcAft>
                <a:spcPts val="300"/>
              </a:spcAft>
              <a:buSzPct val="110000"/>
              <a:buFont typeface="Wingdings" panose="05000000000000000000" pitchFamily="2" charset="2"/>
              <a:buChar char=""/>
              <a:defRPr lang="en-US" sz="1600" kern="1200" dirty="0">
                <a:solidFill>
                  <a:schemeClr val="tx1"/>
                </a:solidFill>
                <a:latin typeface="+mn-lt"/>
                <a:ea typeface="+mn-ea"/>
                <a:cs typeface="+mn-cs"/>
              </a:defRPr>
            </a:lvl2pPr>
            <a:lvl3pPr marL="439200" indent="-208800" algn="l" defTabSz="914400" rtl="0" eaLnBrk="1" latinLnBrk="0" hangingPunct="1">
              <a:lnSpc>
                <a:spcPct val="100000"/>
              </a:lnSpc>
              <a:spcBef>
                <a:spcPts val="0"/>
              </a:spcBef>
              <a:spcAft>
                <a:spcPts val="300"/>
              </a:spcAft>
              <a:buSzPct val="110000"/>
              <a:buFont typeface="Arial" panose="020B0604020202020204" pitchFamily="34" charset="0"/>
              <a:buChar char="‒"/>
              <a:defRPr lang="en-US" sz="1600" kern="1200" dirty="0">
                <a:solidFill>
                  <a:schemeClr val="tx1"/>
                </a:solidFill>
                <a:latin typeface="+mn-lt"/>
                <a:ea typeface="+mn-ea"/>
                <a:cs typeface="+mn-cs"/>
              </a:defRPr>
            </a:lvl3pPr>
            <a:lvl4pPr marL="604800" indent="-154800" algn="l" defTabSz="914400" rtl="0" eaLnBrk="1" latinLnBrk="0" hangingPunct="1">
              <a:lnSpc>
                <a:spcPct val="100000"/>
              </a:lnSpc>
              <a:spcBef>
                <a:spcPts val="0"/>
              </a:spcBef>
              <a:spcAft>
                <a:spcPts val="300"/>
              </a:spcAft>
              <a:buFont typeface="Arial" panose="020B0604020202020204" pitchFamily="34" charset="0"/>
              <a:buChar char="•"/>
              <a:defRPr lang="en-US" sz="1600" kern="1200" dirty="0">
                <a:solidFill>
                  <a:schemeClr val="tx1"/>
                </a:solidFill>
                <a:latin typeface="+mn-lt"/>
                <a:ea typeface="+mn-ea"/>
                <a:cs typeface="+mn-cs"/>
              </a:defRPr>
            </a:lvl4pPr>
            <a:lvl5pPr marL="813600" indent="-147600" algn="l" defTabSz="914400" rtl="0" eaLnBrk="1" latinLnBrk="0" hangingPunct="1">
              <a:lnSpc>
                <a:spcPct val="100000"/>
              </a:lnSpc>
              <a:spcBef>
                <a:spcPts val="0"/>
              </a:spcBef>
              <a:spcAft>
                <a:spcPts val="300"/>
              </a:spcAft>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fld id="{272698DD-4639-4288-A0C2-49420E5FD134}" type="datetime'''''''''''''1'''',''''''''''2''''''''7''''''8'''''''''''''''''">
              <a:rPr kumimoji="0" lang="en-US" altLang="en-US" sz="1400" b="1"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ctr"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t>1,278</a:t>
            </a:fld>
            <a:endParaRPr kumimoji="0" lang="en-US" sz="1400" b="1"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
        <p:nvSpPr>
          <p:cNvPr id="21" name="Text Placeholder 4">
            <a:extLst>
              <a:ext uri="{FF2B5EF4-FFF2-40B4-BE49-F238E27FC236}">
                <a16:creationId xmlns:a16="http://schemas.microsoft.com/office/drawing/2014/main" id="{F832A2DB-6786-9D6B-40C7-628483AFC3CD}"/>
              </a:ext>
            </a:extLst>
          </p:cNvPr>
          <p:cNvSpPr>
            <a:spLocks noGrp="1"/>
          </p:cNvSpPr>
          <p:nvPr>
            <p:custDataLst>
              <p:tags r:id="rId18"/>
            </p:custDataLst>
          </p:nvPr>
        </p:nvSpPr>
        <p:spPr bwMode="gray">
          <a:xfrm>
            <a:off x="8047039" y="1717716"/>
            <a:ext cx="493713"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numCol="1" spcCol="0" rtlCol="0" anchor="b"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30400" algn="l" defTabSz="914400" rtl="0" eaLnBrk="1" latinLnBrk="0" hangingPunct="1">
              <a:lnSpc>
                <a:spcPct val="100000"/>
              </a:lnSpc>
              <a:spcBef>
                <a:spcPts val="0"/>
              </a:spcBef>
              <a:spcAft>
                <a:spcPts val="300"/>
              </a:spcAft>
              <a:buSzPct val="110000"/>
              <a:buFont typeface="Wingdings" panose="05000000000000000000" pitchFamily="2" charset="2"/>
              <a:buChar char=""/>
              <a:defRPr lang="en-US" sz="1600" kern="1200" dirty="0">
                <a:solidFill>
                  <a:schemeClr val="tx1"/>
                </a:solidFill>
                <a:latin typeface="+mn-lt"/>
                <a:ea typeface="+mn-ea"/>
                <a:cs typeface="+mn-cs"/>
              </a:defRPr>
            </a:lvl2pPr>
            <a:lvl3pPr marL="439200" indent="-208800" algn="l" defTabSz="914400" rtl="0" eaLnBrk="1" latinLnBrk="0" hangingPunct="1">
              <a:lnSpc>
                <a:spcPct val="100000"/>
              </a:lnSpc>
              <a:spcBef>
                <a:spcPts val="0"/>
              </a:spcBef>
              <a:spcAft>
                <a:spcPts val="300"/>
              </a:spcAft>
              <a:buSzPct val="110000"/>
              <a:buFont typeface="Arial" panose="020B0604020202020204" pitchFamily="34" charset="0"/>
              <a:buChar char="‒"/>
              <a:defRPr lang="en-US" sz="1600" kern="1200" dirty="0">
                <a:solidFill>
                  <a:schemeClr val="tx1"/>
                </a:solidFill>
                <a:latin typeface="+mn-lt"/>
                <a:ea typeface="+mn-ea"/>
                <a:cs typeface="+mn-cs"/>
              </a:defRPr>
            </a:lvl3pPr>
            <a:lvl4pPr marL="604800" indent="-154800" algn="l" defTabSz="914400" rtl="0" eaLnBrk="1" latinLnBrk="0" hangingPunct="1">
              <a:lnSpc>
                <a:spcPct val="100000"/>
              </a:lnSpc>
              <a:spcBef>
                <a:spcPts val="0"/>
              </a:spcBef>
              <a:spcAft>
                <a:spcPts val="300"/>
              </a:spcAft>
              <a:buFont typeface="Arial" panose="020B0604020202020204" pitchFamily="34" charset="0"/>
              <a:buChar char="•"/>
              <a:defRPr lang="en-US" sz="1600" kern="1200" dirty="0">
                <a:solidFill>
                  <a:schemeClr val="tx1"/>
                </a:solidFill>
                <a:latin typeface="+mn-lt"/>
                <a:ea typeface="+mn-ea"/>
                <a:cs typeface="+mn-cs"/>
              </a:defRPr>
            </a:lvl4pPr>
            <a:lvl5pPr marL="813600" indent="-147600" algn="l" defTabSz="914400" rtl="0" eaLnBrk="1" latinLnBrk="0" hangingPunct="1">
              <a:lnSpc>
                <a:spcPct val="100000"/>
              </a:lnSpc>
              <a:spcBef>
                <a:spcPts val="0"/>
              </a:spcBef>
              <a:spcAft>
                <a:spcPts val="300"/>
              </a:spcAft>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fld id="{F1F63439-563E-4569-A072-D99D61FDB732}" type="datetime'''''''''''''''''''''''''''''''''3,''''''8''''''''''78'">
              <a:rPr kumimoji="0" lang="en-US" altLang="en-US" sz="1400" b="1"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ctr"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t>3,878</a:t>
            </a:fld>
            <a:endParaRPr kumimoji="0" lang="en-US" sz="1400" b="1"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
        <p:nvSpPr>
          <p:cNvPr id="22" name="ACET">
            <a:extLst>
              <a:ext uri="{FF2B5EF4-FFF2-40B4-BE49-F238E27FC236}">
                <a16:creationId xmlns:a16="http://schemas.microsoft.com/office/drawing/2014/main" id="{340D41AA-2CD2-72FB-378B-8CB014207661}"/>
              </a:ext>
            </a:extLst>
          </p:cNvPr>
          <p:cNvSpPr txBox="1">
            <a:spLocks/>
          </p:cNvSpPr>
          <p:nvPr>
            <p:custDataLst>
              <p:tags r:id="rId19"/>
            </p:custDataLst>
          </p:nvPr>
        </p:nvSpPr>
        <p:spPr>
          <a:xfrm>
            <a:off x="554735" y="1411763"/>
            <a:ext cx="4156965" cy="215900"/>
          </a:xfrm>
          <a:prstGeom prst="rect">
            <a:avLst/>
          </a:prstGeom>
        </p:spPr>
        <p:txBody>
          <a:bodyPr vert="horz" wrap="square" lIns="0" tIns="0" rIns="0" bIns="0" rtlCol="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600"/>
              </a:spcAft>
              <a:buClrTx/>
              <a:buSzTx/>
              <a:buFont typeface="Segoe UI" panose="020B0502040204020203" pitchFamily="34" charset="0"/>
              <a:buChar char="​"/>
              <a:tabLst/>
              <a:defRPr/>
            </a:pPr>
            <a:r>
              <a:rPr kumimoji="0" lang="en-US" sz="1400" b="1" i="0" u="none" strike="noStrike" kern="1200" cap="none" spc="0" normalizeH="0" baseline="0" noProof="0">
                <a:ln>
                  <a:noFill/>
                </a:ln>
                <a:solidFill>
                  <a:srgbClr val="000000"/>
                </a:solidFill>
                <a:effectLst/>
                <a:uLnTx/>
                <a:uFillTx/>
                <a:latin typeface="Arial"/>
                <a:ea typeface="+mn-ea"/>
                <a:cs typeface="Arial" panose="020B0604020202020204" pitchFamily="34" charset="0"/>
              </a:rPr>
              <a:t>Capacity in </a:t>
            </a:r>
            <a:r>
              <a:rPr lang="en-US" sz="1400" b="1">
                <a:solidFill>
                  <a:srgbClr val="000000"/>
                </a:solidFill>
                <a:latin typeface="Arial"/>
              </a:rPr>
              <a:t>lower</a:t>
            </a:r>
            <a:r>
              <a:rPr kumimoji="0" lang="en-US" sz="1400" b="1" i="0" u="none" strike="noStrike" kern="1200" cap="none" spc="0" normalizeH="0" baseline="0" noProof="0">
                <a:ln>
                  <a:noFill/>
                </a:ln>
                <a:solidFill>
                  <a:srgbClr val="000000"/>
                </a:solidFill>
                <a:effectLst/>
                <a:uLnTx/>
                <a:uFillTx/>
                <a:latin typeface="Arial"/>
                <a:ea typeface="+mn-ea"/>
                <a:cs typeface="Arial" panose="020B0604020202020204" pitchFamily="34" charset="0"/>
              </a:rPr>
              <a:t> renewables case, </a:t>
            </a:r>
            <a:r>
              <a:rPr kumimoji="0" lang="en-US" sz="14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GW</a:t>
            </a:r>
          </a:p>
        </p:txBody>
      </p:sp>
      <p:sp>
        <p:nvSpPr>
          <p:cNvPr id="23" name="ACET">
            <a:extLst>
              <a:ext uri="{FF2B5EF4-FFF2-40B4-BE49-F238E27FC236}">
                <a16:creationId xmlns:a16="http://schemas.microsoft.com/office/drawing/2014/main" id="{323D8216-0A95-1137-90FA-46687DE50DBC}"/>
              </a:ext>
            </a:extLst>
          </p:cNvPr>
          <p:cNvSpPr txBox="1">
            <a:spLocks/>
          </p:cNvSpPr>
          <p:nvPr>
            <p:custDataLst>
              <p:tags r:id="rId20"/>
            </p:custDataLst>
          </p:nvPr>
        </p:nvSpPr>
        <p:spPr>
          <a:xfrm>
            <a:off x="5237861" y="1411763"/>
            <a:ext cx="4240212" cy="215900"/>
          </a:xfrm>
          <a:prstGeom prst="rect">
            <a:avLst/>
          </a:prstGeom>
        </p:spPr>
        <p:txBody>
          <a:bodyPr vert="horz" wrap="square" lIns="0" tIns="0" rIns="0" bIns="0" rtlCol="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600"/>
              </a:spcAft>
              <a:buClrTx/>
              <a:buSzTx/>
              <a:buFont typeface="Segoe UI" panose="020B0502040204020203" pitchFamily="34" charset="0"/>
              <a:buChar char="​"/>
              <a:tabLst/>
              <a:defRPr/>
            </a:pPr>
            <a:r>
              <a:rPr kumimoji="0" lang="en-US" sz="1400" b="1" i="0" u="none" strike="noStrike" kern="1200" cap="none" spc="0" normalizeH="0" baseline="0" noProof="0">
                <a:ln>
                  <a:noFill/>
                </a:ln>
                <a:solidFill>
                  <a:srgbClr val="000000"/>
                </a:solidFill>
                <a:effectLst/>
                <a:uLnTx/>
                <a:uFillTx/>
                <a:latin typeface="Arial"/>
                <a:ea typeface="+mn-ea"/>
                <a:cs typeface="Arial" panose="020B0604020202020204" pitchFamily="34" charset="0"/>
              </a:rPr>
              <a:t>Capacity in higher renewables case, </a:t>
            </a:r>
            <a:r>
              <a:rPr kumimoji="0" lang="en-US" sz="14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GW</a:t>
            </a:r>
          </a:p>
        </p:txBody>
      </p:sp>
      <p:sp>
        <p:nvSpPr>
          <p:cNvPr id="24" name="TrackerNumBlue 18">
            <a:extLst>
              <a:ext uri="{FF2B5EF4-FFF2-40B4-BE49-F238E27FC236}">
                <a16:creationId xmlns:a16="http://schemas.microsoft.com/office/drawing/2014/main" id="{7CDB1403-8FE3-48C9-8B5E-D4F717A7FDC7}"/>
              </a:ext>
            </a:extLst>
          </p:cNvPr>
          <p:cNvSpPr/>
          <p:nvPr>
            <p:custDataLst>
              <p:tags r:id="rId21"/>
            </p:custDataLst>
          </p:nvPr>
        </p:nvSpPr>
        <p:spPr>
          <a:xfrm>
            <a:off x="4439522" y="4864145"/>
            <a:ext cx="544354" cy="279340"/>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US" sz="1200" b="1" i="0" u="none" strike="noStrike" kern="1200" cap="none" spc="0" normalizeH="0" baseline="0" noProof="0">
                <a:ln>
                  <a:noFill/>
                </a:ln>
                <a:solidFill>
                  <a:srgbClr val="FFFFFF"/>
                </a:solidFill>
                <a:effectLst/>
                <a:uLnTx/>
                <a:uFillTx/>
                <a:latin typeface="Arial"/>
                <a:ea typeface="+mn-ea"/>
                <a:cs typeface="+mn-cs"/>
              </a:rPr>
              <a:t>37%</a:t>
            </a:r>
          </a:p>
        </p:txBody>
      </p:sp>
      <p:sp>
        <p:nvSpPr>
          <p:cNvPr id="25" name="TrackerNumBlue 18">
            <a:extLst>
              <a:ext uri="{FF2B5EF4-FFF2-40B4-BE49-F238E27FC236}">
                <a16:creationId xmlns:a16="http://schemas.microsoft.com/office/drawing/2014/main" id="{CA4567EF-44C8-4B6E-0C3B-C9192AF46E97}"/>
              </a:ext>
            </a:extLst>
          </p:cNvPr>
          <p:cNvSpPr/>
          <p:nvPr>
            <p:custDataLst>
              <p:tags r:id="rId22"/>
            </p:custDataLst>
          </p:nvPr>
        </p:nvSpPr>
        <p:spPr>
          <a:xfrm>
            <a:off x="4439522" y="4200555"/>
            <a:ext cx="544354" cy="279340"/>
          </a:xfrm>
          <a:prstGeom prst="ellipse">
            <a:avLst/>
          </a:prstGeom>
          <a:solidFill>
            <a:schemeClr val="accent2"/>
          </a:solidFill>
          <a:ln w="6350" cap="sq"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US" sz="1200" b="1" i="0" u="none" strike="noStrike" kern="1200" cap="none" spc="0" normalizeH="0" baseline="0" noProof="0">
                <a:ln>
                  <a:noFill/>
                </a:ln>
                <a:solidFill>
                  <a:srgbClr val="FFFFFF"/>
                </a:solidFill>
                <a:effectLst/>
                <a:uLnTx/>
                <a:uFillTx/>
                <a:latin typeface="Arial"/>
                <a:ea typeface="+mn-ea"/>
                <a:cs typeface="+mn-cs"/>
              </a:rPr>
              <a:t>19%</a:t>
            </a:r>
          </a:p>
        </p:txBody>
      </p:sp>
      <p:sp>
        <p:nvSpPr>
          <p:cNvPr id="26" name="TrackerNumBlue 18">
            <a:extLst>
              <a:ext uri="{FF2B5EF4-FFF2-40B4-BE49-F238E27FC236}">
                <a16:creationId xmlns:a16="http://schemas.microsoft.com/office/drawing/2014/main" id="{91E28EED-F5C8-4666-74A7-74AB2C672899}"/>
              </a:ext>
            </a:extLst>
          </p:cNvPr>
          <p:cNvSpPr/>
          <p:nvPr>
            <p:custDataLst>
              <p:tags r:id="rId23"/>
            </p:custDataLst>
          </p:nvPr>
        </p:nvSpPr>
        <p:spPr>
          <a:xfrm>
            <a:off x="4439522" y="3478488"/>
            <a:ext cx="544354" cy="279340"/>
          </a:xfrm>
          <a:prstGeom prst="ellipse">
            <a:avLst/>
          </a:prstGeom>
          <a:solidFill>
            <a:schemeClr val="accent4"/>
          </a:solidFill>
          <a:ln w="6350" cap="sq"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a:ea typeface="+mn-ea"/>
                <a:cs typeface="+mn-cs"/>
              </a:rPr>
              <a:t>44%</a:t>
            </a:r>
          </a:p>
        </p:txBody>
      </p:sp>
      <p:sp>
        <p:nvSpPr>
          <p:cNvPr id="27" name="TrackerNumBlue 18">
            <a:extLst>
              <a:ext uri="{FF2B5EF4-FFF2-40B4-BE49-F238E27FC236}">
                <a16:creationId xmlns:a16="http://schemas.microsoft.com/office/drawing/2014/main" id="{F03C89FF-E21D-B20D-4293-CCA0807FE908}"/>
              </a:ext>
            </a:extLst>
          </p:cNvPr>
          <p:cNvSpPr/>
          <p:nvPr>
            <p:custDataLst>
              <p:tags r:id="rId24"/>
            </p:custDataLst>
          </p:nvPr>
        </p:nvSpPr>
        <p:spPr>
          <a:xfrm>
            <a:off x="9122648" y="5013445"/>
            <a:ext cx="544354" cy="279340"/>
          </a:xfrm>
          <a:prstGeom prst="ellipse">
            <a:avLst/>
          </a:prstGeom>
          <a:solidFill>
            <a:schemeClr val="accent1"/>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US" sz="1200" b="1" i="0" u="none" strike="noStrike" kern="1200" cap="none" spc="0" normalizeH="0" baseline="0" noProof="0">
                <a:ln>
                  <a:noFill/>
                </a:ln>
                <a:solidFill>
                  <a:srgbClr val="FFFFFF"/>
                </a:solidFill>
                <a:effectLst/>
                <a:uLnTx/>
                <a:uFillTx/>
                <a:latin typeface="Arial"/>
                <a:ea typeface="+mn-ea"/>
                <a:cs typeface="+mn-cs"/>
              </a:rPr>
              <a:t>19%</a:t>
            </a:r>
          </a:p>
        </p:txBody>
      </p:sp>
      <p:sp>
        <p:nvSpPr>
          <p:cNvPr id="28" name="TrackerNumBlue 18">
            <a:extLst>
              <a:ext uri="{FF2B5EF4-FFF2-40B4-BE49-F238E27FC236}">
                <a16:creationId xmlns:a16="http://schemas.microsoft.com/office/drawing/2014/main" id="{82548B36-D3AF-86DE-F1CF-3B2479D1DAB5}"/>
              </a:ext>
            </a:extLst>
          </p:cNvPr>
          <p:cNvSpPr/>
          <p:nvPr>
            <p:custDataLst>
              <p:tags r:id="rId25"/>
            </p:custDataLst>
          </p:nvPr>
        </p:nvSpPr>
        <p:spPr>
          <a:xfrm>
            <a:off x="9122648" y="4552950"/>
            <a:ext cx="544354" cy="279340"/>
          </a:xfrm>
          <a:prstGeom prst="ellipse">
            <a:avLst/>
          </a:prstGeom>
          <a:solidFill>
            <a:schemeClr val="accent2"/>
          </a:solidFill>
          <a:ln w="6350" cap="sq"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US" sz="1200" b="1" i="0" u="none" strike="noStrike" kern="1200" cap="none" spc="0" normalizeH="0" baseline="0" noProof="0">
                <a:ln>
                  <a:noFill/>
                </a:ln>
                <a:solidFill>
                  <a:srgbClr val="FFFFFF"/>
                </a:solidFill>
                <a:effectLst/>
                <a:uLnTx/>
                <a:uFillTx/>
                <a:latin typeface="Arial"/>
                <a:ea typeface="+mn-ea"/>
                <a:cs typeface="+mn-cs"/>
              </a:rPr>
              <a:t>14%</a:t>
            </a:r>
          </a:p>
        </p:txBody>
      </p:sp>
      <p:sp>
        <p:nvSpPr>
          <p:cNvPr id="29" name="TrackerNumBlue 18">
            <a:extLst>
              <a:ext uri="{FF2B5EF4-FFF2-40B4-BE49-F238E27FC236}">
                <a16:creationId xmlns:a16="http://schemas.microsoft.com/office/drawing/2014/main" id="{1556177F-93AF-B4C6-A935-4AAE7F85E96F}"/>
              </a:ext>
            </a:extLst>
          </p:cNvPr>
          <p:cNvSpPr/>
          <p:nvPr>
            <p:custDataLst>
              <p:tags r:id="rId26"/>
            </p:custDataLst>
          </p:nvPr>
        </p:nvSpPr>
        <p:spPr>
          <a:xfrm>
            <a:off x="9122648" y="3429000"/>
            <a:ext cx="544354" cy="279340"/>
          </a:xfrm>
          <a:prstGeom prst="ellipse">
            <a:avLst/>
          </a:prstGeom>
          <a:solidFill>
            <a:schemeClr val="accent4"/>
          </a:solidFill>
          <a:ln w="6350" cap="sq"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a:ea typeface="+mn-ea"/>
                <a:cs typeface="+mn-cs"/>
              </a:rPr>
              <a:t>67%</a:t>
            </a:r>
          </a:p>
        </p:txBody>
      </p:sp>
      <p:sp>
        <p:nvSpPr>
          <p:cNvPr id="30" name="TextBox 29">
            <a:extLst>
              <a:ext uri="{FF2B5EF4-FFF2-40B4-BE49-F238E27FC236}">
                <a16:creationId xmlns:a16="http://schemas.microsoft.com/office/drawing/2014/main" id="{E3A5D057-D87B-FDA4-B961-6CA83475E4B7}"/>
              </a:ext>
            </a:extLst>
          </p:cNvPr>
          <p:cNvSpPr txBox="1">
            <a:spLocks/>
          </p:cNvSpPr>
          <p:nvPr/>
        </p:nvSpPr>
        <p:spPr>
          <a:xfrm>
            <a:off x="554735" y="5862525"/>
            <a:ext cx="4240212" cy="457200"/>
          </a:xfrm>
          <a:prstGeom prst="rect">
            <a:avLst/>
          </a:prstGeom>
        </p:spPr>
        <p:txBody>
          <a:bodyPr vert="horz" wrap="square" lIns="0" tIns="0" rIns="0" bIns="0" rtlCol="0">
            <a:no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228600" lvl="1" indent="-230400">
              <a:lnSpc>
                <a:spcPct val="100000"/>
              </a:lnSpc>
              <a:spcBef>
                <a:spcPts val="0"/>
              </a:spcBef>
              <a:spcAft>
                <a:spcPts val="300"/>
              </a:spcAft>
              <a:buSzPct val="110000"/>
              <a:buFont typeface="Wingdings" panose="05000000000000000000" pitchFamily="2" charset="2"/>
              <a:buChar char=""/>
              <a:defRPr lang="en-US" sz="1600" dirty="0"/>
            </a:lvl2pPr>
            <a:lvl3pPr marL="439200" lvl="2" indent="-208800">
              <a:lnSpc>
                <a:spcPct val="100000"/>
              </a:lnSpc>
              <a:spcBef>
                <a:spcPts val="0"/>
              </a:spcBef>
              <a:spcAft>
                <a:spcPts val="300"/>
              </a:spcAft>
              <a:buSzPct val="110000"/>
              <a:buFont typeface="Arial" panose="020B0604020202020204" pitchFamily="34" charset="0"/>
              <a:buChar char="‒"/>
              <a:defRPr lang="en-US" sz="1600" dirty="0"/>
            </a:lvl3pPr>
            <a:lvl4pPr marL="604800" lvl="3" indent="-154800">
              <a:lnSpc>
                <a:spcPct val="100000"/>
              </a:lnSpc>
              <a:spcBef>
                <a:spcPts val="0"/>
              </a:spcBef>
              <a:spcAft>
                <a:spcPts val="300"/>
              </a:spcAft>
              <a:buFont typeface="Arial" panose="020B0604020202020204" pitchFamily="34" charset="0"/>
              <a:buChar char="•"/>
              <a:defRPr lang="en-US" sz="1600" dirty="0"/>
            </a:lvl4pPr>
            <a:lvl5pPr marL="813600" lvl="4" indent="-147600">
              <a:lnSpc>
                <a:spcPct val="100000"/>
              </a:lnSpc>
              <a:spcBef>
                <a:spcPts val="0"/>
              </a:spcBef>
              <a:spcAft>
                <a:spcPts val="300"/>
              </a:spcAft>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2400" b="1" i="0" u="none" strike="noStrike" kern="1200" cap="none" spc="0" normalizeH="0" baseline="0" noProof="0">
                <a:ln>
                  <a:noFill/>
                </a:ln>
                <a:solidFill>
                  <a:schemeClr val="accent1"/>
                </a:solidFill>
                <a:effectLst/>
                <a:uLnTx/>
                <a:uFillTx/>
                <a:latin typeface="Arial"/>
                <a:ea typeface="+mn-ea"/>
                <a:cs typeface="Arial" panose="020B0604020202020204" pitchFamily="34" charset="0"/>
              </a:rPr>
              <a:t>~5x clean, firm (</a:t>
            </a:r>
            <a:r>
              <a:rPr lang="en-US" sz="2400" b="1">
                <a:solidFill>
                  <a:schemeClr val="accent1"/>
                </a:solidFill>
                <a:latin typeface="Arial"/>
              </a:rPr>
              <a:t>~770 GW)</a:t>
            </a:r>
          </a:p>
        </p:txBody>
      </p:sp>
      <p:cxnSp>
        <p:nvCxnSpPr>
          <p:cNvPr id="31" name="LineBasicDefault 6">
            <a:extLst>
              <a:ext uri="{FF2B5EF4-FFF2-40B4-BE49-F238E27FC236}">
                <a16:creationId xmlns:a16="http://schemas.microsoft.com/office/drawing/2014/main" id="{FAB9D5B4-BF56-4AC1-56D0-280723DA76F1}"/>
              </a:ext>
            </a:extLst>
          </p:cNvPr>
          <p:cNvCxnSpPr>
            <a:cxnSpLocks/>
          </p:cNvCxnSpPr>
          <p:nvPr>
            <p:custDataLst>
              <p:tags r:id="rId27"/>
            </p:custDataLst>
          </p:nvPr>
        </p:nvCxnSpPr>
        <p:spPr>
          <a:xfrm>
            <a:off x="554735" y="1627663"/>
            <a:ext cx="4240212"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32" name="LineBasicDefault 6">
            <a:extLst>
              <a:ext uri="{FF2B5EF4-FFF2-40B4-BE49-F238E27FC236}">
                <a16:creationId xmlns:a16="http://schemas.microsoft.com/office/drawing/2014/main" id="{4A3B825F-987D-7D1C-A146-F644D6315E56}"/>
              </a:ext>
            </a:extLst>
          </p:cNvPr>
          <p:cNvCxnSpPr>
            <a:cxnSpLocks/>
          </p:cNvCxnSpPr>
          <p:nvPr>
            <p:custDataLst>
              <p:tags r:id="rId28"/>
            </p:custDataLst>
          </p:nvPr>
        </p:nvCxnSpPr>
        <p:spPr>
          <a:xfrm>
            <a:off x="5237861" y="1627663"/>
            <a:ext cx="4240212"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33" name="TextBox 32">
            <a:extLst>
              <a:ext uri="{FF2B5EF4-FFF2-40B4-BE49-F238E27FC236}">
                <a16:creationId xmlns:a16="http://schemas.microsoft.com/office/drawing/2014/main" id="{7B79A347-EA11-74A7-E946-CE65E8549216}"/>
              </a:ext>
            </a:extLst>
          </p:cNvPr>
          <p:cNvSpPr txBox="1">
            <a:spLocks/>
          </p:cNvSpPr>
          <p:nvPr/>
        </p:nvSpPr>
        <p:spPr>
          <a:xfrm>
            <a:off x="5246918" y="5862525"/>
            <a:ext cx="4242816" cy="457200"/>
          </a:xfrm>
          <a:prstGeom prst="rect">
            <a:avLst/>
          </a:prstGeom>
        </p:spPr>
        <p:txBody>
          <a:bodyPr vert="horz" wrap="square" lIns="0" tIns="0" rIns="0" bIns="0" rtlCol="0">
            <a:no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228600" lvl="1" indent="-230400">
              <a:lnSpc>
                <a:spcPct val="100000"/>
              </a:lnSpc>
              <a:spcBef>
                <a:spcPts val="0"/>
              </a:spcBef>
              <a:spcAft>
                <a:spcPts val="300"/>
              </a:spcAft>
              <a:buSzPct val="110000"/>
              <a:buFont typeface="Wingdings" panose="05000000000000000000" pitchFamily="2" charset="2"/>
              <a:buChar char=""/>
              <a:defRPr lang="en-US" sz="1600" dirty="0"/>
            </a:lvl2pPr>
            <a:lvl3pPr marL="439200" lvl="2" indent="-208800">
              <a:lnSpc>
                <a:spcPct val="100000"/>
              </a:lnSpc>
              <a:spcBef>
                <a:spcPts val="0"/>
              </a:spcBef>
              <a:spcAft>
                <a:spcPts val="300"/>
              </a:spcAft>
              <a:buSzPct val="110000"/>
              <a:buFont typeface="Arial" panose="020B0604020202020204" pitchFamily="34" charset="0"/>
              <a:buChar char="‒"/>
              <a:defRPr lang="en-US" sz="1600" dirty="0"/>
            </a:lvl3pPr>
            <a:lvl4pPr marL="604800" lvl="3" indent="-154800">
              <a:lnSpc>
                <a:spcPct val="100000"/>
              </a:lnSpc>
              <a:spcBef>
                <a:spcPts val="0"/>
              </a:spcBef>
              <a:spcAft>
                <a:spcPts val="300"/>
              </a:spcAft>
              <a:buFont typeface="Arial" panose="020B0604020202020204" pitchFamily="34" charset="0"/>
              <a:buChar char="•"/>
              <a:defRPr lang="en-US" sz="1600" dirty="0"/>
            </a:lvl4pPr>
            <a:lvl5pPr marL="813600" lvl="4" indent="-147600">
              <a:lnSpc>
                <a:spcPct val="100000"/>
              </a:lnSpc>
              <a:spcBef>
                <a:spcPts val="0"/>
              </a:spcBef>
              <a:spcAft>
                <a:spcPts val="300"/>
              </a:spcAft>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2400" b="1" i="0" u="none" strike="noStrike" kern="1200" cap="none" spc="0" normalizeH="0" baseline="0" noProof="0">
                <a:ln>
                  <a:noFill/>
                </a:ln>
                <a:solidFill>
                  <a:schemeClr val="accent1"/>
                </a:solidFill>
                <a:effectLst/>
                <a:uLnTx/>
                <a:uFillTx/>
                <a:latin typeface="Arial"/>
                <a:ea typeface="+mn-ea"/>
                <a:cs typeface="Arial" panose="020B0604020202020204" pitchFamily="34" charset="0"/>
              </a:rPr>
              <a:t>~3.5x clean, firm (</a:t>
            </a:r>
            <a:r>
              <a:rPr lang="en-US" sz="2400" b="1">
                <a:solidFill>
                  <a:schemeClr val="accent1"/>
                </a:solidFill>
                <a:latin typeface="Arial"/>
              </a:rPr>
              <a:t>~550 GW)</a:t>
            </a:r>
          </a:p>
        </p:txBody>
      </p:sp>
      <p:cxnSp>
        <p:nvCxnSpPr>
          <p:cNvPr id="34" name="Straight Connector 33">
            <a:extLst>
              <a:ext uri="{FF2B5EF4-FFF2-40B4-BE49-F238E27FC236}">
                <a16:creationId xmlns:a16="http://schemas.microsoft.com/office/drawing/2014/main" id="{734A1520-92D7-203D-C364-126CEB491304}"/>
              </a:ext>
            </a:extLst>
          </p:cNvPr>
          <p:cNvCxnSpPr>
            <a:cxnSpLocks/>
          </p:cNvCxnSpPr>
          <p:nvPr/>
        </p:nvCxnSpPr>
        <p:spPr>
          <a:xfrm flipV="1">
            <a:off x="2295525" y="4540250"/>
            <a:ext cx="588962" cy="695415"/>
          </a:xfrm>
          <a:prstGeom prst="line">
            <a:avLst/>
          </a:prstGeom>
          <a:ln w="6350" cap="flat">
            <a:solidFill>
              <a:schemeClr val="accent1"/>
            </a:solidFill>
            <a:prstDash val="dash"/>
            <a:miter lim="800000"/>
            <a:tailEnd type="none"/>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FAD30AAB-A3DF-C039-C5A0-4ADB2EEF8227}"/>
              </a:ext>
            </a:extLst>
          </p:cNvPr>
          <p:cNvCxnSpPr>
            <a:cxnSpLocks/>
          </p:cNvCxnSpPr>
          <p:nvPr/>
        </p:nvCxnSpPr>
        <p:spPr>
          <a:xfrm flipV="1">
            <a:off x="6980940" y="4752975"/>
            <a:ext cx="588260" cy="482690"/>
          </a:xfrm>
          <a:prstGeom prst="line">
            <a:avLst/>
          </a:prstGeom>
          <a:ln w="6350" cap="flat">
            <a:solidFill>
              <a:schemeClr val="accent1"/>
            </a:solidFill>
            <a:prstDash val="dash"/>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57625095"/>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7CD58E-BFF0-31D7-7AF0-B06E8CFA7E4E}"/>
              </a:ext>
            </a:extLst>
          </p:cNvPr>
          <p:cNvSpPr>
            <a:spLocks noGrp="1"/>
          </p:cNvSpPr>
          <p:nvPr>
            <p:ph type="title"/>
          </p:nvPr>
        </p:nvSpPr>
        <p:spPr/>
        <p:txBody>
          <a:bodyPr/>
          <a:lstStyle/>
          <a:p>
            <a:r>
              <a:rPr lang="en-US"/>
              <a:t>Detailed recommendations: Advanced reactors and R&amp;D (10-11)</a:t>
            </a:r>
          </a:p>
        </p:txBody>
      </p:sp>
      <p:sp>
        <p:nvSpPr>
          <p:cNvPr id="4" name="Slide Number Placeholder 3">
            <a:extLst>
              <a:ext uri="{FF2B5EF4-FFF2-40B4-BE49-F238E27FC236}">
                <a16:creationId xmlns:a16="http://schemas.microsoft.com/office/drawing/2014/main" id="{AD91375A-CA17-BC66-AADD-7CE7A8289C1F}"/>
              </a:ext>
            </a:extLst>
          </p:cNvPr>
          <p:cNvSpPr>
            <a:spLocks noGrp="1"/>
          </p:cNvSpPr>
          <p:nvPr>
            <p:ph type="sldNum" sz="quarter" idx="10"/>
          </p:nvPr>
        </p:nvSpPr>
        <p:spPr/>
        <p:txBody>
          <a:bodyPr/>
          <a:lstStyle/>
          <a:p>
            <a:pPr>
              <a:defRPr/>
            </a:pPr>
            <a:fld id="{37926BA8-E0F8-42A8-A83C-EBAA1A1E8FCD}" type="slidenum">
              <a:rPr lang="en-US" smtClean="0"/>
              <a:pPr>
                <a:defRPr/>
              </a:pPr>
              <a:t>90</a:t>
            </a:fld>
            <a:endParaRPr lang="en-US"/>
          </a:p>
        </p:txBody>
      </p:sp>
      <p:sp>
        <p:nvSpPr>
          <p:cNvPr id="5" name="Content Placeholder 2">
            <a:extLst>
              <a:ext uri="{FF2B5EF4-FFF2-40B4-BE49-F238E27FC236}">
                <a16:creationId xmlns:a16="http://schemas.microsoft.com/office/drawing/2014/main" id="{1C1EE986-8ADD-52A3-9962-7679BBCEFDF5}"/>
              </a:ext>
            </a:extLst>
          </p:cNvPr>
          <p:cNvSpPr txBox="1">
            <a:spLocks/>
          </p:cNvSpPr>
          <p:nvPr/>
        </p:nvSpPr>
        <p:spPr bwMode="auto">
          <a:xfrm>
            <a:off x="1013014" y="3345307"/>
            <a:ext cx="4715433" cy="12909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171450" indent="-171450" algn="l" rtl="0" eaLnBrk="0" fontAlgn="base" hangingPunct="0">
              <a:lnSpc>
                <a:spcPct val="90000"/>
              </a:lnSpc>
              <a:spcBef>
                <a:spcPts val="750"/>
              </a:spcBef>
              <a:spcAft>
                <a:spcPct val="0"/>
              </a:spcAft>
              <a:buFont typeface="Arial" panose="020B0604020202020204" pitchFamily="34" charset="0"/>
              <a:buChar char="•"/>
              <a:defRPr sz="2100" kern="1200">
                <a:solidFill>
                  <a:schemeClr val="tx1"/>
                </a:solidFill>
                <a:latin typeface="+mn-lt"/>
                <a:ea typeface="+mn-ea"/>
                <a:cs typeface="+mn-cs"/>
              </a:defRPr>
            </a:lvl1pPr>
            <a:lvl2pPr marL="514350" indent="-171450" algn="l" rtl="0" eaLnBrk="0" fontAlgn="base" hangingPunct="0">
              <a:lnSpc>
                <a:spcPct val="90000"/>
              </a:lnSpc>
              <a:spcBef>
                <a:spcPts val="375"/>
              </a:spcBef>
              <a:spcAft>
                <a:spcPct val="0"/>
              </a:spcAft>
              <a:buFont typeface="Arial" panose="020B0604020202020204" pitchFamily="34" charset="0"/>
              <a:buChar char="•"/>
              <a:defRPr kern="1200">
                <a:solidFill>
                  <a:schemeClr val="tx1"/>
                </a:solidFill>
                <a:latin typeface="+mn-lt"/>
                <a:ea typeface="+mn-ea"/>
                <a:cs typeface="+mn-cs"/>
              </a:defRPr>
            </a:lvl2pPr>
            <a:lvl3pPr marL="857250" indent="-171450" algn="l" rtl="0" eaLnBrk="0" fontAlgn="base" hangingPunct="0">
              <a:lnSpc>
                <a:spcPct val="90000"/>
              </a:lnSpc>
              <a:spcBef>
                <a:spcPts val="375"/>
              </a:spcBef>
              <a:spcAft>
                <a:spcPct val="0"/>
              </a:spcAft>
              <a:buFont typeface="Arial" panose="020B0604020202020204" pitchFamily="34" charset="0"/>
              <a:buChar char="•"/>
              <a:defRPr sz="1500" kern="1200">
                <a:solidFill>
                  <a:schemeClr val="tx1"/>
                </a:solidFill>
                <a:latin typeface="+mn-lt"/>
                <a:ea typeface="+mn-ea"/>
                <a:cs typeface="+mn-cs"/>
              </a:defRPr>
            </a:lvl3pPr>
            <a:lvl4pPr marL="1200150" indent="-171450" algn="l" rtl="0" eaLnBrk="0" fontAlgn="base" hangingPunct="0">
              <a:lnSpc>
                <a:spcPct val="90000"/>
              </a:lnSpc>
              <a:spcBef>
                <a:spcPts val="375"/>
              </a:spcBef>
              <a:spcAft>
                <a:spcPct val="0"/>
              </a:spcAft>
              <a:buFont typeface="Arial" panose="020B0604020202020204" pitchFamily="34" charset="0"/>
              <a:buChar char="•"/>
              <a:defRPr kern="1200">
                <a:solidFill>
                  <a:schemeClr val="tx1"/>
                </a:solidFill>
                <a:latin typeface="+mn-lt"/>
                <a:ea typeface="+mn-ea"/>
                <a:cs typeface="+mn-cs"/>
              </a:defRPr>
            </a:lvl4pPr>
            <a:lvl5pPr marL="1543050" indent="-171450" algn="l" rtl="0" eaLnBrk="0" fontAlgn="base" hangingPunct="0">
              <a:lnSpc>
                <a:spcPct val="90000"/>
              </a:lnSpc>
              <a:spcBef>
                <a:spcPts val="375"/>
              </a:spcBef>
              <a:spcAft>
                <a:spcPct val="0"/>
              </a:spcAft>
              <a:buFont typeface="Arial" panose="020B0604020202020204" pitchFamily="34" charset="0"/>
              <a:buChar char="•"/>
              <a:defRPr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buNone/>
            </a:pPr>
            <a:r>
              <a:rPr lang="en-US" sz="1800"/>
              <a:t>NE should obtain clearer input from industry through a workshop between NE and the Working Groups, or some other form of face-to-face interaction that results in </a:t>
            </a:r>
            <a:r>
              <a:rPr lang="en-US" sz="1800" b="1"/>
              <a:t>meaningful prioritization of the Working Group feedback</a:t>
            </a:r>
          </a:p>
          <a:p>
            <a:pPr marL="0" indent="0">
              <a:buNone/>
            </a:pPr>
            <a:r>
              <a:rPr lang="en-US" sz="1800"/>
              <a:t>NE should facilitate a mechanism for receiving that </a:t>
            </a:r>
            <a:r>
              <a:rPr lang="en-US" sz="1800" b="1"/>
              <a:t>clarified feedback given the Subcommittee’s </a:t>
            </a:r>
            <a:r>
              <a:rPr lang="en-US" sz="1800"/>
              <a:t>impression that additional interaction with and information from the industry would be beneficial in accomplishing other of our recommendations</a:t>
            </a:r>
          </a:p>
        </p:txBody>
      </p:sp>
      <p:sp>
        <p:nvSpPr>
          <p:cNvPr id="6" name="Content Placeholder 2">
            <a:extLst>
              <a:ext uri="{FF2B5EF4-FFF2-40B4-BE49-F238E27FC236}">
                <a16:creationId xmlns:a16="http://schemas.microsoft.com/office/drawing/2014/main" id="{59C9AA9B-2004-B4C2-AAFC-2DBD6C5F521C}"/>
              </a:ext>
            </a:extLst>
          </p:cNvPr>
          <p:cNvSpPr txBox="1">
            <a:spLocks/>
          </p:cNvSpPr>
          <p:nvPr/>
        </p:nvSpPr>
        <p:spPr bwMode="auto">
          <a:xfrm>
            <a:off x="6252883" y="3325903"/>
            <a:ext cx="4715433" cy="12909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171450" indent="-171450" algn="l" rtl="0" eaLnBrk="0" fontAlgn="base" hangingPunct="0">
              <a:lnSpc>
                <a:spcPct val="90000"/>
              </a:lnSpc>
              <a:spcBef>
                <a:spcPts val="750"/>
              </a:spcBef>
              <a:spcAft>
                <a:spcPct val="0"/>
              </a:spcAft>
              <a:buFont typeface="Arial" panose="020B0604020202020204" pitchFamily="34" charset="0"/>
              <a:buChar char="•"/>
              <a:defRPr sz="2100" kern="1200">
                <a:solidFill>
                  <a:schemeClr val="tx1"/>
                </a:solidFill>
                <a:latin typeface="+mn-lt"/>
                <a:ea typeface="+mn-ea"/>
                <a:cs typeface="+mn-cs"/>
              </a:defRPr>
            </a:lvl1pPr>
            <a:lvl2pPr marL="514350" indent="-171450" algn="l" rtl="0" eaLnBrk="0" fontAlgn="base" hangingPunct="0">
              <a:lnSpc>
                <a:spcPct val="90000"/>
              </a:lnSpc>
              <a:spcBef>
                <a:spcPts val="375"/>
              </a:spcBef>
              <a:spcAft>
                <a:spcPct val="0"/>
              </a:spcAft>
              <a:buFont typeface="Arial" panose="020B0604020202020204" pitchFamily="34" charset="0"/>
              <a:buChar char="•"/>
              <a:defRPr kern="1200">
                <a:solidFill>
                  <a:schemeClr val="tx1"/>
                </a:solidFill>
                <a:latin typeface="+mn-lt"/>
                <a:ea typeface="+mn-ea"/>
                <a:cs typeface="+mn-cs"/>
              </a:defRPr>
            </a:lvl2pPr>
            <a:lvl3pPr marL="857250" indent="-171450" algn="l" rtl="0" eaLnBrk="0" fontAlgn="base" hangingPunct="0">
              <a:lnSpc>
                <a:spcPct val="90000"/>
              </a:lnSpc>
              <a:spcBef>
                <a:spcPts val="375"/>
              </a:spcBef>
              <a:spcAft>
                <a:spcPct val="0"/>
              </a:spcAft>
              <a:buFont typeface="Arial" panose="020B0604020202020204" pitchFamily="34" charset="0"/>
              <a:buChar char="•"/>
              <a:defRPr sz="1500" kern="1200">
                <a:solidFill>
                  <a:schemeClr val="tx1"/>
                </a:solidFill>
                <a:latin typeface="+mn-lt"/>
                <a:ea typeface="+mn-ea"/>
                <a:cs typeface="+mn-cs"/>
              </a:defRPr>
            </a:lvl3pPr>
            <a:lvl4pPr marL="1200150" indent="-171450" algn="l" rtl="0" eaLnBrk="0" fontAlgn="base" hangingPunct="0">
              <a:lnSpc>
                <a:spcPct val="90000"/>
              </a:lnSpc>
              <a:spcBef>
                <a:spcPts val="375"/>
              </a:spcBef>
              <a:spcAft>
                <a:spcPct val="0"/>
              </a:spcAft>
              <a:buFont typeface="Arial" panose="020B0604020202020204" pitchFamily="34" charset="0"/>
              <a:buChar char="•"/>
              <a:defRPr kern="1200">
                <a:solidFill>
                  <a:schemeClr val="tx1"/>
                </a:solidFill>
                <a:latin typeface="+mn-lt"/>
                <a:ea typeface="+mn-ea"/>
                <a:cs typeface="+mn-cs"/>
              </a:defRPr>
            </a:lvl4pPr>
            <a:lvl5pPr marL="1543050" indent="-171450" algn="l" rtl="0" eaLnBrk="0" fontAlgn="base" hangingPunct="0">
              <a:lnSpc>
                <a:spcPct val="90000"/>
              </a:lnSpc>
              <a:spcBef>
                <a:spcPts val="375"/>
              </a:spcBef>
              <a:spcAft>
                <a:spcPct val="0"/>
              </a:spcAft>
              <a:buFont typeface="Arial" panose="020B0604020202020204" pitchFamily="34" charset="0"/>
              <a:buChar char="•"/>
              <a:defRPr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buNone/>
            </a:pPr>
            <a:r>
              <a:rPr lang="en-US" sz="1800"/>
              <a:t>NE should establish R&amp;D priorities specifically with respect to infrastructure with an emphasis on R&amp;D that </a:t>
            </a:r>
            <a:r>
              <a:rPr lang="en-US" sz="1800" b="1"/>
              <a:t>accelerates the bridge to commercial deploymen</a:t>
            </a:r>
            <a:r>
              <a:rPr lang="en-US" sz="1800"/>
              <a:t>t. There should also be a definitive tie between the R&amp;D programs to the ARDP and other demo programs</a:t>
            </a:r>
          </a:p>
          <a:p>
            <a:pPr marL="0" indent="0">
              <a:buNone/>
            </a:pPr>
            <a:r>
              <a:rPr lang="en-US" sz="1800"/>
              <a:t>The area where NE has more direct control over investment strategies and priorities is on the R&amp;D infrastructure</a:t>
            </a:r>
            <a:endParaRPr lang="en-US" sz="1600"/>
          </a:p>
        </p:txBody>
      </p:sp>
      <p:sp>
        <p:nvSpPr>
          <p:cNvPr id="7" name="Content Placeholder 2">
            <a:extLst>
              <a:ext uri="{FF2B5EF4-FFF2-40B4-BE49-F238E27FC236}">
                <a16:creationId xmlns:a16="http://schemas.microsoft.com/office/drawing/2014/main" id="{1B46FE77-0D5A-C7EB-EF39-349D6D787318}"/>
              </a:ext>
            </a:extLst>
          </p:cNvPr>
          <p:cNvSpPr txBox="1">
            <a:spLocks/>
          </p:cNvSpPr>
          <p:nvPr/>
        </p:nvSpPr>
        <p:spPr bwMode="auto">
          <a:xfrm>
            <a:off x="1013014" y="2803021"/>
            <a:ext cx="4715433" cy="12909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171450" indent="-171450" algn="l" rtl="0" eaLnBrk="0" fontAlgn="base" hangingPunct="0">
              <a:lnSpc>
                <a:spcPct val="90000"/>
              </a:lnSpc>
              <a:spcBef>
                <a:spcPts val="750"/>
              </a:spcBef>
              <a:spcAft>
                <a:spcPct val="0"/>
              </a:spcAft>
              <a:buFont typeface="Arial" panose="020B0604020202020204" pitchFamily="34" charset="0"/>
              <a:buChar char="•"/>
              <a:defRPr sz="2100" kern="1200">
                <a:solidFill>
                  <a:schemeClr val="tx1"/>
                </a:solidFill>
                <a:latin typeface="+mn-lt"/>
                <a:ea typeface="+mn-ea"/>
                <a:cs typeface="+mn-cs"/>
              </a:defRPr>
            </a:lvl1pPr>
            <a:lvl2pPr marL="514350" indent="-171450" algn="l" rtl="0" eaLnBrk="0" fontAlgn="base" hangingPunct="0">
              <a:lnSpc>
                <a:spcPct val="90000"/>
              </a:lnSpc>
              <a:spcBef>
                <a:spcPts val="375"/>
              </a:spcBef>
              <a:spcAft>
                <a:spcPct val="0"/>
              </a:spcAft>
              <a:buFont typeface="Arial" panose="020B0604020202020204" pitchFamily="34" charset="0"/>
              <a:buChar char="•"/>
              <a:defRPr kern="1200">
                <a:solidFill>
                  <a:schemeClr val="tx1"/>
                </a:solidFill>
                <a:latin typeface="+mn-lt"/>
                <a:ea typeface="+mn-ea"/>
                <a:cs typeface="+mn-cs"/>
              </a:defRPr>
            </a:lvl2pPr>
            <a:lvl3pPr marL="857250" indent="-171450" algn="l" rtl="0" eaLnBrk="0" fontAlgn="base" hangingPunct="0">
              <a:lnSpc>
                <a:spcPct val="90000"/>
              </a:lnSpc>
              <a:spcBef>
                <a:spcPts val="375"/>
              </a:spcBef>
              <a:spcAft>
                <a:spcPct val="0"/>
              </a:spcAft>
              <a:buFont typeface="Arial" panose="020B0604020202020204" pitchFamily="34" charset="0"/>
              <a:buChar char="•"/>
              <a:defRPr sz="1500" kern="1200">
                <a:solidFill>
                  <a:schemeClr val="tx1"/>
                </a:solidFill>
                <a:latin typeface="+mn-lt"/>
                <a:ea typeface="+mn-ea"/>
                <a:cs typeface="+mn-cs"/>
              </a:defRPr>
            </a:lvl3pPr>
            <a:lvl4pPr marL="1200150" indent="-171450" algn="l" rtl="0" eaLnBrk="0" fontAlgn="base" hangingPunct="0">
              <a:lnSpc>
                <a:spcPct val="90000"/>
              </a:lnSpc>
              <a:spcBef>
                <a:spcPts val="375"/>
              </a:spcBef>
              <a:spcAft>
                <a:spcPct val="0"/>
              </a:spcAft>
              <a:buFont typeface="Arial" panose="020B0604020202020204" pitchFamily="34" charset="0"/>
              <a:buChar char="•"/>
              <a:defRPr kern="1200">
                <a:solidFill>
                  <a:schemeClr val="tx1"/>
                </a:solidFill>
                <a:latin typeface="+mn-lt"/>
                <a:ea typeface="+mn-ea"/>
                <a:cs typeface="+mn-cs"/>
              </a:defRPr>
            </a:lvl4pPr>
            <a:lvl5pPr marL="1543050" indent="-171450" algn="l" rtl="0" eaLnBrk="0" fontAlgn="base" hangingPunct="0">
              <a:lnSpc>
                <a:spcPct val="90000"/>
              </a:lnSpc>
              <a:spcBef>
                <a:spcPts val="375"/>
              </a:spcBef>
              <a:spcAft>
                <a:spcPct val="0"/>
              </a:spcAft>
              <a:buFont typeface="Arial" panose="020B0604020202020204" pitchFamily="34" charset="0"/>
              <a:buChar char="•"/>
              <a:defRPr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buNone/>
            </a:pPr>
            <a:r>
              <a:rPr lang="en-US" sz="2400" b="1" u="sng">
                <a:solidFill>
                  <a:schemeClr val="accent5"/>
                </a:solidFill>
              </a:rPr>
              <a:t>Advanced Reactors Input:</a:t>
            </a:r>
            <a:endParaRPr lang="en-US" sz="2000" b="1" u="sng">
              <a:solidFill>
                <a:schemeClr val="accent5"/>
              </a:solidFill>
            </a:endParaRPr>
          </a:p>
        </p:txBody>
      </p:sp>
      <p:sp>
        <p:nvSpPr>
          <p:cNvPr id="8" name="Content Placeholder 2">
            <a:extLst>
              <a:ext uri="{FF2B5EF4-FFF2-40B4-BE49-F238E27FC236}">
                <a16:creationId xmlns:a16="http://schemas.microsoft.com/office/drawing/2014/main" id="{9D375659-D9DA-1955-DB92-DF0B89EBDEDB}"/>
              </a:ext>
            </a:extLst>
          </p:cNvPr>
          <p:cNvSpPr txBox="1">
            <a:spLocks/>
          </p:cNvSpPr>
          <p:nvPr/>
        </p:nvSpPr>
        <p:spPr bwMode="auto">
          <a:xfrm>
            <a:off x="6252883" y="2803021"/>
            <a:ext cx="4715433" cy="12909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171450" indent="-171450" algn="l" rtl="0" eaLnBrk="0" fontAlgn="base" hangingPunct="0">
              <a:lnSpc>
                <a:spcPct val="90000"/>
              </a:lnSpc>
              <a:spcBef>
                <a:spcPts val="750"/>
              </a:spcBef>
              <a:spcAft>
                <a:spcPct val="0"/>
              </a:spcAft>
              <a:buFont typeface="Arial" panose="020B0604020202020204" pitchFamily="34" charset="0"/>
              <a:buChar char="•"/>
              <a:defRPr sz="2100" kern="1200">
                <a:solidFill>
                  <a:schemeClr val="tx1"/>
                </a:solidFill>
                <a:latin typeface="+mn-lt"/>
                <a:ea typeface="+mn-ea"/>
                <a:cs typeface="+mn-cs"/>
              </a:defRPr>
            </a:lvl1pPr>
            <a:lvl2pPr marL="514350" indent="-171450" algn="l" rtl="0" eaLnBrk="0" fontAlgn="base" hangingPunct="0">
              <a:lnSpc>
                <a:spcPct val="90000"/>
              </a:lnSpc>
              <a:spcBef>
                <a:spcPts val="375"/>
              </a:spcBef>
              <a:spcAft>
                <a:spcPct val="0"/>
              </a:spcAft>
              <a:buFont typeface="Arial" panose="020B0604020202020204" pitchFamily="34" charset="0"/>
              <a:buChar char="•"/>
              <a:defRPr kern="1200">
                <a:solidFill>
                  <a:schemeClr val="tx1"/>
                </a:solidFill>
                <a:latin typeface="+mn-lt"/>
                <a:ea typeface="+mn-ea"/>
                <a:cs typeface="+mn-cs"/>
              </a:defRPr>
            </a:lvl2pPr>
            <a:lvl3pPr marL="857250" indent="-171450" algn="l" rtl="0" eaLnBrk="0" fontAlgn="base" hangingPunct="0">
              <a:lnSpc>
                <a:spcPct val="90000"/>
              </a:lnSpc>
              <a:spcBef>
                <a:spcPts val="375"/>
              </a:spcBef>
              <a:spcAft>
                <a:spcPct val="0"/>
              </a:spcAft>
              <a:buFont typeface="Arial" panose="020B0604020202020204" pitchFamily="34" charset="0"/>
              <a:buChar char="•"/>
              <a:defRPr sz="1500" kern="1200">
                <a:solidFill>
                  <a:schemeClr val="tx1"/>
                </a:solidFill>
                <a:latin typeface="+mn-lt"/>
                <a:ea typeface="+mn-ea"/>
                <a:cs typeface="+mn-cs"/>
              </a:defRPr>
            </a:lvl3pPr>
            <a:lvl4pPr marL="1200150" indent="-171450" algn="l" rtl="0" eaLnBrk="0" fontAlgn="base" hangingPunct="0">
              <a:lnSpc>
                <a:spcPct val="90000"/>
              </a:lnSpc>
              <a:spcBef>
                <a:spcPts val="375"/>
              </a:spcBef>
              <a:spcAft>
                <a:spcPct val="0"/>
              </a:spcAft>
              <a:buFont typeface="Arial" panose="020B0604020202020204" pitchFamily="34" charset="0"/>
              <a:buChar char="•"/>
              <a:defRPr kern="1200">
                <a:solidFill>
                  <a:schemeClr val="tx1"/>
                </a:solidFill>
                <a:latin typeface="+mn-lt"/>
                <a:ea typeface="+mn-ea"/>
                <a:cs typeface="+mn-cs"/>
              </a:defRPr>
            </a:lvl4pPr>
            <a:lvl5pPr marL="1543050" indent="-171450" algn="l" rtl="0" eaLnBrk="0" fontAlgn="base" hangingPunct="0">
              <a:lnSpc>
                <a:spcPct val="90000"/>
              </a:lnSpc>
              <a:spcBef>
                <a:spcPts val="375"/>
              </a:spcBef>
              <a:spcAft>
                <a:spcPct val="0"/>
              </a:spcAft>
              <a:buFont typeface="Arial" panose="020B0604020202020204" pitchFamily="34" charset="0"/>
              <a:buChar char="•"/>
              <a:defRPr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buNone/>
            </a:pPr>
            <a:r>
              <a:rPr lang="en-US" sz="2400" b="1" u="sng">
                <a:solidFill>
                  <a:schemeClr val="accent5"/>
                </a:solidFill>
              </a:rPr>
              <a:t>Commercial deployment R&amp;D:</a:t>
            </a:r>
            <a:endParaRPr lang="en-US" sz="2000" b="1" u="sng">
              <a:solidFill>
                <a:schemeClr val="accent5"/>
              </a:solidFill>
            </a:endParaRPr>
          </a:p>
        </p:txBody>
      </p:sp>
      <p:pic>
        <p:nvPicPr>
          <p:cNvPr id="14" name="Graphic 13" descr="Badge 10 with solid fill">
            <a:extLst>
              <a:ext uri="{FF2B5EF4-FFF2-40B4-BE49-F238E27FC236}">
                <a16:creationId xmlns:a16="http://schemas.microsoft.com/office/drawing/2014/main" id="{B96CB94E-D04B-33E9-CBC5-F9409E422734}"/>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86474" y="2803021"/>
            <a:ext cx="475488" cy="475488"/>
          </a:xfrm>
          <a:prstGeom prst="rect">
            <a:avLst/>
          </a:prstGeom>
        </p:spPr>
      </p:pic>
      <p:pic>
        <p:nvPicPr>
          <p:cNvPr id="16" name="Graphic 15" descr="Desk outline">
            <a:extLst>
              <a:ext uri="{FF2B5EF4-FFF2-40B4-BE49-F238E27FC236}">
                <a16:creationId xmlns:a16="http://schemas.microsoft.com/office/drawing/2014/main" id="{0D7129F8-0D08-38EC-3F3B-6E945090964B}"/>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8089863" y="1579418"/>
            <a:ext cx="1041472" cy="1041472"/>
          </a:xfrm>
          <a:prstGeom prst="rect">
            <a:avLst/>
          </a:prstGeom>
        </p:spPr>
      </p:pic>
      <p:pic>
        <p:nvPicPr>
          <p:cNvPr id="18" name="Graphic 17" descr="Megaphone outline">
            <a:extLst>
              <a:ext uri="{FF2B5EF4-FFF2-40B4-BE49-F238E27FC236}">
                <a16:creationId xmlns:a16="http://schemas.microsoft.com/office/drawing/2014/main" id="{24BE7968-5B40-0893-1138-791744F0A269}"/>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2418035" y="1579418"/>
            <a:ext cx="1041472" cy="1041472"/>
          </a:xfrm>
          <a:prstGeom prst="rect">
            <a:avLst/>
          </a:prstGeom>
        </p:spPr>
      </p:pic>
      <p:grpSp>
        <p:nvGrpSpPr>
          <p:cNvPr id="21" name="Group 20">
            <a:extLst>
              <a:ext uri="{FF2B5EF4-FFF2-40B4-BE49-F238E27FC236}">
                <a16:creationId xmlns:a16="http://schemas.microsoft.com/office/drawing/2014/main" id="{5EE990D2-573D-D0B7-CF3F-0780FA32A061}"/>
              </a:ext>
            </a:extLst>
          </p:cNvPr>
          <p:cNvGrpSpPr/>
          <p:nvPr/>
        </p:nvGrpSpPr>
        <p:grpSpPr>
          <a:xfrm>
            <a:off x="5777395" y="2757761"/>
            <a:ext cx="475488" cy="475488"/>
            <a:chOff x="5777395" y="2757761"/>
            <a:chExt cx="475488" cy="475488"/>
          </a:xfrm>
        </p:grpSpPr>
        <p:pic>
          <p:nvPicPr>
            <p:cNvPr id="10" name="Graphic 9" descr="Badge 9 with solid fill">
              <a:extLst>
                <a:ext uri="{FF2B5EF4-FFF2-40B4-BE49-F238E27FC236}">
                  <a16:creationId xmlns:a16="http://schemas.microsoft.com/office/drawing/2014/main" id="{7A51B33B-5529-66C8-76D2-821D1FBDF4B4}"/>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5777395" y="2757761"/>
              <a:ext cx="475488" cy="475488"/>
            </a:xfrm>
            <a:prstGeom prst="rect">
              <a:avLst/>
            </a:prstGeom>
          </p:spPr>
        </p:pic>
        <p:sp>
          <p:nvSpPr>
            <p:cNvPr id="19" name="Rectangle 18">
              <a:extLst>
                <a:ext uri="{FF2B5EF4-FFF2-40B4-BE49-F238E27FC236}">
                  <a16:creationId xmlns:a16="http://schemas.microsoft.com/office/drawing/2014/main" id="{CE10759D-FCFB-0C6A-6A32-F5E25890FB6A}"/>
                </a:ext>
              </a:extLst>
            </p:cNvPr>
            <p:cNvSpPr/>
            <p:nvPr/>
          </p:nvSpPr>
          <p:spPr>
            <a:xfrm>
              <a:off x="5914525" y="2870056"/>
              <a:ext cx="201227" cy="250897"/>
            </a:xfrm>
            <a:prstGeom prst="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noFill/>
              </a:endParaRPr>
            </a:p>
          </p:txBody>
        </p:sp>
      </p:grpSp>
      <p:sp>
        <p:nvSpPr>
          <p:cNvPr id="20" name="TextBox 19">
            <a:extLst>
              <a:ext uri="{FF2B5EF4-FFF2-40B4-BE49-F238E27FC236}">
                <a16:creationId xmlns:a16="http://schemas.microsoft.com/office/drawing/2014/main" id="{A7C90CB5-E887-9E1A-2AE3-216C37B9BC60}"/>
              </a:ext>
            </a:extLst>
          </p:cNvPr>
          <p:cNvSpPr txBox="1"/>
          <p:nvPr/>
        </p:nvSpPr>
        <p:spPr>
          <a:xfrm>
            <a:off x="5802071" y="2810692"/>
            <a:ext cx="838426" cy="369332"/>
          </a:xfrm>
          <a:prstGeom prst="rect">
            <a:avLst/>
          </a:prstGeom>
          <a:noFill/>
        </p:spPr>
        <p:txBody>
          <a:bodyPr wrap="square" rtlCol="0">
            <a:spAutoFit/>
          </a:bodyPr>
          <a:lstStyle/>
          <a:p>
            <a:r>
              <a:rPr lang="en-US" b="1">
                <a:solidFill>
                  <a:schemeClr val="bg1"/>
                </a:solidFill>
                <a:latin typeface="Arial" panose="020B0604020202020204" pitchFamily="34" charset="0"/>
                <a:cs typeface="Arial" panose="020B0604020202020204" pitchFamily="34" charset="0"/>
              </a:rPr>
              <a:t>11</a:t>
            </a:r>
          </a:p>
        </p:txBody>
      </p:sp>
    </p:spTree>
    <p:extLst>
      <p:ext uri="{BB962C8B-B14F-4D97-AF65-F5344CB8AC3E}">
        <p14:creationId xmlns:p14="http://schemas.microsoft.com/office/powerpoint/2010/main" val="717885441"/>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7CD58E-BFF0-31D7-7AF0-B06E8CFA7E4E}"/>
              </a:ext>
            </a:extLst>
          </p:cNvPr>
          <p:cNvSpPr>
            <a:spLocks noGrp="1"/>
          </p:cNvSpPr>
          <p:nvPr>
            <p:ph type="title"/>
          </p:nvPr>
        </p:nvSpPr>
        <p:spPr/>
        <p:txBody>
          <a:bodyPr/>
          <a:lstStyle/>
          <a:p>
            <a:r>
              <a:rPr lang="en-US"/>
              <a:t>Potential follow on topics for the Subcommittee</a:t>
            </a:r>
          </a:p>
        </p:txBody>
      </p:sp>
      <p:sp>
        <p:nvSpPr>
          <p:cNvPr id="4" name="Slide Number Placeholder 3">
            <a:extLst>
              <a:ext uri="{FF2B5EF4-FFF2-40B4-BE49-F238E27FC236}">
                <a16:creationId xmlns:a16="http://schemas.microsoft.com/office/drawing/2014/main" id="{AD91375A-CA17-BC66-AADD-7CE7A8289C1F}"/>
              </a:ext>
            </a:extLst>
          </p:cNvPr>
          <p:cNvSpPr>
            <a:spLocks noGrp="1"/>
          </p:cNvSpPr>
          <p:nvPr>
            <p:ph type="sldNum" sz="quarter" idx="10"/>
          </p:nvPr>
        </p:nvSpPr>
        <p:spPr/>
        <p:txBody>
          <a:bodyPr/>
          <a:lstStyle/>
          <a:p>
            <a:pPr>
              <a:defRPr/>
            </a:pPr>
            <a:fld id="{37926BA8-E0F8-42A8-A83C-EBAA1A1E8FCD}" type="slidenum">
              <a:rPr lang="en-US" smtClean="0"/>
              <a:pPr>
                <a:defRPr/>
              </a:pPr>
              <a:t>91</a:t>
            </a:fld>
            <a:endParaRPr lang="en-US"/>
          </a:p>
        </p:txBody>
      </p:sp>
      <p:sp>
        <p:nvSpPr>
          <p:cNvPr id="5" name="Content Placeholder 2">
            <a:extLst>
              <a:ext uri="{FF2B5EF4-FFF2-40B4-BE49-F238E27FC236}">
                <a16:creationId xmlns:a16="http://schemas.microsoft.com/office/drawing/2014/main" id="{03EED860-0112-BB03-4BFE-5420FF00BA0B}"/>
              </a:ext>
            </a:extLst>
          </p:cNvPr>
          <p:cNvSpPr>
            <a:spLocks noGrp="1"/>
          </p:cNvSpPr>
          <p:nvPr>
            <p:ph idx="1"/>
          </p:nvPr>
        </p:nvSpPr>
        <p:spPr>
          <a:xfrm>
            <a:off x="838200" y="1592865"/>
            <a:ext cx="10515600" cy="4616743"/>
          </a:xfrm>
        </p:spPr>
        <p:txBody>
          <a:bodyPr/>
          <a:lstStyle/>
          <a:p>
            <a:r>
              <a:rPr lang="en-US" sz="2400"/>
              <a:t>Subcommittee could help to continue to develop </a:t>
            </a:r>
            <a:r>
              <a:rPr lang="en-US" sz="2400" b="1"/>
              <a:t>priorities for funding</a:t>
            </a:r>
          </a:p>
          <a:p>
            <a:pPr lvl="1"/>
            <a:r>
              <a:rPr lang="en-US"/>
              <a:t>This may require additional members with expertise outside the current NEAC members</a:t>
            </a:r>
          </a:p>
          <a:p>
            <a:r>
              <a:rPr lang="en-US" sz="2400"/>
              <a:t>Development of </a:t>
            </a:r>
            <a:r>
              <a:rPr lang="en-US" sz="2400" b="1"/>
              <a:t>comprehensive R&amp;D infrastructure </a:t>
            </a:r>
            <a:r>
              <a:rPr lang="en-US" sz="2400"/>
              <a:t>– the subcommittee would benefit from a presentation if there is a strategic approach to this topic</a:t>
            </a:r>
          </a:p>
          <a:p>
            <a:r>
              <a:rPr lang="en-US" sz="2400"/>
              <a:t>Further exploration on the </a:t>
            </a:r>
            <a:r>
              <a:rPr lang="en-US" sz="2400" b="1"/>
              <a:t>models needed for large-scale commercialization </a:t>
            </a:r>
            <a:r>
              <a:rPr lang="en-US" sz="2400"/>
              <a:t>of advanced reactors: </a:t>
            </a:r>
          </a:p>
          <a:p>
            <a:pPr lvl="1"/>
            <a:r>
              <a:rPr lang="en-US"/>
              <a:t>Can the existing mechanisms work or is a new paradigm necessary? </a:t>
            </a:r>
          </a:p>
          <a:p>
            <a:pPr lvl="1"/>
            <a:r>
              <a:rPr lang="en-US"/>
              <a:t>Who owns them? What can NE do to make them actionable? </a:t>
            </a:r>
          </a:p>
          <a:p>
            <a:r>
              <a:rPr lang="en-US" sz="2400"/>
              <a:t>Work alongside the </a:t>
            </a:r>
            <a:r>
              <a:rPr lang="en-US" sz="2400" b="1"/>
              <a:t>workforce subcommittee </a:t>
            </a:r>
            <a:r>
              <a:rPr lang="en-US" sz="2400"/>
              <a:t>to identify the existing infrastructure that can support needs and identify gaps for new investments</a:t>
            </a:r>
          </a:p>
          <a:p>
            <a:endParaRPr lang="en-US" sz="2400"/>
          </a:p>
        </p:txBody>
      </p:sp>
    </p:spTree>
    <p:extLst>
      <p:ext uri="{BB962C8B-B14F-4D97-AF65-F5344CB8AC3E}">
        <p14:creationId xmlns:p14="http://schemas.microsoft.com/office/powerpoint/2010/main" val="4274752729"/>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Title 5">
            <a:extLst>
              <a:ext uri="{FF2B5EF4-FFF2-40B4-BE49-F238E27FC236}">
                <a16:creationId xmlns:a16="http://schemas.microsoft.com/office/drawing/2014/main" id="{7E9EEA3E-45E3-0239-E69A-BE3F5FBC9AB7}"/>
              </a:ext>
            </a:extLst>
          </p:cNvPr>
          <p:cNvSpPr>
            <a:spLocks noGrp="1" noChangeArrowheads="1"/>
          </p:cNvSpPr>
          <p:nvPr>
            <p:ph type="ctrTitle"/>
          </p:nvPr>
        </p:nvSpPr>
        <p:spPr>
          <a:xfrm>
            <a:off x="609600" y="1066800"/>
            <a:ext cx="10165976" cy="2590800"/>
          </a:xfrm>
        </p:spPr>
        <p:txBody>
          <a:bodyPr/>
          <a:lstStyle/>
          <a:p>
            <a:pPr algn="l"/>
            <a:r>
              <a:rPr lang="en-US" altLang="en-US" sz="5400" b="1">
                <a:solidFill>
                  <a:schemeClr val="bg1"/>
                </a:solidFill>
              </a:rPr>
              <a:t> Consent-Based Siting</a:t>
            </a:r>
          </a:p>
        </p:txBody>
      </p:sp>
      <p:sp>
        <p:nvSpPr>
          <p:cNvPr id="20483" name="Subtitle 6">
            <a:extLst>
              <a:ext uri="{FF2B5EF4-FFF2-40B4-BE49-F238E27FC236}">
                <a16:creationId xmlns:a16="http://schemas.microsoft.com/office/drawing/2014/main" id="{681152D8-4998-8D5B-9854-96A67EBE53DE}"/>
              </a:ext>
            </a:extLst>
          </p:cNvPr>
          <p:cNvSpPr>
            <a:spLocks noGrp="1" noChangeArrowheads="1"/>
          </p:cNvSpPr>
          <p:nvPr>
            <p:ph type="subTitle" idx="1"/>
          </p:nvPr>
        </p:nvSpPr>
        <p:spPr>
          <a:xfrm>
            <a:off x="609600" y="3276600"/>
            <a:ext cx="8816975" cy="2209800"/>
          </a:xfrm>
        </p:spPr>
        <p:txBody>
          <a:bodyPr/>
          <a:lstStyle/>
          <a:p>
            <a:pPr algn="l"/>
            <a:endParaRPr lang="en-US" altLang="en-US" sz="2000" b="1" i="1">
              <a:solidFill>
                <a:schemeClr val="bg1"/>
              </a:solidFill>
            </a:endParaRPr>
          </a:p>
          <a:p>
            <a:pPr algn="l"/>
            <a:endParaRPr lang="en-US" altLang="en-US" sz="2000" b="1" i="1">
              <a:solidFill>
                <a:schemeClr val="bg1"/>
              </a:solidFill>
            </a:endParaRPr>
          </a:p>
          <a:p>
            <a:pPr algn="l"/>
            <a:r>
              <a:rPr lang="en-US" altLang="en-US" b="1">
                <a:solidFill>
                  <a:schemeClr val="bg1"/>
                </a:solidFill>
                <a:cs typeface="Calibri"/>
              </a:rPr>
              <a:t>Dr. </a:t>
            </a:r>
            <a:r>
              <a:rPr lang="en-US" altLang="en-US" b="1" err="1">
                <a:solidFill>
                  <a:schemeClr val="bg1"/>
                </a:solidFill>
                <a:cs typeface="Calibri"/>
              </a:rPr>
              <a:t>J'Tia</a:t>
            </a:r>
            <a:r>
              <a:rPr lang="en-US" altLang="en-US" b="1">
                <a:solidFill>
                  <a:schemeClr val="bg1"/>
                </a:solidFill>
                <a:cs typeface="Calibri"/>
              </a:rPr>
              <a:t> Hart</a:t>
            </a:r>
            <a:endParaRPr lang="en-US" altLang="en-US" b="1">
              <a:solidFill>
                <a:schemeClr val="bg1"/>
              </a:solidFill>
            </a:endParaRPr>
          </a:p>
          <a:p>
            <a:pPr algn="l"/>
            <a:r>
              <a:rPr lang="en-US" altLang="en-US" b="1">
                <a:solidFill>
                  <a:schemeClr val="bg1"/>
                </a:solidFill>
              </a:rPr>
              <a:t>NEAC Subcommittee updates and discussion</a:t>
            </a:r>
            <a:r>
              <a:rPr lang="en-US" altLang="en-US" sz="2000" b="1" i="1">
                <a:solidFill>
                  <a:schemeClr val="bg1"/>
                </a:solidFill>
              </a:rPr>
              <a:t>		</a:t>
            </a:r>
            <a:endParaRPr lang="en-US" altLang="en-US" sz="2000" b="1">
              <a:solidFill>
                <a:schemeClr val="bg1"/>
              </a:solidFill>
              <a:cs typeface="Calibri"/>
            </a:endParaRPr>
          </a:p>
        </p:txBody>
      </p:sp>
    </p:spTree>
    <p:extLst>
      <p:ext uri="{BB962C8B-B14F-4D97-AF65-F5344CB8AC3E}">
        <p14:creationId xmlns:p14="http://schemas.microsoft.com/office/powerpoint/2010/main" val="2971587429"/>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A3E15E3-804B-C0F2-687C-DB9E9E893EE6}"/>
              </a:ext>
            </a:extLst>
          </p:cNvPr>
          <p:cNvSpPr>
            <a:spLocks noGrp="1"/>
          </p:cNvSpPr>
          <p:nvPr>
            <p:ph type="title"/>
          </p:nvPr>
        </p:nvSpPr>
        <p:spPr/>
        <p:txBody>
          <a:bodyPr>
            <a:normAutofit fontScale="90000"/>
          </a:bodyPr>
          <a:lstStyle/>
          <a:p>
            <a:r>
              <a:rPr lang="en-US"/>
              <a:t>Overview of the scope and progress of the Consent-based siting subcommittee</a:t>
            </a:r>
          </a:p>
        </p:txBody>
      </p:sp>
      <p:sp>
        <p:nvSpPr>
          <p:cNvPr id="3" name="Content Placeholder 2">
            <a:extLst>
              <a:ext uri="{FF2B5EF4-FFF2-40B4-BE49-F238E27FC236}">
                <a16:creationId xmlns:a16="http://schemas.microsoft.com/office/drawing/2014/main" id="{8465AAE0-0C6D-9733-D979-BE90EE4BFF79}"/>
              </a:ext>
            </a:extLst>
          </p:cNvPr>
          <p:cNvSpPr>
            <a:spLocks noGrp="1"/>
          </p:cNvSpPr>
          <p:nvPr>
            <p:ph idx="1"/>
          </p:nvPr>
        </p:nvSpPr>
        <p:spPr/>
        <p:txBody>
          <a:bodyPr/>
          <a:lstStyle/>
          <a:p>
            <a:r>
              <a:rPr lang="en-US" sz="2400"/>
              <a:t>Committee had the goal of understanding the current status of the </a:t>
            </a:r>
            <a:r>
              <a:rPr lang="en-US" sz="2400" b="1"/>
              <a:t>Nuclear Waste Management </a:t>
            </a:r>
            <a:r>
              <a:rPr lang="en-US" sz="2400"/>
              <a:t>within NE</a:t>
            </a:r>
          </a:p>
          <a:p>
            <a:r>
              <a:rPr lang="en-US" sz="2400"/>
              <a:t>The group met with a few officials on the topic, including: </a:t>
            </a:r>
          </a:p>
          <a:p>
            <a:pPr lvl="1"/>
            <a:r>
              <a:rPr lang="en-US" sz="2100"/>
              <a:t>Former Senator Jeff Bingham, who provided context on the Nuclear Waste Administration Act</a:t>
            </a:r>
          </a:p>
          <a:p>
            <a:pPr lvl="1"/>
            <a:r>
              <a:rPr lang="en-US" sz="2100"/>
              <a:t>Lisa Frizzel, Nuclear Waste Management</a:t>
            </a:r>
          </a:p>
          <a:p>
            <a:r>
              <a:rPr lang="en-US" sz="2400"/>
              <a:t>As an outcome of these conversations, they want to applaud the efforts of the Office of Nuclear Energy regarding nuclear waste management, specifically:</a:t>
            </a:r>
          </a:p>
          <a:p>
            <a:pPr lvl="1"/>
            <a:r>
              <a:rPr lang="en-US" sz="2100"/>
              <a:t>The 2021 request for information</a:t>
            </a:r>
          </a:p>
          <a:p>
            <a:pPr lvl="1"/>
            <a:r>
              <a:rPr lang="en-US" sz="2100"/>
              <a:t>The 2023 funding opportunity announcement support by Congress in the Consolidated Appropriations Act of 2023</a:t>
            </a:r>
          </a:p>
          <a:p>
            <a:endParaRPr lang="en-US" sz="2400"/>
          </a:p>
        </p:txBody>
      </p:sp>
      <p:sp>
        <p:nvSpPr>
          <p:cNvPr id="4" name="Slide Number Placeholder 3">
            <a:extLst>
              <a:ext uri="{FF2B5EF4-FFF2-40B4-BE49-F238E27FC236}">
                <a16:creationId xmlns:a16="http://schemas.microsoft.com/office/drawing/2014/main" id="{F748BA7A-7866-F9F1-2F05-BFC7CA5E8FBE}"/>
              </a:ext>
            </a:extLst>
          </p:cNvPr>
          <p:cNvSpPr>
            <a:spLocks noGrp="1"/>
          </p:cNvSpPr>
          <p:nvPr>
            <p:ph type="sldNum" sz="quarter" idx="10"/>
          </p:nvPr>
        </p:nvSpPr>
        <p:spPr/>
        <p:txBody>
          <a:bodyPr/>
          <a:lstStyle/>
          <a:p>
            <a:pPr>
              <a:defRPr/>
            </a:pPr>
            <a:fld id="{37926BA8-E0F8-42A8-A83C-EBAA1A1E8FCD}" type="slidenum">
              <a:rPr lang="en-US" smtClean="0"/>
              <a:pPr>
                <a:defRPr/>
              </a:pPr>
              <a:t>93</a:t>
            </a:fld>
            <a:endParaRPr lang="en-US"/>
          </a:p>
        </p:txBody>
      </p:sp>
    </p:spTree>
    <p:extLst>
      <p:ext uri="{BB962C8B-B14F-4D97-AF65-F5344CB8AC3E}">
        <p14:creationId xmlns:p14="http://schemas.microsoft.com/office/powerpoint/2010/main" val="2481243683"/>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A3E15E3-804B-C0F2-687C-DB9E9E893EE6}"/>
              </a:ext>
            </a:extLst>
          </p:cNvPr>
          <p:cNvSpPr>
            <a:spLocks noGrp="1"/>
          </p:cNvSpPr>
          <p:nvPr>
            <p:ph type="title"/>
          </p:nvPr>
        </p:nvSpPr>
        <p:spPr/>
        <p:txBody>
          <a:bodyPr/>
          <a:lstStyle/>
          <a:p>
            <a:r>
              <a:rPr lang="en-US"/>
              <a:t>Summary of recommendations</a:t>
            </a:r>
          </a:p>
        </p:txBody>
      </p:sp>
      <p:sp>
        <p:nvSpPr>
          <p:cNvPr id="4" name="Slide Number Placeholder 3">
            <a:extLst>
              <a:ext uri="{FF2B5EF4-FFF2-40B4-BE49-F238E27FC236}">
                <a16:creationId xmlns:a16="http://schemas.microsoft.com/office/drawing/2014/main" id="{F748BA7A-7866-F9F1-2F05-BFC7CA5E8FBE}"/>
              </a:ext>
            </a:extLst>
          </p:cNvPr>
          <p:cNvSpPr>
            <a:spLocks noGrp="1"/>
          </p:cNvSpPr>
          <p:nvPr>
            <p:ph type="sldNum" sz="quarter" idx="10"/>
          </p:nvPr>
        </p:nvSpPr>
        <p:spPr/>
        <p:txBody>
          <a:bodyPr/>
          <a:lstStyle/>
          <a:p>
            <a:pPr>
              <a:defRPr/>
            </a:pPr>
            <a:fld id="{37926BA8-E0F8-42A8-A83C-EBAA1A1E8FCD}" type="slidenum">
              <a:rPr lang="en-US" smtClean="0"/>
              <a:pPr>
                <a:defRPr/>
              </a:pPr>
              <a:t>94</a:t>
            </a:fld>
            <a:endParaRPr lang="en-US"/>
          </a:p>
        </p:txBody>
      </p:sp>
      <p:sp>
        <p:nvSpPr>
          <p:cNvPr id="9" name="Content Placeholder 2">
            <a:extLst>
              <a:ext uri="{FF2B5EF4-FFF2-40B4-BE49-F238E27FC236}">
                <a16:creationId xmlns:a16="http://schemas.microsoft.com/office/drawing/2014/main" id="{4E731F70-9426-4199-E4B4-AACF5C168DE4}"/>
              </a:ext>
            </a:extLst>
          </p:cNvPr>
          <p:cNvSpPr txBox="1">
            <a:spLocks/>
          </p:cNvSpPr>
          <p:nvPr/>
        </p:nvSpPr>
        <p:spPr bwMode="auto">
          <a:xfrm>
            <a:off x="860614" y="2526573"/>
            <a:ext cx="2372200" cy="14463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171450" indent="-171450" algn="l" rtl="0" eaLnBrk="0" fontAlgn="base" hangingPunct="0">
              <a:lnSpc>
                <a:spcPct val="90000"/>
              </a:lnSpc>
              <a:spcBef>
                <a:spcPts val="750"/>
              </a:spcBef>
              <a:spcAft>
                <a:spcPct val="0"/>
              </a:spcAft>
              <a:buFont typeface="Arial" panose="020B0604020202020204" pitchFamily="34" charset="0"/>
              <a:buChar char="•"/>
              <a:defRPr sz="2100" kern="1200">
                <a:solidFill>
                  <a:schemeClr val="tx1"/>
                </a:solidFill>
                <a:latin typeface="+mn-lt"/>
                <a:ea typeface="+mn-ea"/>
                <a:cs typeface="+mn-cs"/>
              </a:defRPr>
            </a:lvl1pPr>
            <a:lvl2pPr marL="514350" indent="-171450" algn="l" rtl="0" eaLnBrk="0" fontAlgn="base" hangingPunct="0">
              <a:lnSpc>
                <a:spcPct val="90000"/>
              </a:lnSpc>
              <a:spcBef>
                <a:spcPts val="375"/>
              </a:spcBef>
              <a:spcAft>
                <a:spcPct val="0"/>
              </a:spcAft>
              <a:buFont typeface="Arial" panose="020B0604020202020204" pitchFamily="34" charset="0"/>
              <a:buChar char="•"/>
              <a:defRPr kern="1200">
                <a:solidFill>
                  <a:schemeClr val="tx1"/>
                </a:solidFill>
                <a:latin typeface="+mn-lt"/>
                <a:ea typeface="+mn-ea"/>
                <a:cs typeface="+mn-cs"/>
              </a:defRPr>
            </a:lvl2pPr>
            <a:lvl3pPr marL="857250" indent="-171450" algn="l" rtl="0" eaLnBrk="0" fontAlgn="base" hangingPunct="0">
              <a:lnSpc>
                <a:spcPct val="90000"/>
              </a:lnSpc>
              <a:spcBef>
                <a:spcPts val="375"/>
              </a:spcBef>
              <a:spcAft>
                <a:spcPct val="0"/>
              </a:spcAft>
              <a:buFont typeface="Arial" panose="020B0604020202020204" pitchFamily="34" charset="0"/>
              <a:buChar char="•"/>
              <a:defRPr sz="1500" kern="1200">
                <a:solidFill>
                  <a:schemeClr val="tx1"/>
                </a:solidFill>
                <a:latin typeface="+mn-lt"/>
                <a:ea typeface="+mn-ea"/>
                <a:cs typeface="+mn-cs"/>
              </a:defRPr>
            </a:lvl3pPr>
            <a:lvl4pPr marL="1200150" indent="-171450" algn="l" rtl="0" eaLnBrk="0" fontAlgn="base" hangingPunct="0">
              <a:lnSpc>
                <a:spcPct val="90000"/>
              </a:lnSpc>
              <a:spcBef>
                <a:spcPts val="375"/>
              </a:spcBef>
              <a:spcAft>
                <a:spcPct val="0"/>
              </a:spcAft>
              <a:buFont typeface="Arial" panose="020B0604020202020204" pitchFamily="34" charset="0"/>
              <a:buChar char="•"/>
              <a:defRPr kern="1200">
                <a:solidFill>
                  <a:schemeClr val="tx1"/>
                </a:solidFill>
                <a:latin typeface="+mn-lt"/>
                <a:ea typeface="+mn-ea"/>
                <a:cs typeface="+mn-cs"/>
              </a:defRPr>
            </a:lvl4pPr>
            <a:lvl5pPr marL="1543050" indent="-171450" algn="l" rtl="0" eaLnBrk="0" fontAlgn="base" hangingPunct="0">
              <a:lnSpc>
                <a:spcPct val="90000"/>
              </a:lnSpc>
              <a:spcBef>
                <a:spcPts val="375"/>
              </a:spcBef>
              <a:spcAft>
                <a:spcPct val="0"/>
              </a:spcAft>
              <a:buFont typeface="Arial" panose="020B0604020202020204" pitchFamily="34" charset="0"/>
              <a:buChar char="•"/>
              <a:defRPr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buNone/>
            </a:pPr>
            <a:r>
              <a:rPr lang="en-US" sz="2000" b="1"/>
              <a:t>Acknowledge that the Consent—Based Siting (CBS) process requires iteration:</a:t>
            </a:r>
          </a:p>
          <a:p>
            <a:pPr marL="0" indent="0">
              <a:buNone/>
            </a:pPr>
            <a:r>
              <a:rPr lang="en-US" sz="1800"/>
              <a:t>DOE should move at the “speed of trust” solely determined by stakeholders and allocate sufficient time</a:t>
            </a:r>
            <a:endParaRPr lang="en-US" sz="1800" b="1"/>
          </a:p>
        </p:txBody>
      </p:sp>
      <p:sp>
        <p:nvSpPr>
          <p:cNvPr id="13" name="Content Placeholder 2">
            <a:extLst>
              <a:ext uri="{FF2B5EF4-FFF2-40B4-BE49-F238E27FC236}">
                <a16:creationId xmlns:a16="http://schemas.microsoft.com/office/drawing/2014/main" id="{57640F6C-EC68-DD08-9567-365BFFE7DEBD}"/>
              </a:ext>
            </a:extLst>
          </p:cNvPr>
          <p:cNvSpPr txBox="1">
            <a:spLocks/>
          </p:cNvSpPr>
          <p:nvPr/>
        </p:nvSpPr>
        <p:spPr bwMode="auto">
          <a:xfrm>
            <a:off x="3541061" y="2526573"/>
            <a:ext cx="2372200" cy="14463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171450" indent="-171450" algn="l" rtl="0" eaLnBrk="0" fontAlgn="base" hangingPunct="0">
              <a:lnSpc>
                <a:spcPct val="90000"/>
              </a:lnSpc>
              <a:spcBef>
                <a:spcPts val="750"/>
              </a:spcBef>
              <a:spcAft>
                <a:spcPct val="0"/>
              </a:spcAft>
              <a:buFont typeface="Arial" panose="020B0604020202020204" pitchFamily="34" charset="0"/>
              <a:buChar char="•"/>
              <a:defRPr sz="2100" kern="1200">
                <a:solidFill>
                  <a:schemeClr val="tx1"/>
                </a:solidFill>
                <a:latin typeface="+mn-lt"/>
                <a:ea typeface="+mn-ea"/>
                <a:cs typeface="+mn-cs"/>
              </a:defRPr>
            </a:lvl1pPr>
            <a:lvl2pPr marL="514350" indent="-171450" algn="l" rtl="0" eaLnBrk="0" fontAlgn="base" hangingPunct="0">
              <a:lnSpc>
                <a:spcPct val="90000"/>
              </a:lnSpc>
              <a:spcBef>
                <a:spcPts val="375"/>
              </a:spcBef>
              <a:spcAft>
                <a:spcPct val="0"/>
              </a:spcAft>
              <a:buFont typeface="Arial" panose="020B0604020202020204" pitchFamily="34" charset="0"/>
              <a:buChar char="•"/>
              <a:defRPr kern="1200">
                <a:solidFill>
                  <a:schemeClr val="tx1"/>
                </a:solidFill>
                <a:latin typeface="+mn-lt"/>
                <a:ea typeface="+mn-ea"/>
                <a:cs typeface="+mn-cs"/>
              </a:defRPr>
            </a:lvl2pPr>
            <a:lvl3pPr marL="857250" indent="-171450" algn="l" rtl="0" eaLnBrk="0" fontAlgn="base" hangingPunct="0">
              <a:lnSpc>
                <a:spcPct val="90000"/>
              </a:lnSpc>
              <a:spcBef>
                <a:spcPts val="375"/>
              </a:spcBef>
              <a:spcAft>
                <a:spcPct val="0"/>
              </a:spcAft>
              <a:buFont typeface="Arial" panose="020B0604020202020204" pitchFamily="34" charset="0"/>
              <a:buChar char="•"/>
              <a:defRPr sz="1500" kern="1200">
                <a:solidFill>
                  <a:schemeClr val="tx1"/>
                </a:solidFill>
                <a:latin typeface="+mn-lt"/>
                <a:ea typeface="+mn-ea"/>
                <a:cs typeface="+mn-cs"/>
              </a:defRPr>
            </a:lvl3pPr>
            <a:lvl4pPr marL="1200150" indent="-171450" algn="l" rtl="0" eaLnBrk="0" fontAlgn="base" hangingPunct="0">
              <a:lnSpc>
                <a:spcPct val="90000"/>
              </a:lnSpc>
              <a:spcBef>
                <a:spcPts val="375"/>
              </a:spcBef>
              <a:spcAft>
                <a:spcPct val="0"/>
              </a:spcAft>
              <a:buFont typeface="Arial" panose="020B0604020202020204" pitchFamily="34" charset="0"/>
              <a:buChar char="•"/>
              <a:defRPr kern="1200">
                <a:solidFill>
                  <a:schemeClr val="tx1"/>
                </a:solidFill>
                <a:latin typeface="+mn-lt"/>
                <a:ea typeface="+mn-ea"/>
                <a:cs typeface="+mn-cs"/>
              </a:defRPr>
            </a:lvl4pPr>
            <a:lvl5pPr marL="1543050" indent="-171450" algn="l" rtl="0" eaLnBrk="0" fontAlgn="base" hangingPunct="0">
              <a:lnSpc>
                <a:spcPct val="90000"/>
              </a:lnSpc>
              <a:spcBef>
                <a:spcPts val="375"/>
              </a:spcBef>
              <a:spcAft>
                <a:spcPct val="0"/>
              </a:spcAft>
              <a:buFont typeface="Arial" panose="020B0604020202020204" pitchFamily="34" charset="0"/>
              <a:buChar char="•"/>
              <a:defRPr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buNone/>
            </a:pPr>
            <a:r>
              <a:rPr lang="en-US" sz="2000" b="1"/>
              <a:t>Allocate Funding for Future Support: </a:t>
            </a:r>
          </a:p>
          <a:p>
            <a:pPr marL="0" indent="0">
              <a:buNone/>
            </a:pPr>
            <a:r>
              <a:rPr lang="en-US" sz="1800"/>
              <a:t>DOE should allocate resources for continued continuity and stakeholder engagement as well as advocate for collaboration between consortia partners with expanded timelines, scope, funding, etc. </a:t>
            </a:r>
            <a:endParaRPr lang="en-US" sz="1800" b="1"/>
          </a:p>
        </p:txBody>
      </p:sp>
      <p:sp>
        <p:nvSpPr>
          <p:cNvPr id="14" name="Content Placeholder 2">
            <a:extLst>
              <a:ext uri="{FF2B5EF4-FFF2-40B4-BE49-F238E27FC236}">
                <a16:creationId xmlns:a16="http://schemas.microsoft.com/office/drawing/2014/main" id="{CC2D0566-D26B-0ECA-270D-F37EA21DF9A2}"/>
              </a:ext>
            </a:extLst>
          </p:cNvPr>
          <p:cNvSpPr txBox="1">
            <a:spLocks/>
          </p:cNvSpPr>
          <p:nvPr/>
        </p:nvSpPr>
        <p:spPr bwMode="auto">
          <a:xfrm>
            <a:off x="6221508" y="2526573"/>
            <a:ext cx="2372200" cy="14463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171450" indent="-171450" algn="l" rtl="0" eaLnBrk="0" fontAlgn="base" hangingPunct="0">
              <a:lnSpc>
                <a:spcPct val="90000"/>
              </a:lnSpc>
              <a:spcBef>
                <a:spcPts val="750"/>
              </a:spcBef>
              <a:spcAft>
                <a:spcPct val="0"/>
              </a:spcAft>
              <a:buFont typeface="Arial" panose="020B0604020202020204" pitchFamily="34" charset="0"/>
              <a:buChar char="•"/>
              <a:defRPr sz="2100" kern="1200">
                <a:solidFill>
                  <a:schemeClr val="tx1"/>
                </a:solidFill>
                <a:latin typeface="+mn-lt"/>
                <a:ea typeface="+mn-ea"/>
                <a:cs typeface="+mn-cs"/>
              </a:defRPr>
            </a:lvl1pPr>
            <a:lvl2pPr marL="514350" indent="-171450" algn="l" rtl="0" eaLnBrk="0" fontAlgn="base" hangingPunct="0">
              <a:lnSpc>
                <a:spcPct val="90000"/>
              </a:lnSpc>
              <a:spcBef>
                <a:spcPts val="375"/>
              </a:spcBef>
              <a:spcAft>
                <a:spcPct val="0"/>
              </a:spcAft>
              <a:buFont typeface="Arial" panose="020B0604020202020204" pitchFamily="34" charset="0"/>
              <a:buChar char="•"/>
              <a:defRPr kern="1200">
                <a:solidFill>
                  <a:schemeClr val="tx1"/>
                </a:solidFill>
                <a:latin typeface="+mn-lt"/>
                <a:ea typeface="+mn-ea"/>
                <a:cs typeface="+mn-cs"/>
              </a:defRPr>
            </a:lvl2pPr>
            <a:lvl3pPr marL="857250" indent="-171450" algn="l" rtl="0" eaLnBrk="0" fontAlgn="base" hangingPunct="0">
              <a:lnSpc>
                <a:spcPct val="90000"/>
              </a:lnSpc>
              <a:spcBef>
                <a:spcPts val="375"/>
              </a:spcBef>
              <a:spcAft>
                <a:spcPct val="0"/>
              </a:spcAft>
              <a:buFont typeface="Arial" panose="020B0604020202020204" pitchFamily="34" charset="0"/>
              <a:buChar char="•"/>
              <a:defRPr sz="1500" kern="1200">
                <a:solidFill>
                  <a:schemeClr val="tx1"/>
                </a:solidFill>
                <a:latin typeface="+mn-lt"/>
                <a:ea typeface="+mn-ea"/>
                <a:cs typeface="+mn-cs"/>
              </a:defRPr>
            </a:lvl3pPr>
            <a:lvl4pPr marL="1200150" indent="-171450" algn="l" rtl="0" eaLnBrk="0" fontAlgn="base" hangingPunct="0">
              <a:lnSpc>
                <a:spcPct val="90000"/>
              </a:lnSpc>
              <a:spcBef>
                <a:spcPts val="375"/>
              </a:spcBef>
              <a:spcAft>
                <a:spcPct val="0"/>
              </a:spcAft>
              <a:buFont typeface="Arial" panose="020B0604020202020204" pitchFamily="34" charset="0"/>
              <a:buChar char="•"/>
              <a:defRPr kern="1200">
                <a:solidFill>
                  <a:schemeClr val="tx1"/>
                </a:solidFill>
                <a:latin typeface="+mn-lt"/>
                <a:ea typeface="+mn-ea"/>
                <a:cs typeface="+mn-cs"/>
              </a:defRPr>
            </a:lvl4pPr>
            <a:lvl5pPr marL="1543050" indent="-171450" algn="l" rtl="0" eaLnBrk="0" fontAlgn="base" hangingPunct="0">
              <a:lnSpc>
                <a:spcPct val="90000"/>
              </a:lnSpc>
              <a:spcBef>
                <a:spcPts val="375"/>
              </a:spcBef>
              <a:spcAft>
                <a:spcPct val="0"/>
              </a:spcAft>
              <a:buFont typeface="Arial" panose="020B0604020202020204" pitchFamily="34" charset="0"/>
              <a:buChar char="•"/>
              <a:defRPr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buNone/>
            </a:pPr>
            <a:r>
              <a:rPr lang="en-US" sz="2000" b="1"/>
              <a:t>Advocate for Expanded Stakeholder Engagement: </a:t>
            </a:r>
          </a:p>
          <a:p>
            <a:pPr marL="0" indent="0">
              <a:buNone/>
            </a:pPr>
            <a:r>
              <a:rPr lang="en-US" sz="1800"/>
              <a:t>DOE should advocate for expanded input with civil society organizations that represent marginalized communities. They should facilitate available and access to expertise</a:t>
            </a:r>
            <a:endParaRPr lang="en-US" sz="1800" b="1"/>
          </a:p>
        </p:txBody>
      </p:sp>
      <p:sp>
        <p:nvSpPr>
          <p:cNvPr id="15" name="Content Placeholder 2">
            <a:extLst>
              <a:ext uri="{FF2B5EF4-FFF2-40B4-BE49-F238E27FC236}">
                <a16:creationId xmlns:a16="http://schemas.microsoft.com/office/drawing/2014/main" id="{A8DB1D3D-F4F5-AE95-3F86-031B5643231A}"/>
              </a:ext>
            </a:extLst>
          </p:cNvPr>
          <p:cNvSpPr txBox="1">
            <a:spLocks/>
          </p:cNvSpPr>
          <p:nvPr/>
        </p:nvSpPr>
        <p:spPr bwMode="auto">
          <a:xfrm>
            <a:off x="8901955" y="2526573"/>
            <a:ext cx="2372200" cy="14463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171450" indent="-171450" algn="l" rtl="0" eaLnBrk="0" fontAlgn="base" hangingPunct="0">
              <a:lnSpc>
                <a:spcPct val="90000"/>
              </a:lnSpc>
              <a:spcBef>
                <a:spcPts val="750"/>
              </a:spcBef>
              <a:spcAft>
                <a:spcPct val="0"/>
              </a:spcAft>
              <a:buFont typeface="Arial" panose="020B0604020202020204" pitchFamily="34" charset="0"/>
              <a:buChar char="•"/>
              <a:defRPr sz="2100" kern="1200">
                <a:solidFill>
                  <a:schemeClr val="tx1"/>
                </a:solidFill>
                <a:latin typeface="+mn-lt"/>
                <a:ea typeface="+mn-ea"/>
                <a:cs typeface="+mn-cs"/>
              </a:defRPr>
            </a:lvl1pPr>
            <a:lvl2pPr marL="514350" indent="-171450" algn="l" rtl="0" eaLnBrk="0" fontAlgn="base" hangingPunct="0">
              <a:lnSpc>
                <a:spcPct val="90000"/>
              </a:lnSpc>
              <a:spcBef>
                <a:spcPts val="375"/>
              </a:spcBef>
              <a:spcAft>
                <a:spcPct val="0"/>
              </a:spcAft>
              <a:buFont typeface="Arial" panose="020B0604020202020204" pitchFamily="34" charset="0"/>
              <a:buChar char="•"/>
              <a:defRPr kern="1200">
                <a:solidFill>
                  <a:schemeClr val="tx1"/>
                </a:solidFill>
                <a:latin typeface="+mn-lt"/>
                <a:ea typeface="+mn-ea"/>
                <a:cs typeface="+mn-cs"/>
              </a:defRPr>
            </a:lvl2pPr>
            <a:lvl3pPr marL="857250" indent="-171450" algn="l" rtl="0" eaLnBrk="0" fontAlgn="base" hangingPunct="0">
              <a:lnSpc>
                <a:spcPct val="90000"/>
              </a:lnSpc>
              <a:spcBef>
                <a:spcPts val="375"/>
              </a:spcBef>
              <a:spcAft>
                <a:spcPct val="0"/>
              </a:spcAft>
              <a:buFont typeface="Arial" panose="020B0604020202020204" pitchFamily="34" charset="0"/>
              <a:buChar char="•"/>
              <a:defRPr sz="1500" kern="1200">
                <a:solidFill>
                  <a:schemeClr val="tx1"/>
                </a:solidFill>
                <a:latin typeface="+mn-lt"/>
                <a:ea typeface="+mn-ea"/>
                <a:cs typeface="+mn-cs"/>
              </a:defRPr>
            </a:lvl3pPr>
            <a:lvl4pPr marL="1200150" indent="-171450" algn="l" rtl="0" eaLnBrk="0" fontAlgn="base" hangingPunct="0">
              <a:lnSpc>
                <a:spcPct val="90000"/>
              </a:lnSpc>
              <a:spcBef>
                <a:spcPts val="375"/>
              </a:spcBef>
              <a:spcAft>
                <a:spcPct val="0"/>
              </a:spcAft>
              <a:buFont typeface="Arial" panose="020B0604020202020204" pitchFamily="34" charset="0"/>
              <a:buChar char="•"/>
              <a:defRPr kern="1200">
                <a:solidFill>
                  <a:schemeClr val="tx1"/>
                </a:solidFill>
                <a:latin typeface="+mn-lt"/>
                <a:ea typeface="+mn-ea"/>
                <a:cs typeface="+mn-cs"/>
              </a:defRPr>
            </a:lvl4pPr>
            <a:lvl5pPr marL="1543050" indent="-171450" algn="l" rtl="0" eaLnBrk="0" fontAlgn="base" hangingPunct="0">
              <a:lnSpc>
                <a:spcPct val="90000"/>
              </a:lnSpc>
              <a:spcBef>
                <a:spcPts val="375"/>
              </a:spcBef>
              <a:spcAft>
                <a:spcPct val="0"/>
              </a:spcAft>
              <a:buFont typeface="Arial" panose="020B0604020202020204" pitchFamily="34" charset="0"/>
              <a:buChar char="•"/>
              <a:defRPr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buNone/>
            </a:pPr>
            <a:r>
              <a:rPr lang="en-US" sz="2000" b="1"/>
              <a:t>Advance Publication Timeline for Integrated Waste Management Strategy: </a:t>
            </a:r>
          </a:p>
          <a:p>
            <a:pPr marL="0" indent="0">
              <a:buNone/>
            </a:pPr>
            <a:r>
              <a:rPr lang="en-US" sz="1800"/>
              <a:t>The DOE should expedite publication of an integrated waste management strategy with common community awareness as a foundation</a:t>
            </a:r>
            <a:endParaRPr lang="en-US" sz="1800" b="1"/>
          </a:p>
        </p:txBody>
      </p:sp>
      <p:pic>
        <p:nvPicPr>
          <p:cNvPr id="17" name="Graphic 16" descr="Stopwatch 33% outline">
            <a:extLst>
              <a:ext uri="{FF2B5EF4-FFF2-40B4-BE49-F238E27FC236}">
                <a16:creationId xmlns:a16="http://schemas.microsoft.com/office/drawing/2014/main" id="{26B6788E-4CD6-2AC3-0778-D4931D7A53F8}"/>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9485061" y="1471172"/>
            <a:ext cx="994278" cy="994278"/>
          </a:xfrm>
          <a:prstGeom prst="rect">
            <a:avLst/>
          </a:prstGeom>
        </p:spPr>
      </p:pic>
      <p:pic>
        <p:nvPicPr>
          <p:cNvPr id="19" name="Graphic 18" descr="Group outline">
            <a:extLst>
              <a:ext uri="{FF2B5EF4-FFF2-40B4-BE49-F238E27FC236}">
                <a16:creationId xmlns:a16="http://schemas.microsoft.com/office/drawing/2014/main" id="{562854A7-2AA7-DFBC-9CA8-A11A4EF3A15F}"/>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6794205" y="1471172"/>
            <a:ext cx="994278" cy="994278"/>
          </a:xfrm>
          <a:prstGeom prst="rect">
            <a:avLst/>
          </a:prstGeom>
        </p:spPr>
      </p:pic>
      <p:pic>
        <p:nvPicPr>
          <p:cNvPr id="21" name="Graphic 20" descr="Dollar outline">
            <a:extLst>
              <a:ext uri="{FF2B5EF4-FFF2-40B4-BE49-F238E27FC236}">
                <a16:creationId xmlns:a16="http://schemas.microsoft.com/office/drawing/2014/main" id="{3452B209-2369-D525-4B11-CFEE948071D2}"/>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4103349" y="1471172"/>
            <a:ext cx="994278" cy="994278"/>
          </a:xfrm>
          <a:prstGeom prst="rect">
            <a:avLst/>
          </a:prstGeom>
        </p:spPr>
      </p:pic>
      <p:pic>
        <p:nvPicPr>
          <p:cNvPr id="23" name="Graphic 22" descr="Transfer outline">
            <a:extLst>
              <a:ext uri="{FF2B5EF4-FFF2-40B4-BE49-F238E27FC236}">
                <a16:creationId xmlns:a16="http://schemas.microsoft.com/office/drawing/2014/main" id="{A8B7C0DB-020D-14AC-E2EF-1781BB56A23F}"/>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412493" y="1471172"/>
            <a:ext cx="994278" cy="994278"/>
          </a:xfrm>
          <a:prstGeom prst="rect">
            <a:avLst/>
          </a:prstGeom>
        </p:spPr>
      </p:pic>
    </p:spTree>
    <p:extLst>
      <p:ext uri="{BB962C8B-B14F-4D97-AF65-F5344CB8AC3E}">
        <p14:creationId xmlns:p14="http://schemas.microsoft.com/office/powerpoint/2010/main" val="3245823897"/>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A3E15E3-804B-C0F2-687C-DB9E9E893EE6}"/>
              </a:ext>
            </a:extLst>
          </p:cNvPr>
          <p:cNvSpPr>
            <a:spLocks noGrp="1"/>
          </p:cNvSpPr>
          <p:nvPr>
            <p:ph type="title"/>
          </p:nvPr>
        </p:nvSpPr>
        <p:spPr/>
        <p:txBody>
          <a:bodyPr/>
          <a:lstStyle/>
          <a:p>
            <a:r>
              <a:rPr lang="en-US"/>
              <a:t>Follow on topics and next steps</a:t>
            </a:r>
          </a:p>
        </p:txBody>
      </p:sp>
      <p:sp>
        <p:nvSpPr>
          <p:cNvPr id="3" name="Content Placeholder 2">
            <a:extLst>
              <a:ext uri="{FF2B5EF4-FFF2-40B4-BE49-F238E27FC236}">
                <a16:creationId xmlns:a16="http://schemas.microsoft.com/office/drawing/2014/main" id="{8465AAE0-0C6D-9733-D979-BE90EE4BFF79}"/>
              </a:ext>
            </a:extLst>
          </p:cNvPr>
          <p:cNvSpPr>
            <a:spLocks noGrp="1"/>
          </p:cNvSpPr>
          <p:nvPr>
            <p:ph idx="1"/>
          </p:nvPr>
        </p:nvSpPr>
        <p:spPr/>
        <p:txBody>
          <a:bodyPr/>
          <a:lstStyle/>
          <a:p>
            <a:r>
              <a:rPr lang="en-US" sz="2400" b="1"/>
              <a:t>The subcommittee is currently considering and will issue a subsequent </a:t>
            </a:r>
            <a:br>
              <a:rPr lang="en-US" sz="2400" b="1"/>
            </a:br>
            <a:r>
              <a:rPr lang="en-US" sz="2400" b="1"/>
              <a:t>report regarding:</a:t>
            </a:r>
          </a:p>
          <a:p>
            <a:pPr lvl="1"/>
            <a:r>
              <a:rPr lang="en-US" sz="2000"/>
              <a:t>The creation of an independent organization to manage CBS</a:t>
            </a:r>
          </a:p>
          <a:p>
            <a:pPr lvl="1"/>
            <a:r>
              <a:rPr lang="en-US" sz="2000"/>
              <a:t>Access to waste funding to support CBS</a:t>
            </a:r>
          </a:p>
          <a:p>
            <a:pPr lvl="1"/>
            <a:r>
              <a:rPr lang="en-US" sz="2000"/>
              <a:t>Site governance options such as partnerships with local, state, and regional organizations</a:t>
            </a:r>
          </a:p>
          <a:p>
            <a:pPr lvl="1"/>
            <a:r>
              <a:rPr lang="en-US" sz="2000"/>
              <a:t>Formation of an advisory panel comprised of social, local, and technical stakeholders such as those from previous successful projects</a:t>
            </a:r>
          </a:p>
          <a:p>
            <a:pPr lvl="1"/>
            <a:r>
              <a:rPr lang="en-US" sz="2000"/>
              <a:t>Relevance of previous recommendations from studies and commissions on this topic</a:t>
            </a:r>
          </a:p>
        </p:txBody>
      </p:sp>
      <p:sp>
        <p:nvSpPr>
          <p:cNvPr id="4" name="Slide Number Placeholder 3">
            <a:extLst>
              <a:ext uri="{FF2B5EF4-FFF2-40B4-BE49-F238E27FC236}">
                <a16:creationId xmlns:a16="http://schemas.microsoft.com/office/drawing/2014/main" id="{F748BA7A-7866-F9F1-2F05-BFC7CA5E8FBE}"/>
              </a:ext>
            </a:extLst>
          </p:cNvPr>
          <p:cNvSpPr>
            <a:spLocks noGrp="1"/>
          </p:cNvSpPr>
          <p:nvPr>
            <p:ph type="sldNum" sz="quarter" idx="10"/>
          </p:nvPr>
        </p:nvSpPr>
        <p:spPr/>
        <p:txBody>
          <a:bodyPr/>
          <a:lstStyle/>
          <a:p>
            <a:pPr>
              <a:defRPr/>
            </a:pPr>
            <a:fld id="{37926BA8-E0F8-42A8-A83C-EBAA1A1E8FCD}" type="slidenum">
              <a:rPr lang="en-US" dirty="0" smtClean="0"/>
              <a:pPr>
                <a:defRPr/>
              </a:pPr>
              <a:t>95</a:t>
            </a:fld>
            <a:endParaRPr lang="en-US"/>
          </a:p>
        </p:txBody>
      </p:sp>
      <p:pic>
        <p:nvPicPr>
          <p:cNvPr id="6" name="Graphic 5" descr="Badge 4 with solid fill">
            <a:extLst>
              <a:ext uri="{FF2B5EF4-FFF2-40B4-BE49-F238E27FC236}">
                <a16:creationId xmlns:a16="http://schemas.microsoft.com/office/drawing/2014/main" id="{4FB778DD-189E-30D8-419F-5CBD770D2076}"/>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15701" y="3279102"/>
            <a:ext cx="387795" cy="387795"/>
          </a:xfrm>
          <a:prstGeom prst="rect">
            <a:avLst/>
          </a:prstGeom>
        </p:spPr>
      </p:pic>
      <p:pic>
        <p:nvPicPr>
          <p:cNvPr id="8" name="Graphic 7" descr="Badge with solid fill">
            <a:extLst>
              <a:ext uri="{FF2B5EF4-FFF2-40B4-BE49-F238E27FC236}">
                <a16:creationId xmlns:a16="http://schemas.microsoft.com/office/drawing/2014/main" id="{BD461EA6-4532-CA23-F700-4BA72B6D6C63}"/>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015699" y="2615840"/>
            <a:ext cx="387795" cy="387795"/>
          </a:xfrm>
          <a:prstGeom prst="rect">
            <a:avLst/>
          </a:prstGeom>
        </p:spPr>
      </p:pic>
      <p:pic>
        <p:nvPicPr>
          <p:cNvPr id="10" name="Graphic 9" descr="Badge 3 with solid fill">
            <a:extLst>
              <a:ext uri="{FF2B5EF4-FFF2-40B4-BE49-F238E27FC236}">
                <a16:creationId xmlns:a16="http://schemas.microsoft.com/office/drawing/2014/main" id="{882519A8-74A1-3BEF-ECEF-7CEF8FDD3F3E}"/>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15699" y="2947471"/>
            <a:ext cx="387795" cy="387795"/>
          </a:xfrm>
          <a:prstGeom prst="rect">
            <a:avLst/>
          </a:prstGeom>
        </p:spPr>
      </p:pic>
      <p:pic>
        <p:nvPicPr>
          <p:cNvPr id="12" name="Graphic 11" descr="Badge 5 with solid fill">
            <a:extLst>
              <a:ext uri="{FF2B5EF4-FFF2-40B4-BE49-F238E27FC236}">
                <a16:creationId xmlns:a16="http://schemas.microsoft.com/office/drawing/2014/main" id="{6F1B2E43-C01D-9625-82D8-C23AC5BF61A4}"/>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015699" y="3884462"/>
            <a:ext cx="387795" cy="387795"/>
          </a:xfrm>
          <a:prstGeom prst="rect">
            <a:avLst/>
          </a:prstGeom>
        </p:spPr>
      </p:pic>
      <p:pic>
        <p:nvPicPr>
          <p:cNvPr id="14" name="Graphic 13" descr="Badge 1 with solid fill">
            <a:extLst>
              <a:ext uri="{FF2B5EF4-FFF2-40B4-BE49-F238E27FC236}">
                <a16:creationId xmlns:a16="http://schemas.microsoft.com/office/drawing/2014/main" id="{2C4780B4-F2FF-795A-A2B7-720218C8C6DE}"/>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1015703" y="2284209"/>
            <a:ext cx="387795" cy="387795"/>
          </a:xfrm>
          <a:prstGeom prst="rect">
            <a:avLst/>
          </a:prstGeom>
        </p:spPr>
      </p:pic>
    </p:spTree>
    <p:extLst>
      <p:ext uri="{BB962C8B-B14F-4D97-AF65-F5344CB8AC3E}">
        <p14:creationId xmlns:p14="http://schemas.microsoft.com/office/powerpoint/2010/main" val="1175191133"/>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Title 5">
            <a:extLst>
              <a:ext uri="{FF2B5EF4-FFF2-40B4-BE49-F238E27FC236}">
                <a16:creationId xmlns:a16="http://schemas.microsoft.com/office/drawing/2014/main" id="{7E9EEA3E-45E3-0239-E69A-BE3F5FBC9AB7}"/>
              </a:ext>
            </a:extLst>
          </p:cNvPr>
          <p:cNvSpPr>
            <a:spLocks noGrp="1" noChangeArrowheads="1"/>
          </p:cNvSpPr>
          <p:nvPr>
            <p:ph type="ctrTitle"/>
          </p:nvPr>
        </p:nvSpPr>
        <p:spPr>
          <a:xfrm>
            <a:off x="609600" y="1066800"/>
            <a:ext cx="10165976" cy="2590800"/>
          </a:xfrm>
        </p:spPr>
        <p:txBody>
          <a:bodyPr/>
          <a:lstStyle/>
          <a:p>
            <a:pPr algn="l"/>
            <a:r>
              <a:rPr lang="en-US" altLang="en-US" sz="5400" b="1">
                <a:solidFill>
                  <a:schemeClr val="bg1"/>
                </a:solidFill>
              </a:rPr>
              <a:t>Lunch</a:t>
            </a:r>
          </a:p>
        </p:txBody>
      </p:sp>
      <p:sp>
        <p:nvSpPr>
          <p:cNvPr id="2" name="Subtitle 6">
            <a:extLst>
              <a:ext uri="{FF2B5EF4-FFF2-40B4-BE49-F238E27FC236}">
                <a16:creationId xmlns:a16="http://schemas.microsoft.com/office/drawing/2014/main" id="{D285B812-6941-9FB8-95B3-A3D78C9DE398}"/>
              </a:ext>
            </a:extLst>
          </p:cNvPr>
          <p:cNvSpPr>
            <a:spLocks noGrp="1" noChangeArrowheads="1"/>
          </p:cNvSpPr>
          <p:nvPr>
            <p:ph type="subTitle" idx="1"/>
          </p:nvPr>
        </p:nvSpPr>
        <p:spPr>
          <a:xfrm>
            <a:off x="609600" y="3276600"/>
            <a:ext cx="8816975" cy="2209800"/>
          </a:xfrm>
        </p:spPr>
        <p:txBody>
          <a:bodyPr/>
          <a:lstStyle/>
          <a:p>
            <a:pPr algn="l"/>
            <a:endParaRPr lang="en-US" altLang="en-US" sz="2000" b="1" i="1">
              <a:solidFill>
                <a:schemeClr val="bg1"/>
              </a:solidFill>
            </a:endParaRPr>
          </a:p>
          <a:p>
            <a:pPr algn="l"/>
            <a:endParaRPr lang="en-US" altLang="en-US" sz="2000" b="1" i="1">
              <a:solidFill>
                <a:schemeClr val="bg1"/>
              </a:solidFill>
            </a:endParaRPr>
          </a:p>
          <a:p>
            <a:pPr algn="l"/>
            <a:r>
              <a:rPr lang="en-US" altLang="en-US" b="1">
                <a:solidFill>
                  <a:schemeClr val="bg1"/>
                </a:solidFill>
              </a:rPr>
              <a:t>Return: 1:45 pm</a:t>
            </a:r>
          </a:p>
          <a:p>
            <a:pPr algn="l"/>
            <a:r>
              <a:rPr lang="en-US" altLang="en-US" sz="2000" b="1" i="1">
                <a:solidFill>
                  <a:schemeClr val="bg1"/>
                </a:solidFill>
              </a:rPr>
              <a:t>				</a:t>
            </a:r>
            <a:endParaRPr lang="en-US" altLang="en-US" sz="2000" b="1">
              <a:solidFill>
                <a:schemeClr val="bg1"/>
              </a:solidFill>
            </a:endParaRPr>
          </a:p>
        </p:txBody>
      </p:sp>
    </p:spTree>
    <p:extLst>
      <p:ext uri="{BB962C8B-B14F-4D97-AF65-F5344CB8AC3E}">
        <p14:creationId xmlns:p14="http://schemas.microsoft.com/office/powerpoint/2010/main" val="4033865998"/>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Title 5">
            <a:extLst>
              <a:ext uri="{FF2B5EF4-FFF2-40B4-BE49-F238E27FC236}">
                <a16:creationId xmlns:a16="http://schemas.microsoft.com/office/drawing/2014/main" id="{7E9EEA3E-45E3-0239-E69A-BE3F5FBC9AB7}"/>
              </a:ext>
            </a:extLst>
          </p:cNvPr>
          <p:cNvSpPr>
            <a:spLocks noGrp="1" noChangeArrowheads="1"/>
          </p:cNvSpPr>
          <p:nvPr>
            <p:ph type="ctrTitle"/>
          </p:nvPr>
        </p:nvSpPr>
        <p:spPr>
          <a:xfrm>
            <a:off x="609600" y="1066800"/>
            <a:ext cx="10165976" cy="2590800"/>
          </a:xfrm>
        </p:spPr>
        <p:txBody>
          <a:bodyPr/>
          <a:lstStyle/>
          <a:p>
            <a:pPr algn="l"/>
            <a:r>
              <a:rPr lang="en-US" altLang="en-US" sz="5400" b="1">
                <a:solidFill>
                  <a:schemeClr val="bg1"/>
                </a:solidFill>
              </a:rPr>
              <a:t>Workforce of the Future</a:t>
            </a:r>
          </a:p>
        </p:txBody>
      </p:sp>
      <p:sp>
        <p:nvSpPr>
          <p:cNvPr id="20483" name="Subtitle 6">
            <a:extLst>
              <a:ext uri="{FF2B5EF4-FFF2-40B4-BE49-F238E27FC236}">
                <a16:creationId xmlns:a16="http://schemas.microsoft.com/office/drawing/2014/main" id="{681152D8-4998-8D5B-9854-96A67EBE53DE}"/>
              </a:ext>
            </a:extLst>
          </p:cNvPr>
          <p:cNvSpPr>
            <a:spLocks noGrp="1" noChangeArrowheads="1"/>
          </p:cNvSpPr>
          <p:nvPr>
            <p:ph type="subTitle" idx="1"/>
          </p:nvPr>
        </p:nvSpPr>
        <p:spPr>
          <a:xfrm>
            <a:off x="609600" y="3276600"/>
            <a:ext cx="8816975" cy="2209800"/>
          </a:xfrm>
        </p:spPr>
        <p:txBody>
          <a:bodyPr/>
          <a:lstStyle/>
          <a:p>
            <a:pPr algn="l"/>
            <a:endParaRPr lang="en-US" altLang="en-US" sz="2000" b="1" i="1">
              <a:solidFill>
                <a:schemeClr val="bg1"/>
              </a:solidFill>
            </a:endParaRPr>
          </a:p>
          <a:p>
            <a:pPr algn="l"/>
            <a:endParaRPr lang="en-US" altLang="en-US" sz="2000" b="1" i="1">
              <a:solidFill>
                <a:schemeClr val="bg1"/>
              </a:solidFill>
            </a:endParaRPr>
          </a:p>
          <a:p>
            <a:pPr algn="l"/>
            <a:r>
              <a:rPr lang="en-US" altLang="en-US" b="1">
                <a:solidFill>
                  <a:schemeClr val="bg1"/>
                </a:solidFill>
                <a:cs typeface="Calibri"/>
              </a:rPr>
              <a:t>Dr. Sonja Schmid</a:t>
            </a:r>
            <a:endParaRPr lang="en-US" altLang="en-US" b="1">
              <a:solidFill>
                <a:schemeClr val="bg1"/>
              </a:solidFill>
            </a:endParaRPr>
          </a:p>
          <a:p>
            <a:pPr algn="l"/>
            <a:r>
              <a:rPr lang="en-US" altLang="en-US" b="1">
                <a:solidFill>
                  <a:schemeClr val="bg1"/>
                </a:solidFill>
              </a:rPr>
              <a:t>NEAC Subcommittee updates and discussion</a:t>
            </a:r>
            <a:r>
              <a:rPr lang="en-US" altLang="en-US" sz="2000" b="1" i="1">
                <a:solidFill>
                  <a:schemeClr val="bg1"/>
                </a:solidFill>
              </a:rPr>
              <a:t>		</a:t>
            </a:r>
            <a:endParaRPr lang="en-US" altLang="en-US" sz="2000" b="1">
              <a:solidFill>
                <a:schemeClr val="bg1"/>
              </a:solidFill>
              <a:cs typeface="Calibri"/>
            </a:endParaRPr>
          </a:p>
        </p:txBody>
      </p:sp>
    </p:spTree>
    <p:extLst>
      <p:ext uri="{BB962C8B-B14F-4D97-AF65-F5344CB8AC3E}">
        <p14:creationId xmlns:p14="http://schemas.microsoft.com/office/powerpoint/2010/main" val="4148509863"/>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7CD58E-BFF0-31D7-7AF0-B06E8CFA7E4E}"/>
              </a:ext>
            </a:extLst>
          </p:cNvPr>
          <p:cNvSpPr>
            <a:spLocks noGrp="1"/>
          </p:cNvSpPr>
          <p:nvPr>
            <p:ph type="title"/>
          </p:nvPr>
        </p:nvSpPr>
        <p:spPr/>
        <p:txBody>
          <a:bodyPr/>
          <a:lstStyle/>
          <a:p>
            <a:r>
              <a:rPr lang="en-US"/>
              <a:t>Overview of the scope and progress of the Workforce subcommittee</a:t>
            </a:r>
          </a:p>
        </p:txBody>
      </p:sp>
      <p:sp>
        <p:nvSpPr>
          <p:cNvPr id="3" name="Content Placeholder 2">
            <a:extLst>
              <a:ext uri="{FF2B5EF4-FFF2-40B4-BE49-F238E27FC236}">
                <a16:creationId xmlns:a16="http://schemas.microsoft.com/office/drawing/2014/main" id="{B905F302-2560-2185-10EC-E32876ABCF9F}"/>
              </a:ext>
            </a:extLst>
          </p:cNvPr>
          <p:cNvSpPr>
            <a:spLocks noGrp="1"/>
          </p:cNvSpPr>
          <p:nvPr>
            <p:ph idx="1"/>
          </p:nvPr>
        </p:nvSpPr>
        <p:spPr/>
        <p:txBody>
          <a:bodyPr/>
          <a:lstStyle/>
          <a:p>
            <a:pPr marL="0" indent="0">
              <a:buNone/>
            </a:pPr>
            <a:r>
              <a:rPr lang="en-US" sz="2000"/>
              <a:t>The Workforce Committee </a:t>
            </a:r>
            <a:r>
              <a:rPr lang="en-US" sz="2000" b="1"/>
              <a:t>had the mandate of understanding (a) the nature, size, and skillset of the nuclear workforce needed in the future </a:t>
            </a:r>
            <a:r>
              <a:rPr lang="en-US" sz="2000"/>
              <a:t>to support a 2050 decarbonization goal, as well as </a:t>
            </a:r>
            <a:r>
              <a:rPr lang="en-US" sz="2000" b="1"/>
              <a:t>(b) the gaps and problems </a:t>
            </a:r>
            <a:r>
              <a:rPr lang="en-US" sz="2000"/>
              <a:t>associated with achieving this goal. </a:t>
            </a:r>
          </a:p>
          <a:p>
            <a:pPr marL="0" indent="0">
              <a:buNone/>
            </a:pPr>
            <a:r>
              <a:rPr lang="en-US" sz="2000"/>
              <a:t>During multiple meetings over the last year, the committee </a:t>
            </a:r>
            <a:r>
              <a:rPr lang="en-US" sz="2000" b="1"/>
              <a:t>heard from numerous presenters</a:t>
            </a:r>
            <a:r>
              <a:rPr lang="en-US" sz="2000"/>
              <a:t> on challenges surrounding the future nuclear workforce, including:</a:t>
            </a:r>
          </a:p>
          <a:p>
            <a:pPr lvl="1"/>
            <a:r>
              <a:rPr lang="en-US" sz="2000"/>
              <a:t>Ken Czerwinski, UNLV, PI of SUSTAIN</a:t>
            </a:r>
          </a:p>
          <a:p>
            <a:pPr lvl="1"/>
            <a:r>
              <a:rPr lang="en-US" sz="2000"/>
              <a:t>Lori Brady, NEI</a:t>
            </a:r>
          </a:p>
          <a:p>
            <a:pPr lvl="1"/>
            <a:r>
              <a:rPr lang="en-US" sz="2000"/>
              <a:t>Alice </a:t>
            </a:r>
            <a:r>
              <a:rPr lang="en-US" sz="2000" err="1"/>
              <a:t>Caponiti</a:t>
            </a:r>
            <a:r>
              <a:rPr lang="en-US" sz="2000"/>
              <a:t>, Deputy Assistant Secretary and her team</a:t>
            </a:r>
          </a:p>
          <a:p>
            <a:pPr lvl="1"/>
            <a:r>
              <a:rPr lang="en-US" sz="2000"/>
              <a:t>Melinda Higgins, Director of STEM programs</a:t>
            </a:r>
          </a:p>
          <a:p>
            <a:pPr marL="0" indent="0" algn="l">
              <a:buNone/>
            </a:pPr>
            <a:r>
              <a:rPr lang="en-US" sz="2000"/>
              <a:t>As an outcome of our discussions, we have put together </a:t>
            </a:r>
            <a:r>
              <a:rPr lang="en-US" sz="2000" b="1"/>
              <a:t>three preliminary recommendations </a:t>
            </a:r>
            <a:r>
              <a:rPr lang="en-US" sz="2000"/>
              <a:t>based on a series of topics we discussed</a:t>
            </a:r>
            <a:r>
              <a:rPr lang="en-US" sz="2000" b="1"/>
              <a:t>. </a:t>
            </a:r>
            <a:r>
              <a:rPr lang="en-US" sz="2000"/>
              <a:t>These are intended as an update on work in progress; the Workforce Committee plans to continue its deliberations.</a:t>
            </a:r>
          </a:p>
        </p:txBody>
      </p:sp>
      <p:sp>
        <p:nvSpPr>
          <p:cNvPr id="4" name="Slide Number Placeholder 3">
            <a:extLst>
              <a:ext uri="{FF2B5EF4-FFF2-40B4-BE49-F238E27FC236}">
                <a16:creationId xmlns:a16="http://schemas.microsoft.com/office/drawing/2014/main" id="{AD91375A-CA17-BC66-AADD-7CE7A8289C1F}"/>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7926BA8-E0F8-42A8-A83C-EBAA1A1E8FCD}" type="slidenum">
              <a:rPr kumimoji="0" lang="en-US" sz="900" b="0" i="0" u="none" strike="noStrike" kern="1200" cap="none" spc="0" normalizeH="0" baseline="0" noProof="0" smtClean="0">
                <a:ln>
                  <a:noFill/>
                </a:ln>
                <a:solidFill>
                  <a:srgbClr val="214877">
                    <a:tint val="75000"/>
                  </a:srgbClr>
                </a:solidFill>
                <a:effectLst/>
                <a:uLnTx/>
                <a:uFillTx/>
                <a:latin typeface="Franklin Gothic Boo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8</a:t>
            </a:fld>
            <a:endParaRPr kumimoji="0" lang="en-US" sz="900" b="0" i="0" u="none" strike="noStrike" kern="1200" cap="none" spc="0" normalizeH="0" baseline="0" noProof="0">
              <a:ln>
                <a:noFill/>
              </a:ln>
              <a:solidFill>
                <a:srgbClr val="214877">
                  <a:tint val="75000"/>
                </a:srgbClr>
              </a:solidFill>
              <a:effectLst/>
              <a:uLnTx/>
              <a:uFillTx/>
              <a:latin typeface="Franklin Gothic Book"/>
              <a:ea typeface="+mn-ea"/>
              <a:cs typeface="+mn-cs"/>
            </a:endParaRPr>
          </a:p>
        </p:txBody>
      </p:sp>
    </p:spTree>
    <p:extLst>
      <p:ext uri="{BB962C8B-B14F-4D97-AF65-F5344CB8AC3E}">
        <p14:creationId xmlns:p14="http://schemas.microsoft.com/office/powerpoint/2010/main" val="3704665588"/>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A3E15E3-804B-C0F2-687C-DB9E9E893EE6}"/>
              </a:ext>
            </a:extLst>
          </p:cNvPr>
          <p:cNvSpPr>
            <a:spLocks noGrp="1"/>
          </p:cNvSpPr>
          <p:nvPr>
            <p:ph type="title"/>
          </p:nvPr>
        </p:nvSpPr>
        <p:spPr/>
        <p:txBody>
          <a:bodyPr/>
          <a:lstStyle/>
          <a:p>
            <a:r>
              <a:rPr lang="en-US"/>
              <a:t>Preliminary Recommendations</a:t>
            </a:r>
          </a:p>
        </p:txBody>
      </p:sp>
      <p:sp>
        <p:nvSpPr>
          <p:cNvPr id="9" name="Content Placeholder 2">
            <a:extLst>
              <a:ext uri="{FF2B5EF4-FFF2-40B4-BE49-F238E27FC236}">
                <a16:creationId xmlns:a16="http://schemas.microsoft.com/office/drawing/2014/main" id="{4E731F70-9426-4199-E4B4-AACF5C168DE4}"/>
              </a:ext>
            </a:extLst>
          </p:cNvPr>
          <p:cNvSpPr txBox="1">
            <a:spLocks/>
          </p:cNvSpPr>
          <p:nvPr/>
        </p:nvSpPr>
        <p:spPr bwMode="auto">
          <a:xfrm>
            <a:off x="4438111" y="2133349"/>
            <a:ext cx="3564803" cy="14463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171450" indent="-171450" algn="l" rtl="0" eaLnBrk="0" fontAlgn="base" hangingPunct="0">
              <a:lnSpc>
                <a:spcPct val="90000"/>
              </a:lnSpc>
              <a:spcBef>
                <a:spcPts val="750"/>
              </a:spcBef>
              <a:spcAft>
                <a:spcPct val="0"/>
              </a:spcAft>
              <a:buFont typeface="Arial" panose="020B0604020202020204" pitchFamily="34" charset="0"/>
              <a:buChar char="•"/>
              <a:defRPr sz="2100" kern="1200">
                <a:solidFill>
                  <a:schemeClr val="tx1"/>
                </a:solidFill>
                <a:latin typeface="+mn-lt"/>
                <a:ea typeface="+mn-ea"/>
                <a:cs typeface="+mn-cs"/>
              </a:defRPr>
            </a:lvl1pPr>
            <a:lvl2pPr marL="514350" indent="-171450" algn="l" rtl="0" eaLnBrk="0" fontAlgn="base" hangingPunct="0">
              <a:lnSpc>
                <a:spcPct val="90000"/>
              </a:lnSpc>
              <a:spcBef>
                <a:spcPts val="375"/>
              </a:spcBef>
              <a:spcAft>
                <a:spcPct val="0"/>
              </a:spcAft>
              <a:buFont typeface="Arial" panose="020B0604020202020204" pitchFamily="34" charset="0"/>
              <a:buChar char="•"/>
              <a:defRPr kern="1200">
                <a:solidFill>
                  <a:schemeClr val="tx1"/>
                </a:solidFill>
                <a:latin typeface="+mn-lt"/>
                <a:ea typeface="+mn-ea"/>
                <a:cs typeface="+mn-cs"/>
              </a:defRPr>
            </a:lvl2pPr>
            <a:lvl3pPr marL="857250" indent="-171450" algn="l" rtl="0" eaLnBrk="0" fontAlgn="base" hangingPunct="0">
              <a:lnSpc>
                <a:spcPct val="90000"/>
              </a:lnSpc>
              <a:spcBef>
                <a:spcPts val="375"/>
              </a:spcBef>
              <a:spcAft>
                <a:spcPct val="0"/>
              </a:spcAft>
              <a:buFont typeface="Arial" panose="020B0604020202020204" pitchFamily="34" charset="0"/>
              <a:buChar char="•"/>
              <a:defRPr sz="1500" kern="1200">
                <a:solidFill>
                  <a:schemeClr val="tx1"/>
                </a:solidFill>
                <a:latin typeface="+mn-lt"/>
                <a:ea typeface="+mn-ea"/>
                <a:cs typeface="+mn-cs"/>
              </a:defRPr>
            </a:lvl3pPr>
            <a:lvl4pPr marL="1200150" indent="-171450" algn="l" rtl="0" eaLnBrk="0" fontAlgn="base" hangingPunct="0">
              <a:lnSpc>
                <a:spcPct val="90000"/>
              </a:lnSpc>
              <a:spcBef>
                <a:spcPts val="375"/>
              </a:spcBef>
              <a:spcAft>
                <a:spcPct val="0"/>
              </a:spcAft>
              <a:buFont typeface="Arial" panose="020B0604020202020204" pitchFamily="34" charset="0"/>
              <a:buChar char="•"/>
              <a:defRPr kern="1200">
                <a:solidFill>
                  <a:schemeClr val="tx1"/>
                </a:solidFill>
                <a:latin typeface="+mn-lt"/>
                <a:ea typeface="+mn-ea"/>
                <a:cs typeface="+mn-cs"/>
              </a:defRPr>
            </a:lvl4pPr>
            <a:lvl5pPr marL="1543050" indent="-171450" algn="l" rtl="0" eaLnBrk="0" fontAlgn="base" hangingPunct="0">
              <a:lnSpc>
                <a:spcPct val="90000"/>
              </a:lnSpc>
              <a:spcBef>
                <a:spcPts val="375"/>
              </a:spcBef>
              <a:spcAft>
                <a:spcPct val="0"/>
              </a:spcAft>
              <a:buFont typeface="Arial" panose="020B0604020202020204" pitchFamily="34" charset="0"/>
              <a:buChar char="•"/>
              <a:defRPr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914400" rtl="0" eaLnBrk="0" fontAlgn="base" latinLnBrk="0" hangingPunct="0">
              <a:lnSpc>
                <a:spcPct val="90000"/>
              </a:lnSpc>
              <a:spcBef>
                <a:spcPts val="750"/>
              </a:spcBef>
              <a:spcAft>
                <a:spcPct val="0"/>
              </a:spcAft>
              <a:buClrTx/>
              <a:buSzTx/>
              <a:buFont typeface="Arial" panose="020B0604020202020204" pitchFamily="34" charset="0"/>
              <a:buNone/>
              <a:tabLst/>
              <a:defRPr/>
            </a:pPr>
            <a:r>
              <a:rPr kumimoji="0" lang="en-US" sz="1800" b="1" i="0" u="none" strike="noStrike" kern="1200" cap="none" spc="0" normalizeH="0" baseline="0" noProof="0">
                <a:ln>
                  <a:noFill/>
                </a:ln>
                <a:solidFill>
                  <a:srgbClr val="214877"/>
                </a:solidFill>
                <a:effectLst/>
                <a:uLnTx/>
                <a:uFillTx/>
                <a:latin typeface="Franklin Gothic Book"/>
                <a:ea typeface="+mn-ea"/>
                <a:cs typeface="+mn-cs"/>
              </a:rPr>
              <a:t>   </a:t>
            </a:r>
            <a:r>
              <a:rPr kumimoji="0" lang="en-US" sz="2000" b="1" i="0" u="none" strike="noStrike" kern="1200" cap="none" spc="0" normalizeH="0" baseline="0" noProof="0">
                <a:ln>
                  <a:noFill/>
                </a:ln>
                <a:solidFill>
                  <a:srgbClr val="214877"/>
                </a:solidFill>
                <a:effectLst/>
                <a:uLnTx/>
                <a:uFillTx/>
                <a:latin typeface="Franklin Gothic Book"/>
                <a:ea typeface="+mn-ea"/>
                <a:cs typeface="+mn-cs"/>
              </a:rPr>
              <a:t>Diversify the content:</a:t>
            </a:r>
          </a:p>
          <a:p>
            <a:pPr marL="0" marR="0" lvl="0" indent="0" algn="l" defTabSz="914400" rtl="0" eaLnBrk="0" fontAlgn="base" latinLnBrk="0" hangingPunct="0">
              <a:lnSpc>
                <a:spcPct val="90000"/>
              </a:lnSpc>
              <a:spcBef>
                <a:spcPts val="750"/>
              </a:spcBef>
              <a:spcAft>
                <a:spcPct val="0"/>
              </a:spcAft>
              <a:buClrTx/>
              <a:buSzTx/>
              <a:buFont typeface="Arial" panose="020B0604020202020204" pitchFamily="34" charset="0"/>
              <a:buNone/>
              <a:tabLst/>
              <a:defRPr/>
            </a:pPr>
            <a:r>
              <a:rPr kumimoji="0" lang="en-US" sz="1800" b="0" i="0" u="none" strike="noStrike" kern="1200" cap="none" spc="0" normalizeH="0" baseline="0" noProof="0">
                <a:ln>
                  <a:noFill/>
                </a:ln>
                <a:solidFill>
                  <a:srgbClr val="214877"/>
                </a:solidFill>
                <a:effectLst/>
                <a:uLnTx/>
                <a:uFillTx/>
                <a:latin typeface="Calibri" panose="020F0502020204030204" pitchFamily="34" charset="0"/>
                <a:ea typeface="Calibri" panose="020F0502020204030204" pitchFamily="34" charset="0"/>
                <a:cs typeface="Times New Roman" panose="02020603050405020304" pitchFamily="18" charset="0"/>
              </a:rPr>
              <a:t>Expand the content of training beyond the technical by committing a percentage of funding to social sciences and humanities training, and to a comprehensive perspective on nuclear energy. An open, critical, and nuanced discussion of the context of nuclear energy (environment, justice, labor etc.) is vital to support the growth of a workforce that is not only technically competent but also able to navigate difficult debates over a troubled history.</a:t>
            </a:r>
          </a:p>
          <a:p>
            <a:pPr marL="0" marR="0" lvl="0" indent="0" algn="l" defTabSz="914400" rtl="0" eaLnBrk="0" fontAlgn="base" latinLnBrk="0" hangingPunct="0">
              <a:lnSpc>
                <a:spcPct val="90000"/>
              </a:lnSpc>
              <a:spcBef>
                <a:spcPts val="750"/>
              </a:spcBef>
              <a:spcAft>
                <a:spcPct val="0"/>
              </a:spcAft>
              <a:buClrTx/>
              <a:buSzTx/>
              <a:buFont typeface="Arial" panose="020B0604020202020204" pitchFamily="34" charset="0"/>
              <a:buNone/>
              <a:tabLst/>
              <a:defRPr/>
            </a:pPr>
            <a:endParaRPr kumimoji="0" lang="en-US" sz="1800" b="1" i="0" u="none" strike="noStrike" kern="1200" cap="none" spc="0" normalizeH="0" baseline="0" noProof="0">
              <a:ln>
                <a:noFill/>
              </a:ln>
              <a:solidFill>
                <a:srgbClr val="214877"/>
              </a:solidFill>
              <a:effectLst/>
              <a:uLnTx/>
              <a:uFillTx/>
              <a:latin typeface="Franklin Gothic Book"/>
              <a:ea typeface="+mn-ea"/>
              <a:cs typeface="+mn-cs"/>
            </a:endParaRPr>
          </a:p>
        </p:txBody>
      </p:sp>
      <p:sp>
        <p:nvSpPr>
          <p:cNvPr id="14" name="Content Placeholder 2">
            <a:extLst>
              <a:ext uri="{FF2B5EF4-FFF2-40B4-BE49-F238E27FC236}">
                <a16:creationId xmlns:a16="http://schemas.microsoft.com/office/drawing/2014/main" id="{CC2D0566-D26B-0ECA-270D-F37EA21DF9A2}"/>
              </a:ext>
            </a:extLst>
          </p:cNvPr>
          <p:cNvSpPr txBox="1">
            <a:spLocks/>
          </p:cNvSpPr>
          <p:nvPr/>
        </p:nvSpPr>
        <p:spPr bwMode="auto">
          <a:xfrm>
            <a:off x="838200" y="2133349"/>
            <a:ext cx="3388906" cy="28602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171450" indent="-171450" algn="l" rtl="0" eaLnBrk="0" fontAlgn="base" hangingPunct="0">
              <a:lnSpc>
                <a:spcPct val="90000"/>
              </a:lnSpc>
              <a:spcBef>
                <a:spcPts val="750"/>
              </a:spcBef>
              <a:spcAft>
                <a:spcPct val="0"/>
              </a:spcAft>
              <a:buFont typeface="Arial" panose="020B0604020202020204" pitchFamily="34" charset="0"/>
              <a:buChar char="•"/>
              <a:defRPr sz="2100" kern="1200">
                <a:solidFill>
                  <a:schemeClr val="tx1"/>
                </a:solidFill>
                <a:latin typeface="+mn-lt"/>
                <a:ea typeface="+mn-ea"/>
                <a:cs typeface="+mn-cs"/>
              </a:defRPr>
            </a:lvl1pPr>
            <a:lvl2pPr marL="514350" indent="-171450" algn="l" rtl="0" eaLnBrk="0" fontAlgn="base" hangingPunct="0">
              <a:lnSpc>
                <a:spcPct val="90000"/>
              </a:lnSpc>
              <a:spcBef>
                <a:spcPts val="375"/>
              </a:spcBef>
              <a:spcAft>
                <a:spcPct val="0"/>
              </a:spcAft>
              <a:buFont typeface="Arial" panose="020B0604020202020204" pitchFamily="34" charset="0"/>
              <a:buChar char="•"/>
              <a:defRPr kern="1200">
                <a:solidFill>
                  <a:schemeClr val="tx1"/>
                </a:solidFill>
                <a:latin typeface="+mn-lt"/>
                <a:ea typeface="+mn-ea"/>
                <a:cs typeface="+mn-cs"/>
              </a:defRPr>
            </a:lvl2pPr>
            <a:lvl3pPr marL="857250" indent="-171450" algn="l" rtl="0" eaLnBrk="0" fontAlgn="base" hangingPunct="0">
              <a:lnSpc>
                <a:spcPct val="90000"/>
              </a:lnSpc>
              <a:spcBef>
                <a:spcPts val="375"/>
              </a:spcBef>
              <a:spcAft>
                <a:spcPct val="0"/>
              </a:spcAft>
              <a:buFont typeface="Arial" panose="020B0604020202020204" pitchFamily="34" charset="0"/>
              <a:buChar char="•"/>
              <a:defRPr sz="1500" kern="1200">
                <a:solidFill>
                  <a:schemeClr val="tx1"/>
                </a:solidFill>
                <a:latin typeface="+mn-lt"/>
                <a:ea typeface="+mn-ea"/>
                <a:cs typeface="+mn-cs"/>
              </a:defRPr>
            </a:lvl3pPr>
            <a:lvl4pPr marL="1200150" indent="-171450" algn="l" rtl="0" eaLnBrk="0" fontAlgn="base" hangingPunct="0">
              <a:lnSpc>
                <a:spcPct val="90000"/>
              </a:lnSpc>
              <a:spcBef>
                <a:spcPts val="375"/>
              </a:spcBef>
              <a:spcAft>
                <a:spcPct val="0"/>
              </a:spcAft>
              <a:buFont typeface="Arial" panose="020B0604020202020204" pitchFamily="34" charset="0"/>
              <a:buChar char="•"/>
              <a:defRPr kern="1200">
                <a:solidFill>
                  <a:schemeClr val="tx1"/>
                </a:solidFill>
                <a:latin typeface="+mn-lt"/>
                <a:ea typeface="+mn-ea"/>
                <a:cs typeface="+mn-cs"/>
              </a:defRPr>
            </a:lvl4pPr>
            <a:lvl5pPr marL="1543050" indent="-171450" algn="l" rtl="0" eaLnBrk="0" fontAlgn="base" hangingPunct="0">
              <a:lnSpc>
                <a:spcPct val="90000"/>
              </a:lnSpc>
              <a:spcBef>
                <a:spcPts val="375"/>
              </a:spcBef>
              <a:spcAft>
                <a:spcPct val="0"/>
              </a:spcAft>
              <a:buFont typeface="Arial" panose="020B0604020202020204" pitchFamily="34" charset="0"/>
              <a:buChar char="•"/>
              <a:defRPr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914400" rtl="0" eaLnBrk="0" fontAlgn="base" latinLnBrk="0" hangingPunct="0">
              <a:lnSpc>
                <a:spcPct val="90000"/>
              </a:lnSpc>
              <a:spcBef>
                <a:spcPts val="750"/>
              </a:spcBef>
              <a:spcAft>
                <a:spcPct val="0"/>
              </a:spcAft>
              <a:buClrTx/>
              <a:buSzTx/>
              <a:buFont typeface="Arial" panose="020B0604020202020204" pitchFamily="34" charset="0"/>
              <a:buNone/>
              <a:tabLst/>
              <a:defRPr/>
            </a:pPr>
            <a:r>
              <a:rPr kumimoji="0" lang="en-US" sz="2000" b="1" i="0" u="none" strike="noStrike" kern="1200" cap="none" spc="0" normalizeH="0" baseline="0" noProof="0">
                <a:ln>
                  <a:noFill/>
                </a:ln>
                <a:solidFill>
                  <a:srgbClr val="214877"/>
                </a:solidFill>
                <a:effectLst/>
                <a:uLnTx/>
                <a:uFillTx/>
                <a:latin typeface="Franklin Gothic Book"/>
                <a:ea typeface="+mn-ea"/>
                <a:cs typeface="+mn-cs"/>
              </a:rPr>
              <a:t>   Broaden funding targets:</a:t>
            </a:r>
          </a:p>
          <a:p>
            <a:pPr marL="0" marR="0" lvl="0" indent="0" algn="l" defTabSz="914400" rtl="0" eaLnBrk="0" fontAlgn="base" latinLnBrk="0" hangingPunct="0">
              <a:lnSpc>
                <a:spcPct val="90000"/>
              </a:lnSpc>
              <a:spcBef>
                <a:spcPts val="750"/>
              </a:spcBef>
              <a:spcAft>
                <a:spcPct val="0"/>
              </a:spcAft>
              <a:buClrTx/>
              <a:buSzTx/>
              <a:buFont typeface="Arial" panose="020B0604020202020204" pitchFamily="34" charset="0"/>
              <a:buNone/>
              <a:tabLst/>
              <a:defRPr/>
            </a:pPr>
            <a:r>
              <a:rPr kumimoji="0" lang="en-US" sz="1800" b="0" i="0" u="none" strike="noStrike" kern="1200" cap="none" spc="0" normalizeH="0" baseline="0" noProof="0">
                <a:ln>
                  <a:noFill/>
                </a:ln>
                <a:solidFill>
                  <a:srgbClr val="214877"/>
                </a:solidFill>
                <a:effectLst/>
                <a:uLnTx/>
                <a:uFillTx/>
                <a:latin typeface="Franklin Gothic Book"/>
                <a:ea typeface="+mn-ea"/>
                <a:cs typeface="+mn-cs"/>
              </a:rPr>
              <a:t>C</a:t>
            </a:r>
            <a:r>
              <a:rPr kumimoji="0" lang="en-US" sz="1800" b="0" i="0" u="none" strike="noStrike" kern="1200" cap="none" spc="0" normalizeH="0" baseline="0" noProof="0">
                <a:ln>
                  <a:noFill/>
                </a:ln>
                <a:solidFill>
                  <a:srgbClr val="214877"/>
                </a:solidFill>
                <a:effectLst/>
                <a:uLnTx/>
                <a:uFillTx/>
                <a:latin typeface="Calibri" panose="020F0502020204030204" pitchFamily="34" charset="0"/>
                <a:ea typeface="Calibri" panose="020F0502020204030204" pitchFamily="34" charset="0"/>
                <a:cs typeface="Times New Roman" panose="02020603050405020304" pitchFamily="18" charset="0"/>
              </a:rPr>
              <a:t>reate new programs (and strengthen existing 4y-college and graduate programs) to improve diversity and the inclusion of e.g., community colleges, trade school programs, non-traditional students and career-changers. Support certificate programs, mentorship and Union apprenticeship programs by building and expanding networks with faculty, community and tribal colleges, and by actively encouraging curricular innovation.</a:t>
            </a:r>
          </a:p>
          <a:p>
            <a:pPr marL="0" marR="0" lvl="0" indent="0" algn="l" defTabSz="914400" rtl="0" eaLnBrk="0" fontAlgn="base" latinLnBrk="0" hangingPunct="0">
              <a:lnSpc>
                <a:spcPct val="90000"/>
              </a:lnSpc>
              <a:spcBef>
                <a:spcPts val="750"/>
              </a:spcBef>
              <a:spcAft>
                <a:spcPct val="0"/>
              </a:spcAft>
              <a:buClrTx/>
              <a:buSzTx/>
              <a:buFont typeface="Arial" panose="020B0604020202020204" pitchFamily="34" charset="0"/>
              <a:buNone/>
              <a:tabLst/>
              <a:defRPr/>
            </a:pPr>
            <a:endParaRPr kumimoji="0" lang="en-US" sz="1800" b="1" i="0" u="none" strike="noStrike" kern="1200" cap="none" spc="0" normalizeH="0" baseline="0" noProof="0">
              <a:ln>
                <a:noFill/>
              </a:ln>
              <a:solidFill>
                <a:srgbClr val="214877"/>
              </a:solidFill>
              <a:effectLst/>
              <a:uLnTx/>
              <a:uFillTx/>
              <a:latin typeface="Franklin Gothic Book"/>
              <a:ea typeface="+mn-ea"/>
              <a:cs typeface="+mn-cs"/>
            </a:endParaRPr>
          </a:p>
        </p:txBody>
      </p:sp>
      <p:pic>
        <p:nvPicPr>
          <p:cNvPr id="18" name="Graphic 17" descr="Badge 1 with solid fill">
            <a:extLst>
              <a:ext uri="{FF2B5EF4-FFF2-40B4-BE49-F238E27FC236}">
                <a16:creationId xmlns:a16="http://schemas.microsoft.com/office/drawing/2014/main" id="{88DC89CC-245C-4049-B9C5-48F720EA6206}"/>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99515" y="2040183"/>
            <a:ext cx="477369" cy="477369"/>
          </a:xfrm>
          <a:prstGeom prst="rect">
            <a:avLst/>
          </a:prstGeom>
        </p:spPr>
      </p:pic>
      <p:pic>
        <p:nvPicPr>
          <p:cNvPr id="20" name="Graphic 19" descr="Badge with solid fill">
            <a:extLst>
              <a:ext uri="{FF2B5EF4-FFF2-40B4-BE49-F238E27FC236}">
                <a16:creationId xmlns:a16="http://schemas.microsoft.com/office/drawing/2014/main" id="{34E04CE9-1AC7-4CBE-8ACD-E494676718F8}"/>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4166083" y="2039469"/>
            <a:ext cx="477369" cy="477369"/>
          </a:xfrm>
          <a:prstGeom prst="rect">
            <a:avLst/>
          </a:prstGeom>
        </p:spPr>
      </p:pic>
      <p:pic>
        <p:nvPicPr>
          <p:cNvPr id="22" name="Graphic 21" descr="Badge 3 with solid fill">
            <a:extLst>
              <a:ext uri="{FF2B5EF4-FFF2-40B4-BE49-F238E27FC236}">
                <a16:creationId xmlns:a16="http://schemas.microsoft.com/office/drawing/2014/main" id="{073E25EE-796E-49B7-BA86-A125B5494C42}"/>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966747" y="2008672"/>
            <a:ext cx="475488" cy="475488"/>
          </a:xfrm>
          <a:prstGeom prst="rect">
            <a:avLst/>
          </a:prstGeom>
        </p:spPr>
      </p:pic>
      <p:pic>
        <p:nvPicPr>
          <p:cNvPr id="24" name="Graphic 23">
            <a:extLst>
              <a:ext uri="{FF2B5EF4-FFF2-40B4-BE49-F238E27FC236}">
                <a16:creationId xmlns:a16="http://schemas.microsoft.com/office/drawing/2014/main" id="{E2026DB0-9760-493B-B1E3-8A2C9880A36D}"/>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5478847" y="1422316"/>
            <a:ext cx="617153" cy="617153"/>
          </a:xfrm>
          <a:prstGeom prst="rect">
            <a:avLst/>
          </a:prstGeom>
        </p:spPr>
      </p:pic>
      <p:pic>
        <p:nvPicPr>
          <p:cNvPr id="25" name="Graphic 24">
            <a:extLst>
              <a:ext uri="{FF2B5EF4-FFF2-40B4-BE49-F238E27FC236}">
                <a16:creationId xmlns:a16="http://schemas.microsoft.com/office/drawing/2014/main" id="{8A41558D-DB5E-4A75-9457-C210A28155DE}"/>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9098828" y="1448427"/>
            <a:ext cx="640934" cy="640934"/>
          </a:xfrm>
          <a:prstGeom prst="rect">
            <a:avLst/>
          </a:prstGeom>
        </p:spPr>
      </p:pic>
      <p:pic>
        <p:nvPicPr>
          <p:cNvPr id="26" name="Graphic 25">
            <a:extLst>
              <a:ext uri="{FF2B5EF4-FFF2-40B4-BE49-F238E27FC236}">
                <a16:creationId xmlns:a16="http://schemas.microsoft.com/office/drawing/2014/main" id="{024B8B35-D898-42D9-8796-DC4046AE2AED}"/>
              </a:ext>
            </a:extLst>
          </p:cNvPr>
          <p:cNvPicPr>
            <a:picLocks noChangeAspect="1"/>
          </p:cNvPicPr>
          <p:nvPr/>
        </p:nvPicPr>
        <p:blipFill>
          <a:blip r:embed="rId13" cstate="print">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2024990" y="1448427"/>
            <a:ext cx="462042" cy="462042"/>
          </a:xfrm>
          <a:prstGeom prst="rect">
            <a:avLst/>
          </a:prstGeom>
        </p:spPr>
      </p:pic>
      <p:sp>
        <p:nvSpPr>
          <p:cNvPr id="27" name="Content Placeholder 2">
            <a:extLst>
              <a:ext uri="{FF2B5EF4-FFF2-40B4-BE49-F238E27FC236}">
                <a16:creationId xmlns:a16="http://schemas.microsoft.com/office/drawing/2014/main" id="{AC0AC142-8EE1-43EE-B5A9-AC7EDACE7DFC}"/>
              </a:ext>
            </a:extLst>
          </p:cNvPr>
          <p:cNvSpPr txBox="1">
            <a:spLocks/>
          </p:cNvSpPr>
          <p:nvPr/>
        </p:nvSpPr>
        <p:spPr bwMode="auto">
          <a:xfrm>
            <a:off x="8213919" y="2042748"/>
            <a:ext cx="3564803" cy="14463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171450" indent="-171450" algn="l" rtl="0" eaLnBrk="0" fontAlgn="base" hangingPunct="0">
              <a:lnSpc>
                <a:spcPct val="90000"/>
              </a:lnSpc>
              <a:spcBef>
                <a:spcPts val="750"/>
              </a:spcBef>
              <a:spcAft>
                <a:spcPct val="0"/>
              </a:spcAft>
              <a:buFont typeface="Arial" panose="020B0604020202020204" pitchFamily="34" charset="0"/>
              <a:buChar char="•"/>
              <a:defRPr sz="2100" kern="1200">
                <a:solidFill>
                  <a:schemeClr val="tx1"/>
                </a:solidFill>
                <a:latin typeface="+mn-lt"/>
                <a:ea typeface="+mn-ea"/>
                <a:cs typeface="+mn-cs"/>
              </a:defRPr>
            </a:lvl1pPr>
            <a:lvl2pPr marL="514350" indent="-171450" algn="l" rtl="0" eaLnBrk="0" fontAlgn="base" hangingPunct="0">
              <a:lnSpc>
                <a:spcPct val="90000"/>
              </a:lnSpc>
              <a:spcBef>
                <a:spcPts val="375"/>
              </a:spcBef>
              <a:spcAft>
                <a:spcPct val="0"/>
              </a:spcAft>
              <a:buFont typeface="Arial" panose="020B0604020202020204" pitchFamily="34" charset="0"/>
              <a:buChar char="•"/>
              <a:defRPr kern="1200">
                <a:solidFill>
                  <a:schemeClr val="tx1"/>
                </a:solidFill>
                <a:latin typeface="+mn-lt"/>
                <a:ea typeface="+mn-ea"/>
                <a:cs typeface="+mn-cs"/>
              </a:defRPr>
            </a:lvl2pPr>
            <a:lvl3pPr marL="857250" indent="-171450" algn="l" rtl="0" eaLnBrk="0" fontAlgn="base" hangingPunct="0">
              <a:lnSpc>
                <a:spcPct val="90000"/>
              </a:lnSpc>
              <a:spcBef>
                <a:spcPts val="375"/>
              </a:spcBef>
              <a:spcAft>
                <a:spcPct val="0"/>
              </a:spcAft>
              <a:buFont typeface="Arial" panose="020B0604020202020204" pitchFamily="34" charset="0"/>
              <a:buChar char="•"/>
              <a:defRPr sz="1500" kern="1200">
                <a:solidFill>
                  <a:schemeClr val="tx1"/>
                </a:solidFill>
                <a:latin typeface="+mn-lt"/>
                <a:ea typeface="+mn-ea"/>
                <a:cs typeface="+mn-cs"/>
              </a:defRPr>
            </a:lvl3pPr>
            <a:lvl4pPr marL="1200150" indent="-171450" algn="l" rtl="0" eaLnBrk="0" fontAlgn="base" hangingPunct="0">
              <a:lnSpc>
                <a:spcPct val="90000"/>
              </a:lnSpc>
              <a:spcBef>
                <a:spcPts val="375"/>
              </a:spcBef>
              <a:spcAft>
                <a:spcPct val="0"/>
              </a:spcAft>
              <a:buFont typeface="Arial" panose="020B0604020202020204" pitchFamily="34" charset="0"/>
              <a:buChar char="•"/>
              <a:defRPr kern="1200">
                <a:solidFill>
                  <a:schemeClr val="tx1"/>
                </a:solidFill>
                <a:latin typeface="+mn-lt"/>
                <a:ea typeface="+mn-ea"/>
                <a:cs typeface="+mn-cs"/>
              </a:defRPr>
            </a:lvl4pPr>
            <a:lvl5pPr marL="1543050" indent="-171450" algn="l" rtl="0" eaLnBrk="0" fontAlgn="base" hangingPunct="0">
              <a:lnSpc>
                <a:spcPct val="90000"/>
              </a:lnSpc>
              <a:spcBef>
                <a:spcPts val="375"/>
              </a:spcBef>
              <a:spcAft>
                <a:spcPct val="0"/>
              </a:spcAft>
              <a:buFont typeface="Arial" panose="020B0604020202020204" pitchFamily="34" charset="0"/>
              <a:buChar char="•"/>
              <a:defRPr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914400" rtl="0" eaLnBrk="0" fontAlgn="base" latinLnBrk="0" hangingPunct="0">
              <a:lnSpc>
                <a:spcPct val="90000"/>
              </a:lnSpc>
              <a:spcBef>
                <a:spcPts val="750"/>
              </a:spcBef>
              <a:spcAft>
                <a:spcPct val="0"/>
              </a:spcAft>
              <a:buClrTx/>
              <a:buSzTx/>
              <a:buFont typeface="Arial" panose="020B0604020202020204" pitchFamily="34" charset="0"/>
              <a:buNone/>
              <a:tabLst/>
              <a:defRPr/>
            </a:pPr>
            <a:r>
              <a:rPr kumimoji="0" lang="en-US" sz="2000" b="1" i="0" u="none" strike="noStrike" kern="1200" cap="none" spc="0" normalizeH="0" baseline="0" noProof="0">
                <a:ln>
                  <a:noFill/>
                </a:ln>
                <a:solidFill>
                  <a:srgbClr val="214877"/>
                </a:solidFill>
                <a:effectLst/>
                <a:uLnTx/>
                <a:uFillTx/>
                <a:latin typeface="Franklin Gothic Book"/>
                <a:ea typeface="+mn-ea"/>
                <a:cs typeface="+mn-cs"/>
              </a:rPr>
              <a:t>   Share the results:</a:t>
            </a:r>
          </a:p>
          <a:p>
            <a:pPr marL="0" marR="0" lvl="0" indent="0" algn="l" defTabSz="914400" rtl="0" eaLnBrk="0" fontAlgn="base" latinLnBrk="0" hangingPunct="0">
              <a:lnSpc>
                <a:spcPct val="90000"/>
              </a:lnSpc>
              <a:spcBef>
                <a:spcPts val="750"/>
              </a:spcBef>
              <a:spcAft>
                <a:spcPct val="0"/>
              </a:spcAft>
              <a:buClrTx/>
              <a:buSzTx/>
              <a:buFont typeface="Arial" panose="020B0604020202020204" pitchFamily="34" charset="0"/>
              <a:buNone/>
              <a:tabLst/>
              <a:defRPr/>
            </a:pPr>
            <a:r>
              <a:rPr kumimoji="0" lang="en-US" sz="1800" b="0" i="0" u="none" strike="noStrike" kern="1200" cap="none" spc="0" normalizeH="0" baseline="0" noProof="0">
                <a:ln>
                  <a:noFill/>
                </a:ln>
                <a:solidFill>
                  <a:srgbClr val="214877"/>
                </a:solidFill>
                <a:effectLst/>
                <a:uLnTx/>
                <a:uFillTx/>
                <a:latin typeface="Calibri" panose="020F0502020204030204" pitchFamily="34" charset="0"/>
                <a:ea typeface="Calibri" panose="020F0502020204030204" pitchFamily="34" charset="0"/>
                <a:cs typeface="Times New Roman" panose="02020603050405020304" pitchFamily="18" charset="0"/>
              </a:rPr>
              <a:t>The UNLV SUSTAIN study, and industry gap analyses, should be advertised together with the availability of various grants and fellowships. Improve and revitalize community engagement through public-facing infrastructure (e.g. universities, national labs, and commercial entities) to establish nuclear facilities as trusted members of the community.</a:t>
            </a:r>
          </a:p>
        </p:txBody>
      </p:sp>
    </p:spTree>
    <p:extLst>
      <p:ext uri="{BB962C8B-B14F-4D97-AF65-F5344CB8AC3E}">
        <p14:creationId xmlns:p14="http://schemas.microsoft.com/office/powerpoint/2010/main" val="404803329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NAME" val="Moon"/>
</p:tagLst>
</file>

<file path=ppt/tags/tag100.xml><?xml version="1.0" encoding="utf-8"?>
<p:tagLst xmlns:a="http://schemas.openxmlformats.org/drawingml/2006/main" xmlns:r="http://schemas.openxmlformats.org/officeDocument/2006/relationships" xmlns:p="http://schemas.openxmlformats.org/presentationml/2006/main">
  <p:tag name="SHAPENAME" val="5. Sourc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xNguF4Gw2mJIhuiFXm5tKQ"/>
</p:tagLst>
</file>

<file path=ppt/tags/tag10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05.xml><?xml version="1.0" encoding="utf-8"?>
<p:tagLst xmlns:a="http://schemas.openxmlformats.org/drawingml/2006/main" xmlns:r="http://schemas.openxmlformats.org/officeDocument/2006/relationships" xmlns:p="http://schemas.openxmlformats.org/presentationml/2006/main">
  <p:tag name="SHAPENAME" val="5. Sourc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8.xml><?xml version="1.0" encoding="utf-8"?>
<p:tagLst xmlns:a="http://schemas.openxmlformats.org/drawingml/2006/main" xmlns:r="http://schemas.openxmlformats.org/officeDocument/2006/relationships" xmlns:p="http://schemas.openxmlformats.org/presentationml/2006/main">
  <p:tag name="SHAPENAME" val="5. Sourc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ANGLE" val="5"/>
</p:tagLst>
</file>

<file path=ppt/tags/tag110.xml><?xml version="1.0" encoding="utf-8"?>
<p:tagLst xmlns:a="http://schemas.openxmlformats.org/drawingml/2006/main" xmlns:r="http://schemas.openxmlformats.org/officeDocument/2006/relationships" xmlns:p="http://schemas.openxmlformats.org/presentationml/2006/main">
  <p:tag name="SHAPENAME" val="5. Sourc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5tNN_OdVRnC_8Tatiiw6bA"/>
</p:tagLst>
</file>

<file path=ppt/tags/tag11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1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15.xml><?xml version="1.0" encoding="utf-8"?>
<p:tagLst xmlns:a="http://schemas.openxmlformats.org/drawingml/2006/main" xmlns:r="http://schemas.openxmlformats.org/officeDocument/2006/relationships" xmlns:p="http://schemas.openxmlformats.org/presentationml/2006/main">
  <p:tag name="SHAPENAME" val="5. Source"/>
</p:tagLst>
</file>

<file path=ppt/tags/tag116.xml><?xml version="1.0" encoding="utf-8"?>
<p:tagLst xmlns:a="http://schemas.openxmlformats.org/drawingml/2006/main" xmlns:r="http://schemas.openxmlformats.org/officeDocument/2006/relationships" xmlns:p="http://schemas.openxmlformats.org/presentationml/2006/main">
  <p:tag name="SHAPENAME" val="3. Subtitl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5tNN_OdVRnC_8Tatiiw6bA"/>
</p:tagLst>
</file>

<file path=ppt/tags/tag11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2.xml><?xml version="1.0" encoding="utf-8"?>
<p:tagLst xmlns:a="http://schemas.openxmlformats.org/drawingml/2006/main" xmlns:r="http://schemas.openxmlformats.org/officeDocument/2006/relationships" xmlns:p="http://schemas.openxmlformats.org/presentationml/2006/main">
  <p:tag name="ANGLE" val="5"/>
</p:tagLst>
</file>

<file path=ppt/tags/tag12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21.xml><?xml version="1.0" encoding="utf-8"?>
<p:tagLst xmlns:a="http://schemas.openxmlformats.org/drawingml/2006/main" xmlns:r="http://schemas.openxmlformats.org/officeDocument/2006/relationships" xmlns:p="http://schemas.openxmlformats.org/presentationml/2006/main">
  <p:tag name="SHAPENAME" val="5. Sourc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xcgoWEzLgA0_64VDvMxGGg"/>
</p:tagLst>
</file>

<file path=ppt/tags/tag124.xml><?xml version="1.0" encoding="utf-8"?>
<p:tagLst xmlns:a="http://schemas.openxmlformats.org/drawingml/2006/main" xmlns:r="http://schemas.openxmlformats.org/officeDocument/2006/relationships" xmlns:p="http://schemas.openxmlformats.org/presentationml/2006/main">
  <p:tag name="SHAPENAME" val="4. Footnote"/>
</p:tagLst>
</file>

<file path=ppt/tags/tag12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26.xml><?xml version="1.0" encoding="utf-8"?>
<p:tagLst xmlns:a="http://schemas.openxmlformats.org/drawingml/2006/main" xmlns:r="http://schemas.openxmlformats.org/officeDocument/2006/relationships" xmlns:p="http://schemas.openxmlformats.org/presentationml/2006/main">
  <p:tag name="NAME" val="ACET"/>
</p:tagLst>
</file>

<file path=ppt/tags/tag127.xml><?xml version="1.0" encoding="utf-8"?>
<p:tagLst xmlns:a="http://schemas.openxmlformats.org/drawingml/2006/main" xmlns:r="http://schemas.openxmlformats.org/officeDocument/2006/relationships" xmlns:p="http://schemas.openxmlformats.org/presentationml/2006/main">
  <p:tag name="NAME" val="Moon"/>
</p:tagLst>
</file>

<file path=ppt/tags/tag128.xml><?xml version="1.0" encoding="utf-8"?>
<p:tagLst xmlns:a="http://schemas.openxmlformats.org/drawingml/2006/main" xmlns:r="http://schemas.openxmlformats.org/officeDocument/2006/relationships" xmlns:p="http://schemas.openxmlformats.org/presentationml/2006/main">
  <p:tag name="NAME" val="Moon"/>
</p:tagLst>
</file>

<file path=ppt/tags/tag129.xml><?xml version="1.0" encoding="utf-8"?>
<p:tagLst xmlns:a="http://schemas.openxmlformats.org/drawingml/2006/main" xmlns:r="http://schemas.openxmlformats.org/officeDocument/2006/relationships" xmlns:p="http://schemas.openxmlformats.org/presentationml/2006/main">
  <p:tag name="NAME" val="Moon"/>
</p:tagLst>
</file>

<file path=ppt/tags/tag13.xml><?xml version="1.0" encoding="utf-8"?>
<p:tagLst xmlns:a="http://schemas.openxmlformats.org/drawingml/2006/main" xmlns:r="http://schemas.openxmlformats.org/officeDocument/2006/relationships" xmlns:p="http://schemas.openxmlformats.org/presentationml/2006/main">
  <p:tag name="ANGLE" val="4"/>
</p:tagLst>
</file>

<file path=ppt/tags/tag130.xml><?xml version="1.0" encoding="utf-8"?>
<p:tagLst xmlns:a="http://schemas.openxmlformats.org/drawingml/2006/main" xmlns:r="http://schemas.openxmlformats.org/officeDocument/2006/relationships" xmlns:p="http://schemas.openxmlformats.org/presentationml/2006/main">
  <p:tag name="NAME" val="Moon"/>
</p:tagLst>
</file>

<file path=ppt/tags/tag131.xml><?xml version="1.0" encoding="utf-8"?>
<p:tagLst xmlns:a="http://schemas.openxmlformats.org/drawingml/2006/main" xmlns:r="http://schemas.openxmlformats.org/officeDocument/2006/relationships" xmlns:p="http://schemas.openxmlformats.org/presentationml/2006/main">
  <p:tag name="NAME" val="Moon"/>
</p:tagLst>
</file>

<file path=ppt/tags/tag132.xml><?xml version="1.0" encoding="utf-8"?>
<p:tagLst xmlns:a="http://schemas.openxmlformats.org/drawingml/2006/main" xmlns:r="http://schemas.openxmlformats.org/officeDocument/2006/relationships" xmlns:p="http://schemas.openxmlformats.org/presentationml/2006/main">
  <p:tag name="ANGLE" val="5"/>
</p:tagLst>
</file>

<file path=ppt/tags/tag133.xml><?xml version="1.0" encoding="utf-8"?>
<p:tagLst xmlns:a="http://schemas.openxmlformats.org/drawingml/2006/main" xmlns:r="http://schemas.openxmlformats.org/officeDocument/2006/relationships" xmlns:p="http://schemas.openxmlformats.org/presentationml/2006/main">
  <p:tag name="ANGLE" val="5"/>
</p:tagLst>
</file>

<file path=ppt/tags/tag134.xml><?xml version="1.0" encoding="utf-8"?>
<p:tagLst xmlns:a="http://schemas.openxmlformats.org/drawingml/2006/main" xmlns:r="http://schemas.openxmlformats.org/officeDocument/2006/relationships" xmlns:p="http://schemas.openxmlformats.org/presentationml/2006/main">
  <p:tag name="ANGLE" val="4"/>
</p:tagLst>
</file>

<file path=ppt/tags/tag135.xml><?xml version="1.0" encoding="utf-8"?>
<p:tagLst xmlns:a="http://schemas.openxmlformats.org/drawingml/2006/main" xmlns:r="http://schemas.openxmlformats.org/officeDocument/2006/relationships" xmlns:p="http://schemas.openxmlformats.org/presentationml/2006/main">
  <p:tag name="ANGLE" val="4"/>
</p:tagLst>
</file>

<file path=ppt/tags/tag136.xml><?xml version="1.0" encoding="utf-8"?>
<p:tagLst xmlns:a="http://schemas.openxmlformats.org/drawingml/2006/main" xmlns:r="http://schemas.openxmlformats.org/officeDocument/2006/relationships" xmlns:p="http://schemas.openxmlformats.org/presentationml/2006/main">
  <p:tag name="ANGLE" val="3"/>
</p:tagLst>
</file>

<file path=ppt/tags/tag137.xml><?xml version="1.0" encoding="utf-8"?>
<p:tagLst xmlns:a="http://schemas.openxmlformats.org/drawingml/2006/main" xmlns:r="http://schemas.openxmlformats.org/officeDocument/2006/relationships" xmlns:p="http://schemas.openxmlformats.org/presentationml/2006/main">
  <p:tag name="ANGLE" val="3"/>
</p:tagLst>
</file>

<file path=ppt/tags/tag138.xml><?xml version="1.0" encoding="utf-8"?>
<p:tagLst xmlns:a="http://schemas.openxmlformats.org/drawingml/2006/main" xmlns:r="http://schemas.openxmlformats.org/officeDocument/2006/relationships" xmlns:p="http://schemas.openxmlformats.org/presentationml/2006/main">
  <p:tag name="ANGLE" val="2"/>
</p:tagLst>
</file>

<file path=ppt/tags/tag139.xml><?xml version="1.0" encoding="utf-8"?>
<p:tagLst xmlns:a="http://schemas.openxmlformats.org/drawingml/2006/main" xmlns:r="http://schemas.openxmlformats.org/officeDocument/2006/relationships" xmlns:p="http://schemas.openxmlformats.org/presentationml/2006/main">
  <p:tag name="ANGLE" val="2"/>
</p:tagLst>
</file>

<file path=ppt/tags/tag14.xml><?xml version="1.0" encoding="utf-8"?>
<p:tagLst xmlns:a="http://schemas.openxmlformats.org/drawingml/2006/main" xmlns:r="http://schemas.openxmlformats.org/officeDocument/2006/relationships" xmlns:p="http://schemas.openxmlformats.org/presentationml/2006/main">
  <p:tag name="ANGLE" val="4"/>
</p:tagLst>
</file>

<file path=ppt/tags/tag140.xml><?xml version="1.0" encoding="utf-8"?>
<p:tagLst xmlns:a="http://schemas.openxmlformats.org/drawingml/2006/main" xmlns:r="http://schemas.openxmlformats.org/officeDocument/2006/relationships" xmlns:p="http://schemas.openxmlformats.org/presentationml/2006/main">
  <p:tag name="ANGLE" val="1"/>
</p:tagLst>
</file>

<file path=ppt/tags/tag141.xml><?xml version="1.0" encoding="utf-8"?>
<p:tagLst xmlns:a="http://schemas.openxmlformats.org/drawingml/2006/main" xmlns:r="http://schemas.openxmlformats.org/officeDocument/2006/relationships" xmlns:p="http://schemas.openxmlformats.org/presentationml/2006/main">
  <p:tag name="ANGLE" val="1"/>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144.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145.xml><?xml version="1.0" encoding="utf-8"?>
<p:tagLst xmlns:a="http://schemas.openxmlformats.org/drawingml/2006/main" xmlns:r="http://schemas.openxmlformats.org/officeDocument/2006/relationships" xmlns:p="http://schemas.openxmlformats.org/presentationml/2006/main">
  <p:tag name="SHAPENAME" val="Subtitle"/>
</p:tagLst>
</file>

<file path=ppt/tags/tag146.xml><?xml version="1.0" encoding="utf-8"?>
<p:tagLst xmlns:a="http://schemas.openxmlformats.org/drawingml/2006/main" xmlns:r="http://schemas.openxmlformats.org/officeDocument/2006/relationships" xmlns:p="http://schemas.openxmlformats.org/presentationml/2006/main">
  <p:tag name="SHAPENAME" val="Title"/>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149.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15.xml><?xml version="1.0" encoding="utf-8"?>
<p:tagLst xmlns:a="http://schemas.openxmlformats.org/drawingml/2006/main" xmlns:r="http://schemas.openxmlformats.org/officeDocument/2006/relationships" xmlns:p="http://schemas.openxmlformats.org/presentationml/2006/main">
  <p:tag name="ANGLE" val="3"/>
</p:tagLst>
</file>

<file path=ppt/tags/tag150.xml><?xml version="1.0" encoding="utf-8"?>
<p:tagLst xmlns:a="http://schemas.openxmlformats.org/drawingml/2006/main" xmlns:r="http://schemas.openxmlformats.org/officeDocument/2006/relationships" xmlns:p="http://schemas.openxmlformats.org/presentationml/2006/main">
  <p:tag name="SHAPENAME" val="Subtitle"/>
</p:tagLst>
</file>

<file path=ppt/tags/tag151.xml><?xml version="1.0" encoding="utf-8"?>
<p:tagLst xmlns:a="http://schemas.openxmlformats.org/drawingml/2006/main" xmlns:r="http://schemas.openxmlformats.org/officeDocument/2006/relationships" xmlns:p="http://schemas.openxmlformats.org/presentationml/2006/main">
  <p:tag name="SHAPENAME" val="Title"/>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154.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155.xml><?xml version="1.0" encoding="utf-8"?>
<p:tagLst xmlns:a="http://schemas.openxmlformats.org/drawingml/2006/main" xmlns:r="http://schemas.openxmlformats.org/officeDocument/2006/relationships" xmlns:p="http://schemas.openxmlformats.org/presentationml/2006/main">
  <p:tag name="SHAPENAME" val="Subtitle"/>
</p:tagLst>
</file>

<file path=ppt/tags/tag156.xml><?xml version="1.0" encoding="utf-8"?>
<p:tagLst xmlns:a="http://schemas.openxmlformats.org/drawingml/2006/main" xmlns:r="http://schemas.openxmlformats.org/officeDocument/2006/relationships" xmlns:p="http://schemas.openxmlformats.org/presentationml/2006/main">
  <p:tag name="SHAPENAME" val="Title"/>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159.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16.xml><?xml version="1.0" encoding="utf-8"?>
<p:tagLst xmlns:a="http://schemas.openxmlformats.org/drawingml/2006/main" xmlns:r="http://schemas.openxmlformats.org/officeDocument/2006/relationships" xmlns:p="http://schemas.openxmlformats.org/presentationml/2006/main">
  <p:tag name="ANGLE" val="3"/>
</p:tagLst>
</file>

<file path=ppt/tags/tag160.xml><?xml version="1.0" encoding="utf-8"?>
<p:tagLst xmlns:a="http://schemas.openxmlformats.org/drawingml/2006/main" xmlns:r="http://schemas.openxmlformats.org/officeDocument/2006/relationships" xmlns:p="http://schemas.openxmlformats.org/presentationml/2006/main">
  <p:tag name="SHAPENAME" val="Subtitle"/>
</p:tagLst>
</file>

<file path=ppt/tags/tag161.xml><?xml version="1.0" encoding="utf-8"?>
<p:tagLst xmlns:a="http://schemas.openxmlformats.org/drawingml/2006/main" xmlns:r="http://schemas.openxmlformats.org/officeDocument/2006/relationships" xmlns:p="http://schemas.openxmlformats.org/presentationml/2006/main">
  <p:tag name="SHAPENAME" val="Title"/>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164.xml><?xml version="1.0" encoding="utf-8"?>
<p:tagLst xmlns:a="http://schemas.openxmlformats.org/drawingml/2006/main" xmlns:r="http://schemas.openxmlformats.org/officeDocument/2006/relationships" xmlns:p="http://schemas.openxmlformats.org/presentationml/2006/main">
  <p:tag name="SHAPENAME" val="3. Subtitle"/>
</p:tagLst>
</file>

<file path=ppt/tags/tag16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66.xml><?xml version="1.0" encoding="utf-8"?>
<p:tagLst xmlns:a="http://schemas.openxmlformats.org/drawingml/2006/main" xmlns:r="http://schemas.openxmlformats.org/officeDocument/2006/relationships" xmlns:p="http://schemas.openxmlformats.org/presentationml/2006/main">
  <p:tag name="SHAPENAME" val="5. Source"/>
</p:tagLst>
</file>

<file path=ppt/tags/tag16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rZ96ctUUqJsGDCugslwBCg"/>
</p:tagLst>
</file>

<file path=ppt/tags/tag17.xml><?xml version="1.0" encoding="utf-8"?>
<p:tagLst xmlns:a="http://schemas.openxmlformats.org/drawingml/2006/main" xmlns:r="http://schemas.openxmlformats.org/officeDocument/2006/relationships" xmlns:p="http://schemas.openxmlformats.org/presentationml/2006/main">
  <p:tag name="ANGLE" val="2"/>
</p:tagLst>
</file>

<file path=ppt/tags/tag17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7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72.xml><?xml version="1.0" encoding="utf-8"?>
<p:tagLst xmlns:a="http://schemas.openxmlformats.org/drawingml/2006/main" xmlns:r="http://schemas.openxmlformats.org/officeDocument/2006/relationships" xmlns:p="http://schemas.openxmlformats.org/presentationml/2006/main">
  <p:tag name="SHAPENAME" val="5. Source"/>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AvhTnprpZIIVVQCOTQtpLw"/>
</p:tagLst>
</file>

<file path=ppt/tags/tag17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7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77.xml><?xml version="1.0" encoding="utf-8"?>
<p:tagLst xmlns:a="http://schemas.openxmlformats.org/drawingml/2006/main" xmlns:r="http://schemas.openxmlformats.org/officeDocument/2006/relationships" xmlns:p="http://schemas.openxmlformats.org/presentationml/2006/main">
  <p:tag name="SHAPENAME" val="5. Source"/>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Vvs3CU0mhZ0iF9VK3Gc_gQ"/>
</p:tagLst>
</file>

<file path=ppt/tags/tag18.xml><?xml version="1.0" encoding="utf-8"?>
<p:tagLst xmlns:a="http://schemas.openxmlformats.org/drawingml/2006/main" xmlns:r="http://schemas.openxmlformats.org/officeDocument/2006/relationships" xmlns:p="http://schemas.openxmlformats.org/presentationml/2006/main">
  <p:tag name="ANGLE" val="2"/>
</p:tagLst>
</file>

<file path=ppt/tags/tag18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8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82.xml><?xml version="1.0" encoding="utf-8"?>
<p:tagLst xmlns:a="http://schemas.openxmlformats.org/drawingml/2006/main" xmlns:r="http://schemas.openxmlformats.org/officeDocument/2006/relationships" xmlns:p="http://schemas.openxmlformats.org/presentationml/2006/main">
  <p:tag name="SHAPENAME" val="5. Source"/>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NrcAbB4u0quRffFN3bn3Xw"/>
</p:tagLst>
</file>

<file path=ppt/tags/tag18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86.xml><?xml version="1.0" encoding="utf-8"?>
<p:tagLst xmlns:a="http://schemas.openxmlformats.org/drawingml/2006/main" xmlns:r="http://schemas.openxmlformats.org/officeDocument/2006/relationships" xmlns:p="http://schemas.openxmlformats.org/presentationml/2006/main">
  <p:tag name="SHAPENAME" val="3. Subtitle"/>
</p:tagLst>
</file>

<file path=ppt/tags/tag18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88.xml><?xml version="1.0" encoding="utf-8"?>
<p:tagLst xmlns:a="http://schemas.openxmlformats.org/drawingml/2006/main" xmlns:r="http://schemas.openxmlformats.org/officeDocument/2006/relationships" xmlns:p="http://schemas.openxmlformats.org/presentationml/2006/main">
  <p:tag name="SHAPENAME" val="5. Source"/>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ANGLE" val="1"/>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YG_9mniplMrafceMpP.Qwg"/>
</p:tagLst>
</file>

<file path=ppt/tags/tag191.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9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9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94.xml><?xml version="1.0" encoding="utf-8"?>
<p:tagLst xmlns:a="http://schemas.openxmlformats.org/drawingml/2006/main" xmlns:r="http://schemas.openxmlformats.org/officeDocument/2006/relationships" xmlns:p="http://schemas.openxmlformats.org/presentationml/2006/main">
  <p:tag name="SHAPENAME" val="3. Subtitle"/>
</p:tagLst>
</file>

<file path=ppt/tags/tag195.xml><?xml version="1.0" encoding="utf-8"?>
<p:tagLst xmlns:a="http://schemas.openxmlformats.org/drawingml/2006/main" xmlns:r="http://schemas.openxmlformats.org/officeDocument/2006/relationships" xmlns:p="http://schemas.openxmlformats.org/presentationml/2006/main">
  <p:tag name="SHAPENAME" val="5. Source"/>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HbEQ8aI7AKzsdxigcAG3ZA"/>
</p:tagLst>
</file>

<file path=ppt/tags/tag198.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9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xcgoWEzLgA0_64VDvMxGGg"/>
</p:tagLst>
</file>

<file path=ppt/tags/tag20.xml><?xml version="1.0" encoding="utf-8"?>
<p:tagLst xmlns:a="http://schemas.openxmlformats.org/drawingml/2006/main" xmlns:r="http://schemas.openxmlformats.org/officeDocument/2006/relationships" xmlns:p="http://schemas.openxmlformats.org/presentationml/2006/main">
  <p:tag name="ANGLE" val="1"/>
</p:tagLst>
</file>

<file path=ppt/tags/tag20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01.xml><?xml version="1.0" encoding="utf-8"?>
<p:tagLst xmlns:a="http://schemas.openxmlformats.org/drawingml/2006/main" xmlns:r="http://schemas.openxmlformats.org/officeDocument/2006/relationships" xmlns:p="http://schemas.openxmlformats.org/presentationml/2006/main">
  <p:tag name="SHAPENAME" val="3. Subtitle"/>
</p:tagLst>
</file>

<file path=ppt/tags/tag202.xml><?xml version="1.0" encoding="utf-8"?>
<p:tagLst xmlns:a="http://schemas.openxmlformats.org/drawingml/2006/main" xmlns:r="http://schemas.openxmlformats.org/officeDocument/2006/relationships" xmlns:p="http://schemas.openxmlformats.org/presentationml/2006/main">
  <p:tag name="SHAPENAME" val="5. Source"/>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BLvs1S2qnQw1aA01IUaglg"/>
</p:tagLst>
</file>

<file path=ppt/tags/tag205.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20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0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08.xml><?xml version="1.0" encoding="utf-8"?>
<p:tagLst xmlns:a="http://schemas.openxmlformats.org/drawingml/2006/main" xmlns:r="http://schemas.openxmlformats.org/officeDocument/2006/relationships" xmlns:p="http://schemas.openxmlformats.org/presentationml/2006/main">
  <p:tag name="SHAPENAME" val="3. Subtitle"/>
</p:tagLst>
</file>

<file path=ppt/tags/tag209.xml><?xml version="1.0" encoding="utf-8"?>
<p:tagLst xmlns:a="http://schemas.openxmlformats.org/drawingml/2006/main" xmlns:r="http://schemas.openxmlformats.org/officeDocument/2006/relationships" xmlns:p="http://schemas.openxmlformats.org/presentationml/2006/main">
  <p:tag name="SHAPENAME" val="5. Sourc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qUyDlDqWonv3hoAx.p9Rsw"/>
</p:tagLst>
</file>

<file path=ppt/tags/tag21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13.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21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15.xml><?xml version="1.0" encoding="utf-8"?>
<p:tagLst xmlns:a="http://schemas.openxmlformats.org/drawingml/2006/main" xmlns:r="http://schemas.openxmlformats.org/officeDocument/2006/relationships" xmlns:p="http://schemas.openxmlformats.org/presentationml/2006/main">
  <p:tag name="SHAPENAME" val="3. Subtitle"/>
</p:tagLst>
</file>

<file path=ppt/tags/tag216.xml><?xml version="1.0" encoding="utf-8"?>
<p:tagLst xmlns:a="http://schemas.openxmlformats.org/drawingml/2006/main" xmlns:r="http://schemas.openxmlformats.org/officeDocument/2006/relationships" xmlns:p="http://schemas.openxmlformats.org/presentationml/2006/main">
  <p:tag name="SHAPENAME" val="5. Source"/>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o9xgrPArEB1mEiMOhB5KGA"/>
</p:tagLst>
</file>

<file path=ppt/tags/tag219.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22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2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22.xml><?xml version="1.0" encoding="utf-8"?>
<p:tagLst xmlns:a="http://schemas.openxmlformats.org/drawingml/2006/main" xmlns:r="http://schemas.openxmlformats.org/officeDocument/2006/relationships" xmlns:p="http://schemas.openxmlformats.org/presentationml/2006/main">
  <p:tag name="SHAPENAME" val="3. Subtitle"/>
</p:tagLst>
</file>

<file path=ppt/tags/tag223.xml><?xml version="1.0" encoding="utf-8"?>
<p:tagLst xmlns:a="http://schemas.openxmlformats.org/drawingml/2006/main" xmlns:r="http://schemas.openxmlformats.org/officeDocument/2006/relationships" xmlns:p="http://schemas.openxmlformats.org/presentationml/2006/main">
  <p:tag name="SHAPENAME" val="5. Source"/>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xNguF4Gw2mJIhuiFXm5tKQ"/>
</p:tagLst>
</file>

<file path=ppt/tags/tag22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2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28.xml><?xml version="1.0" encoding="utf-8"?>
<p:tagLst xmlns:a="http://schemas.openxmlformats.org/drawingml/2006/main" xmlns:r="http://schemas.openxmlformats.org/officeDocument/2006/relationships" xmlns:p="http://schemas.openxmlformats.org/presentationml/2006/main">
  <p:tag name="SHAPENAME" val="5. Source"/>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23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31.xml><?xml version="1.0" encoding="utf-8"?>
<p:tagLst xmlns:a="http://schemas.openxmlformats.org/drawingml/2006/main" xmlns:r="http://schemas.openxmlformats.org/officeDocument/2006/relationships" xmlns:p="http://schemas.openxmlformats.org/presentationml/2006/main">
  <p:tag name="SHAPENAME" val="5. Source"/>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3.xml><?xml version="1.0" encoding="utf-8"?>
<p:tagLst xmlns:a="http://schemas.openxmlformats.org/drawingml/2006/main" xmlns:r="http://schemas.openxmlformats.org/officeDocument/2006/relationships" xmlns:p="http://schemas.openxmlformats.org/presentationml/2006/main">
  <p:tag name="SHAPENAME" val="5. Source"/>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t5tNN_OdVRnC_8Tatiiw6bA"/>
</p:tagLst>
</file>

<file path=ppt/tags/tag23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3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38.xml><?xml version="1.0" encoding="utf-8"?>
<p:tagLst xmlns:a="http://schemas.openxmlformats.org/drawingml/2006/main" xmlns:r="http://schemas.openxmlformats.org/officeDocument/2006/relationships" xmlns:p="http://schemas.openxmlformats.org/presentationml/2006/main">
  <p:tag name="SHAPENAME" val="5. Source"/>
</p:tagLst>
</file>

<file path=ppt/tags/tag239.xml><?xml version="1.0" encoding="utf-8"?>
<p:tagLst xmlns:a="http://schemas.openxmlformats.org/drawingml/2006/main" xmlns:r="http://schemas.openxmlformats.org/officeDocument/2006/relationships" xmlns:p="http://schemas.openxmlformats.org/presentationml/2006/main">
  <p:tag name="SHAPENAME" val="3. Subtitle"/>
</p:tagLst>
</file>

<file path=ppt/tags/tag24.xml><?xml version="1.0" encoding="utf-8"?>
<p:tagLst xmlns:a="http://schemas.openxmlformats.org/drawingml/2006/main" xmlns:r="http://schemas.openxmlformats.org/officeDocument/2006/relationships" xmlns:p="http://schemas.openxmlformats.org/presentationml/2006/main">
  <p:tag name="SHAPENAME" val="Subtitle"/>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5tNN_OdVRnC_8Tatiiw6bA"/>
</p:tagLst>
</file>

<file path=ppt/tags/tag24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4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44.xml><?xml version="1.0" encoding="utf-8"?>
<p:tagLst xmlns:a="http://schemas.openxmlformats.org/drawingml/2006/main" xmlns:r="http://schemas.openxmlformats.org/officeDocument/2006/relationships" xmlns:p="http://schemas.openxmlformats.org/presentationml/2006/main">
  <p:tag name="SHAPENAME" val="5. Source"/>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247.xml><?xml version="1.0" encoding="utf-8"?>
<p:tagLst xmlns:a="http://schemas.openxmlformats.org/drawingml/2006/main" xmlns:r="http://schemas.openxmlformats.org/officeDocument/2006/relationships" xmlns:p="http://schemas.openxmlformats.org/presentationml/2006/main">
  <p:tag name="SHAPENAME" val="3. Subtitle"/>
</p:tagLst>
</file>

<file path=ppt/tags/tag24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49.xml><?xml version="1.0" encoding="utf-8"?>
<p:tagLst xmlns:a="http://schemas.openxmlformats.org/drawingml/2006/main" xmlns:r="http://schemas.openxmlformats.org/officeDocument/2006/relationships" xmlns:p="http://schemas.openxmlformats.org/presentationml/2006/main">
  <p:tag name="SHAPENAME" val="5. Source"/>
</p:tagLst>
</file>

<file path=ppt/tags/tag25.xml><?xml version="1.0" encoding="utf-8"?>
<p:tagLst xmlns:a="http://schemas.openxmlformats.org/drawingml/2006/main" xmlns:r="http://schemas.openxmlformats.org/officeDocument/2006/relationships" xmlns:p="http://schemas.openxmlformats.org/presentationml/2006/main">
  <p:tag name="SHAPENAME" val="Title"/>
</p:tagLst>
</file>

<file path=ppt/tags/tag25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5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qUyDlDqWonv3hoAx.p9Rsw"/>
</p:tagLst>
</file>

<file path=ppt/tags/tag25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55.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25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57.xml><?xml version="1.0" encoding="utf-8"?>
<p:tagLst xmlns:a="http://schemas.openxmlformats.org/drawingml/2006/main" xmlns:r="http://schemas.openxmlformats.org/officeDocument/2006/relationships" xmlns:p="http://schemas.openxmlformats.org/presentationml/2006/main">
  <p:tag name="SHAPENAME" val="3. Subtitle"/>
</p:tagLst>
</file>

<file path=ppt/tags/tag258.xml><?xml version="1.0" encoding="utf-8"?>
<p:tagLst xmlns:a="http://schemas.openxmlformats.org/drawingml/2006/main" xmlns:r="http://schemas.openxmlformats.org/officeDocument/2006/relationships" xmlns:p="http://schemas.openxmlformats.org/presentationml/2006/main">
  <p:tag name="SHAPENAME" val="5. Source"/>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261.xml><?xml version="1.0" encoding="utf-8"?>
<p:tagLst xmlns:a="http://schemas.openxmlformats.org/drawingml/2006/main" xmlns:r="http://schemas.openxmlformats.org/officeDocument/2006/relationships" xmlns:p="http://schemas.openxmlformats.org/presentationml/2006/main">
  <p:tag name="SHAPENAME" val="3. Subtitle"/>
</p:tagLst>
</file>

<file path=ppt/tags/tag26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63.xml><?xml version="1.0" encoding="utf-8"?>
<p:tagLst xmlns:a="http://schemas.openxmlformats.org/drawingml/2006/main" xmlns:r="http://schemas.openxmlformats.org/officeDocument/2006/relationships" xmlns:p="http://schemas.openxmlformats.org/presentationml/2006/main">
  <p:tag name="SHAPENAME" val="5. Source"/>
</p:tagLst>
</file>

<file path=ppt/tags/tag26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6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7.xml><?xml version="1.0" encoding="utf-8"?>
<p:tagLst xmlns:a="http://schemas.openxmlformats.org/drawingml/2006/main" xmlns:r="http://schemas.openxmlformats.org/officeDocument/2006/relationships" xmlns:p="http://schemas.openxmlformats.org/presentationml/2006/main">
  <p:tag name="NAME" val="LineBasicStrong"/>
</p:tagLst>
</file>

<file path=ppt/tags/tag268.xml><?xml version="1.0" encoding="utf-8"?>
<p:tagLst xmlns:a="http://schemas.openxmlformats.org/drawingml/2006/main" xmlns:r="http://schemas.openxmlformats.org/officeDocument/2006/relationships" xmlns:p="http://schemas.openxmlformats.org/presentationml/2006/main">
  <p:tag name="NAME" val="LineBasicStrong"/>
</p:tagLst>
</file>

<file path=ppt/tags/tag269.xml><?xml version="1.0" encoding="utf-8"?>
<p:tagLst xmlns:a="http://schemas.openxmlformats.org/drawingml/2006/main" xmlns:r="http://schemas.openxmlformats.org/officeDocument/2006/relationships" xmlns:p="http://schemas.openxmlformats.org/presentationml/2006/main">
  <p:tag name="NAME" val="LineBasicStron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270.xml><?xml version="1.0" encoding="utf-8"?>
<p:tagLst xmlns:a="http://schemas.openxmlformats.org/drawingml/2006/main" xmlns:r="http://schemas.openxmlformats.org/officeDocument/2006/relationships" xmlns:p="http://schemas.openxmlformats.org/presentationml/2006/main">
  <p:tag name="NAME" val="LineBasicStrong"/>
</p:tagLst>
</file>

<file path=ppt/tags/tag271.xml><?xml version="1.0" encoding="utf-8"?>
<p:tagLst xmlns:a="http://schemas.openxmlformats.org/drawingml/2006/main" xmlns:r="http://schemas.openxmlformats.org/officeDocument/2006/relationships" xmlns:p="http://schemas.openxmlformats.org/presentationml/2006/main">
  <p:tag name="NAME" val="LineBasicStrong"/>
</p:tagLst>
</file>

<file path=ppt/tags/tag272.xml><?xml version="1.0" encoding="utf-8"?>
<p:tagLst xmlns:a="http://schemas.openxmlformats.org/drawingml/2006/main" xmlns:r="http://schemas.openxmlformats.org/officeDocument/2006/relationships" xmlns:p="http://schemas.openxmlformats.org/presentationml/2006/main">
  <p:tag name="NAME" val="LineBasicStrong"/>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t.FRp3m.QymJkx_DYVDvhMA"/>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tNP29taBMM3CePfgYqzTq6w"/>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tIIM_L2SvLGaUEurAfWvJXw"/>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tdVpo3XpWlpP8778Q.Xp_Kw"/>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t0J3YWfYu2W6M5GtossVvsQ"/>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tvhA7J2o8pOMeMGyx3zsePQ"/>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tsdTDaKBFDKpGsZtQGfArVw"/>
</p:tagLst>
</file>

<file path=ppt/tags/tag28.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tJXf6Nq5avRBLT0xWQwB9MQ"/>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twRYzDNeFB_gzQ65PGTRfeg"/>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tqoNEV95QhUcZ49peZX3fAg"/>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tqjabkYdhsT9ocV1l8un0og"/>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twk9TegUgnPH9yxlb1Gej7A"/>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t7oA485To4yJsks3qtljCdA"/>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t_uJrO.ZOpT9ki2WetoC1iQ"/>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tKNAnisQG1mUSwOXreMSqlA"/>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t_NpRz9KVx5gSG0hcSx4irw"/>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tB5QVgHaJKb9gwKPCbXNhZQ"/>
</p:tagLst>
</file>

<file path=ppt/tags/tag29.xml><?xml version="1.0" encoding="utf-8"?>
<p:tagLst xmlns:a="http://schemas.openxmlformats.org/drawingml/2006/main" xmlns:r="http://schemas.openxmlformats.org/officeDocument/2006/relationships" xmlns:p="http://schemas.openxmlformats.org/presentationml/2006/main">
  <p:tag name="SHAPENAME" val="Subtitle"/>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t.mhasQ2K26J75b4HLd7FCg"/>
</p:tagLst>
</file>

<file path=ppt/tags/tag291.xml><?xml version="1.0" encoding="utf-8"?>
<p:tagLst xmlns:a="http://schemas.openxmlformats.org/drawingml/2006/main" xmlns:r="http://schemas.openxmlformats.org/officeDocument/2006/relationships" xmlns:p="http://schemas.openxmlformats.org/presentationml/2006/main">
  <p:tag name="NAME" val="ACET"/>
</p:tagLst>
</file>

<file path=ppt/tags/tag292.xml><?xml version="1.0" encoding="utf-8"?>
<p:tagLst xmlns:a="http://schemas.openxmlformats.org/drawingml/2006/main" xmlns:r="http://schemas.openxmlformats.org/officeDocument/2006/relationships" xmlns:p="http://schemas.openxmlformats.org/presentationml/2006/main">
  <p:tag name="NAME" val="ACET"/>
</p:tagLst>
</file>

<file path=ppt/tags/tag293.xml><?xml version="1.0" encoding="utf-8"?>
<p:tagLst xmlns:a="http://schemas.openxmlformats.org/drawingml/2006/main" xmlns:r="http://schemas.openxmlformats.org/officeDocument/2006/relationships" xmlns:p="http://schemas.openxmlformats.org/presentationml/2006/main">
  <p:tag name="NAME" val="TrackerNumBlue"/>
</p:tagLst>
</file>

<file path=ppt/tags/tag294.xml><?xml version="1.0" encoding="utf-8"?>
<p:tagLst xmlns:a="http://schemas.openxmlformats.org/drawingml/2006/main" xmlns:r="http://schemas.openxmlformats.org/officeDocument/2006/relationships" xmlns:p="http://schemas.openxmlformats.org/presentationml/2006/main">
  <p:tag name="NAME" val="TrackerNumBlue"/>
</p:tagLst>
</file>

<file path=ppt/tags/tag295.xml><?xml version="1.0" encoding="utf-8"?>
<p:tagLst xmlns:a="http://schemas.openxmlformats.org/drawingml/2006/main" xmlns:r="http://schemas.openxmlformats.org/officeDocument/2006/relationships" xmlns:p="http://schemas.openxmlformats.org/presentationml/2006/main">
  <p:tag name="NAME" val="TrackerNumBlue"/>
</p:tagLst>
</file>

<file path=ppt/tags/tag296.xml><?xml version="1.0" encoding="utf-8"?>
<p:tagLst xmlns:a="http://schemas.openxmlformats.org/drawingml/2006/main" xmlns:r="http://schemas.openxmlformats.org/officeDocument/2006/relationships" xmlns:p="http://schemas.openxmlformats.org/presentationml/2006/main">
  <p:tag name="NAME" val="TrackerNumBlue"/>
</p:tagLst>
</file>

<file path=ppt/tags/tag297.xml><?xml version="1.0" encoding="utf-8"?>
<p:tagLst xmlns:a="http://schemas.openxmlformats.org/drawingml/2006/main" xmlns:r="http://schemas.openxmlformats.org/officeDocument/2006/relationships" xmlns:p="http://schemas.openxmlformats.org/presentationml/2006/main">
  <p:tag name="NAME" val="TrackerNumBlue"/>
</p:tagLst>
</file>

<file path=ppt/tags/tag298.xml><?xml version="1.0" encoding="utf-8"?>
<p:tagLst xmlns:a="http://schemas.openxmlformats.org/drawingml/2006/main" xmlns:r="http://schemas.openxmlformats.org/officeDocument/2006/relationships" xmlns:p="http://schemas.openxmlformats.org/presentationml/2006/main">
  <p:tag name="NAME" val="TrackerNumBlue"/>
</p:tagLst>
</file>

<file path=ppt/tags/tag299.xml><?xml version="1.0" encoding="utf-8"?>
<p:tagLst xmlns:a="http://schemas.openxmlformats.org/drawingml/2006/main" xmlns:r="http://schemas.openxmlformats.org/officeDocument/2006/relationships" xmlns:p="http://schemas.openxmlformats.org/presentationml/2006/main">
  <p:tag name="NAME" val="LineBasicDefault"/>
</p:tagLst>
</file>

<file path=ppt/tags/tag3.xml><?xml version="1.0" encoding="utf-8"?>
<p:tagLst xmlns:a="http://schemas.openxmlformats.org/drawingml/2006/main" xmlns:r="http://schemas.openxmlformats.org/officeDocument/2006/relationships" xmlns:p="http://schemas.openxmlformats.org/presentationml/2006/main">
  <p:tag name="SHAPENAME" val="4. Footnote"/>
</p:tagLst>
</file>

<file path=ppt/tags/tag30.xml><?xml version="1.0" encoding="utf-8"?>
<p:tagLst xmlns:a="http://schemas.openxmlformats.org/drawingml/2006/main" xmlns:r="http://schemas.openxmlformats.org/officeDocument/2006/relationships" xmlns:p="http://schemas.openxmlformats.org/presentationml/2006/main">
  <p:tag name="SHAPENAME" val="Title"/>
</p:tagLst>
</file>

<file path=ppt/tags/tag300.xml><?xml version="1.0" encoding="utf-8"?>
<p:tagLst xmlns:a="http://schemas.openxmlformats.org/drawingml/2006/main" xmlns:r="http://schemas.openxmlformats.org/officeDocument/2006/relationships" xmlns:p="http://schemas.openxmlformats.org/presentationml/2006/main">
  <p:tag name="NAME" val="LineBasicDefault"/>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2.xml><?xml version="1.0" encoding="utf-8"?>
<p:tagLst xmlns:a="http://schemas.openxmlformats.org/drawingml/2006/main" xmlns:r="http://schemas.openxmlformats.org/officeDocument/2006/relationships" xmlns:p="http://schemas.openxmlformats.org/presentationml/2006/main">
  <p:tag name="NAME" val="LineBasicStrong"/>
</p:tagLst>
</file>

<file path=ppt/tags/tag303.xml><?xml version="1.0" encoding="utf-8"?>
<p:tagLst xmlns:a="http://schemas.openxmlformats.org/drawingml/2006/main" xmlns:r="http://schemas.openxmlformats.org/officeDocument/2006/relationships" xmlns:p="http://schemas.openxmlformats.org/presentationml/2006/main">
  <p:tag name="NAME" val="CustomIcon"/>
</p:tagLst>
</file>

<file path=ppt/tags/tag304.xml><?xml version="1.0" encoding="utf-8"?>
<p:tagLst xmlns:a="http://schemas.openxmlformats.org/drawingml/2006/main" xmlns:r="http://schemas.openxmlformats.org/officeDocument/2006/relationships" xmlns:p="http://schemas.openxmlformats.org/presentationml/2006/main">
  <p:tag name="NAME" val="CustomIcon"/>
</p:tagLst>
</file>

<file path=ppt/tags/tag305.xml><?xml version="1.0" encoding="utf-8"?>
<p:tagLst xmlns:a="http://schemas.openxmlformats.org/drawingml/2006/main" xmlns:r="http://schemas.openxmlformats.org/officeDocument/2006/relationships" xmlns:p="http://schemas.openxmlformats.org/presentationml/2006/main">
  <p:tag name="NAME" val="CustomIcon"/>
</p:tagLst>
</file>

<file path=ppt/tags/tag306.xml><?xml version="1.0" encoding="utf-8"?>
<p:tagLst xmlns:a="http://schemas.openxmlformats.org/drawingml/2006/main" xmlns:r="http://schemas.openxmlformats.org/officeDocument/2006/relationships" xmlns:p="http://schemas.openxmlformats.org/presentationml/2006/main">
  <p:tag name="NAME" val="CustomIcon"/>
</p:tagLst>
</file>

<file path=ppt/tags/tag307.xml><?xml version="1.0" encoding="utf-8"?>
<p:tagLst xmlns:a="http://schemas.openxmlformats.org/drawingml/2006/main" xmlns:r="http://schemas.openxmlformats.org/officeDocument/2006/relationships" xmlns:p="http://schemas.openxmlformats.org/presentationml/2006/main">
  <p:tag name="NAME" val="CustomIcon"/>
</p:tagLst>
</file>

<file path=ppt/tags/tag308.xml><?xml version="1.0" encoding="utf-8"?>
<p:tagLst xmlns:a="http://schemas.openxmlformats.org/drawingml/2006/main" xmlns:r="http://schemas.openxmlformats.org/officeDocument/2006/relationships" xmlns:p="http://schemas.openxmlformats.org/presentationml/2006/main">
  <p:tag name="SHAPENAME" val="4. Footnote"/>
</p:tagLst>
</file>

<file path=ppt/tags/tag309.xml><?xml version="1.0" encoding="utf-8"?>
<p:tagLst xmlns:a="http://schemas.openxmlformats.org/drawingml/2006/main" xmlns:r="http://schemas.openxmlformats.org/officeDocument/2006/relationships" xmlns:p="http://schemas.openxmlformats.org/presentationml/2006/main">
  <p:tag name="NAME" val="CustomIcon"/>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0.xml><?xml version="1.0" encoding="utf-8"?>
<p:tagLst xmlns:a="http://schemas.openxmlformats.org/drawingml/2006/main" xmlns:r="http://schemas.openxmlformats.org/officeDocument/2006/relationships" xmlns:p="http://schemas.openxmlformats.org/presentationml/2006/main">
  <p:tag name="NAME" val="CustomIcon"/>
</p:tagLst>
</file>

<file path=ppt/tags/tag311.xml><?xml version="1.0" encoding="utf-8"?>
<p:tagLst xmlns:a="http://schemas.openxmlformats.org/drawingml/2006/main" xmlns:r="http://schemas.openxmlformats.org/officeDocument/2006/relationships" xmlns:p="http://schemas.openxmlformats.org/presentationml/2006/main">
  <p:tag name="NAME" val="CustomIcon"/>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tRCnB9pv9uXCSs6WcsrR4.g"/>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thsXY3H41.fn..Isp6QlIEA"/>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tMzz4fvYn8WoXxkfF9i0_sg"/>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t4hOuatXzifP5sB6KVcvodQ"/>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t.4Q__U8VyzBDFPfMwsoCIw"/>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taOLI7N5aOl5K_zUyjdtcrA"/>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tpotGA_5D0BvCsz8VVJLt5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tIra0acVc8Dw6RkWGzkWpZg"/>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tQVZyqSzMmWLT11T3hLiPZA"/>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tdGYi80vLfZ5VZrRHzfrBZQ"/>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t_NTZzujtva3w.SRHRFy0Gg"/>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t8m75FW9oFySSH7xIpg3jaw"/>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tfPrT8cFfqCJXGEo0rhthiA"/>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t2uLTa1bXpvjsv2o1EY.I4w"/>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tcwpW4FLOot1aJ4gmMEAlSw"/>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tJUE_XtjZqZq4d4Dn1ff02w"/>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tTO.3xH7dYSEbi.WK3V9SeA"/>
</p:tagLst>
</file>

<file path=ppt/tags/tag33.xml><?xml version="1.0" encoding="utf-8"?>
<p:tagLst xmlns:a="http://schemas.openxmlformats.org/drawingml/2006/main" xmlns:r="http://schemas.openxmlformats.org/officeDocument/2006/relationships" xmlns:p="http://schemas.openxmlformats.org/presentationml/2006/main">
  <p:tag name="SHAPENAME" val="Subtitle"/>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tCWWmg5fZXE8vcToFR8rNuQ"/>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tbYvJWBthSeZAP65XeDqwHQ"/>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tEN7gWY7K3UKdraZtPIoiWw"/>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tcA8uMtydSI8K58ynTFCRtw"/>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taygjG2u3R0iUSyJw9DmyRg"/>
</p:tagLst>
</file>

<file path=ppt/tags/tag335.xml><?xml version="1.0" encoding="utf-8"?>
<p:tagLst xmlns:a="http://schemas.openxmlformats.org/drawingml/2006/main" xmlns:r="http://schemas.openxmlformats.org/officeDocument/2006/relationships" xmlns:p="http://schemas.openxmlformats.org/presentationml/2006/main">
  <p:tag name="NAME" val="LineContentSeparatorStrong"/>
</p:tagLst>
</file>

<file path=ppt/tags/tag336.xml><?xml version="1.0" encoding="utf-8"?>
<p:tagLst xmlns:a="http://schemas.openxmlformats.org/drawingml/2006/main" xmlns:r="http://schemas.openxmlformats.org/officeDocument/2006/relationships" xmlns:p="http://schemas.openxmlformats.org/presentationml/2006/main">
  <p:tag name="NAME" val="LineSeparatorDefault"/>
</p:tagLst>
</file>

<file path=ppt/tags/tag337.xml><?xml version="1.0" encoding="utf-8"?>
<p:tagLst xmlns:a="http://schemas.openxmlformats.org/drawingml/2006/main" xmlns:r="http://schemas.openxmlformats.org/officeDocument/2006/relationships" xmlns:p="http://schemas.openxmlformats.org/presentationml/2006/main">
  <p:tag name="SYMBOLNAME" val="Chevron"/>
  <p:tag name="NAME" val="Chevron"/>
</p:tagLst>
</file>

<file path=ppt/tags/tag338.xml><?xml version="1.0" encoding="utf-8"?>
<p:tagLst xmlns:a="http://schemas.openxmlformats.org/drawingml/2006/main" xmlns:r="http://schemas.openxmlformats.org/officeDocument/2006/relationships" xmlns:p="http://schemas.openxmlformats.org/presentationml/2006/main">
  <p:tag name="SHAPENAME" val="4. Footnote"/>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tNmgb4oRCMg5r0tlLRIKw3w"/>
</p:tagLst>
</file>

<file path=ppt/tags/tag34.xml><?xml version="1.0" encoding="utf-8"?>
<p:tagLst xmlns:a="http://schemas.openxmlformats.org/drawingml/2006/main" xmlns:r="http://schemas.openxmlformats.org/officeDocument/2006/relationships" xmlns:p="http://schemas.openxmlformats.org/presentationml/2006/main">
  <p:tag name="SHAPENAME" val="Title"/>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txx9KrInljObprI819bOq1g"/>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tbn.rPyATwnCorVDa4YNgiw"/>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tq93ZMwYJgU1wJ.jdAS1Jjg"/>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tZ81LY93TvZk7Yk23k0AIrA"/>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tzx8v9wWYtoXsz39V.zshTw"/>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tW2OSCAKPtsQlVh0QS1XcLw"/>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tOfhaVEuj8aPH2cs.xtRnWA"/>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tg1LXabofS3KurR5bpUKy0Q"/>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tFzYjHMxro4TaGS56rHO8Nw"/>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tcG4Jex2tMJTnUN5G1yWPA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tBJXraruApPLKOQBbOQzsMA"/>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tXFoUfNChj.YFmCMR2dFsaw"/>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toCw5QqzbnXjs0P2cqZ4vHw"/>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tStVRYIA2lVqeqr_2ZpS5GQ"/>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toS183vV4c3tuV1L2SW0EHQ"/>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tKdTHixZ4v9dV3g2rvy0T2Q"/>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toTTWS3hLujGC6Kh_Ap5Fiw"/>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tfkUf0m_3qAS9vVoOeo6Bng"/>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tWj43RzZ1R_lBG8MEGOp_hw"/>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tt9LfaAimdgwW_GySLEZIJ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tdYpvDxiWMMflhV66UNWCbw"/>
</p:tagLst>
</file>

<file path=ppt/tags/tag361.xml><?xml version="1.0" encoding="utf-8"?>
<p:tagLst xmlns:a="http://schemas.openxmlformats.org/drawingml/2006/main" xmlns:r="http://schemas.openxmlformats.org/officeDocument/2006/relationships" xmlns:p="http://schemas.openxmlformats.org/presentationml/2006/main">
  <p:tag name="NAME" val="ACET"/>
</p:tagLst>
</file>

<file path=ppt/tags/tag362.xml><?xml version="1.0" encoding="utf-8"?>
<p:tagLst xmlns:a="http://schemas.openxmlformats.org/drawingml/2006/main" xmlns:r="http://schemas.openxmlformats.org/officeDocument/2006/relationships" xmlns:p="http://schemas.openxmlformats.org/presentationml/2006/main">
  <p:tag name="NAME" val="ACET"/>
</p:tagLst>
</file>

<file path=ppt/tags/tag363.xml><?xml version="1.0" encoding="utf-8"?>
<p:tagLst xmlns:a="http://schemas.openxmlformats.org/drawingml/2006/main" xmlns:r="http://schemas.openxmlformats.org/officeDocument/2006/relationships" xmlns:p="http://schemas.openxmlformats.org/presentationml/2006/main">
  <p:tag name="NAME" val="ConnectorRectangle"/>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tVnZ9o.YAZN8NWV3CAIow4g"/>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tmBIrYPnWypJmOf2sNb01.g"/>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tOnBVFxxkU0tMz7XQd5A5xw"/>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tK8ggZat3W1oftvn8Qemcjg"/>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tQDAdUmYk5OJQMcXLGhaa.A"/>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t7gxoVmSblPCSt_fdgbDriQ"/>
</p:tagLst>
</file>

<file path=ppt/tags/tag37.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t1oQRJu22v2SK40ShjnVfig"/>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tM0.R2XBPnKOKVYHPUXVAKA"/>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tnn0pRqbX7Ie1bZydyW7a.Q"/>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tCaTDObepIyNIpJR2t_CHhA"/>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t6j6v5Nlv.fVynPJRIUqUlw"/>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tXoieDIQqJcexyhk4yUM3Mw"/>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t7d5NrZVSZE9k8UVzPnuWCw"/>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t2ramf38w757EQZgIFyYGcQ"/>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t1QFm86jHC71EgH12Hjvtew"/>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t2QBlv1PDHBPoqn.M6.IXjQ"/>
</p:tagLst>
</file>

<file path=ppt/tags/tag38.xml><?xml version="1.0" encoding="utf-8"?>
<p:tagLst xmlns:a="http://schemas.openxmlformats.org/drawingml/2006/main" xmlns:r="http://schemas.openxmlformats.org/officeDocument/2006/relationships" xmlns:p="http://schemas.openxmlformats.org/presentationml/2006/main">
  <p:tag name="SHAPENAME" val="Subtitle"/>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tXUmWKMYS9vJHaVUCGwKMCg"/>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tu8dp0Hec0Ey4cUYyBJRThQ"/>
</p:tagLst>
</file>

<file path=ppt/tags/tag382.xml><?xml version="1.0" encoding="utf-8"?>
<p:tagLst xmlns:a="http://schemas.openxmlformats.org/drawingml/2006/main" xmlns:r="http://schemas.openxmlformats.org/officeDocument/2006/relationships" xmlns:p="http://schemas.openxmlformats.org/presentationml/2006/main">
  <p:tag name="NAME" val="ConnectorRectangle"/>
</p:tagLst>
</file>

<file path=ppt/tags/tag383.xml><?xml version="1.0" encoding="utf-8"?>
<p:tagLst xmlns:a="http://schemas.openxmlformats.org/drawingml/2006/main" xmlns:r="http://schemas.openxmlformats.org/officeDocument/2006/relationships" xmlns:p="http://schemas.openxmlformats.org/presentationml/2006/main">
  <p:tag name="NAME" val="LineContentSeparatorDefault"/>
</p:tagLst>
</file>

<file path=ppt/tags/tag384.xml><?xml version="1.0" encoding="utf-8"?>
<p:tagLst xmlns:a="http://schemas.openxmlformats.org/drawingml/2006/main" xmlns:r="http://schemas.openxmlformats.org/officeDocument/2006/relationships" xmlns:p="http://schemas.openxmlformats.org/presentationml/2006/main">
  <p:tag name="NAME" val="LineContentSeparatorDefault"/>
</p:tagLst>
</file>

<file path=ppt/tags/tag385.xml><?xml version="1.0" encoding="utf-8"?>
<p:tagLst xmlns:a="http://schemas.openxmlformats.org/drawingml/2006/main" xmlns:r="http://schemas.openxmlformats.org/officeDocument/2006/relationships" xmlns:p="http://schemas.openxmlformats.org/presentationml/2006/main">
  <p:tag name="NAME" val="SingleBoatShape"/>
</p:tagLst>
</file>

<file path=ppt/tags/tag386.xml><?xml version="1.0" encoding="utf-8"?>
<p:tagLst xmlns:a="http://schemas.openxmlformats.org/drawingml/2006/main" xmlns:r="http://schemas.openxmlformats.org/officeDocument/2006/relationships" xmlns:p="http://schemas.openxmlformats.org/presentationml/2006/main">
  <p:tag name="NAME" val="SingleBoatText"/>
</p:tagLst>
</file>

<file path=ppt/tags/tag387.xml><?xml version="1.0" encoding="utf-8"?>
<p:tagLst xmlns:a="http://schemas.openxmlformats.org/drawingml/2006/main" xmlns:r="http://schemas.openxmlformats.org/officeDocument/2006/relationships" xmlns:p="http://schemas.openxmlformats.org/presentationml/2006/main">
  <p:tag name="NAME" val="SingleBoatShape"/>
</p:tagLst>
</file>

<file path=ppt/tags/tag388.xml><?xml version="1.0" encoding="utf-8"?>
<p:tagLst xmlns:a="http://schemas.openxmlformats.org/drawingml/2006/main" xmlns:r="http://schemas.openxmlformats.org/officeDocument/2006/relationships" xmlns:p="http://schemas.openxmlformats.org/presentationml/2006/main">
  <p:tag name="NAME" val="SingleBoatText"/>
</p:tagLst>
</file>

<file path=ppt/tags/tag389.xml><?xml version="1.0" encoding="utf-8"?>
<p:tagLst xmlns:a="http://schemas.openxmlformats.org/drawingml/2006/main" xmlns:r="http://schemas.openxmlformats.org/officeDocument/2006/relationships" xmlns:p="http://schemas.openxmlformats.org/presentationml/2006/main">
  <p:tag name="NAME" val="SingleBoatShape"/>
</p:tagLst>
</file>

<file path=ppt/tags/tag39.xml><?xml version="1.0" encoding="utf-8"?>
<p:tagLst xmlns:a="http://schemas.openxmlformats.org/drawingml/2006/main" xmlns:r="http://schemas.openxmlformats.org/officeDocument/2006/relationships" xmlns:p="http://schemas.openxmlformats.org/presentationml/2006/main">
  <p:tag name="SHAPENAME" val="Title"/>
</p:tagLst>
</file>

<file path=ppt/tags/tag390.xml><?xml version="1.0" encoding="utf-8"?>
<p:tagLst xmlns:a="http://schemas.openxmlformats.org/drawingml/2006/main" xmlns:r="http://schemas.openxmlformats.org/officeDocument/2006/relationships" xmlns:p="http://schemas.openxmlformats.org/presentationml/2006/main">
  <p:tag name="NAME" val="SingleBoatText"/>
</p:tagLst>
</file>

<file path=ppt/tags/tag391.xml><?xml version="1.0" encoding="utf-8"?>
<p:tagLst xmlns:a="http://schemas.openxmlformats.org/drawingml/2006/main" xmlns:r="http://schemas.openxmlformats.org/officeDocument/2006/relationships" xmlns:p="http://schemas.openxmlformats.org/presentationml/2006/main">
  <p:tag name="NAME" val="TrackerNumBlue"/>
</p:tagLst>
</file>

<file path=ppt/tags/tag392.xml><?xml version="1.0" encoding="utf-8"?>
<p:tagLst xmlns:a="http://schemas.openxmlformats.org/drawingml/2006/main" xmlns:r="http://schemas.openxmlformats.org/officeDocument/2006/relationships" xmlns:p="http://schemas.openxmlformats.org/presentationml/2006/main">
  <p:tag name="NAME" val="TrackerNumBlue"/>
</p:tagLst>
</file>

<file path=ppt/tags/tag393.xml><?xml version="1.0" encoding="utf-8"?>
<p:tagLst xmlns:a="http://schemas.openxmlformats.org/drawingml/2006/main" xmlns:r="http://schemas.openxmlformats.org/officeDocument/2006/relationships" xmlns:p="http://schemas.openxmlformats.org/presentationml/2006/main">
  <p:tag name="NAME" val="TrackerNumBlue"/>
</p:tagLst>
</file>

<file path=ppt/tags/tag394.xml><?xml version="1.0" encoding="utf-8"?>
<p:tagLst xmlns:a="http://schemas.openxmlformats.org/drawingml/2006/main" xmlns:r="http://schemas.openxmlformats.org/officeDocument/2006/relationships" xmlns:p="http://schemas.openxmlformats.org/presentationml/2006/main">
  <p:tag name="NAME" val="TrackerNumBlue"/>
</p:tagLst>
</file>

<file path=ppt/tags/tag395.xml><?xml version="1.0" encoding="utf-8"?>
<p:tagLst xmlns:a="http://schemas.openxmlformats.org/drawingml/2006/main" xmlns:r="http://schemas.openxmlformats.org/officeDocument/2006/relationships" xmlns:p="http://schemas.openxmlformats.org/presentationml/2006/main">
  <p:tag name="NAME" val="CustomIcon"/>
</p:tagLst>
</file>

<file path=ppt/tags/tag396.xml><?xml version="1.0" encoding="utf-8"?>
<p:tagLst xmlns:a="http://schemas.openxmlformats.org/drawingml/2006/main" xmlns:r="http://schemas.openxmlformats.org/officeDocument/2006/relationships" xmlns:p="http://schemas.openxmlformats.org/presentationml/2006/main">
  <p:tag name="NAME" val="CustomIcon"/>
</p:tagLst>
</file>

<file path=ppt/tags/tag397.xml><?xml version="1.0" encoding="utf-8"?>
<p:tagLst xmlns:a="http://schemas.openxmlformats.org/drawingml/2006/main" xmlns:r="http://schemas.openxmlformats.org/officeDocument/2006/relationships" xmlns:p="http://schemas.openxmlformats.org/presentationml/2006/main">
  <p:tag name="NAME" val="CustomIcon"/>
</p:tagLst>
</file>

<file path=ppt/tags/tag398.xml><?xml version="1.0" encoding="utf-8"?>
<p:tagLst xmlns:a="http://schemas.openxmlformats.org/drawingml/2006/main" xmlns:r="http://schemas.openxmlformats.org/officeDocument/2006/relationships" xmlns:p="http://schemas.openxmlformats.org/presentationml/2006/main">
  <p:tag name="THINKCELLSHAPEDONOTDELETE" val="tEJdEbqomr4Mh6PObzssz0A"/>
</p:tagLst>
</file>

<file path=ppt/tags/tag399.xml><?xml version="1.0" encoding="utf-8"?>
<p:tagLst xmlns:a="http://schemas.openxmlformats.org/drawingml/2006/main" xmlns:r="http://schemas.openxmlformats.org/officeDocument/2006/relationships" xmlns:p="http://schemas.openxmlformats.org/presentationml/2006/main">
  <p:tag name="THINKCELLSHAPEDONOTDELETE" val="tsEtsYMqXc.VX6kPhvkcujA"/>
</p:tagLst>
</file>

<file path=ppt/tags/tag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0.xml><?xml version="1.0" encoding="utf-8"?>
<p:tagLst xmlns:a="http://schemas.openxmlformats.org/drawingml/2006/main" xmlns:r="http://schemas.openxmlformats.org/officeDocument/2006/relationships" xmlns:p="http://schemas.openxmlformats.org/presentationml/2006/main">
  <p:tag name="THINKCELLSHAPEDONOTDELETE" val="tlt4mkBEkMf2E.X_bIbdbqA"/>
</p:tagLst>
</file>

<file path=ppt/tags/tag401.xml><?xml version="1.0" encoding="utf-8"?>
<p:tagLst xmlns:a="http://schemas.openxmlformats.org/drawingml/2006/main" xmlns:r="http://schemas.openxmlformats.org/officeDocument/2006/relationships" xmlns:p="http://schemas.openxmlformats.org/presentationml/2006/main">
  <p:tag name="THINKCELLSHAPEDONOTDELETE" val="tBlvU6abzZOZ1OqTkfPPzgw"/>
</p:tagLst>
</file>

<file path=ppt/tags/tag402.xml><?xml version="1.0" encoding="utf-8"?>
<p:tagLst xmlns:a="http://schemas.openxmlformats.org/drawingml/2006/main" xmlns:r="http://schemas.openxmlformats.org/officeDocument/2006/relationships" xmlns:p="http://schemas.openxmlformats.org/presentationml/2006/main">
  <p:tag name="THINKCELLSHAPEDONOTDELETE" val="tDF9gZmsXH9bnzANZR1Z7VQ"/>
</p:tagLst>
</file>

<file path=ppt/tags/tag403.xml><?xml version="1.0" encoding="utf-8"?>
<p:tagLst xmlns:a="http://schemas.openxmlformats.org/drawingml/2006/main" xmlns:r="http://schemas.openxmlformats.org/officeDocument/2006/relationships" xmlns:p="http://schemas.openxmlformats.org/presentationml/2006/main">
  <p:tag name="THINKCELLSHAPEDONOTDELETE" val="t1Zkl.ZppZJoYkFl4ayTFwg"/>
</p:tagLst>
</file>

<file path=ppt/tags/tag404.xml><?xml version="1.0" encoding="utf-8"?>
<p:tagLst xmlns:a="http://schemas.openxmlformats.org/drawingml/2006/main" xmlns:r="http://schemas.openxmlformats.org/officeDocument/2006/relationships" xmlns:p="http://schemas.openxmlformats.org/presentationml/2006/main">
  <p:tag name="THINKCELLSHAPEDONOTDELETE" val="tgkS29cQFsKquVYXgrl6.wA"/>
</p:tagLst>
</file>

<file path=ppt/tags/tag405.xml><?xml version="1.0" encoding="utf-8"?>
<p:tagLst xmlns:a="http://schemas.openxmlformats.org/drawingml/2006/main" xmlns:r="http://schemas.openxmlformats.org/officeDocument/2006/relationships" xmlns:p="http://schemas.openxmlformats.org/presentationml/2006/main">
  <p:tag name="THINKCELLSHAPEDONOTDELETE" val="tsg5Dlpc3rk.Z8lEFx2iMEQ"/>
</p:tagLst>
</file>

<file path=ppt/tags/tag406.xml><?xml version="1.0" encoding="utf-8"?>
<p:tagLst xmlns:a="http://schemas.openxmlformats.org/drawingml/2006/main" xmlns:r="http://schemas.openxmlformats.org/officeDocument/2006/relationships" xmlns:p="http://schemas.openxmlformats.org/presentationml/2006/main">
  <p:tag name="THINKCELLSHAPEDONOTDELETE" val="t9T7kYe.OLMTFlcoaC1Y5Kg"/>
</p:tagLst>
</file>

<file path=ppt/tags/tag407.xml><?xml version="1.0" encoding="utf-8"?>
<p:tagLst xmlns:a="http://schemas.openxmlformats.org/drawingml/2006/main" xmlns:r="http://schemas.openxmlformats.org/officeDocument/2006/relationships" xmlns:p="http://schemas.openxmlformats.org/presentationml/2006/main">
  <p:tag name="THINKCELLSHAPEDONOTDELETE" val="t2Lkk1tX8F85L97qKLlSeLQ"/>
</p:tagLst>
</file>

<file path=ppt/tags/tag408.xml><?xml version="1.0" encoding="utf-8"?>
<p:tagLst xmlns:a="http://schemas.openxmlformats.org/drawingml/2006/main" xmlns:r="http://schemas.openxmlformats.org/officeDocument/2006/relationships" xmlns:p="http://schemas.openxmlformats.org/presentationml/2006/main">
  <p:tag name="THINKCELLSHAPEDONOTDELETE" val="tw2Riv2GmzlSKhV3fp3EOAA"/>
</p:tagLst>
</file>

<file path=ppt/tags/tag409.xml><?xml version="1.0" encoding="utf-8"?>
<p:tagLst xmlns:a="http://schemas.openxmlformats.org/drawingml/2006/main" xmlns:r="http://schemas.openxmlformats.org/officeDocument/2006/relationships" xmlns:p="http://schemas.openxmlformats.org/presentationml/2006/main">
  <p:tag name="THINKCELLSHAPEDONOTDELETE" val="tqxGcaRjE2V0aSkFBMOaiW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410.xml><?xml version="1.0" encoding="utf-8"?>
<p:tagLst xmlns:a="http://schemas.openxmlformats.org/drawingml/2006/main" xmlns:r="http://schemas.openxmlformats.org/officeDocument/2006/relationships" xmlns:p="http://schemas.openxmlformats.org/presentationml/2006/main">
  <p:tag name="THINKCELLSHAPEDONOTDELETE" val="tkPbi.BYqqhyhXokilfWZmg"/>
</p:tagLst>
</file>

<file path=ppt/tags/tag411.xml><?xml version="1.0" encoding="utf-8"?>
<p:tagLst xmlns:a="http://schemas.openxmlformats.org/drawingml/2006/main" xmlns:r="http://schemas.openxmlformats.org/officeDocument/2006/relationships" xmlns:p="http://schemas.openxmlformats.org/presentationml/2006/main">
  <p:tag name="THINKCELLSHAPEDONOTDELETE" val="tybO0z969a5D5IkbBd.tQug"/>
</p:tagLst>
</file>

<file path=ppt/tags/tag412.xml><?xml version="1.0" encoding="utf-8"?>
<p:tagLst xmlns:a="http://schemas.openxmlformats.org/drawingml/2006/main" xmlns:r="http://schemas.openxmlformats.org/officeDocument/2006/relationships" xmlns:p="http://schemas.openxmlformats.org/presentationml/2006/main">
  <p:tag name="THINKCELLSHAPEDONOTDELETE" val="t5R2hhpUNtI0U4KVpixeOow"/>
</p:tagLst>
</file>

<file path=ppt/tags/tag413.xml><?xml version="1.0" encoding="utf-8"?>
<p:tagLst xmlns:a="http://schemas.openxmlformats.org/drawingml/2006/main" xmlns:r="http://schemas.openxmlformats.org/officeDocument/2006/relationships" xmlns:p="http://schemas.openxmlformats.org/presentationml/2006/main">
  <p:tag name="THINKCELLSHAPEDONOTDELETE" val="td0PGku.7vPen2S8Q808gmw"/>
</p:tagLst>
</file>

<file path=ppt/tags/tag414.xml><?xml version="1.0" encoding="utf-8"?>
<p:tagLst xmlns:a="http://schemas.openxmlformats.org/drawingml/2006/main" xmlns:r="http://schemas.openxmlformats.org/officeDocument/2006/relationships" xmlns:p="http://schemas.openxmlformats.org/presentationml/2006/main">
  <p:tag name="THINKCELLSHAPEDONOTDELETE" val="tKjplOoWV2kPSwyoiPCXUdQ"/>
</p:tagLst>
</file>

<file path=ppt/tags/tag415.xml><?xml version="1.0" encoding="utf-8"?>
<p:tagLst xmlns:a="http://schemas.openxmlformats.org/drawingml/2006/main" xmlns:r="http://schemas.openxmlformats.org/officeDocument/2006/relationships" xmlns:p="http://schemas.openxmlformats.org/presentationml/2006/main">
  <p:tag name="THINKCELLSHAPEDONOTDELETE" val="tnwZabtnYQld7K_Ju93Q0yQ"/>
</p:tagLst>
</file>

<file path=ppt/tags/tag416.xml><?xml version="1.0" encoding="utf-8"?>
<p:tagLst xmlns:a="http://schemas.openxmlformats.org/drawingml/2006/main" xmlns:r="http://schemas.openxmlformats.org/officeDocument/2006/relationships" xmlns:p="http://schemas.openxmlformats.org/presentationml/2006/main">
  <p:tag name="THINKCELLSHAPEDONOTDELETE" val="t8m2KTkIIMMscFiRiOXhWYQ"/>
</p:tagLst>
</file>

<file path=ppt/tags/tag417.xml><?xml version="1.0" encoding="utf-8"?>
<p:tagLst xmlns:a="http://schemas.openxmlformats.org/drawingml/2006/main" xmlns:r="http://schemas.openxmlformats.org/officeDocument/2006/relationships" xmlns:p="http://schemas.openxmlformats.org/presentationml/2006/main">
  <p:tag name="THINKCELLSHAPEDONOTDELETE" val="tq4ogc_iOIcDceK4ygTOugA"/>
</p:tagLst>
</file>

<file path=ppt/tags/tag418.xml><?xml version="1.0" encoding="utf-8"?>
<p:tagLst xmlns:a="http://schemas.openxmlformats.org/drawingml/2006/main" xmlns:r="http://schemas.openxmlformats.org/officeDocument/2006/relationships" xmlns:p="http://schemas.openxmlformats.org/presentationml/2006/main">
  <p:tag name="THINKCELLSHAPEDONOTDELETE" val="tK9mGgUkIu_2idMLTUhyg5g"/>
</p:tagLst>
</file>

<file path=ppt/tags/tag419.xml><?xml version="1.0" encoding="utf-8"?>
<p:tagLst xmlns:a="http://schemas.openxmlformats.org/drawingml/2006/main" xmlns:r="http://schemas.openxmlformats.org/officeDocument/2006/relationships" xmlns:p="http://schemas.openxmlformats.org/presentationml/2006/main">
  <p:tag name="THINKCELLSHAPEDONOTDELETE" val="tNznp2PIPC2pzaV_eHgvRBg"/>
</p:tagLst>
</file>

<file path=ppt/tags/tag42.xml><?xml version="1.0" encoding="utf-8"?>
<p:tagLst xmlns:a="http://schemas.openxmlformats.org/drawingml/2006/main" xmlns:r="http://schemas.openxmlformats.org/officeDocument/2006/relationships" xmlns:p="http://schemas.openxmlformats.org/presentationml/2006/main">
  <p:tag name="SHAPENAME" val="3. Subtitle"/>
</p:tagLst>
</file>

<file path=ppt/tags/tag420.xml><?xml version="1.0" encoding="utf-8"?>
<p:tagLst xmlns:a="http://schemas.openxmlformats.org/drawingml/2006/main" xmlns:r="http://schemas.openxmlformats.org/officeDocument/2006/relationships" xmlns:p="http://schemas.openxmlformats.org/presentationml/2006/main">
  <p:tag name="THINKCELLSHAPEDONOTDELETE" val="tWDxNbAbXQXjHysuZbfeQlg"/>
</p:tagLst>
</file>

<file path=ppt/tags/tag421.xml><?xml version="1.0" encoding="utf-8"?>
<p:tagLst xmlns:a="http://schemas.openxmlformats.org/drawingml/2006/main" xmlns:r="http://schemas.openxmlformats.org/officeDocument/2006/relationships" xmlns:p="http://schemas.openxmlformats.org/presentationml/2006/main">
  <p:tag name="THINKCELLSHAPEDONOTDELETE" val="tUHHBRfbn.c7uxnxjWKhYMg"/>
</p:tagLst>
</file>

<file path=ppt/tags/tag422.xml><?xml version="1.0" encoding="utf-8"?>
<p:tagLst xmlns:a="http://schemas.openxmlformats.org/drawingml/2006/main" xmlns:r="http://schemas.openxmlformats.org/officeDocument/2006/relationships" xmlns:p="http://schemas.openxmlformats.org/presentationml/2006/main">
  <p:tag name="THINKCELLSHAPEDONOTDELETE" val="t82j0yopyLlS4DPvKTmLHJw"/>
</p:tagLst>
</file>

<file path=ppt/tags/tag423.xml><?xml version="1.0" encoding="utf-8"?>
<p:tagLst xmlns:a="http://schemas.openxmlformats.org/drawingml/2006/main" xmlns:r="http://schemas.openxmlformats.org/officeDocument/2006/relationships" xmlns:p="http://schemas.openxmlformats.org/presentationml/2006/main">
  <p:tag name="THINKCELLSHAPEDONOTDELETE" val="tMod4q4T8Uva1NhJ4P6f62w"/>
</p:tagLst>
</file>

<file path=ppt/tags/tag424.xml><?xml version="1.0" encoding="utf-8"?>
<p:tagLst xmlns:a="http://schemas.openxmlformats.org/drawingml/2006/main" xmlns:r="http://schemas.openxmlformats.org/officeDocument/2006/relationships" xmlns:p="http://schemas.openxmlformats.org/presentationml/2006/main">
  <p:tag name="THINKCELLSHAPEDONOTDELETE" val="tsphym93wqhR.irYpGcyC3g"/>
</p:tagLst>
</file>

<file path=ppt/tags/tag425.xml><?xml version="1.0" encoding="utf-8"?>
<p:tagLst xmlns:a="http://schemas.openxmlformats.org/drawingml/2006/main" xmlns:r="http://schemas.openxmlformats.org/officeDocument/2006/relationships" xmlns:p="http://schemas.openxmlformats.org/presentationml/2006/main">
  <p:tag name="NAME" val="LineBasicDefault"/>
</p:tagLst>
</file>

<file path=ppt/tags/tag426.xml><?xml version="1.0" encoding="utf-8"?>
<p:tagLst xmlns:a="http://schemas.openxmlformats.org/drawingml/2006/main" xmlns:r="http://schemas.openxmlformats.org/officeDocument/2006/relationships" xmlns:p="http://schemas.openxmlformats.org/presentationml/2006/main">
  <p:tag name="NAME" val="LineBasicDefault"/>
</p:tagLst>
</file>

<file path=ppt/tags/tag427.xml><?xml version="1.0" encoding="utf-8"?>
<p:tagLst xmlns:a="http://schemas.openxmlformats.org/drawingml/2006/main" xmlns:r="http://schemas.openxmlformats.org/officeDocument/2006/relationships" xmlns:p="http://schemas.openxmlformats.org/presentationml/2006/main">
  <p:tag name="NAME" val="LineBasicDefault"/>
</p:tagLst>
</file>

<file path=ppt/tags/tag428.xml><?xml version="1.0" encoding="utf-8"?>
<p:tagLst xmlns:a="http://schemas.openxmlformats.org/drawingml/2006/main" xmlns:r="http://schemas.openxmlformats.org/officeDocument/2006/relationships" xmlns:p="http://schemas.openxmlformats.org/presentationml/2006/main">
  <p:tag name="NAME" val="LineBasicDefault"/>
</p:tagLst>
</file>

<file path=ppt/tags/tag429.xml><?xml version="1.0" encoding="utf-8"?>
<p:tagLst xmlns:a="http://schemas.openxmlformats.org/drawingml/2006/main" xmlns:r="http://schemas.openxmlformats.org/officeDocument/2006/relationships" xmlns:p="http://schemas.openxmlformats.org/presentationml/2006/main">
  <p:tag name="NAME" val="LineBasicDefault"/>
</p:tagLst>
</file>

<file path=ppt/tags/tag4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30.xml><?xml version="1.0" encoding="utf-8"?>
<p:tagLst xmlns:a="http://schemas.openxmlformats.org/drawingml/2006/main" xmlns:r="http://schemas.openxmlformats.org/officeDocument/2006/relationships" xmlns:p="http://schemas.openxmlformats.org/presentationml/2006/main">
  <p:tag name="NAME" val="CustomIcon"/>
</p:tagLst>
</file>

<file path=ppt/tags/tag431.xml><?xml version="1.0" encoding="utf-8"?>
<p:tagLst xmlns:a="http://schemas.openxmlformats.org/drawingml/2006/main" xmlns:r="http://schemas.openxmlformats.org/officeDocument/2006/relationships" xmlns:p="http://schemas.openxmlformats.org/presentationml/2006/main">
  <p:tag name="MTTABLE" val="Cell"/>
  <p:tag name="MTNUMBER" val="0.964041008131598"/>
  <p:tag name="LEFT" val="45"/>
  <p:tag name="WIDTH" val="276.6667"/>
  <p:tag name="TOP" val="139.3875"/>
  <p:tag name="HEIGHT" val="70.15313"/>
</p:tagLst>
</file>

<file path=ppt/tags/tag432.xml><?xml version="1.0" encoding="utf-8"?>
<p:tagLst xmlns:a="http://schemas.openxmlformats.org/drawingml/2006/main" xmlns:r="http://schemas.openxmlformats.org/officeDocument/2006/relationships" xmlns:p="http://schemas.openxmlformats.org/presentationml/2006/main">
  <p:tag name="MTTABLE" val="Cell"/>
  <p:tag name="MTNUMBER" val="0.964041008131598"/>
  <p:tag name="LEFT" val="45"/>
  <p:tag name="WIDTH" val="276.6667"/>
  <p:tag name="TOP" val="219.5406"/>
  <p:tag name="HEIGHT" val="70.15313"/>
</p:tagLst>
</file>

<file path=ppt/tags/tag433.xml><?xml version="1.0" encoding="utf-8"?>
<p:tagLst xmlns:a="http://schemas.openxmlformats.org/drawingml/2006/main" xmlns:r="http://schemas.openxmlformats.org/officeDocument/2006/relationships" xmlns:p="http://schemas.openxmlformats.org/presentationml/2006/main">
  <p:tag name="MTTABLE" val="Cell"/>
  <p:tag name="MTNUMBER" val="0.964041008131598"/>
  <p:tag name="LEFT" val="45"/>
  <p:tag name="WIDTH" val="276.6667"/>
  <p:tag name="TOP" val="299.6938"/>
  <p:tag name="HEIGHT" val="70.15313"/>
</p:tagLst>
</file>

<file path=ppt/tags/tag434.xml><?xml version="1.0" encoding="utf-8"?>
<p:tagLst xmlns:a="http://schemas.openxmlformats.org/drawingml/2006/main" xmlns:r="http://schemas.openxmlformats.org/officeDocument/2006/relationships" xmlns:p="http://schemas.openxmlformats.org/presentationml/2006/main">
  <p:tag name="MTTABLE" val="Cell"/>
  <p:tag name="MTNUMBER" val="0.964041008131598"/>
  <p:tag name="LEFT" val="45"/>
  <p:tag name="WIDTH" val="276.6667"/>
  <p:tag name="TOP" val="379.8469"/>
  <p:tag name="HEIGHT" val="70.15313"/>
</p:tagLst>
</file>

<file path=ppt/tags/tag435.xml><?xml version="1.0" encoding="utf-8"?>
<p:tagLst xmlns:a="http://schemas.openxmlformats.org/drawingml/2006/main" xmlns:r="http://schemas.openxmlformats.org/officeDocument/2006/relationships" xmlns:p="http://schemas.openxmlformats.org/presentationml/2006/main">
  <p:tag name="MTTABLE" val="Cell"/>
  <p:tag name="MTNUMBER" val="0.964041008131598"/>
  <p:tag name="LEFT" val="341.6667"/>
  <p:tag name="WIDTH" val="276.6667"/>
  <p:tag name="TOP" val="139.3875"/>
  <p:tag name="HEIGHT" val="70.15313"/>
</p:tagLst>
</file>

<file path=ppt/tags/tag436.xml><?xml version="1.0" encoding="utf-8"?>
<p:tagLst xmlns:a="http://schemas.openxmlformats.org/drawingml/2006/main" xmlns:r="http://schemas.openxmlformats.org/officeDocument/2006/relationships" xmlns:p="http://schemas.openxmlformats.org/presentationml/2006/main">
  <p:tag name="MTTABLE" val="Cell"/>
  <p:tag name="MTNUMBER" val="0.964041008131598"/>
  <p:tag name="LEFT" val="341.6667"/>
  <p:tag name="WIDTH" val="276.6667"/>
  <p:tag name="TOP" val="219.5406"/>
  <p:tag name="HEIGHT" val="70.15313"/>
</p:tagLst>
</file>

<file path=ppt/tags/tag437.xml><?xml version="1.0" encoding="utf-8"?>
<p:tagLst xmlns:a="http://schemas.openxmlformats.org/drawingml/2006/main" xmlns:r="http://schemas.openxmlformats.org/officeDocument/2006/relationships" xmlns:p="http://schemas.openxmlformats.org/presentationml/2006/main">
  <p:tag name="MTTABLE" val="Cell"/>
  <p:tag name="MTNUMBER" val="0.964041008131598"/>
  <p:tag name="LEFT" val="341.6667"/>
  <p:tag name="WIDTH" val="276.6667"/>
  <p:tag name="TOP" val="299.6938"/>
  <p:tag name="HEIGHT" val="70.15313"/>
</p:tagLst>
</file>

<file path=ppt/tags/tag438.xml><?xml version="1.0" encoding="utf-8"?>
<p:tagLst xmlns:a="http://schemas.openxmlformats.org/drawingml/2006/main" xmlns:r="http://schemas.openxmlformats.org/officeDocument/2006/relationships" xmlns:p="http://schemas.openxmlformats.org/presentationml/2006/main">
  <p:tag name="MTTABLE" val="Cell"/>
  <p:tag name="MTNUMBER" val="0.964041008131598"/>
  <p:tag name="LEFT" val="341.6667"/>
  <p:tag name="WIDTH" val="276.6667"/>
  <p:tag name="TOP" val="379.8469"/>
  <p:tag name="HEIGHT" val="70.15313"/>
</p:tagLst>
</file>

<file path=ppt/tags/tag439.xml><?xml version="1.0" encoding="utf-8"?>
<p:tagLst xmlns:a="http://schemas.openxmlformats.org/drawingml/2006/main" xmlns:r="http://schemas.openxmlformats.org/officeDocument/2006/relationships" xmlns:p="http://schemas.openxmlformats.org/presentationml/2006/main">
  <p:tag name="MTTABLE" val="HTitleDiv"/>
  <p:tag name="MTNUMBER" val="0.964041008131598"/>
</p:tagLst>
</file>

<file path=ppt/tags/tag44.xml><?xml version="1.0" encoding="utf-8"?>
<p:tagLst xmlns:a="http://schemas.openxmlformats.org/drawingml/2006/main" xmlns:r="http://schemas.openxmlformats.org/officeDocument/2006/relationships" xmlns:p="http://schemas.openxmlformats.org/presentationml/2006/main">
  <p:tag name="SHAPENAME" val="5. Source"/>
</p:tagLst>
</file>

<file path=ppt/tags/tag440.xml><?xml version="1.0" encoding="utf-8"?>
<p:tagLst xmlns:a="http://schemas.openxmlformats.org/drawingml/2006/main" xmlns:r="http://schemas.openxmlformats.org/officeDocument/2006/relationships" xmlns:p="http://schemas.openxmlformats.org/presentationml/2006/main">
  <p:tag name="MTTABLE" val="HTitleDiv"/>
  <p:tag name="MTNUMBER" val="0.964041008131598"/>
</p:tagLst>
</file>

<file path=ppt/tags/tag441.xml><?xml version="1.0" encoding="utf-8"?>
<p:tagLst xmlns:a="http://schemas.openxmlformats.org/drawingml/2006/main" xmlns:r="http://schemas.openxmlformats.org/officeDocument/2006/relationships" xmlns:p="http://schemas.openxmlformats.org/presentationml/2006/main">
  <p:tag name="MTTABLE" val="HTitleDiv"/>
  <p:tag name="MTNUMBER" val="0.964041008131598"/>
</p:tagLst>
</file>

<file path=ppt/tags/tag442.xml><?xml version="1.0" encoding="utf-8"?>
<p:tagLst xmlns:a="http://schemas.openxmlformats.org/drawingml/2006/main" xmlns:r="http://schemas.openxmlformats.org/officeDocument/2006/relationships" xmlns:p="http://schemas.openxmlformats.org/presentationml/2006/main">
  <p:tag name="NAME" val="LineSeparatorDefault"/>
</p:tagLst>
</file>

<file path=ppt/tags/tag443.xml><?xml version="1.0" encoding="utf-8"?>
<p:tagLst xmlns:a="http://schemas.openxmlformats.org/drawingml/2006/main" xmlns:r="http://schemas.openxmlformats.org/officeDocument/2006/relationships" xmlns:p="http://schemas.openxmlformats.org/presentationml/2006/main">
  <p:tag name="THINKCELLSHAPEDONOTDELETE" val="tXLZiQBx9RC1WXq93_Wn9hg"/>
</p:tagLst>
</file>

<file path=ppt/tags/tag444.xml><?xml version="1.0" encoding="utf-8"?>
<p:tagLst xmlns:a="http://schemas.openxmlformats.org/drawingml/2006/main" xmlns:r="http://schemas.openxmlformats.org/officeDocument/2006/relationships" xmlns:p="http://schemas.openxmlformats.org/presentationml/2006/main">
  <p:tag name="THINKCELLSHAPEDONOTDELETE" val="t_eS1lETC1pBXySsmy4TagQ"/>
</p:tagLst>
</file>

<file path=ppt/tags/tag445.xml><?xml version="1.0" encoding="utf-8"?>
<p:tagLst xmlns:a="http://schemas.openxmlformats.org/drawingml/2006/main" xmlns:r="http://schemas.openxmlformats.org/officeDocument/2006/relationships" xmlns:p="http://schemas.openxmlformats.org/presentationml/2006/main">
  <p:tag name="THINKCELLSHAPEDONOTDELETE" val="ty.avhiXlq8Q19byKqfs.CQ"/>
</p:tagLst>
</file>

<file path=ppt/tags/tag446.xml><?xml version="1.0" encoding="utf-8"?>
<p:tagLst xmlns:a="http://schemas.openxmlformats.org/drawingml/2006/main" xmlns:r="http://schemas.openxmlformats.org/officeDocument/2006/relationships" xmlns:p="http://schemas.openxmlformats.org/presentationml/2006/main">
  <p:tag name="THINKCELLSHAPEDONOTDELETE" val="tpLtiQmJ1Pj_YAHmIZindnw"/>
</p:tagLst>
</file>

<file path=ppt/tags/tag447.xml><?xml version="1.0" encoding="utf-8"?>
<p:tagLst xmlns:a="http://schemas.openxmlformats.org/drawingml/2006/main" xmlns:r="http://schemas.openxmlformats.org/officeDocument/2006/relationships" xmlns:p="http://schemas.openxmlformats.org/presentationml/2006/main">
  <p:tag name="THINKCELLSHAPEDONOTDELETE" val="t6cPdRnEBskm4pkKfD52i6g"/>
</p:tagLst>
</file>

<file path=ppt/tags/tag448.xml><?xml version="1.0" encoding="utf-8"?>
<p:tagLst xmlns:a="http://schemas.openxmlformats.org/drawingml/2006/main" xmlns:r="http://schemas.openxmlformats.org/officeDocument/2006/relationships" xmlns:p="http://schemas.openxmlformats.org/presentationml/2006/main">
  <p:tag name="THINKCELLSHAPEDONOTDELETE" val="tQ2loj4LfmmnOraQcUFXPhg"/>
</p:tagLst>
</file>

<file path=ppt/tags/tag449.xml><?xml version="1.0" encoding="utf-8"?>
<p:tagLst xmlns:a="http://schemas.openxmlformats.org/drawingml/2006/main" xmlns:r="http://schemas.openxmlformats.org/officeDocument/2006/relationships" xmlns:p="http://schemas.openxmlformats.org/presentationml/2006/main">
  <p:tag name="THINKCELLSHAPEDONOTDELETE" val="tBOi7B32lhjDKSV9Yp65X4g"/>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0.xml><?xml version="1.0" encoding="utf-8"?>
<p:tagLst xmlns:a="http://schemas.openxmlformats.org/drawingml/2006/main" xmlns:r="http://schemas.openxmlformats.org/officeDocument/2006/relationships" xmlns:p="http://schemas.openxmlformats.org/presentationml/2006/main">
  <p:tag name="THINKCELLSHAPEDONOTDELETE" val="ttbJXFxeIPvFM5j_UUVzb2Q"/>
</p:tagLst>
</file>

<file path=ppt/tags/tag451.xml><?xml version="1.0" encoding="utf-8"?>
<p:tagLst xmlns:a="http://schemas.openxmlformats.org/drawingml/2006/main" xmlns:r="http://schemas.openxmlformats.org/officeDocument/2006/relationships" xmlns:p="http://schemas.openxmlformats.org/presentationml/2006/main">
  <p:tag name="THINKCELLSHAPEDONOTDELETE" val="t2VDjaZm3z6gD6avEWEdsjQ"/>
</p:tagLst>
</file>

<file path=ppt/tags/tag452.xml><?xml version="1.0" encoding="utf-8"?>
<p:tagLst xmlns:a="http://schemas.openxmlformats.org/drawingml/2006/main" xmlns:r="http://schemas.openxmlformats.org/officeDocument/2006/relationships" xmlns:p="http://schemas.openxmlformats.org/presentationml/2006/main">
  <p:tag name="THINKCELLSHAPEDONOTDELETE" val="tVNZNLLyVQYZ6tw.8Uk8mgQ"/>
</p:tagLst>
</file>

<file path=ppt/tags/tag453.xml><?xml version="1.0" encoding="utf-8"?>
<p:tagLst xmlns:a="http://schemas.openxmlformats.org/drawingml/2006/main" xmlns:r="http://schemas.openxmlformats.org/officeDocument/2006/relationships" xmlns:p="http://schemas.openxmlformats.org/presentationml/2006/main">
  <p:tag name="THINKCELLSHAPEDONOTDELETE" val="t6w3PGODL7VoXKLewrCSSHg"/>
</p:tagLst>
</file>

<file path=ppt/tags/tag454.xml><?xml version="1.0" encoding="utf-8"?>
<p:tagLst xmlns:a="http://schemas.openxmlformats.org/drawingml/2006/main" xmlns:r="http://schemas.openxmlformats.org/officeDocument/2006/relationships" xmlns:p="http://schemas.openxmlformats.org/presentationml/2006/main">
  <p:tag name="THINKCELLSHAPEDONOTDELETE" val="tSroKRizxLQXns2XW8wzDJQ"/>
</p:tagLst>
</file>

<file path=ppt/tags/tag455.xml><?xml version="1.0" encoding="utf-8"?>
<p:tagLst xmlns:a="http://schemas.openxmlformats.org/drawingml/2006/main" xmlns:r="http://schemas.openxmlformats.org/officeDocument/2006/relationships" xmlns:p="http://schemas.openxmlformats.org/presentationml/2006/main">
  <p:tag name="THINKCELLSHAPEDONOTDELETE" val="tM.XFU9A5RqRkpQIar9nbCg"/>
</p:tagLst>
</file>

<file path=ppt/tags/tag456.xml><?xml version="1.0" encoding="utf-8"?>
<p:tagLst xmlns:a="http://schemas.openxmlformats.org/drawingml/2006/main" xmlns:r="http://schemas.openxmlformats.org/officeDocument/2006/relationships" xmlns:p="http://schemas.openxmlformats.org/presentationml/2006/main">
  <p:tag name="THINKCELLSHAPEDONOTDELETE" val="taLCg0fsW.mjluAi3jh66ZQ"/>
</p:tagLst>
</file>

<file path=ppt/tags/tag457.xml><?xml version="1.0" encoding="utf-8"?>
<p:tagLst xmlns:a="http://schemas.openxmlformats.org/drawingml/2006/main" xmlns:r="http://schemas.openxmlformats.org/officeDocument/2006/relationships" xmlns:p="http://schemas.openxmlformats.org/presentationml/2006/main">
  <p:tag name="THINKCELLSHAPEDONOTDELETE" val="tX4t5vY8xBsdj8f8kGHUvoQ"/>
</p:tagLst>
</file>

<file path=ppt/tags/tag458.xml><?xml version="1.0" encoding="utf-8"?>
<p:tagLst xmlns:a="http://schemas.openxmlformats.org/drawingml/2006/main" xmlns:r="http://schemas.openxmlformats.org/officeDocument/2006/relationships" xmlns:p="http://schemas.openxmlformats.org/presentationml/2006/main">
  <p:tag name="THINKCELLSHAPEDONOTDELETE" val="tadbxoWRb9V_6j.3K.3p7AA"/>
</p:tagLst>
</file>

<file path=ppt/tags/tag459.xml><?xml version="1.0" encoding="utf-8"?>
<p:tagLst xmlns:a="http://schemas.openxmlformats.org/drawingml/2006/main" xmlns:r="http://schemas.openxmlformats.org/officeDocument/2006/relationships" xmlns:p="http://schemas.openxmlformats.org/presentationml/2006/main">
  <p:tag name="THINKCELLSHAPEDONOTDELETE" val="tHniQcu01Xom_EjLdc6EAlA"/>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rZ96ctUUqJsGDCugslwBCg"/>
</p:tagLst>
</file>

<file path=ppt/tags/tag460.xml><?xml version="1.0" encoding="utf-8"?>
<p:tagLst xmlns:a="http://schemas.openxmlformats.org/drawingml/2006/main" xmlns:r="http://schemas.openxmlformats.org/officeDocument/2006/relationships" xmlns:p="http://schemas.openxmlformats.org/presentationml/2006/main">
  <p:tag name="THINKCELLSHAPEDONOTDELETE" val="t3M.PcIWdvw_lmDN1v9m9Xw"/>
</p:tagLst>
</file>

<file path=ppt/tags/tag461.xml><?xml version="1.0" encoding="utf-8"?>
<p:tagLst xmlns:a="http://schemas.openxmlformats.org/drawingml/2006/main" xmlns:r="http://schemas.openxmlformats.org/officeDocument/2006/relationships" xmlns:p="http://schemas.openxmlformats.org/presentationml/2006/main">
  <p:tag name="THINKCELLSHAPEDONOTDELETE" val="t_KwmRH3AKuVWlirw3ws.LQ"/>
</p:tagLst>
</file>

<file path=ppt/tags/tag462.xml><?xml version="1.0" encoding="utf-8"?>
<p:tagLst xmlns:a="http://schemas.openxmlformats.org/drawingml/2006/main" xmlns:r="http://schemas.openxmlformats.org/officeDocument/2006/relationships" xmlns:p="http://schemas.openxmlformats.org/presentationml/2006/main">
  <p:tag name="SHAPENAME" val="4. Footnote"/>
</p:tagLst>
</file>

<file path=ppt/tags/tag463.xml><?xml version="1.0" encoding="utf-8"?>
<p:tagLst xmlns:a="http://schemas.openxmlformats.org/drawingml/2006/main" xmlns:r="http://schemas.openxmlformats.org/officeDocument/2006/relationships" xmlns:p="http://schemas.openxmlformats.org/presentationml/2006/main">
  <p:tag name="THINKCELLSHAPEDONOTDELETE" val="tuZPk3AQssEqz5q0J7Vgogw"/>
</p:tagLst>
</file>

<file path=ppt/tags/tag464.xml><?xml version="1.0" encoding="utf-8"?>
<p:tagLst xmlns:a="http://schemas.openxmlformats.org/drawingml/2006/main" xmlns:r="http://schemas.openxmlformats.org/officeDocument/2006/relationships" xmlns:p="http://schemas.openxmlformats.org/presentationml/2006/main">
  <p:tag name="THINKCELLSHAPEDONOTDELETE" val="tQVCKpTNYBINNimImbVfiSw"/>
</p:tagLst>
</file>

<file path=ppt/tags/tag465.xml><?xml version="1.0" encoding="utf-8"?>
<p:tagLst xmlns:a="http://schemas.openxmlformats.org/drawingml/2006/main" xmlns:r="http://schemas.openxmlformats.org/officeDocument/2006/relationships" xmlns:p="http://schemas.openxmlformats.org/presentationml/2006/main">
  <p:tag name="NAME" val="LineSeparatorDefault"/>
</p:tagLst>
</file>

<file path=ppt/tags/tag466.xml><?xml version="1.0" encoding="utf-8"?>
<p:tagLst xmlns:a="http://schemas.openxmlformats.org/drawingml/2006/main" xmlns:r="http://schemas.openxmlformats.org/officeDocument/2006/relationships" xmlns:p="http://schemas.openxmlformats.org/presentationml/2006/main">
  <p:tag name="NAME" val="LineSeparatorDefault"/>
</p:tagLst>
</file>

<file path=ppt/tags/tag467.xml><?xml version="1.0" encoding="utf-8"?>
<p:tagLst xmlns:a="http://schemas.openxmlformats.org/drawingml/2006/main" xmlns:r="http://schemas.openxmlformats.org/officeDocument/2006/relationships" xmlns:p="http://schemas.openxmlformats.org/presentationml/2006/main">
  <p:tag name="NAME" val="LineSeparatorDefault"/>
</p:tagLst>
</file>

<file path=ppt/tags/tag468.xml><?xml version="1.0" encoding="utf-8"?>
<p:tagLst xmlns:a="http://schemas.openxmlformats.org/drawingml/2006/main" xmlns:r="http://schemas.openxmlformats.org/officeDocument/2006/relationships" xmlns:p="http://schemas.openxmlformats.org/presentationml/2006/main">
  <p:tag name="NAME" val="LineSeparatorDefault"/>
</p:tagLst>
</file>

<file path=ppt/tags/tag469.xml><?xml version="1.0" encoding="utf-8"?>
<p:tagLst xmlns:a="http://schemas.openxmlformats.org/drawingml/2006/main" xmlns:r="http://schemas.openxmlformats.org/officeDocument/2006/relationships" xmlns:p="http://schemas.openxmlformats.org/presentationml/2006/main">
  <p:tag name="NAME" val="LineSeparatorDefault"/>
</p:tagLst>
</file>

<file path=ppt/tags/tag4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70.xml><?xml version="1.0" encoding="utf-8"?>
<p:tagLst xmlns:a="http://schemas.openxmlformats.org/drawingml/2006/main" xmlns:r="http://schemas.openxmlformats.org/officeDocument/2006/relationships" xmlns:p="http://schemas.openxmlformats.org/presentationml/2006/main">
  <p:tag name="NAME" val="LineSeparatorDefault"/>
</p:tagLst>
</file>

<file path=ppt/tags/tag4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2.xml><?xml version="1.0" encoding="utf-8"?>
<p:tagLst xmlns:a="http://schemas.openxmlformats.org/drawingml/2006/main" xmlns:r="http://schemas.openxmlformats.org/officeDocument/2006/relationships" xmlns:p="http://schemas.openxmlformats.org/presentationml/2006/main">
  <p:tag name="SHAPENAME" val="5. Source"/>
</p:tagLst>
</file>

<file path=ppt/tags/tag473.xml><?xml version="1.0" encoding="utf-8"?>
<p:tagLst xmlns:a="http://schemas.openxmlformats.org/drawingml/2006/main" xmlns:r="http://schemas.openxmlformats.org/officeDocument/2006/relationships" xmlns:p="http://schemas.openxmlformats.org/presentationml/2006/main">
  <p:tag name="THINKCELLSHAPEDONOTDELETE" val="t1UdeT029ogUPvYTx18OQtA"/>
</p:tagLst>
</file>

<file path=ppt/tags/tag474.xml><?xml version="1.0" encoding="utf-8"?>
<p:tagLst xmlns:a="http://schemas.openxmlformats.org/drawingml/2006/main" xmlns:r="http://schemas.openxmlformats.org/officeDocument/2006/relationships" xmlns:p="http://schemas.openxmlformats.org/presentationml/2006/main">
  <p:tag name="THINKCELLSHAPEDONOTDELETE" val="tSVHKtCNV1JN9w6uuadIFgA"/>
</p:tagLst>
</file>

<file path=ppt/tags/tag475.xml><?xml version="1.0" encoding="utf-8"?>
<p:tagLst xmlns:a="http://schemas.openxmlformats.org/drawingml/2006/main" xmlns:r="http://schemas.openxmlformats.org/officeDocument/2006/relationships" xmlns:p="http://schemas.openxmlformats.org/presentationml/2006/main">
  <p:tag name="THINKCELLSHAPEDONOTDELETE" val="t3.OuhV1pn_dmrmBbY9Cb0g"/>
</p:tagLst>
</file>

<file path=ppt/tags/tag476.xml><?xml version="1.0" encoding="utf-8"?>
<p:tagLst xmlns:a="http://schemas.openxmlformats.org/drawingml/2006/main" xmlns:r="http://schemas.openxmlformats.org/officeDocument/2006/relationships" xmlns:p="http://schemas.openxmlformats.org/presentationml/2006/main">
  <p:tag name="THINKCELLSHAPEDONOTDELETE" val="to75db69U7Gmm1x.wyAKwEQ"/>
</p:tagLst>
</file>

<file path=ppt/tags/tag477.xml><?xml version="1.0" encoding="utf-8"?>
<p:tagLst xmlns:a="http://schemas.openxmlformats.org/drawingml/2006/main" xmlns:r="http://schemas.openxmlformats.org/officeDocument/2006/relationships" xmlns:p="http://schemas.openxmlformats.org/presentationml/2006/main">
  <p:tag name="THINKCELLSHAPEDONOTDELETE" val="tOy5ECSVOZ46LTyr_MG9U6Q"/>
</p:tagLst>
</file>

<file path=ppt/tags/tag478.xml><?xml version="1.0" encoding="utf-8"?>
<p:tagLst xmlns:a="http://schemas.openxmlformats.org/drawingml/2006/main" xmlns:r="http://schemas.openxmlformats.org/officeDocument/2006/relationships" xmlns:p="http://schemas.openxmlformats.org/presentationml/2006/main">
  <p:tag name="THINKCELLSHAPEDONOTDELETE" val="tW4710VBgGJyOzUEMo5GGSQ"/>
</p:tagLst>
</file>

<file path=ppt/tags/tag479.xml><?xml version="1.0" encoding="utf-8"?>
<p:tagLst xmlns:a="http://schemas.openxmlformats.org/drawingml/2006/main" xmlns:r="http://schemas.openxmlformats.org/officeDocument/2006/relationships" xmlns:p="http://schemas.openxmlformats.org/presentationml/2006/main">
  <p:tag name="THINKCELLSHAPEDONOTDELETE" val="tv3tvHoEQj1FTuvZrzKOfpA"/>
</p:tagLst>
</file>

<file path=ppt/tags/tag4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80.xml><?xml version="1.0" encoding="utf-8"?>
<p:tagLst xmlns:a="http://schemas.openxmlformats.org/drawingml/2006/main" xmlns:r="http://schemas.openxmlformats.org/officeDocument/2006/relationships" xmlns:p="http://schemas.openxmlformats.org/presentationml/2006/main">
  <p:tag name="THINKCELLSHAPEDONOTDELETE" val="tJfTekaRsTqOAbai4DXyniA"/>
</p:tagLst>
</file>

<file path=ppt/tags/tag481.xml><?xml version="1.0" encoding="utf-8"?>
<p:tagLst xmlns:a="http://schemas.openxmlformats.org/drawingml/2006/main" xmlns:r="http://schemas.openxmlformats.org/officeDocument/2006/relationships" xmlns:p="http://schemas.openxmlformats.org/presentationml/2006/main">
  <p:tag name="THINKCELLSHAPEDONOTDELETE" val="t2RFx945qXyGF.L3e0LjKDA"/>
</p:tagLst>
</file>

<file path=ppt/tags/tag482.xml><?xml version="1.0" encoding="utf-8"?>
<p:tagLst xmlns:a="http://schemas.openxmlformats.org/drawingml/2006/main" xmlns:r="http://schemas.openxmlformats.org/officeDocument/2006/relationships" xmlns:p="http://schemas.openxmlformats.org/presentationml/2006/main">
  <p:tag name="THINKCELLSHAPEDONOTDELETE" val="tNP_XqYAgUxfC9XC2fZPWyA"/>
</p:tagLst>
</file>

<file path=ppt/tags/tag483.xml><?xml version="1.0" encoding="utf-8"?>
<p:tagLst xmlns:a="http://schemas.openxmlformats.org/drawingml/2006/main" xmlns:r="http://schemas.openxmlformats.org/officeDocument/2006/relationships" xmlns:p="http://schemas.openxmlformats.org/presentationml/2006/main">
  <p:tag name="THINKCELLSHAPEDONOTDELETE" val="ttn4vb9AeBfdgjqiyLStBHQ"/>
</p:tagLst>
</file>

<file path=ppt/tags/tag484.xml><?xml version="1.0" encoding="utf-8"?>
<p:tagLst xmlns:a="http://schemas.openxmlformats.org/drawingml/2006/main" xmlns:r="http://schemas.openxmlformats.org/officeDocument/2006/relationships" xmlns:p="http://schemas.openxmlformats.org/presentationml/2006/main">
  <p:tag name="THINKCELLSHAPEDONOTDELETE" val="tZ1Ypai1iPz7GcSlUFH_uVw"/>
</p:tagLst>
</file>

<file path=ppt/tags/tag485.xml><?xml version="1.0" encoding="utf-8"?>
<p:tagLst xmlns:a="http://schemas.openxmlformats.org/drawingml/2006/main" xmlns:r="http://schemas.openxmlformats.org/officeDocument/2006/relationships" xmlns:p="http://schemas.openxmlformats.org/presentationml/2006/main">
  <p:tag name="THINKCELLSHAPEDONOTDELETE" val="tnZJubqKLAHSuDKOgiCDF_A"/>
</p:tagLst>
</file>

<file path=ppt/tags/tag486.xml><?xml version="1.0" encoding="utf-8"?>
<p:tagLst xmlns:a="http://schemas.openxmlformats.org/drawingml/2006/main" xmlns:r="http://schemas.openxmlformats.org/officeDocument/2006/relationships" xmlns:p="http://schemas.openxmlformats.org/presentationml/2006/main">
  <p:tag name="THINKCELLSHAPEDONOTDELETE" val="tC1xtvdnt7TOxk3O8Xri6pA"/>
</p:tagLst>
</file>

<file path=ppt/tags/tag487.xml><?xml version="1.0" encoding="utf-8"?>
<p:tagLst xmlns:a="http://schemas.openxmlformats.org/drawingml/2006/main" xmlns:r="http://schemas.openxmlformats.org/officeDocument/2006/relationships" xmlns:p="http://schemas.openxmlformats.org/presentationml/2006/main">
  <p:tag name="THINKCELLSHAPEDONOTDELETE" val="tgraii0BYOKBWKgQOoFj4PA"/>
</p:tagLst>
</file>

<file path=ppt/tags/tag488.xml><?xml version="1.0" encoding="utf-8"?>
<p:tagLst xmlns:a="http://schemas.openxmlformats.org/drawingml/2006/main" xmlns:r="http://schemas.openxmlformats.org/officeDocument/2006/relationships" xmlns:p="http://schemas.openxmlformats.org/presentationml/2006/main">
  <p:tag name="THINKCELLSHAPEDONOTDELETE" val="tOUdIw_9Q3GfI3vyk5Ttzaw"/>
</p:tagLst>
</file>

<file path=ppt/tags/tag489.xml><?xml version="1.0" encoding="utf-8"?>
<p:tagLst xmlns:a="http://schemas.openxmlformats.org/drawingml/2006/main" xmlns:r="http://schemas.openxmlformats.org/officeDocument/2006/relationships" xmlns:p="http://schemas.openxmlformats.org/presentationml/2006/main">
  <p:tag name="THINKCELLSHAPEDONOTDELETE" val="tjLGZt8eApYPlbd6tbIWKuA"/>
</p:tagLst>
</file>

<file path=ppt/tags/tag49.xml><?xml version="1.0" encoding="utf-8"?>
<p:tagLst xmlns:a="http://schemas.openxmlformats.org/drawingml/2006/main" xmlns:r="http://schemas.openxmlformats.org/officeDocument/2006/relationships" xmlns:p="http://schemas.openxmlformats.org/presentationml/2006/main">
  <p:tag name="SHAPENAME" val="5. Source"/>
</p:tagLst>
</file>

<file path=ppt/tags/tag490.xml><?xml version="1.0" encoding="utf-8"?>
<p:tagLst xmlns:a="http://schemas.openxmlformats.org/drawingml/2006/main" xmlns:r="http://schemas.openxmlformats.org/officeDocument/2006/relationships" xmlns:p="http://schemas.openxmlformats.org/presentationml/2006/main">
  <p:tag name="THINKCELLSHAPEDONOTDELETE" val="tlJIVeK.NxL.iOVynTKzmlQ"/>
</p:tagLst>
</file>

<file path=ppt/tags/tag491.xml><?xml version="1.0" encoding="utf-8"?>
<p:tagLst xmlns:a="http://schemas.openxmlformats.org/drawingml/2006/main" xmlns:r="http://schemas.openxmlformats.org/officeDocument/2006/relationships" xmlns:p="http://schemas.openxmlformats.org/presentationml/2006/main">
  <p:tag name="THINKCELLSHAPEDONOTDELETE" val="tW6Q4isTDpxnOxWww3_NhjA"/>
</p:tagLst>
</file>

<file path=ppt/tags/tag492.xml><?xml version="1.0" encoding="utf-8"?>
<p:tagLst xmlns:a="http://schemas.openxmlformats.org/drawingml/2006/main" xmlns:r="http://schemas.openxmlformats.org/officeDocument/2006/relationships" xmlns:p="http://schemas.openxmlformats.org/presentationml/2006/main">
  <p:tag name="THINKCELLSHAPEDONOTDELETE" val="teMYmJjV5RYoX4hou_NzV8Q"/>
</p:tagLst>
</file>

<file path=ppt/tags/tag493.xml><?xml version="1.0" encoding="utf-8"?>
<p:tagLst xmlns:a="http://schemas.openxmlformats.org/drawingml/2006/main" xmlns:r="http://schemas.openxmlformats.org/officeDocument/2006/relationships" xmlns:p="http://schemas.openxmlformats.org/presentationml/2006/main">
  <p:tag name="THINKCELLSHAPEDONOTDELETE" val="t4GPXj48Pyr3QkNyPge_lJw"/>
</p:tagLst>
</file>

<file path=ppt/tags/tag494.xml><?xml version="1.0" encoding="utf-8"?>
<p:tagLst xmlns:a="http://schemas.openxmlformats.org/drawingml/2006/main" xmlns:r="http://schemas.openxmlformats.org/officeDocument/2006/relationships" xmlns:p="http://schemas.openxmlformats.org/presentationml/2006/main">
  <p:tag name="THINKCELLSHAPEDONOTDELETE" val="tRjEKA27R6qSI8Sc_u_86jw"/>
</p:tagLst>
</file>

<file path=ppt/tags/tag495.xml><?xml version="1.0" encoding="utf-8"?>
<p:tagLst xmlns:a="http://schemas.openxmlformats.org/drawingml/2006/main" xmlns:r="http://schemas.openxmlformats.org/officeDocument/2006/relationships" xmlns:p="http://schemas.openxmlformats.org/presentationml/2006/main">
  <p:tag name="THINKCELLSHAPEDONOTDELETE" val="tCwyHmJWF93.P3Zp0c4T1pQ"/>
</p:tagLst>
</file>

<file path=ppt/tags/tag496.xml><?xml version="1.0" encoding="utf-8"?>
<p:tagLst xmlns:a="http://schemas.openxmlformats.org/drawingml/2006/main" xmlns:r="http://schemas.openxmlformats.org/officeDocument/2006/relationships" xmlns:p="http://schemas.openxmlformats.org/presentationml/2006/main">
  <p:tag name="THINKCELLSHAPEDONOTDELETE" val="txpdltLE94FmPHjsbuPePHw"/>
</p:tagLst>
</file>

<file path=ppt/tags/tag497.xml><?xml version="1.0" encoding="utf-8"?>
<p:tagLst xmlns:a="http://schemas.openxmlformats.org/drawingml/2006/main" xmlns:r="http://schemas.openxmlformats.org/officeDocument/2006/relationships" xmlns:p="http://schemas.openxmlformats.org/presentationml/2006/main">
  <p:tag name="THINKCELLSHAPEDONOTDELETE" val="t3VojGN9Az9qisEF8I6JHLA"/>
</p:tagLst>
</file>

<file path=ppt/tags/tag498.xml><?xml version="1.0" encoding="utf-8"?>
<p:tagLst xmlns:a="http://schemas.openxmlformats.org/drawingml/2006/main" xmlns:r="http://schemas.openxmlformats.org/officeDocument/2006/relationships" xmlns:p="http://schemas.openxmlformats.org/presentationml/2006/main">
  <p:tag name="THINKCELLSHAPEDONOTDELETE" val="trRPoNMMYQC2wvCb7B8OHzw"/>
</p:tagLst>
</file>

<file path=ppt/tags/tag499.xml><?xml version="1.0" encoding="utf-8"?>
<p:tagLst xmlns:a="http://schemas.openxmlformats.org/drawingml/2006/main" xmlns:r="http://schemas.openxmlformats.org/officeDocument/2006/relationships" xmlns:p="http://schemas.openxmlformats.org/presentationml/2006/main">
  <p:tag name="THINKCELLSHAPEDONOTDELETE" val="t5ImabHWcvKplHY322jlsfQ"/>
</p:tagLst>
</file>

<file path=ppt/tags/tag5.xml><?xml version="1.0" encoding="utf-8"?>
<p:tagLst xmlns:a="http://schemas.openxmlformats.org/drawingml/2006/main" xmlns:r="http://schemas.openxmlformats.org/officeDocument/2006/relationships" xmlns:p="http://schemas.openxmlformats.org/presentationml/2006/main">
  <p:tag name="NAME" val="ACET"/>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0.xml><?xml version="1.0" encoding="utf-8"?>
<p:tagLst xmlns:a="http://schemas.openxmlformats.org/drawingml/2006/main" xmlns:r="http://schemas.openxmlformats.org/officeDocument/2006/relationships" xmlns:p="http://schemas.openxmlformats.org/presentationml/2006/main">
  <p:tag name="THINKCELLSHAPEDONOTDELETE" val="tRvHy5ML9dbnT1T7cfEnD9g"/>
</p:tagLst>
</file>

<file path=ppt/tags/tag501.xml><?xml version="1.0" encoding="utf-8"?>
<p:tagLst xmlns:a="http://schemas.openxmlformats.org/drawingml/2006/main" xmlns:r="http://schemas.openxmlformats.org/officeDocument/2006/relationships" xmlns:p="http://schemas.openxmlformats.org/presentationml/2006/main">
  <p:tag name="THINKCELLSHAPEDONOTDELETE" val="tJ.XKubbeVtNf.T8.e7UVgw"/>
</p:tagLst>
</file>

<file path=ppt/tags/tag502.xml><?xml version="1.0" encoding="utf-8"?>
<p:tagLst xmlns:a="http://schemas.openxmlformats.org/drawingml/2006/main" xmlns:r="http://schemas.openxmlformats.org/officeDocument/2006/relationships" xmlns:p="http://schemas.openxmlformats.org/presentationml/2006/main">
  <p:tag name="THINKCELLSHAPEDONOTDELETE" val="tRrarH3jo5rct5vOpjTPuWA"/>
</p:tagLst>
</file>

<file path=ppt/tags/tag503.xml><?xml version="1.0" encoding="utf-8"?>
<p:tagLst xmlns:a="http://schemas.openxmlformats.org/drawingml/2006/main" xmlns:r="http://schemas.openxmlformats.org/officeDocument/2006/relationships" xmlns:p="http://schemas.openxmlformats.org/presentationml/2006/main">
  <p:tag name="THINKCELLSHAPEDONOTDELETE" val="ttkgi6DKe5KXRCtalWr2tpw"/>
</p:tagLst>
</file>

<file path=ppt/tags/tag504.xml><?xml version="1.0" encoding="utf-8"?>
<p:tagLst xmlns:a="http://schemas.openxmlformats.org/drawingml/2006/main" xmlns:r="http://schemas.openxmlformats.org/officeDocument/2006/relationships" xmlns:p="http://schemas.openxmlformats.org/presentationml/2006/main">
  <p:tag name="THINKCELLSHAPEDONOTDELETE" val="torwjy6vhHzirZOF8LM8Mnw"/>
</p:tagLst>
</file>

<file path=ppt/tags/tag505.xml><?xml version="1.0" encoding="utf-8"?>
<p:tagLst xmlns:a="http://schemas.openxmlformats.org/drawingml/2006/main" xmlns:r="http://schemas.openxmlformats.org/officeDocument/2006/relationships" xmlns:p="http://schemas.openxmlformats.org/presentationml/2006/main">
  <p:tag name="THINKCELLSHAPEDONOTDELETE" val="tILo0QvcOFtyWpSdec0sy3Q"/>
</p:tagLst>
</file>

<file path=ppt/tags/tag506.xml><?xml version="1.0" encoding="utf-8"?>
<p:tagLst xmlns:a="http://schemas.openxmlformats.org/drawingml/2006/main" xmlns:r="http://schemas.openxmlformats.org/officeDocument/2006/relationships" xmlns:p="http://schemas.openxmlformats.org/presentationml/2006/main">
  <p:tag name="THINKCELLSHAPEDONOTDELETE" val="tUvje1p_Os.3bBrfojYtiZg"/>
</p:tagLst>
</file>

<file path=ppt/tags/tag507.xml><?xml version="1.0" encoding="utf-8"?>
<p:tagLst xmlns:a="http://schemas.openxmlformats.org/drawingml/2006/main" xmlns:r="http://schemas.openxmlformats.org/officeDocument/2006/relationships" xmlns:p="http://schemas.openxmlformats.org/presentationml/2006/main">
  <p:tag name="THINKCELLSHAPEDONOTDELETE" val="tO.08XswJ7s06t7BHUmfK1g"/>
</p:tagLst>
</file>

<file path=ppt/tags/tag508.xml><?xml version="1.0" encoding="utf-8"?>
<p:tagLst xmlns:a="http://schemas.openxmlformats.org/drawingml/2006/main" xmlns:r="http://schemas.openxmlformats.org/officeDocument/2006/relationships" xmlns:p="http://schemas.openxmlformats.org/presentationml/2006/main">
  <p:tag name="THINKCELLSHAPEDONOTDELETE" val="t2e8teYYj2Bp0wN4VELcC6A"/>
</p:tagLst>
</file>

<file path=ppt/tags/tag509.xml><?xml version="1.0" encoding="utf-8"?>
<p:tagLst xmlns:a="http://schemas.openxmlformats.org/drawingml/2006/main" xmlns:r="http://schemas.openxmlformats.org/officeDocument/2006/relationships" xmlns:p="http://schemas.openxmlformats.org/presentationml/2006/main">
  <p:tag name="THINKCELLSHAPEDONOTDELETE" val="t5lN6d6PiXtk8cHkQcXgPCw"/>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AvhTnprpZIIVVQCOTQtpLw"/>
</p:tagLst>
</file>

<file path=ppt/tags/tag510.xml><?xml version="1.0" encoding="utf-8"?>
<p:tagLst xmlns:a="http://schemas.openxmlformats.org/drawingml/2006/main" xmlns:r="http://schemas.openxmlformats.org/officeDocument/2006/relationships" xmlns:p="http://schemas.openxmlformats.org/presentationml/2006/main">
  <p:tag name="THINKCELLSHAPEDONOTDELETE" val="t3VZsD7TJXImoUhycwaCh7Q"/>
</p:tagLst>
</file>

<file path=ppt/tags/tag511.xml><?xml version="1.0" encoding="utf-8"?>
<p:tagLst xmlns:a="http://schemas.openxmlformats.org/drawingml/2006/main" xmlns:r="http://schemas.openxmlformats.org/officeDocument/2006/relationships" xmlns:p="http://schemas.openxmlformats.org/presentationml/2006/main">
  <p:tag name="THINKCELLSHAPEDONOTDELETE" val="tBHuY3.s4tIQbluofviq6tg"/>
</p:tagLst>
</file>

<file path=ppt/tags/tag512.xml><?xml version="1.0" encoding="utf-8"?>
<p:tagLst xmlns:a="http://schemas.openxmlformats.org/drawingml/2006/main" xmlns:r="http://schemas.openxmlformats.org/officeDocument/2006/relationships" xmlns:p="http://schemas.openxmlformats.org/presentationml/2006/main">
  <p:tag name="THINKCELLSHAPEDONOTDELETE" val="t0ihkhjynqtKxhdSO9WlV1A"/>
</p:tagLst>
</file>

<file path=ppt/tags/tag513.xml><?xml version="1.0" encoding="utf-8"?>
<p:tagLst xmlns:a="http://schemas.openxmlformats.org/drawingml/2006/main" xmlns:r="http://schemas.openxmlformats.org/officeDocument/2006/relationships" xmlns:p="http://schemas.openxmlformats.org/presentationml/2006/main">
  <p:tag name="THINKCELLSHAPEDONOTDELETE" val="tgvh_SqqSVItq0BDm4yOW9Q"/>
</p:tagLst>
</file>

<file path=ppt/tags/tag514.xml><?xml version="1.0" encoding="utf-8"?>
<p:tagLst xmlns:a="http://schemas.openxmlformats.org/drawingml/2006/main" xmlns:r="http://schemas.openxmlformats.org/officeDocument/2006/relationships" xmlns:p="http://schemas.openxmlformats.org/presentationml/2006/main">
  <p:tag name="THINKCELLSHAPEDONOTDELETE" val="t0.qOvZ4NWN1mAaoeErmu7g"/>
</p:tagLst>
</file>

<file path=ppt/tags/tag515.xml><?xml version="1.0" encoding="utf-8"?>
<p:tagLst xmlns:a="http://schemas.openxmlformats.org/drawingml/2006/main" xmlns:r="http://schemas.openxmlformats.org/officeDocument/2006/relationships" xmlns:p="http://schemas.openxmlformats.org/presentationml/2006/main">
  <p:tag name="THINKCELLSHAPEDONOTDELETE" val="tYwOIjncpjQtEMC1mdf0Nqw"/>
</p:tagLst>
</file>

<file path=ppt/tags/tag516.xml><?xml version="1.0" encoding="utf-8"?>
<p:tagLst xmlns:a="http://schemas.openxmlformats.org/drawingml/2006/main" xmlns:r="http://schemas.openxmlformats.org/officeDocument/2006/relationships" xmlns:p="http://schemas.openxmlformats.org/presentationml/2006/main">
  <p:tag name="THINKCELLSHAPEDONOTDELETE" val="tSBxEeAL171zi.fg6A5rodA"/>
</p:tagLst>
</file>

<file path=ppt/tags/tag517.xml><?xml version="1.0" encoding="utf-8"?>
<p:tagLst xmlns:a="http://schemas.openxmlformats.org/drawingml/2006/main" xmlns:r="http://schemas.openxmlformats.org/officeDocument/2006/relationships" xmlns:p="http://schemas.openxmlformats.org/presentationml/2006/main">
  <p:tag name="THINKCELLSHAPEDONOTDELETE" val="tWe8bDcXDwc4nt85HdrWdtA"/>
</p:tagLst>
</file>

<file path=ppt/tags/tag518.xml><?xml version="1.0" encoding="utf-8"?>
<p:tagLst xmlns:a="http://schemas.openxmlformats.org/drawingml/2006/main" xmlns:r="http://schemas.openxmlformats.org/officeDocument/2006/relationships" xmlns:p="http://schemas.openxmlformats.org/presentationml/2006/main">
  <p:tag name="THINKCELLSHAPEDONOTDELETE" val="tPTCuNi.IupqbTpBxCwPqPA"/>
</p:tagLst>
</file>

<file path=ppt/tags/tag519.xml><?xml version="1.0" encoding="utf-8"?>
<p:tagLst xmlns:a="http://schemas.openxmlformats.org/drawingml/2006/main" xmlns:r="http://schemas.openxmlformats.org/officeDocument/2006/relationships" xmlns:p="http://schemas.openxmlformats.org/presentationml/2006/main">
  <p:tag name="THINKCELLSHAPEDONOTDELETE" val="tcaElF6jKLcahuupEVkON.Q"/>
</p:tagLst>
</file>

<file path=ppt/tags/tag5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20.xml><?xml version="1.0" encoding="utf-8"?>
<p:tagLst xmlns:a="http://schemas.openxmlformats.org/drawingml/2006/main" xmlns:r="http://schemas.openxmlformats.org/officeDocument/2006/relationships" xmlns:p="http://schemas.openxmlformats.org/presentationml/2006/main">
  <p:tag name="THINKCELLSHAPEDONOTDELETE" val="t__6UAAOis.yDSEVbvlSESg"/>
</p:tagLst>
</file>

<file path=ppt/tags/tag521.xml><?xml version="1.0" encoding="utf-8"?>
<p:tagLst xmlns:a="http://schemas.openxmlformats.org/drawingml/2006/main" xmlns:r="http://schemas.openxmlformats.org/officeDocument/2006/relationships" xmlns:p="http://schemas.openxmlformats.org/presentationml/2006/main">
  <p:tag name="THINKCELLSHAPEDONOTDELETE" val="t.Y77oWOs37iq8k5Lv3E3tw"/>
</p:tagLst>
</file>

<file path=ppt/tags/tag522.xml><?xml version="1.0" encoding="utf-8"?>
<p:tagLst xmlns:a="http://schemas.openxmlformats.org/drawingml/2006/main" xmlns:r="http://schemas.openxmlformats.org/officeDocument/2006/relationships" xmlns:p="http://schemas.openxmlformats.org/presentationml/2006/main">
  <p:tag name="THINKCELLSHAPEDONOTDELETE" val="tjhpiHQtGaUM3nzE1DAzdAA"/>
</p:tagLst>
</file>

<file path=ppt/tags/tag523.xml><?xml version="1.0" encoding="utf-8"?>
<p:tagLst xmlns:a="http://schemas.openxmlformats.org/drawingml/2006/main" xmlns:r="http://schemas.openxmlformats.org/officeDocument/2006/relationships" xmlns:p="http://schemas.openxmlformats.org/presentationml/2006/main">
  <p:tag name="THINKCELLSHAPEDONOTDELETE" val="tx9eLUw5SZI2RMpz1jMNMfA"/>
</p:tagLst>
</file>

<file path=ppt/tags/tag524.xml><?xml version="1.0" encoding="utf-8"?>
<p:tagLst xmlns:a="http://schemas.openxmlformats.org/drawingml/2006/main" xmlns:r="http://schemas.openxmlformats.org/officeDocument/2006/relationships" xmlns:p="http://schemas.openxmlformats.org/presentationml/2006/main">
  <p:tag name="THINKCELLSHAPEDONOTDELETE" val="taVpkLyt_I_hkSYNTmbhGmQ"/>
</p:tagLst>
</file>

<file path=ppt/tags/tag525.xml><?xml version="1.0" encoding="utf-8"?>
<p:tagLst xmlns:a="http://schemas.openxmlformats.org/drawingml/2006/main" xmlns:r="http://schemas.openxmlformats.org/officeDocument/2006/relationships" xmlns:p="http://schemas.openxmlformats.org/presentationml/2006/main">
  <p:tag name="THINKCELLSHAPEDONOTDELETE" val="tQFbj99EteyO4dcTOzRaF.Q"/>
</p:tagLst>
</file>

<file path=ppt/tags/tag526.xml><?xml version="1.0" encoding="utf-8"?>
<p:tagLst xmlns:a="http://schemas.openxmlformats.org/drawingml/2006/main" xmlns:r="http://schemas.openxmlformats.org/officeDocument/2006/relationships" xmlns:p="http://schemas.openxmlformats.org/presentationml/2006/main">
  <p:tag name="THINKCELLSHAPEDONOTDELETE" val="ttLK0jV8bi3SG9DqpIrFSGw"/>
</p:tagLst>
</file>

<file path=ppt/tags/tag527.xml><?xml version="1.0" encoding="utf-8"?>
<p:tagLst xmlns:a="http://schemas.openxmlformats.org/drawingml/2006/main" xmlns:r="http://schemas.openxmlformats.org/officeDocument/2006/relationships" xmlns:p="http://schemas.openxmlformats.org/presentationml/2006/main">
  <p:tag name="THINKCELLSHAPEDONOTDELETE" val="tUzMV3etu5Hr6v49GE1S.2w"/>
</p:tagLst>
</file>

<file path=ppt/tags/tag528.xml><?xml version="1.0" encoding="utf-8"?>
<p:tagLst xmlns:a="http://schemas.openxmlformats.org/drawingml/2006/main" xmlns:r="http://schemas.openxmlformats.org/officeDocument/2006/relationships" xmlns:p="http://schemas.openxmlformats.org/presentationml/2006/main">
  <p:tag name="THINKCELLSHAPEDONOTDELETE" val="tx6vbcbK0NmYGYggBYqfuhg"/>
</p:tagLst>
</file>

<file path=ppt/tags/tag529.xml><?xml version="1.0" encoding="utf-8"?>
<p:tagLst xmlns:a="http://schemas.openxmlformats.org/drawingml/2006/main" xmlns:r="http://schemas.openxmlformats.org/officeDocument/2006/relationships" xmlns:p="http://schemas.openxmlformats.org/presentationml/2006/main">
  <p:tag name="THINKCELLSHAPEDONOTDELETE" val="twVr8hGlRJ3Qel7Gl5XHsjQ"/>
</p:tagLst>
</file>

<file path=ppt/tags/tag5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30.xml><?xml version="1.0" encoding="utf-8"?>
<p:tagLst xmlns:a="http://schemas.openxmlformats.org/drawingml/2006/main" xmlns:r="http://schemas.openxmlformats.org/officeDocument/2006/relationships" xmlns:p="http://schemas.openxmlformats.org/presentationml/2006/main">
  <p:tag name="THINKCELLSHAPEDONOTDELETE" val="ty2AzGEZ6uoYo6QqUeaGCgQ"/>
</p:tagLst>
</file>

<file path=ppt/tags/tag531.xml><?xml version="1.0" encoding="utf-8"?>
<p:tagLst xmlns:a="http://schemas.openxmlformats.org/drawingml/2006/main" xmlns:r="http://schemas.openxmlformats.org/officeDocument/2006/relationships" xmlns:p="http://schemas.openxmlformats.org/presentationml/2006/main">
  <p:tag name="THINKCELLSHAPEDONOTDELETE" val="tXEPZS0wraKUo_iHUfQUfOg"/>
</p:tagLst>
</file>

<file path=ppt/tags/tag532.xml><?xml version="1.0" encoding="utf-8"?>
<p:tagLst xmlns:a="http://schemas.openxmlformats.org/drawingml/2006/main" xmlns:r="http://schemas.openxmlformats.org/officeDocument/2006/relationships" xmlns:p="http://schemas.openxmlformats.org/presentationml/2006/main">
  <p:tag name="THINKCELLSHAPEDONOTDELETE" val="tOmPunN9r.vr.lKkcgJ7Asw"/>
</p:tagLst>
</file>

<file path=ppt/tags/tag533.xml><?xml version="1.0" encoding="utf-8"?>
<p:tagLst xmlns:a="http://schemas.openxmlformats.org/drawingml/2006/main" xmlns:r="http://schemas.openxmlformats.org/officeDocument/2006/relationships" xmlns:p="http://schemas.openxmlformats.org/presentationml/2006/main">
  <p:tag name="THINKCELLSHAPEDONOTDELETE" val="tlRfCy7PIeUp2G_Shb4sALA"/>
</p:tagLst>
</file>

<file path=ppt/tags/tag534.xml><?xml version="1.0" encoding="utf-8"?>
<p:tagLst xmlns:a="http://schemas.openxmlformats.org/drawingml/2006/main" xmlns:r="http://schemas.openxmlformats.org/officeDocument/2006/relationships" xmlns:p="http://schemas.openxmlformats.org/presentationml/2006/main">
  <p:tag name="THINKCELLSHAPEDONOTDELETE" val="tGcmQFfvZFzTm9h7qDaEEJA"/>
</p:tagLst>
</file>

<file path=ppt/tags/tag535.xml><?xml version="1.0" encoding="utf-8"?>
<p:tagLst xmlns:a="http://schemas.openxmlformats.org/drawingml/2006/main" xmlns:r="http://schemas.openxmlformats.org/officeDocument/2006/relationships" xmlns:p="http://schemas.openxmlformats.org/presentationml/2006/main">
  <p:tag name="THINKCELLSHAPEDONOTDELETE" val="twJPjBhB7K79AyTzwQKkcTg"/>
</p:tagLst>
</file>

<file path=ppt/tags/tag536.xml><?xml version="1.0" encoding="utf-8"?>
<p:tagLst xmlns:a="http://schemas.openxmlformats.org/drawingml/2006/main" xmlns:r="http://schemas.openxmlformats.org/officeDocument/2006/relationships" xmlns:p="http://schemas.openxmlformats.org/presentationml/2006/main">
  <p:tag name="THINKCELLSHAPEDONOTDELETE" val="tRLvKDK9neQjpvCnQFmF8fA"/>
</p:tagLst>
</file>

<file path=ppt/tags/tag537.xml><?xml version="1.0" encoding="utf-8"?>
<p:tagLst xmlns:a="http://schemas.openxmlformats.org/drawingml/2006/main" xmlns:r="http://schemas.openxmlformats.org/officeDocument/2006/relationships" xmlns:p="http://schemas.openxmlformats.org/presentationml/2006/main">
  <p:tag name="THINKCELLSHAPEDONOTDELETE" val="t0QoN3MArOKj6oZw7UITrxg"/>
</p:tagLst>
</file>

<file path=ppt/tags/tag538.xml><?xml version="1.0" encoding="utf-8"?>
<p:tagLst xmlns:a="http://schemas.openxmlformats.org/drawingml/2006/main" xmlns:r="http://schemas.openxmlformats.org/officeDocument/2006/relationships" xmlns:p="http://schemas.openxmlformats.org/presentationml/2006/main">
  <p:tag name="THINKCELLSHAPEDONOTDELETE" val="tGi759i9E2Zkaq0QDB.Ls5Q"/>
</p:tagLst>
</file>

<file path=ppt/tags/tag539.xml><?xml version="1.0" encoding="utf-8"?>
<p:tagLst xmlns:a="http://schemas.openxmlformats.org/drawingml/2006/main" xmlns:r="http://schemas.openxmlformats.org/officeDocument/2006/relationships" xmlns:p="http://schemas.openxmlformats.org/presentationml/2006/main">
  <p:tag name="THINKCELLSHAPEDONOTDELETE" val="tqKjOP4DDZd3RCu_bLrAsXQ"/>
</p:tagLst>
</file>

<file path=ppt/tags/tag54.xml><?xml version="1.0" encoding="utf-8"?>
<p:tagLst xmlns:a="http://schemas.openxmlformats.org/drawingml/2006/main" xmlns:r="http://schemas.openxmlformats.org/officeDocument/2006/relationships" xmlns:p="http://schemas.openxmlformats.org/presentationml/2006/main">
  <p:tag name="SHAPENAME" val="5. Source"/>
</p:tagLst>
</file>

<file path=ppt/tags/tag540.xml><?xml version="1.0" encoding="utf-8"?>
<p:tagLst xmlns:a="http://schemas.openxmlformats.org/drawingml/2006/main" xmlns:r="http://schemas.openxmlformats.org/officeDocument/2006/relationships" xmlns:p="http://schemas.openxmlformats.org/presentationml/2006/main">
  <p:tag name="THINKCELLSHAPEDONOTDELETE" val="tglySfnivuXlOIIucrJ_OhQ"/>
</p:tagLst>
</file>

<file path=ppt/tags/tag541.xml><?xml version="1.0" encoding="utf-8"?>
<p:tagLst xmlns:a="http://schemas.openxmlformats.org/drawingml/2006/main" xmlns:r="http://schemas.openxmlformats.org/officeDocument/2006/relationships" xmlns:p="http://schemas.openxmlformats.org/presentationml/2006/main">
  <p:tag name="THINKCELLSHAPEDONOTDELETE" val="ttgJ4bGQWq12jiOZPB50hXA"/>
</p:tagLst>
</file>

<file path=ppt/tags/tag542.xml><?xml version="1.0" encoding="utf-8"?>
<p:tagLst xmlns:a="http://schemas.openxmlformats.org/drawingml/2006/main" xmlns:r="http://schemas.openxmlformats.org/officeDocument/2006/relationships" xmlns:p="http://schemas.openxmlformats.org/presentationml/2006/main">
  <p:tag name="THINKCELLSHAPEDONOTDELETE" val="tH6.CkfMWrMuZAOKUbjn2Gg"/>
</p:tagLst>
</file>

<file path=ppt/tags/tag543.xml><?xml version="1.0" encoding="utf-8"?>
<p:tagLst xmlns:a="http://schemas.openxmlformats.org/drawingml/2006/main" xmlns:r="http://schemas.openxmlformats.org/officeDocument/2006/relationships" xmlns:p="http://schemas.openxmlformats.org/presentationml/2006/main">
  <p:tag name="THINKCELLSHAPEDONOTDELETE" val="tb6GNjx9E.zFPxTS8KMDJcw"/>
</p:tagLst>
</file>

<file path=ppt/tags/tag544.xml><?xml version="1.0" encoding="utf-8"?>
<p:tagLst xmlns:a="http://schemas.openxmlformats.org/drawingml/2006/main" xmlns:r="http://schemas.openxmlformats.org/officeDocument/2006/relationships" xmlns:p="http://schemas.openxmlformats.org/presentationml/2006/main">
  <p:tag name="THINKCELLSHAPEDONOTDELETE" val="tJV_XeXPxP2OlTt4Lo8MnHQ"/>
</p:tagLst>
</file>

<file path=ppt/tags/tag545.xml><?xml version="1.0" encoding="utf-8"?>
<p:tagLst xmlns:a="http://schemas.openxmlformats.org/drawingml/2006/main" xmlns:r="http://schemas.openxmlformats.org/officeDocument/2006/relationships" xmlns:p="http://schemas.openxmlformats.org/presentationml/2006/main">
  <p:tag name="THINKCELLSHAPEDONOTDELETE" val="ty97uUae2beNAI2OZ7LupCA"/>
</p:tagLst>
</file>

<file path=ppt/tags/tag546.xml><?xml version="1.0" encoding="utf-8"?>
<p:tagLst xmlns:a="http://schemas.openxmlformats.org/drawingml/2006/main" xmlns:r="http://schemas.openxmlformats.org/officeDocument/2006/relationships" xmlns:p="http://schemas.openxmlformats.org/presentationml/2006/main">
  <p:tag name="THINKCELLSHAPEDONOTDELETE" val="tVT4birFaYFdkbMpgKSxhPA"/>
</p:tagLst>
</file>

<file path=ppt/tags/tag547.xml><?xml version="1.0" encoding="utf-8"?>
<p:tagLst xmlns:a="http://schemas.openxmlformats.org/drawingml/2006/main" xmlns:r="http://schemas.openxmlformats.org/officeDocument/2006/relationships" xmlns:p="http://schemas.openxmlformats.org/presentationml/2006/main">
  <p:tag name="THINKCELLSHAPEDONOTDELETE" val="tiTgfK8n.M_c.umoQk.Sl6Q"/>
</p:tagLst>
</file>

<file path=ppt/tags/tag548.xml><?xml version="1.0" encoding="utf-8"?>
<p:tagLst xmlns:a="http://schemas.openxmlformats.org/drawingml/2006/main" xmlns:r="http://schemas.openxmlformats.org/officeDocument/2006/relationships" xmlns:p="http://schemas.openxmlformats.org/presentationml/2006/main">
  <p:tag name="THINKCELLSHAPEDONOTDELETE" val="t3Q6C5yzQWoxVMOyO1sPROQ"/>
</p:tagLst>
</file>

<file path=ppt/tags/tag549.xml><?xml version="1.0" encoding="utf-8"?>
<p:tagLst xmlns:a="http://schemas.openxmlformats.org/drawingml/2006/main" xmlns:r="http://schemas.openxmlformats.org/officeDocument/2006/relationships" xmlns:p="http://schemas.openxmlformats.org/presentationml/2006/main">
  <p:tag name="THINKCELLSHAPEDONOTDELETE" val="tWiNaAQBSR6KxrWvJBpwGxg"/>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0.xml><?xml version="1.0" encoding="utf-8"?>
<p:tagLst xmlns:a="http://schemas.openxmlformats.org/drawingml/2006/main" xmlns:r="http://schemas.openxmlformats.org/officeDocument/2006/relationships" xmlns:p="http://schemas.openxmlformats.org/presentationml/2006/main">
  <p:tag name="THINKCELLSHAPEDONOTDELETE" val="twEYksthT5RHh6X.8qqXZNQ"/>
</p:tagLst>
</file>

<file path=ppt/tags/tag551.xml><?xml version="1.0" encoding="utf-8"?>
<p:tagLst xmlns:a="http://schemas.openxmlformats.org/drawingml/2006/main" xmlns:r="http://schemas.openxmlformats.org/officeDocument/2006/relationships" xmlns:p="http://schemas.openxmlformats.org/presentationml/2006/main">
  <p:tag name="THINKCELLSHAPEDONOTDELETE" val="trI5EFTUgC_TskKGXGVrS_g"/>
</p:tagLst>
</file>

<file path=ppt/tags/tag552.xml><?xml version="1.0" encoding="utf-8"?>
<p:tagLst xmlns:a="http://schemas.openxmlformats.org/drawingml/2006/main" xmlns:r="http://schemas.openxmlformats.org/officeDocument/2006/relationships" xmlns:p="http://schemas.openxmlformats.org/presentationml/2006/main">
  <p:tag name="THINKCELLSHAPEDONOTDELETE" val="tSvFxmEL3Bi3WmA2nbFGnjQ"/>
</p:tagLst>
</file>

<file path=ppt/tags/tag553.xml><?xml version="1.0" encoding="utf-8"?>
<p:tagLst xmlns:a="http://schemas.openxmlformats.org/drawingml/2006/main" xmlns:r="http://schemas.openxmlformats.org/officeDocument/2006/relationships" xmlns:p="http://schemas.openxmlformats.org/presentationml/2006/main">
  <p:tag name="THINKCELLSHAPEDONOTDELETE" val="tRrhksayMEg_rcXtyKJYbdA"/>
</p:tagLst>
</file>

<file path=ppt/tags/tag554.xml><?xml version="1.0" encoding="utf-8"?>
<p:tagLst xmlns:a="http://schemas.openxmlformats.org/drawingml/2006/main" xmlns:r="http://schemas.openxmlformats.org/officeDocument/2006/relationships" xmlns:p="http://schemas.openxmlformats.org/presentationml/2006/main">
  <p:tag name="THINKCELLSHAPEDONOTDELETE" val="txljI_W6MXES7pU9B548sAg"/>
</p:tagLst>
</file>

<file path=ppt/tags/tag555.xml><?xml version="1.0" encoding="utf-8"?>
<p:tagLst xmlns:a="http://schemas.openxmlformats.org/drawingml/2006/main" xmlns:r="http://schemas.openxmlformats.org/officeDocument/2006/relationships" xmlns:p="http://schemas.openxmlformats.org/presentationml/2006/main">
  <p:tag name="THINKCELLSHAPEDONOTDELETE" val="twaZI12_nGNcJk_gNXxPrDQ"/>
</p:tagLst>
</file>

<file path=ppt/tags/tag556.xml><?xml version="1.0" encoding="utf-8"?>
<p:tagLst xmlns:a="http://schemas.openxmlformats.org/drawingml/2006/main" xmlns:r="http://schemas.openxmlformats.org/officeDocument/2006/relationships" xmlns:p="http://schemas.openxmlformats.org/presentationml/2006/main">
  <p:tag name="THINKCELLSHAPEDONOTDELETE" val="te8UxQ63TK_aF_MniJb_htw"/>
</p:tagLst>
</file>

<file path=ppt/tags/tag557.xml><?xml version="1.0" encoding="utf-8"?>
<p:tagLst xmlns:a="http://schemas.openxmlformats.org/drawingml/2006/main" xmlns:r="http://schemas.openxmlformats.org/officeDocument/2006/relationships" xmlns:p="http://schemas.openxmlformats.org/presentationml/2006/main">
  <p:tag name="THINKCELLSHAPEDONOTDELETE" val="tJ.zTOpXh4cwGu0.SMjeaJw"/>
</p:tagLst>
</file>

<file path=ppt/tags/tag558.xml><?xml version="1.0" encoding="utf-8"?>
<p:tagLst xmlns:a="http://schemas.openxmlformats.org/drawingml/2006/main" xmlns:r="http://schemas.openxmlformats.org/officeDocument/2006/relationships" xmlns:p="http://schemas.openxmlformats.org/presentationml/2006/main">
  <p:tag name="THINKCELLSHAPEDONOTDELETE" val="tkYM9rRZ.hUixePQxPMgHRg"/>
</p:tagLst>
</file>

<file path=ppt/tags/tag559.xml><?xml version="1.0" encoding="utf-8"?>
<p:tagLst xmlns:a="http://schemas.openxmlformats.org/drawingml/2006/main" xmlns:r="http://schemas.openxmlformats.org/officeDocument/2006/relationships" xmlns:p="http://schemas.openxmlformats.org/presentationml/2006/main">
  <p:tag name="THINKCELLSHAPEDONOTDELETE" val="tuDh_4iSQnEotr5vUpe6bUg"/>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Vvs3CU0mhZ0iF9VK3Gc_gQ"/>
</p:tagLst>
</file>

<file path=ppt/tags/tag560.xml><?xml version="1.0" encoding="utf-8"?>
<p:tagLst xmlns:a="http://schemas.openxmlformats.org/drawingml/2006/main" xmlns:r="http://schemas.openxmlformats.org/officeDocument/2006/relationships" xmlns:p="http://schemas.openxmlformats.org/presentationml/2006/main">
  <p:tag name="THINKCELLSHAPEDONOTDELETE" val="trK57.C.wRgK.A0gOjuf_Eg"/>
</p:tagLst>
</file>

<file path=ppt/tags/tag561.xml><?xml version="1.0" encoding="utf-8"?>
<p:tagLst xmlns:a="http://schemas.openxmlformats.org/drawingml/2006/main" xmlns:r="http://schemas.openxmlformats.org/officeDocument/2006/relationships" xmlns:p="http://schemas.openxmlformats.org/presentationml/2006/main">
  <p:tag name="THINKCELLSHAPEDONOTDELETE" val="tK93dbW6n16NOfbZmeyxHWw"/>
</p:tagLst>
</file>

<file path=ppt/tags/tag562.xml><?xml version="1.0" encoding="utf-8"?>
<p:tagLst xmlns:a="http://schemas.openxmlformats.org/drawingml/2006/main" xmlns:r="http://schemas.openxmlformats.org/officeDocument/2006/relationships" xmlns:p="http://schemas.openxmlformats.org/presentationml/2006/main">
  <p:tag name="THINKCELLSHAPEDONOTDELETE" val="ty4yoqiyQI3sHPFGpzO5oew"/>
</p:tagLst>
</file>

<file path=ppt/tags/tag563.xml><?xml version="1.0" encoding="utf-8"?>
<p:tagLst xmlns:a="http://schemas.openxmlformats.org/drawingml/2006/main" xmlns:r="http://schemas.openxmlformats.org/officeDocument/2006/relationships" xmlns:p="http://schemas.openxmlformats.org/presentationml/2006/main">
  <p:tag name="THINKCELLSHAPEDONOTDELETE" val="t2HeLLYqN30dX.h0sffU3kw"/>
</p:tagLst>
</file>

<file path=ppt/tags/tag564.xml><?xml version="1.0" encoding="utf-8"?>
<p:tagLst xmlns:a="http://schemas.openxmlformats.org/drawingml/2006/main" xmlns:r="http://schemas.openxmlformats.org/officeDocument/2006/relationships" xmlns:p="http://schemas.openxmlformats.org/presentationml/2006/main">
  <p:tag name="THINKCELLSHAPEDONOTDELETE" val="tgqJ_nAagy9bokhJ0D9Xd5A"/>
</p:tagLst>
</file>

<file path=ppt/tags/tag565.xml><?xml version="1.0" encoding="utf-8"?>
<p:tagLst xmlns:a="http://schemas.openxmlformats.org/drawingml/2006/main" xmlns:r="http://schemas.openxmlformats.org/officeDocument/2006/relationships" xmlns:p="http://schemas.openxmlformats.org/presentationml/2006/main">
  <p:tag name="THINKCELLSHAPEDONOTDELETE" val="t190Tihu9yHLA5wvSUtglNQ"/>
</p:tagLst>
</file>

<file path=ppt/tags/tag566.xml><?xml version="1.0" encoding="utf-8"?>
<p:tagLst xmlns:a="http://schemas.openxmlformats.org/drawingml/2006/main" xmlns:r="http://schemas.openxmlformats.org/officeDocument/2006/relationships" xmlns:p="http://schemas.openxmlformats.org/presentationml/2006/main">
  <p:tag name="THINKCELLSHAPEDONOTDELETE" val="ts2NRYJNkU37Ullvg8iBdqA"/>
</p:tagLst>
</file>

<file path=ppt/tags/tag567.xml><?xml version="1.0" encoding="utf-8"?>
<p:tagLst xmlns:a="http://schemas.openxmlformats.org/drawingml/2006/main" xmlns:r="http://schemas.openxmlformats.org/officeDocument/2006/relationships" xmlns:p="http://schemas.openxmlformats.org/presentationml/2006/main">
  <p:tag name="THINKCELLSHAPEDONOTDELETE" val="tSEth15hA5rzkfvGYMDgdHw"/>
</p:tagLst>
</file>

<file path=ppt/tags/tag568.xml><?xml version="1.0" encoding="utf-8"?>
<p:tagLst xmlns:a="http://schemas.openxmlformats.org/drawingml/2006/main" xmlns:r="http://schemas.openxmlformats.org/officeDocument/2006/relationships" xmlns:p="http://schemas.openxmlformats.org/presentationml/2006/main">
  <p:tag name="THINKCELLSHAPEDONOTDELETE" val="tquhzEOkAw78ZckDEnJs.Tw"/>
</p:tagLst>
</file>

<file path=ppt/tags/tag569.xml><?xml version="1.0" encoding="utf-8"?>
<p:tagLst xmlns:a="http://schemas.openxmlformats.org/drawingml/2006/main" xmlns:r="http://schemas.openxmlformats.org/officeDocument/2006/relationships" xmlns:p="http://schemas.openxmlformats.org/presentationml/2006/main">
  <p:tag name="THINKCELLSHAPEDONOTDELETE" val="t7NOHy2CUQA80PSjbPqx5Hw"/>
</p:tagLst>
</file>

<file path=ppt/tags/tag5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70.xml><?xml version="1.0" encoding="utf-8"?>
<p:tagLst xmlns:a="http://schemas.openxmlformats.org/drawingml/2006/main" xmlns:r="http://schemas.openxmlformats.org/officeDocument/2006/relationships" xmlns:p="http://schemas.openxmlformats.org/presentationml/2006/main">
  <p:tag name="THINKCELLSHAPEDONOTDELETE" val="tMsc9n4zEEaNkG2Y29O9PQw"/>
</p:tagLst>
</file>

<file path=ppt/tags/tag571.xml><?xml version="1.0" encoding="utf-8"?>
<p:tagLst xmlns:a="http://schemas.openxmlformats.org/drawingml/2006/main" xmlns:r="http://schemas.openxmlformats.org/officeDocument/2006/relationships" xmlns:p="http://schemas.openxmlformats.org/presentationml/2006/main">
  <p:tag name="THINKCELLSHAPEDONOTDELETE" val="tnrx1wrf9pQ4Cpi2rAQhwAQ"/>
</p:tagLst>
</file>

<file path=ppt/tags/tag572.xml><?xml version="1.0" encoding="utf-8"?>
<p:tagLst xmlns:a="http://schemas.openxmlformats.org/drawingml/2006/main" xmlns:r="http://schemas.openxmlformats.org/officeDocument/2006/relationships" xmlns:p="http://schemas.openxmlformats.org/presentationml/2006/main">
  <p:tag name="THINKCELLSHAPEDONOTDELETE" val="tBv7T0ESDC7JO7rH7rrILmQ"/>
</p:tagLst>
</file>

<file path=ppt/tags/tag573.xml><?xml version="1.0" encoding="utf-8"?>
<p:tagLst xmlns:a="http://schemas.openxmlformats.org/drawingml/2006/main" xmlns:r="http://schemas.openxmlformats.org/officeDocument/2006/relationships" xmlns:p="http://schemas.openxmlformats.org/presentationml/2006/main">
  <p:tag name="THINKCELLSHAPEDONOTDELETE" val="tfCvnO3uwWQxCSkOrtoGqpw"/>
</p:tagLst>
</file>

<file path=ppt/tags/tag574.xml><?xml version="1.0" encoding="utf-8"?>
<p:tagLst xmlns:a="http://schemas.openxmlformats.org/drawingml/2006/main" xmlns:r="http://schemas.openxmlformats.org/officeDocument/2006/relationships" xmlns:p="http://schemas.openxmlformats.org/presentationml/2006/main">
  <p:tag name="THINKCELLSHAPEDONOTDELETE" val="t7srzjTE20lVpTg6hTOh7mA"/>
</p:tagLst>
</file>

<file path=ppt/tags/tag575.xml><?xml version="1.0" encoding="utf-8"?>
<p:tagLst xmlns:a="http://schemas.openxmlformats.org/drawingml/2006/main" xmlns:r="http://schemas.openxmlformats.org/officeDocument/2006/relationships" xmlns:p="http://schemas.openxmlformats.org/presentationml/2006/main">
  <p:tag name="THINKCELLSHAPEDONOTDELETE" val="trFWmHH30yQrChKGxwMkopA"/>
</p:tagLst>
</file>

<file path=ppt/tags/tag576.xml><?xml version="1.0" encoding="utf-8"?>
<p:tagLst xmlns:a="http://schemas.openxmlformats.org/drawingml/2006/main" xmlns:r="http://schemas.openxmlformats.org/officeDocument/2006/relationships" xmlns:p="http://schemas.openxmlformats.org/presentationml/2006/main">
  <p:tag name="THINKCELLSHAPEDONOTDELETE" val="tG0Gin.5Tn1Qqdy1t6xRAvg"/>
</p:tagLst>
</file>

<file path=ppt/tags/tag577.xml><?xml version="1.0" encoding="utf-8"?>
<p:tagLst xmlns:a="http://schemas.openxmlformats.org/drawingml/2006/main" xmlns:r="http://schemas.openxmlformats.org/officeDocument/2006/relationships" xmlns:p="http://schemas.openxmlformats.org/presentationml/2006/main">
  <p:tag name="THINKCELLSHAPEDONOTDELETE" val="ttJD3IMIqdNRl0qNp49.W7A"/>
</p:tagLst>
</file>

<file path=ppt/tags/tag578.xml><?xml version="1.0" encoding="utf-8"?>
<p:tagLst xmlns:a="http://schemas.openxmlformats.org/drawingml/2006/main" xmlns:r="http://schemas.openxmlformats.org/officeDocument/2006/relationships" xmlns:p="http://schemas.openxmlformats.org/presentationml/2006/main">
  <p:tag name="THINKCELLSHAPEDONOTDELETE" val="teTbyi6MNES3YdlVl66nXZQ"/>
</p:tagLst>
</file>

<file path=ppt/tags/tag579.xml><?xml version="1.0" encoding="utf-8"?>
<p:tagLst xmlns:a="http://schemas.openxmlformats.org/drawingml/2006/main" xmlns:r="http://schemas.openxmlformats.org/officeDocument/2006/relationships" xmlns:p="http://schemas.openxmlformats.org/presentationml/2006/main">
  <p:tag name="THINKCELLSHAPEDONOTDELETE" val="t.xSxZ.1rp5gkii5L0l93lQ"/>
</p:tagLst>
</file>

<file path=ppt/tags/tag5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80.xml><?xml version="1.0" encoding="utf-8"?>
<p:tagLst xmlns:a="http://schemas.openxmlformats.org/drawingml/2006/main" xmlns:r="http://schemas.openxmlformats.org/officeDocument/2006/relationships" xmlns:p="http://schemas.openxmlformats.org/presentationml/2006/main">
  <p:tag name="THINKCELLSHAPEDONOTDELETE" val="tHu_aHu2BzHpxPYZ0A7RikQ"/>
</p:tagLst>
</file>

<file path=ppt/tags/tag581.xml><?xml version="1.0" encoding="utf-8"?>
<p:tagLst xmlns:a="http://schemas.openxmlformats.org/drawingml/2006/main" xmlns:r="http://schemas.openxmlformats.org/officeDocument/2006/relationships" xmlns:p="http://schemas.openxmlformats.org/presentationml/2006/main">
  <p:tag name="SHAPENAME" val="5. Source"/>
</p:tagLst>
</file>

<file path=ppt/tags/tag582.xml><?xml version="1.0" encoding="utf-8"?>
<p:tagLst xmlns:a="http://schemas.openxmlformats.org/drawingml/2006/main" xmlns:r="http://schemas.openxmlformats.org/officeDocument/2006/relationships" xmlns:p="http://schemas.openxmlformats.org/presentationml/2006/main">
  <p:tag name="THINKCELLSHAPEDONOTDELETE" val="twhCg7rws8ATY.liQCMccLw"/>
</p:tagLst>
</file>

<file path=ppt/tags/tag583.xml><?xml version="1.0" encoding="utf-8"?>
<p:tagLst xmlns:a="http://schemas.openxmlformats.org/drawingml/2006/main" xmlns:r="http://schemas.openxmlformats.org/officeDocument/2006/relationships" xmlns:p="http://schemas.openxmlformats.org/presentationml/2006/main">
  <p:tag name="THINKCELLSHAPEDONOTDELETE" val="tRaAbak43o_VgjAevflfg9Q"/>
</p:tagLst>
</file>

<file path=ppt/tags/tag584.xml><?xml version="1.0" encoding="utf-8"?>
<p:tagLst xmlns:a="http://schemas.openxmlformats.org/drawingml/2006/main" xmlns:r="http://schemas.openxmlformats.org/officeDocument/2006/relationships" xmlns:p="http://schemas.openxmlformats.org/presentationml/2006/main">
  <p:tag name="THINKCELLSHAPEDONOTDELETE" val="tHRu3CdXS7wSmm45zgrCr7g"/>
</p:tagLst>
</file>

<file path=ppt/tags/tag585.xml><?xml version="1.0" encoding="utf-8"?>
<p:tagLst xmlns:a="http://schemas.openxmlformats.org/drawingml/2006/main" xmlns:r="http://schemas.openxmlformats.org/officeDocument/2006/relationships" xmlns:p="http://schemas.openxmlformats.org/presentationml/2006/main">
  <p:tag name="THINKCELLSHAPEDONOTDELETE" val="tiBvu.VwluVedc70dYvyfxA"/>
</p:tagLst>
</file>

<file path=ppt/tags/tag586.xml><?xml version="1.0" encoding="utf-8"?>
<p:tagLst xmlns:a="http://schemas.openxmlformats.org/drawingml/2006/main" xmlns:r="http://schemas.openxmlformats.org/officeDocument/2006/relationships" xmlns:p="http://schemas.openxmlformats.org/presentationml/2006/main">
  <p:tag name="THINKCELLSHAPEDONOTDELETE" val="tXx_Vxc8KwnsRnuqoi2Cixg"/>
</p:tagLst>
</file>

<file path=ppt/tags/tag587.xml><?xml version="1.0" encoding="utf-8"?>
<p:tagLst xmlns:a="http://schemas.openxmlformats.org/drawingml/2006/main" xmlns:r="http://schemas.openxmlformats.org/officeDocument/2006/relationships" xmlns:p="http://schemas.openxmlformats.org/presentationml/2006/main">
  <p:tag name="THINKCELLSHAPEDONOTDELETE" val="t.RExIuG8lFQczEN3QBJqvQ"/>
</p:tagLst>
</file>

<file path=ppt/tags/tag588.xml><?xml version="1.0" encoding="utf-8"?>
<p:tagLst xmlns:a="http://schemas.openxmlformats.org/drawingml/2006/main" xmlns:r="http://schemas.openxmlformats.org/officeDocument/2006/relationships" xmlns:p="http://schemas.openxmlformats.org/presentationml/2006/main">
  <p:tag name="THINKCELLSHAPEDONOTDELETE" val="t5XSu_ESy4VPS4JZeKzWeyw"/>
</p:tagLst>
</file>

<file path=ppt/tags/tag589.xml><?xml version="1.0" encoding="utf-8"?>
<p:tagLst xmlns:a="http://schemas.openxmlformats.org/drawingml/2006/main" xmlns:r="http://schemas.openxmlformats.org/officeDocument/2006/relationships" xmlns:p="http://schemas.openxmlformats.org/presentationml/2006/main">
  <p:tag name="THINKCELLSHAPEDONOTDELETE" val="taWABece.mNdB.8FhjXVBnw"/>
</p:tagLst>
</file>

<file path=ppt/tags/tag59.xml><?xml version="1.0" encoding="utf-8"?>
<p:tagLst xmlns:a="http://schemas.openxmlformats.org/drawingml/2006/main" xmlns:r="http://schemas.openxmlformats.org/officeDocument/2006/relationships" xmlns:p="http://schemas.openxmlformats.org/presentationml/2006/main">
  <p:tag name="SHAPENAME" val="5. Source"/>
</p:tagLst>
</file>

<file path=ppt/tags/tag590.xml><?xml version="1.0" encoding="utf-8"?>
<p:tagLst xmlns:a="http://schemas.openxmlformats.org/drawingml/2006/main" xmlns:r="http://schemas.openxmlformats.org/officeDocument/2006/relationships" xmlns:p="http://schemas.openxmlformats.org/presentationml/2006/main">
  <p:tag name="THINKCELLSHAPEDONOTDELETE" val="t9vNZuUar5aCMfay97Xuwqg"/>
</p:tagLst>
</file>

<file path=ppt/tags/tag591.xml><?xml version="1.0" encoding="utf-8"?>
<p:tagLst xmlns:a="http://schemas.openxmlformats.org/drawingml/2006/main" xmlns:r="http://schemas.openxmlformats.org/officeDocument/2006/relationships" xmlns:p="http://schemas.openxmlformats.org/presentationml/2006/main">
  <p:tag name="THINKCELLSHAPEDONOTDELETE" val="tVmW07BKgk2RgpselC_JsnA"/>
</p:tagLst>
</file>

<file path=ppt/tags/tag592.xml><?xml version="1.0" encoding="utf-8"?>
<p:tagLst xmlns:a="http://schemas.openxmlformats.org/drawingml/2006/main" xmlns:r="http://schemas.openxmlformats.org/officeDocument/2006/relationships" xmlns:p="http://schemas.openxmlformats.org/presentationml/2006/main">
  <p:tag name="THINKCELLSHAPEDONOTDELETE" val="tYY398nuz9NPi1klhyhFJdg"/>
</p:tagLst>
</file>

<file path=ppt/tags/tag593.xml><?xml version="1.0" encoding="utf-8"?>
<p:tagLst xmlns:a="http://schemas.openxmlformats.org/drawingml/2006/main" xmlns:r="http://schemas.openxmlformats.org/officeDocument/2006/relationships" xmlns:p="http://schemas.openxmlformats.org/presentationml/2006/main">
  <p:tag name="THINKCELLSHAPEDONOTDELETE" val="td71nJxh61SlQiVcuJEIR9A"/>
</p:tagLst>
</file>

<file path=ppt/tags/tag594.xml><?xml version="1.0" encoding="utf-8"?>
<p:tagLst xmlns:a="http://schemas.openxmlformats.org/drawingml/2006/main" xmlns:r="http://schemas.openxmlformats.org/officeDocument/2006/relationships" xmlns:p="http://schemas.openxmlformats.org/presentationml/2006/main">
  <p:tag name="THINKCELLSHAPEDONOTDELETE" val="trcBe5XTN5vlf0jp_Mfe1sg"/>
</p:tagLst>
</file>

<file path=ppt/tags/tag595.xml><?xml version="1.0" encoding="utf-8"?>
<p:tagLst xmlns:a="http://schemas.openxmlformats.org/drawingml/2006/main" xmlns:r="http://schemas.openxmlformats.org/officeDocument/2006/relationships" xmlns:p="http://schemas.openxmlformats.org/presentationml/2006/main">
  <p:tag name="THINKCELLSHAPEDONOTDELETE" val="ts9JXauzHsNBelg1FWigSnA"/>
</p:tagLst>
</file>

<file path=ppt/tags/tag596.xml><?xml version="1.0" encoding="utf-8"?>
<p:tagLst xmlns:a="http://schemas.openxmlformats.org/drawingml/2006/main" xmlns:r="http://schemas.openxmlformats.org/officeDocument/2006/relationships" xmlns:p="http://schemas.openxmlformats.org/presentationml/2006/main">
  <p:tag name="THINKCELLSHAPEDONOTDELETE" val="tImnYIcThWUPCZ7.QJYLxbw"/>
</p:tagLst>
</file>

<file path=ppt/tags/tag597.xml><?xml version="1.0" encoding="utf-8"?>
<p:tagLst xmlns:a="http://schemas.openxmlformats.org/drawingml/2006/main" xmlns:r="http://schemas.openxmlformats.org/officeDocument/2006/relationships" xmlns:p="http://schemas.openxmlformats.org/presentationml/2006/main">
  <p:tag name="THINKCELLSHAPEDONOTDELETE" val="tPMlNb7O1_Az.gUJenevm3Q"/>
</p:tagLst>
</file>

<file path=ppt/tags/tag598.xml><?xml version="1.0" encoding="utf-8"?>
<p:tagLst xmlns:a="http://schemas.openxmlformats.org/drawingml/2006/main" xmlns:r="http://schemas.openxmlformats.org/officeDocument/2006/relationships" xmlns:p="http://schemas.openxmlformats.org/presentationml/2006/main">
  <p:tag name="THINKCELLSHAPEDONOTDELETE" val="tqKDJej2PD4I2pA_rEC2StA"/>
</p:tagLst>
</file>

<file path=ppt/tags/tag599.xml><?xml version="1.0" encoding="utf-8"?>
<p:tagLst xmlns:a="http://schemas.openxmlformats.org/drawingml/2006/main" xmlns:r="http://schemas.openxmlformats.org/officeDocument/2006/relationships" xmlns:p="http://schemas.openxmlformats.org/presentationml/2006/main">
  <p:tag name="THINKCELLSHAPEDONOTDELETE" val="tBZnOIiDdAa.ltLX37kBbWA"/>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0.xml><?xml version="1.0" encoding="utf-8"?>
<p:tagLst xmlns:a="http://schemas.openxmlformats.org/drawingml/2006/main" xmlns:r="http://schemas.openxmlformats.org/officeDocument/2006/relationships" xmlns:p="http://schemas.openxmlformats.org/presentationml/2006/main">
  <p:tag name="THINKCELLSHAPEDONOTDELETE" val="tjfE_r5Mbl5i5eHIZ0W0JCw"/>
</p:tagLst>
</file>

<file path=ppt/tags/tag601.xml><?xml version="1.0" encoding="utf-8"?>
<p:tagLst xmlns:a="http://schemas.openxmlformats.org/drawingml/2006/main" xmlns:r="http://schemas.openxmlformats.org/officeDocument/2006/relationships" xmlns:p="http://schemas.openxmlformats.org/presentationml/2006/main">
  <p:tag name="THINKCELLSHAPEDONOTDELETE" val="t9T0SE.XsNxK0CQzzUA7dXg"/>
</p:tagLst>
</file>

<file path=ppt/tags/tag602.xml><?xml version="1.0" encoding="utf-8"?>
<p:tagLst xmlns:a="http://schemas.openxmlformats.org/drawingml/2006/main" xmlns:r="http://schemas.openxmlformats.org/officeDocument/2006/relationships" xmlns:p="http://schemas.openxmlformats.org/presentationml/2006/main">
  <p:tag name="THINKCELLSHAPEDONOTDELETE" val="tcpGHgDn51b40spt7exHOaA"/>
</p:tagLst>
</file>

<file path=ppt/tags/tag603.xml><?xml version="1.0" encoding="utf-8"?>
<p:tagLst xmlns:a="http://schemas.openxmlformats.org/drawingml/2006/main" xmlns:r="http://schemas.openxmlformats.org/officeDocument/2006/relationships" xmlns:p="http://schemas.openxmlformats.org/presentationml/2006/main">
  <p:tag name="THINKCELLSHAPEDONOTDELETE" val="tUOW.r6JmRgfL.KE2x2V9iQ"/>
</p:tagLst>
</file>

<file path=ppt/tags/tag604.xml><?xml version="1.0" encoding="utf-8"?>
<p:tagLst xmlns:a="http://schemas.openxmlformats.org/drawingml/2006/main" xmlns:r="http://schemas.openxmlformats.org/officeDocument/2006/relationships" xmlns:p="http://schemas.openxmlformats.org/presentationml/2006/main">
  <p:tag name="THINKCELLSHAPEDONOTDELETE" val="tdRm4kcKCR7o8iCYeZ_utsA"/>
</p:tagLst>
</file>

<file path=ppt/tags/tag605.xml><?xml version="1.0" encoding="utf-8"?>
<p:tagLst xmlns:a="http://schemas.openxmlformats.org/drawingml/2006/main" xmlns:r="http://schemas.openxmlformats.org/officeDocument/2006/relationships" xmlns:p="http://schemas.openxmlformats.org/presentationml/2006/main">
  <p:tag name="THINKCELLSHAPEDONOTDELETE" val="tI6e7AqBgb_U9AQAP43K5.w"/>
</p:tagLst>
</file>

<file path=ppt/tags/tag606.xml><?xml version="1.0" encoding="utf-8"?>
<p:tagLst xmlns:a="http://schemas.openxmlformats.org/drawingml/2006/main" xmlns:r="http://schemas.openxmlformats.org/officeDocument/2006/relationships" xmlns:p="http://schemas.openxmlformats.org/presentationml/2006/main">
  <p:tag name="THINKCELLSHAPEDONOTDELETE" val="tt8Wkkzi4Afu4Fl4ToiaYSg"/>
</p:tagLst>
</file>

<file path=ppt/tags/tag607.xml><?xml version="1.0" encoding="utf-8"?>
<p:tagLst xmlns:a="http://schemas.openxmlformats.org/drawingml/2006/main" xmlns:r="http://schemas.openxmlformats.org/officeDocument/2006/relationships" xmlns:p="http://schemas.openxmlformats.org/presentationml/2006/main">
  <p:tag name="THINKCELLSHAPEDONOTDELETE" val="tH1j7uKqggsfLcK0IiOBu6g"/>
</p:tagLst>
</file>

<file path=ppt/tags/tag608.xml><?xml version="1.0" encoding="utf-8"?>
<p:tagLst xmlns:a="http://schemas.openxmlformats.org/drawingml/2006/main" xmlns:r="http://schemas.openxmlformats.org/officeDocument/2006/relationships" xmlns:p="http://schemas.openxmlformats.org/presentationml/2006/main">
  <p:tag name="THINKCELLSHAPEDONOTDELETE" val="t.M5OT1K1jsv1PIxnB_Zpdg"/>
</p:tagLst>
</file>

<file path=ppt/tags/tag609.xml><?xml version="1.0" encoding="utf-8"?>
<p:tagLst xmlns:a="http://schemas.openxmlformats.org/drawingml/2006/main" xmlns:r="http://schemas.openxmlformats.org/officeDocument/2006/relationships" xmlns:p="http://schemas.openxmlformats.org/presentationml/2006/main">
  <p:tag name="THINKCELLSHAPEDONOTDELETE" val="t7nJ3ncUWJ3x_Z_SSEN5TVA"/>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NrcAbB4u0quRffFN3bn3Xw"/>
</p:tagLst>
</file>

<file path=ppt/tags/tag610.xml><?xml version="1.0" encoding="utf-8"?>
<p:tagLst xmlns:a="http://schemas.openxmlformats.org/drawingml/2006/main" xmlns:r="http://schemas.openxmlformats.org/officeDocument/2006/relationships" xmlns:p="http://schemas.openxmlformats.org/presentationml/2006/main">
  <p:tag name="THINKCELLSHAPEDONOTDELETE" val="tkuFfs.B0YLeO7f0BNabriw"/>
</p:tagLst>
</file>

<file path=ppt/tags/tag611.xml><?xml version="1.0" encoding="utf-8"?>
<p:tagLst xmlns:a="http://schemas.openxmlformats.org/drawingml/2006/main" xmlns:r="http://schemas.openxmlformats.org/officeDocument/2006/relationships" xmlns:p="http://schemas.openxmlformats.org/presentationml/2006/main">
  <p:tag name="THINKCELLSHAPEDONOTDELETE" val="tjo4yUpswGkLhPnRCIZWvLA"/>
</p:tagLst>
</file>

<file path=ppt/tags/tag612.xml><?xml version="1.0" encoding="utf-8"?>
<p:tagLst xmlns:a="http://schemas.openxmlformats.org/drawingml/2006/main" xmlns:r="http://schemas.openxmlformats.org/officeDocument/2006/relationships" xmlns:p="http://schemas.openxmlformats.org/presentationml/2006/main">
  <p:tag name="THINKCELLSHAPEDONOTDELETE" val="th6DInaDBkUFUMcSAW.lk_A"/>
</p:tagLst>
</file>

<file path=ppt/tags/tag613.xml><?xml version="1.0" encoding="utf-8"?>
<p:tagLst xmlns:a="http://schemas.openxmlformats.org/drawingml/2006/main" xmlns:r="http://schemas.openxmlformats.org/officeDocument/2006/relationships" xmlns:p="http://schemas.openxmlformats.org/presentationml/2006/main">
  <p:tag name="THINKCELLSHAPEDONOTDELETE" val="tWSUADeGplah8gIUNImdUwQ"/>
</p:tagLst>
</file>

<file path=ppt/tags/tag614.xml><?xml version="1.0" encoding="utf-8"?>
<p:tagLst xmlns:a="http://schemas.openxmlformats.org/drawingml/2006/main" xmlns:r="http://schemas.openxmlformats.org/officeDocument/2006/relationships" xmlns:p="http://schemas.openxmlformats.org/presentationml/2006/main">
  <p:tag name="THINKCELLSHAPEDONOTDELETE" val="tYRMfXG9iG1RjsY2YQmDbuA"/>
</p:tagLst>
</file>

<file path=ppt/tags/tag615.xml><?xml version="1.0" encoding="utf-8"?>
<p:tagLst xmlns:a="http://schemas.openxmlformats.org/drawingml/2006/main" xmlns:r="http://schemas.openxmlformats.org/officeDocument/2006/relationships" xmlns:p="http://schemas.openxmlformats.org/presentationml/2006/main">
  <p:tag name="THINKCELLSHAPEDONOTDELETE" val="tjRFpsXa0K2Uy31O4AbPDkw"/>
</p:tagLst>
</file>

<file path=ppt/tags/tag616.xml><?xml version="1.0" encoding="utf-8"?>
<p:tagLst xmlns:a="http://schemas.openxmlformats.org/drawingml/2006/main" xmlns:r="http://schemas.openxmlformats.org/officeDocument/2006/relationships" xmlns:p="http://schemas.openxmlformats.org/presentationml/2006/main">
  <p:tag name="THINKCELLSHAPEDONOTDELETE" val="tA.gQH_liRLG0rNjJ.rtROg"/>
</p:tagLst>
</file>

<file path=ppt/tags/tag617.xml><?xml version="1.0" encoding="utf-8"?>
<p:tagLst xmlns:a="http://schemas.openxmlformats.org/drawingml/2006/main" xmlns:r="http://schemas.openxmlformats.org/officeDocument/2006/relationships" xmlns:p="http://schemas.openxmlformats.org/presentationml/2006/main">
  <p:tag name="THINKCELLSHAPEDONOTDELETE" val="tTT3h0uDwc2XcsCSDmhwmfA"/>
</p:tagLst>
</file>

<file path=ppt/tags/tag618.xml><?xml version="1.0" encoding="utf-8"?>
<p:tagLst xmlns:a="http://schemas.openxmlformats.org/drawingml/2006/main" xmlns:r="http://schemas.openxmlformats.org/officeDocument/2006/relationships" xmlns:p="http://schemas.openxmlformats.org/presentationml/2006/main">
  <p:tag name="THINKCELLSHAPEDONOTDELETE" val="tbqCsgn1qoniOlMqPHXiS3Q"/>
</p:tagLst>
</file>

<file path=ppt/tags/tag619.xml><?xml version="1.0" encoding="utf-8"?>
<p:tagLst xmlns:a="http://schemas.openxmlformats.org/drawingml/2006/main" xmlns:r="http://schemas.openxmlformats.org/officeDocument/2006/relationships" xmlns:p="http://schemas.openxmlformats.org/presentationml/2006/main">
  <p:tag name="THINKCELLSHAPEDONOTDELETE" val="t4XL5Am6xqgsvSuKt.HeLEA"/>
</p:tagLst>
</file>

<file path=ppt/tags/tag6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20.xml><?xml version="1.0" encoding="utf-8"?>
<p:tagLst xmlns:a="http://schemas.openxmlformats.org/drawingml/2006/main" xmlns:r="http://schemas.openxmlformats.org/officeDocument/2006/relationships" xmlns:p="http://schemas.openxmlformats.org/presentationml/2006/main">
  <p:tag name="THINKCELLSHAPEDONOTDELETE" val="tEIoYa0EygN63RZQDCfyT5w"/>
</p:tagLst>
</file>

<file path=ppt/tags/tag621.xml><?xml version="1.0" encoding="utf-8"?>
<p:tagLst xmlns:a="http://schemas.openxmlformats.org/drawingml/2006/main" xmlns:r="http://schemas.openxmlformats.org/officeDocument/2006/relationships" xmlns:p="http://schemas.openxmlformats.org/presentationml/2006/main">
  <p:tag name="THINKCELLSHAPEDONOTDELETE" val="tpGXtGpBQL3z_Uy7B26QNnA"/>
</p:tagLst>
</file>

<file path=ppt/tags/tag622.xml><?xml version="1.0" encoding="utf-8"?>
<p:tagLst xmlns:a="http://schemas.openxmlformats.org/drawingml/2006/main" xmlns:r="http://schemas.openxmlformats.org/officeDocument/2006/relationships" xmlns:p="http://schemas.openxmlformats.org/presentationml/2006/main">
  <p:tag name="THINKCELLSHAPEDONOTDELETE" val="tCskFdD6GDVjfkazzzxsdEA"/>
</p:tagLst>
</file>

<file path=ppt/tags/tag623.xml><?xml version="1.0" encoding="utf-8"?>
<p:tagLst xmlns:a="http://schemas.openxmlformats.org/drawingml/2006/main" xmlns:r="http://schemas.openxmlformats.org/officeDocument/2006/relationships" xmlns:p="http://schemas.openxmlformats.org/presentationml/2006/main">
  <p:tag name="THINKCELLSHAPEDONOTDELETE" val="tWzqGzJCHwiINwMPav0FChQ"/>
</p:tagLst>
</file>

<file path=ppt/tags/tag624.xml><?xml version="1.0" encoding="utf-8"?>
<p:tagLst xmlns:a="http://schemas.openxmlformats.org/drawingml/2006/main" xmlns:r="http://schemas.openxmlformats.org/officeDocument/2006/relationships" xmlns:p="http://schemas.openxmlformats.org/presentationml/2006/main">
  <p:tag name="THINKCELLSHAPEDONOTDELETE" val="tr.kR3GRp6TwGP5y0LeeDJw"/>
</p:tagLst>
</file>

<file path=ppt/tags/tag625.xml><?xml version="1.0" encoding="utf-8"?>
<p:tagLst xmlns:a="http://schemas.openxmlformats.org/drawingml/2006/main" xmlns:r="http://schemas.openxmlformats.org/officeDocument/2006/relationships" xmlns:p="http://schemas.openxmlformats.org/presentationml/2006/main">
  <p:tag name="THINKCELLSHAPEDONOTDELETE" val="tjHs9Y.Jbx8as4xl4dpi28g"/>
</p:tagLst>
</file>

<file path=ppt/tags/tag626.xml><?xml version="1.0" encoding="utf-8"?>
<p:tagLst xmlns:a="http://schemas.openxmlformats.org/drawingml/2006/main" xmlns:r="http://schemas.openxmlformats.org/officeDocument/2006/relationships" xmlns:p="http://schemas.openxmlformats.org/presentationml/2006/main">
  <p:tag name="THINKCELLSHAPEDONOTDELETE" val="tx9uvLlbdNke.5EfZslVCMg"/>
</p:tagLst>
</file>

<file path=ppt/tags/tag627.xml><?xml version="1.0" encoding="utf-8"?>
<p:tagLst xmlns:a="http://schemas.openxmlformats.org/drawingml/2006/main" xmlns:r="http://schemas.openxmlformats.org/officeDocument/2006/relationships" xmlns:p="http://schemas.openxmlformats.org/presentationml/2006/main">
  <p:tag name="THINKCELLSHAPEDONOTDELETE" val="t_GdDxX3ymxQfJWNOT1spCQ"/>
</p:tagLst>
</file>

<file path=ppt/tags/tag628.xml><?xml version="1.0" encoding="utf-8"?>
<p:tagLst xmlns:a="http://schemas.openxmlformats.org/drawingml/2006/main" xmlns:r="http://schemas.openxmlformats.org/officeDocument/2006/relationships" xmlns:p="http://schemas.openxmlformats.org/presentationml/2006/main">
  <p:tag name="THINKCELLSHAPEDONOTDELETE" val="tIo_gi.MS.mcvrnvhmk_4hg"/>
</p:tagLst>
</file>

<file path=ppt/tags/tag629.xml><?xml version="1.0" encoding="utf-8"?>
<p:tagLst xmlns:a="http://schemas.openxmlformats.org/drawingml/2006/main" xmlns:r="http://schemas.openxmlformats.org/officeDocument/2006/relationships" xmlns:p="http://schemas.openxmlformats.org/presentationml/2006/main">
  <p:tag name="THINKCELLSHAPEDONOTDELETE" val="trY2yQ8oqwKDHG.MYA5q7yA"/>
</p:tagLst>
</file>

<file path=ppt/tags/tag63.xml><?xml version="1.0" encoding="utf-8"?>
<p:tagLst xmlns:a="http://schemas.openxmlformats.org/drawingml/2006/main" xmlns:r="http://schemas.openxmlformats.org/officeDocument/2006/relationships" xmlns:p="http://schemas.openxmlformats.org/presentationml/2006/main">
  <p:tag name="SHAPENAME" val="3. Subtitle"/>
</p:tagLst>
</file>

<file path=ppt/tags/tag630.xml><?xml version="1.0" encoding="utf-8"?>
<p:tagLst xmlns:a="http://schemas.openxmlformats.org/drawingml/2006/main" xmlns:r="http://schemas.openxmlformats.org/officeDocument/2006/relationships" xmlns:p="http://schemas.openxmlformats.org/presentationml/2006/main">
  <p:tag name="THINKCELLSHAPEDONOTDELETE" val="ti0iwmVn2Y_UblmM5_cuRnw"/>
</p:tagLst>
</file>

<file path=ppt/tags/tag631.xml><?xml version="1.0" encoding="utf-8"?>
<p:tagLst xmlns:a="http://schemas.openxmlformats.org/drawingml/2006/main" xmlns:r="http://schemas.openxmlformats.org/officeDocument/2006/relationships" xmlns:p="http://schemas.openxmlformats.org/presentationml/2006/main">
  <p:tag name="THINKCELLSHAPEDONOTDELETE" val="thiRaZWMbsIsI3H1ZhYk4eQ"/>
</p:tagLst>
</file>

<file path=ppt/tags/tag632.xml><?xml version="1.0" encoding="utf-8"?>
<p:tagLst xmlns:a="http://schemas.openxmlformats.org/drawingml/2006/main" xmlns:r="http://schemas.openxmlformats.org/officeDocument/2006/relationships" xmlns:p="http://schemas.openxmlformats.org/presentationml/2006/main">
  <p:tag name="THINKCELLSHAPEDONOTDELETE" val="ttWsCkoFR6aQwiM598_OcrA"/>
</p:tagLst>
</file>

<file path=ppt/tags/tag633.xml><?xml version="1.0" encoding="utf-8"?>
<p:tagLst xmlns:a="http://schemas.openxmlformats.org/drawingml/2006/main" xmlns:r="http://schemas.openxmlformats.org/officeDocument/2006/relationships" xmlns:p="http://schemas.openxmlformats.org/presentationml/2006/main">
  <p:tag name="THINKCELLSHAPEDONOTDELETE" val="tIeKsDG5Vq_feUfm594td2w"/>
</p:tagLst>
</file>

<file path=ppt/tags/tag634.xml><?xml version="1.0" encoding="utf-8"?>
<p:tagLst xmlns:a="http://schemas.openxmlformats.org/drawingml/2006/main" xmlns:r="http://schemas.openxmlformats.org/officeDocument/2006/relationships" xmlns:p="http://schemas.openxmlformats.org/presentationml/2006/main">
  <p:tag name="THINKCELLSHAPEDONOTDELETE" val="tMkU0VhIUi5qmckQFLsBboA"/>
</p:tagLst>
</file>

<file path=ppt/tags/tag635.xml><?xml version="1.0" encoding="utf-8"?>
<p:tagLst xmlns:a="http://schemas.openxmlformats.org/drawingml/2006/main" xmlns:r="http://schemas.openxmlformats.org/officeDocument/2006/relationships" xmlns:p="http://schemas.openxmlformats.org/presentationml/2006/main">
  <p:tag name="THINKCELLSHAPEDONOTDELETE" val="t.L6P.9Wbx5gt8kJZeEiD8g"/>
</p:tagLst>
</file>

<file path=ppt/tags/tag636.xml><?xml version="1.0" encoding="utf-8"?>
<p:tagLst xmlns:a="http://schemas.openxmlformats.org/drawingml/2006/main" xmlns:r="http://schemas.openxmlformats.org/officeDocument/2006/relationships" xmlns:p="http://schemas.openxmlformats.org/presentationml/2006/main">
  <p:tag name="THINKCELLSHAPEDONOTDELETE" val="tgxp8HqAkDm5c58q9JsYj1w"/>
</p:tagLst>
</file>

<file path=ppt/tags/tag637.xml><?xml version="1.0" encoding="utf-8"?>
<p:tagLst xmlns:a="http://schemas.openxmlformats.org/drawingml/2006/main" xmlns:r="http://schemas.openxmlformats.org/officeDocument/2006/relationships" xmlns:p="http://schemas.openxmlformats.org/presentationml/2006/main">
  <p:tag name="THINKCELLSHAPEDONOTDELETE" val="t6rBeQ9kJyTdREhIF8xoC6Q"/>
</p:tagLst>
</file>

<file path=ppt/tags/tag638.xml><?xml version="1.0" encoding="utf-8"?>
<p:tagLst xmlns:a="http://schemas.openxmlformats.org/drawingml/2006/main" xmlns:r="http://schemas.openxmlformats.org/officeDocument/2006/relationships" xmlns:p="http://schemas.openxmlformats.org/presentationml/2006/main">
  <p:tag name="THINKCELLSHAPEDONOTDELETE" val="tQl_wlq2FatqZTGrKP8moww"/>
</p:tagLst>
</file>

<file path=ppt/tags/tag639.xml><?xml version="1.0" encoding="utf-8"?>
<p:tagLst xmlns:a="http://schemas.openxmlformats.org/drawingml/2006/main" xmlns:r="http://schemas.openxmlformats.org/officeDocument/2006/relationships" xmlns:p="http://schemas.openxmlformats.org/presentationml/2006/main">
  <p:tag name="THINKCELLSHAPEDONOTDELETE" val="tfe9WGX9dTyxgU29GdZ6dvA"/>
</p:tagLst>
</file>

<file path=ppt/tags/tag6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40.xml><?xml version="1.0" encoding="utf-8"?>
<p:tagLst xmlns:a="http://schemas.openxmlformats.org/drawingml/2006/main" xmlns:r="http://schemas.openxmlformats.org/officeDocument/2006/relationships" xmlns:p="http://schemas.openxmlformats.org/presentationml/2006/main">
  <p:tag name="THINKCELLSHAPEDONOTDELETE" val="t1ZKG1duh6ADnR4aLs.eh0g"/>
</p:tagLst>
</file>

<file path=ppt/tags/tag641.xml><?xml version="1.0" encoding="utf-8"?>
<p:tagLst xmlns:a="http://schemas.openxmlformats.org/drawingml/2006/main" xmlns:r="http://schemas.openxmlformats.org/officeDocument/2006/relationships" xmlns:p="http://schemas.openxmlformats.org/presentationml/2006/main">
  <p:tag name="THINKCELLSHAPEDONOTDELETE" val="t.kYt9LQR4BFpZhdi495ytg"/>
</p:tagLst>
</file>

<file path=ppt/tags/tag642.xml><?xml version="1.0" encoding="utf-8"?>
<p:tagLst xmlns:a="http://schemas.openxmlformats.org/drawingml/2006/main" xmlns:r="http://schemas.openxmlformats.org/officeDocument/2006/relationships" xmlns:p="http://schemas.openxmlformats.org/presentationml/2006/main">
  <p:tag name="THINKCELLSHAPEDONOTDELETE" val="tsW1hDI9Xu4u4_TCpJPO8dg"/>
</p:tagLst>
</file>

<file path=ppt/tags/tag643.xml><?xml version="1.0" encoding="utf-8"?>
<p:tagLst xmlns:a="http://schemas.openxmlformats.org/drawingml/2006/main" xmlns:r="http://schemas.openxmlformats.org/officeDocument/2006/relationships" xmlns:p="http://schemas.openxmlformats.org/presentationml/2006/main">
  <p:tag name="THINKCELLSHAPEDONOTDELETE" val="tYR4H6Mn04Eh_nDUlNYHEBA"/>
</p:tagLst>
</file>

<file path=ppt/tags/tag644.xml><?xml version="1.0" encoding="utf-8"?>
<p:tagLst xmlns:a="http://schemas.openxmlformats.org/drawingml/2006/main" xmlns:r="http://schemas.openxmlformats.org/officeDocument/2006/relationships" xmlns:p="http://schemas.openxmlformats.org/presentationml/2006/main">
  <p:tag name="NAME" val="LineSeparatorDefault"/>
</p:tagLst>
</file>

<file path=ppt/tags/tag645.xml><?xml version="1.0" encoding="utf-8"?>
<p:tagLst xmlns:a="http://schemas.openxmlformats.org/drawingml/2006/main" xmlns:r="http://schemas.openxmlformats.org/officeDocument/2006/relationships" xmlns:p="http://schemas.openxmlformats.org/presentationml/2006/main">
  <p:tag name="NAME" val="LineSeparatorStrong"/>
</p:tagLst>
</file>

<file path=ppt/tags/tag646.xml><?xml version="1.0" encoding="utf-8"?>
<p:tagLst xmlns:a="http://schemas.openxmlformats.org/drawingml/2006/main" xmlns:r="http://schemas.openxmlformats.org/officeDocument/2006/relationships" xmlns:p="http://schemas.openxmlformats.org/presentationml/2006/main">
  <p:tag name="NAME" val="LineSeparatorStrong"/>
</p:tagLst>
</file>

<file path=ppt/tags/tag647.xml><?xml version="1.0" encoding="utf-8"?>
<p:tagLst xmlns:a="http://schemas.openxmlformats.org/drawingml/2006/main" xmlns:r="http://schemas.openxmlformats.org/officeDocument/2006/relationships" xmlns:p="http://schemas.openxmlformats.org/presentationml/2006/main">
  <p:tag name="NAME" val="LineSeparatorDefault"/>
</p:tagLst>
</file>

<file path=ppt/tags/tag65.xml><?xml version="1.0" encoding="utf-8"?>
<p:tagLst xmlns:a="http://schemas.openxmlformats.org/drawingml/2006/main" xmlns:r="http://schemas.openxmlformats.org/officeDocument/2006/relationships" xmlns:p="http://schemas.openxmlformats.org/presentationml/2006/main">
  <p:tag name="SHAPENAME" val="5. Sourc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YG_9mniplMrafceMpP.Qwg"/>
</p:tagLst>
</file>

<file path=ppt/tags/tag68.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6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7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1.xml><?xml version="1.0" encoding="utf-8"?>
<p:tagLst xmlns:a="http://schemas.openxmlformats.org/drawingml/2006/main" xmlns:r="http://schemas.openxmlformats.org/officeDocument/2006/relationships" xmlns:p="http://schemas.openxmlformats.org/presentationml/2006/main">
  <p:tag name="SHAPENAME" val="3. Subtitle"/>
</p:tagLst>
</file>

<file path=ppt/tags/tag72.xml><?xml version="1.0" encoding="utf-8"?>
<p:tagLst xmlns:a="http://schemas.openxmlformats.org/drawingml/2006/main" xmlns:r="http://schemas.openxmlformats.org/officeDocument/2006/relationships" xmlns:p="http://schemas.openxmlformats.org/presentationml/2006/main">
  <p:tag name="SHAPENAME" val="5. Sourc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bEQ8aI7AKzsdxigcAG3ZA"/>
</p:tagLst>
</file>

<file path=ppt/tags/tag75.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7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8.xml><?xml version="1.0" encoding="utf-8"?>
<p:tagLst xmlns:a="http://schemas.openxmlformats.org/drawingml/2006/main" xmlns:r="http://schemas.openxmlformats.org/officeDocument/2006/relationships" xmlns:p="http://schemas.openxmlformats.org/presentationml/2006/main">
  <p:tag name="SHAPENAME" val="3. Subtitle"/>
</p:tagLst>
</file>

<file path=ppt/tags/tag79.xml><?xml version="1.0" encoding="utf-8"?>
<p:tagLst xmlns:a="http://schemas.openxmlformats.org/drawingml/2006/main" xmlns:r="http://schemas.openxmlformats.org/officeDocument/2006/relationships" xmlns:p="http://schemas.openxmlformats.org/presentationml/2006/main">
  <p:tag name="SHAPENAME" val="5. Source"/>
</p:tagLst>
</file>

<file path=ppt/tags/tag8.xml><?xml version="1.0" encoding="utf-8"?>
<p:tagLst xmlns:a="http://schemas.openxmlformats.org/drawingml/2006/main" xmlns:r="http://schemas.openxmlformats.org/officeDocument/2006/relationships" xmlns:p="http://schemas.openxmlformats.org/presentationml/2006/main">
  <p:tag name="NAME" val="Moon"/>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BLvs1S2qnQw1aA01IUaglg"/>
</p:tagLst>
</file>

<file path=ppt/tags/tag82.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8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5.xml><?xml version="1.0" encoding="utf-8"?>
<p:tagLst xmlns:a="http://schemas.openxmlformats.org/drawingml/2006/main" xmlns:r="http://schemas.openxmlformats.org/officeDocument/2006/relationships" xmlns:p="http://schemas.openxmlformats.org/presentationml/2006/main">
  <p:tag name="SHAPENAME" val="3. Subtitle"/>
</p:tagLst>
</file>

<file path=ppt/tags/tag86.xml><?xml version="1.0" encoding="utf-8"?>
<p:tagLst xmlns:a="http://schemas.openxmlformats.org/drawingml/2006/main" xmlns:r="http://schemas.openxmlformats.org/officeDocument/2006/relationships" xmlns:p="http://schemas.openxmlformats.org/presentationml/2006/main">
  <p:tag name="SHAPENAME" val="5. Sourc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qUyDlDqWonv3hoAx.p9Rsw"/>
</p:tagLst>
</file>

<file path=ppt/tags/tag8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9.xml><?xml version="1.0" encoding="utf-8"?>
<p:tagLst xmlns:a="http://schemas.openxmlformats.org/drawingml/2006/main" xmlns:r="http://schemas.openxmlformats.org/officeDocument/2006/relationships" xmlns:p="http://schemas.openxmlformats.org/presentationml/2006/main">
  <p:tag name="NAME" val="Moon"/>
</p:tagLst>
</file>

<file path=ppt/tags/tag90.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9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2.xml><?xml version="1.0" encoding="utf-8"?>
<p:tagLst xmlns:a="http://schemas.openxmlformats.org/drawingml/2006/main" xmlns:r="http://schemas.openxmlformats.org/officeDocument/2006/relationships" xmlns:p="http://schemas.openxmlformats.org/presentationml/2006/main">
  <p:tag name="SHAPENAME" val="3. Subtitle"/>
</p:tagLst>
</file>

<file path=ppt/tags/tag93.xml><?xml version="1.0" encoding="utf-8"?>
<p:tagLst xmlns:a="http://schemas.openxmlformats.org/drawingml/2006/main" xmlns:r="http://schemas.openxmlformats.org/officeDocument/2006/relationships" xmlns:p="http://schemas.openxmlformats.org/presentationml/2006/main">
  <p:tag name="SHAPENAME" val="5. Sourc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o9xgrPArEB1mEiMOhB5KGA"/>
</p:tagLst>
</file>

<file path=ppt/tags/tag96.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9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99.xml><?xml version="1.0" encoding="utf-8"?>
<p:tagLst xmlns:a="http://schemas.openxmlformats.org/drawingml/2006/main" xmlns:r="http://schemas.openxmlformats.org/officeDocument/2006/relationships" xmlns:p="http://schemas.openxmlformats.org/presentationml/2006/main">
  <p:tag name="SHAPENAME" val="3. Subtitle"/>
</p:tagLst>
</file>

<file path=ppt/theme/theme1.xml><?xml version="1.0" encoding="utf-8"?>
<a:theme xmlns:a="http://schemas.openxmlformats.org/drawingml/2006/main" name="Office Theme">
  <a:themeElements>
    <a:clrScheme name="Custom 3">
      <a:dk1>
        <a:srgbClr val="214877"/>
      </a:dk1>
      <a:lt1>
        <a:sysClr val="window" lastClr="FFFFFF"/>
      </a:lt1>
      <a:dk2>
        <a:srgbClr val="1C1C1C"/>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Custom 5">
      <a:majorFont>
        <a:latin typeface="Franklin Gothic Demi Cond"/>
        <a:ea typeface=""/>
        <a:cs typeface=""/>
      </a:majorFont>
      <a:minorFont>
        <a:latin typeface="Franklin Gothic Boo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Office Theme">
  <a:themeElements>
    <a:clrScheme name="Office Them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Them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4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National Academies PPT">
  <a:themeElements>
    <a:clrScheme name="Custom 1">
      <a:dk1>
        <a:srgbClr val="3B3B3C"/>
      </a:dk1>
      <a:lt1>
        <a:sysClr val="window" lastClr="FFFFFF"/>
      </a:lt1>
      <a:dk2>
        <a:srgbClr val="211747"/>
      </a:dk2>
      <a:lt2>
        <a:srgbClr val="F3F1EB"/>
      </a:lt2>
      <a:accent1>
        <a:srgbClr val="211747"/>
      </a:accent1>
      <a:accent2>
        <a:srgbClr val="4148C2"/>
      </a:accent2>
      <a:accent3>
        <a:srgbClr val="E269A0"/>
      </a:accent3>
      <a:accent4>
        <a:srgbClr val="FEDA6C"/>
      </a:accent4>
      <a:accent5>
        <a:srgbClr val="7ADBF0"/>
      </a:accent5>
      <a:accent6>
        <a:srgbClr val="DCF9E5"/>
      </a:accent6>
      <a:hlink>
        <a:srgbClr val="FFFFFF"/>
      </a:hlink>
      <a:folHlink>
        <a:srgbClr val="954F72"/>
      </a:folHlink>
    </a:clrScheme>
    <a:fontScheme name="National Academies Office Fonts">
      <a:majorFont>
        <a:latin typeface="Georgia"/>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lgn="l">
          <a:defRPr sz="1400" dirty="0" err="1" smtClean="0"/>
        </a:defPPr>
      </a:lstStyle>
    </a:txDef>
  </a:objectDefaults>
  <a:extraClrSchemeLst/>
  <a:extLst>
    <a:ext uri="{05A4C25C-085E-4340-85A3-A5531E510DB2}">
      <thm15:themeFamily xmlns:thm15="http://schemas.microsoft.com/office/thememl/2012/main" name="National Academies PPT" id="{5603DE5C-5C8F-F847-A415-82E7F7825A94}" vid="{E37FF712-3111-0F44-83D0-0408AE42B9F8}"/>
    </a:ext>
  </a:extLst>
</a:theme>
</file>

<file path=ppt/theme/theme5.xml><?xml version="1.0" encoding="utf-8"?>
<a:theme xmlns:a="http://schemas.openxmlformats.org/drawingml/2006/main" name="1_National Academies PPT">
  <a:themeElements>
    <a:clrScheme name="National Academies Office Colors">
      <a:dk1>
        <a:srgbClr val="3B3B3C"/>
      </a:dk1>
      <a:lt1>
        <a:sysClr val="window" lastClr="FFFFFF"/>
      </a:lt1>
      <a:dk2>
        <a:srgbClr val="211747"/>
      </a:dk2>
      <a:lt2>
        <a:srgbClr val="F3F1EB"/>
      </a:lt2>
      <a:accent1>
        <a:srgbClr val="211747"/>
      </a:accent1>
      <a:accent2>
        <a:srgbClr val="4148C2"/>
      </a:accent2>
      <a:accent3>
        <a:srgbClr val="E269A0"/>
      </a:accent3>
      <a:accent4>
        <a:srgbClr val="FEDA6C"/>
      </a:accent4>
      <a:accent5>
        <a:srgbClr val="7ADBF0"/>
      </a:accent5>
      <a:accent6>
        <a:srgbClr val="DCF9E5"/>
      </a:accent6>
      <a:hlink>
        <a:srgbClr val="0563C1"/>
      </a:hlink>
      <a:folHlink>
        <a:srgbClr val="954F72"/>
      </a:folHlink>
    </a:clrScheme>
    <a:fontScheme name="National Academies Office Fonts">
      <a:majorFont>
        <a:latin typeface="Georgia"/>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lgn="l">
          <a:defRPr sz="1400" dirty="0" err="1" smtClean="0"/>
        </a:defPPr>
      </a:lstStyle>
    </a:txDef>
  </a:objectDefaults>
  <a:extraClrSchemeLst/>
  <a:extLst>
    <a:ext uri="{05A4C25C-085E-4340-85A3-A5531E510DB2}">
      <thm15:themeFamily xmlns:thm15="http://schemas.microsoft.com/office/thememl/2012/main" name="National Academies PPT" id="{5603DE5C-5C8F-F847-A415-82E7F7825A94}" vid="{E37FF712-3111-0F44-83D0-0408AE42B9F8}"/>
    </a:ext>
  </a:extLst>
</a:theme>
</file>

<file path=ppt/theme/theme6.xml><?xml version="1.0" encoding="utf-8"?>
<a:theme xmlns:a="http://schemas.openxmlformats.org/drawingml/2006/main" name="3_White">
  <a:themeElements>
    <a:clrScheme name="Scheme1">
      <a:dk1>
        <a:srgbClr val="000000"/>
      </a:dk1>
      <a:lt1>
        <a:srgbClr val="FFFFFF"/>
      </a:lt1>
      <a:dk2>
        <a:srgbClr val="FFFFFF"/>
      </a:dk2>
      <a:lt2>
        <a:srgbClr val="FFFFFF"/>
      </a:lt2>
      <a:accent1>
        <a:srgbClr val="00652E"/>
      </a:accent1>
      <a:accent2>
        <a:srgbClr val="7CC110"/>
      </a:accent2>
      <a:accent3>
        <a:srgbClr val="00B050"/>
      </a:accent3>
      <a:accent4>
        <a:srgbClr val="D5F79F"/>
      </a:accent4>
      <a:accent5>
        <a:srgbClr val="292929"/>
      </a:accent5>
      <a:accent6>
        <a:srgbClr val="4D4D4D"/>
      </a:accent6>
      <a:hlink>
        <a:srgbClr val="0000FF"/>
      </a:hlink>
      <a:folHlink>
        <a:srgbClr val="800080"/>
      </a:folHlink>
    </a:clrScheme>
    <a:fontScheme name="Custom">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1">
        <a:dk1>
          <a:srgbClr val="000000"/>
        </a:dk1>
        <a:lt1>
          <a:srgbClr val="FFFFFF"/>
        </a:lt1>
        <a:dk2>
          <a:srgbClr val="FFFFFF"/>
        </a:dk2>
        <a:lt2>
          <a:srgbClr val="FFFFFF"/>
        </a:lt2>
        <a:accent1>
          <a:srgbClr val="00652E"/>
        </a:accent1>
        <a:accent2>
          <a:srgbClr val="7CC110"/>
        </a:accent2>
        <a:accent3>
          <a:srgbClr val="00B050"/>
        </a:accent3>
        <a:accent4>
          <a:srgbClr val="D5F79F"/>
        </a:accent4>
        <a:accent5>
          <a:srgbClr val="292929"/>
        </a:accent5>
        <a:accent6>
          <a:srgbClr val="4D4D4D"/>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Lst>
  <a:extLst>
    <a:ext uri="{05A4C25C-085E-4340-85A3-A5531E510DB2}">
      <thm15:themeFamily xmlns:thm15="http://schemas.microsoft.com/office/thememl/2012/main" name="US1471_OFF.potx" id="{2FF31E4E-F172-416F-8389-12BFF18243B2}" vid="{5B6AA396-1A4C-46A0-AA42-D2FA958A98C4}"/>
    </a:ext>
  </a:extLst>
</a:theme>
</file>

<file path=ppt/theme/theme7.xml><?xml version="1.0" encoding="utf-8"?>
<a:theme xmlns:a="http://schemas.openxmlformats.org/drawingml/2006/main" name="2_White">
  <a:themeElements>
    <a:clrScheme name="Scheme1">
      <a:dk1>
        <a:srgbClr val="000000"/>
      </a:dk1>
      <a:lt1>
        <a:srgbClr val="FFFFFF"/>
      </a:lt1>
      <a:dk2>
        <a:srgbClr val="FFFFFF"/>
      </a:dk2>
      <a:lt2>
        <a:srgbClr val="FFFFFF"/>
      </a:lt2>
      <a:accent1>
        <a:srgbClr val="00652E"/>
      </a:accent1>
      <a:accent2>
        <a:srgbClr val="7CC110"/>
      </a:accent2>
      <a:accent3>
        <a:srgbClr val="00B050"/>
      </a:accent3>
      <a:accent4>
        <a:srgbClr val="D5F79F"/>
      </a:accent4>
      <a:accent5>
        <a:srgbClr val="292929"/>
      </a:accent5>
      <a:accent6>
        <a:srgbClr val="4D4D4D"/>
      </a:accent6>
      <a:hlink>
        <a:srgbClr val="0000FF"/>
      </a:hlink>
      <a:folHlink>
        <a:srgbClr val="800080"/>
      </a:folHlink>
    </a:clrScheme>
    <a:fontScheme name="Custom">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1">
        <a:dk1>
          <a:srgbClr val="000000"/>
        </a:dk1>
        <a:lt1>
          <a:srgbClr val="FFFFFF"/>
        </a:lt1>
        <a:dk2>
          <a:srgbClr val="FFFFFF"/>
        </a:dk2>
        <a:lt2>
          <a:srgbClr val="FFFFFF"/>
        </a:lt2>
        <a:accent1>
          <a:srgbClr val="00652E"/>
        </a:accent1>
        <a:accent2>
          <a:srgbClr val="7CC110"/>
        </a:accent2>
        <a:accent3>
          <a:srgbClr val="00B050"/>
        </a:accent3>
        <a:accent4>
          <a:srgbClr val="D5F79F"/>
        </a:accent4>
        <a:accent5>
          <a:srgbClr val="292929"/>
        </a:accent5>
        <a:accent6>
          <a:srgbClr val="4D4D4D"/>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Lst>
  <a:extLst>
    <a:ext uri="{05A4C25C-085E-4340-85A3-A5531E510DB2}">
      <thm15:themeFamily xmlns:thm15="http://schemas.microsoft.com/office/thememl/2012/main" name="US1471_OFF.potx" id="{2FF31E4E-F172-416F-8389-12BFF18243B2}" vid="{5B6AA396-1A4C-46A0-AA42-D2FA958A98C4}"/>
    </a:ext>
  </a:ext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D878BA840E264041A8A938721554CDF0" ma:contentTypeVersion="15" ma:contentTypeDescription="Create a new document." ma:contentTypeScope="" ma:versionID="30a9e779abd06274bfc2f6093d7bb2ce">
  <xsd:schema xmlns:xsd="http://www.w3.org/2001/XMLSchema" xmlns:xs="http://www.w3.org/2001/XMLSchema" xmlns:p="http://schemas.microsoft.com/office/2006/metadata/properties" xmlns:ns2="55bb7a7b-ea7a-4bb0-b24a-d4297f0c0a93" xmlns:ns3="d06c844e-3888-4d7e-9476-f8018e5472cf" xmlns:ns4="0a20205c-0631-4ff0-81c6-46eee12fe7e9" targetNamespace="http://schemas.microsoft.com/office/2006/metadata/properties" ma:root="true" ma:fieldsID="6d34299205a48589f8c457ad3b3d2def" ns2:_="" ns3:_="" ns4:_="">
    <xsd:import namespace="55bb7a7b-ea7a-4bb0-b24a-d4297f0c0a93"/>
    <xsd:import namespace="d06c844e-3888-4d7e-9476-f8018e5472cf"/>
    <xsd:import namespace="0a20205c-0631-4ff0-81c6-46eee12fe7e9"/>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AutoTags" minOccurs="0"/>
                <xsd:element ref="ns2:MediaServiceOCR" minOccurs="0"/>
                <xsd:element ref="ns2:MediaServiceGenerationTime" minOccurs="0"/>
                <xsd:element ref="ns2:MediaServiceEventHashCode" minOccurs="0"/>
                <xsd:element ref="ns2:MediaServiceDateTaken" minOccurs="0"/>
                <xsd:element ref="ns2:MediaLengthInSeconds" minOccurs="0"/>
                <xsd:element ref="ns2:MediaServiceLocation" minOccurs="0"/>
                <xsd:element ref="ns2:lcf76f155ced4ddcb4097134ff3c332f" minOccurs="0"/>
                <xsd:element ref="ns4:TaxCatchAll" minOccurs="0"/>
                <xsd:element ref="ns2: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5bb7a7b-ea7a-4bb0-b24a-d4297f0c0a93"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2" nillable="true" ma:displayName="Tags" ma:internalName="MediaServiceAutoTags" ma:readOnly="true">
      <xsd:simpleType>
        <xsd:restriction base="dms:Text"/>
      </xsd:simpleType>
    </xsd:element>
    <xsd:element name="MediaServiceOCR" ma:index="13" nillable="true" ma:displayName="Extracted Text" ma:internalName="MediaServiceOCR"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MediaLengthInSeconds" ma:index="17" nillable="true" ma:displayName="Length (seconds)" ma:internalName="MediaLengthInSeconds" ma:readOnly="true">
      <xsd:simpleType>
        <xsd:restriction base="dms:Unknown"/>
      </xsd:simpleType>
    </xsd:element>
    <xsd:element name="MediaServiceLocation" ma:index="18" nillable="true" ma:displayName="Location" ma:internalName="MediaServiceLocation"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26d46bd7-4a58-4bc0-a217-7245e6e70419"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description="" ma:hidden="true" ma:indexed="true" ma:internalName="MediaServiceObjectDetectorVersion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d06c844e-3888-4d7e-9476-f8018e5472cf"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0a20205c-0631-4ff0-81c6-46eee12fe7e9" elementFormDefault="qualified">
    <xsd:import namespace="http://schemas.microsoft.com/office/2006/documentManagement/types"/>
    <xsd:import namespace="http://schemas.microsoft.com/office/infopath/2007/PartnerControls"/>
    <xsd:element name="TaxCatchAll" ma:index="21" nillable="true" ma:displayName="Taxonomy Catch All Column" ma:hidden="true" ma:list="{e60020e9-44d1-4629-a3ff-5db6e7b39b5f}" ma:internalName="TaxCatchAll" ma:showField="CatchAllData" ma:web="d06c844e-3888-4d7e-9476-f8018e5472c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TaxCatchAll xmlns="0a20205c-0631-4ff0-81c6-46eee12fe7e9" xsi:nil="true"/>
    <lcf76f155ced4ddcb4097134ff3c332f xmlns="55bb7a7b-ea7a-4bb0-b24a-d4297f0c0a93">
      <Terms xmlns="http://schemas.microsoft.com/office/infopath/2007/PartnerControls"/>
    </lcf76f155ced4ddcb4097134ff3c332f>
    <SharedWithUsers xmlns="d06c844e-3888-4d7e-9476-f8018e5472cf">
      <UserInfo>
        <DisplayName/>
        <AccountId xsi:nil="true"/>
        <AccountType/>
      </UserInfo>
    </SharedWithUsers>
  </documentManagement>
</p:properties>
</file>

<file path=customXml/itemProps1.xml><?xml version="1.0" encoding="utf-8"?>
<ds:datastoreItem xmlns:ds="http://schemas.openxmlformats.org/officeDocument/2006/customXml" ds:itemID="{2B4C3158-9954-4B8D-BFB2-45EA85F9FAA3}">
  <ds:schemaRefs>
    <ds:schemaRef ds:uri="http://schemas.microsoft.com/sharepoint/v3/contenttype/forms"/>
  </ds:schemaRefs>
</ds:datastoreItem>
</file>

<file path=customXml/itemProps2.xml><?xml version="1.0" encoding="utf-8"?>
<ds:datastoreItem xmlns:ds="http://schemas.openxmlformats.org/officeDocument/2006/customXml" ds:itemID="{70C4194E-2947-48BA-99C6-A2ADFD158F60}">
  <ds:schemaRefs>
    <ds:schemaRef ds:uri="0a20205c-0631-4ff0-81c6-46eee12fe7e9"/>
    <ds:schemaRef ds:uri="55bb7a7b-ea7a-4bb0-b24a-d4297f0c0a93"/>
    <ds:schemaRef ds:uri="d06c844e-3888-4d7e-9476-f8018e5472cf"/>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77478934-0515-4A16-956F-17F62A579E2F}">
  <ds:schemaRefs>
    <ds:schemaRef ds:uri="0a20205c-0631-4ff0-81c6-46eee12fe7e9"/>
    <ds:schemaRef ds:uri="55bb7a7b-ea7a-4bb0-b24a-d4297f0c0a93"/>
    <ds:schemaRef ds:uri="d06c844e-3888-4d7e-9476-f8018e5472cf"/>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
  <Application>Microsoft Office PowerPoint</Application>
  <PresentationFormat>Widescreen</PresentationFormat>
  <Slides>109</Slides>
  <Notes>47</Notes>
  <HiddenSlides>0</HiddenSlides>
  <ScaleCrop>false</ScaleCrop>
  <HeadingPairs>
    <vt:vector size="4" baseType="variant">
      <vt:variant>
        <vt:lpstr>Theme</vt:lpstr>
      </vt:variant>
      <vt:variant>
        <vt:i4>7</vt:i4>
      </vt:variant>
      <vt:variant>
        <vt:lpstr>Slide Titles</vt:lpstr>
      </vt:variant>
      <vt:variant>
        <vt:i4>109</vt:i4>
      </vt:variant>
    </vt:vector>
  </HeadingPairs>
  <TitlesOfParts>
    <vt:vector size="116" baseType="lpstr">
      <vt:lpstr>Office Theme</vt:lpstr>
      <vt:lpstr>1_Office Theme</vt:lpstr>
      <vt:lpstr>4_Office Theme</vt:lpstr>
      <vt:lpstr>National Academies PPT</vt:lpstr>
      <vt:lpstr>1_National Academies PPT</vt:lpstr>
      <vt:lpstr>3_White</vt:lpstr>
      <vt:lpstr>2_White</vt:lpstr>
      <vt:lpstr>Nuclear Energy Advisory Committee (NEAC) Meeting</vt:lpstr>
      <vt:lpstr>Overview of today’s agenda</vt:lpstr>
      <vt:lpstr>Opening Remarks</vt:lpstr>
      <vt:lpstr>Office of Nuclear Energy Update</vt:lpstr>
      <vt:lpstr>Briefing on the Nuclear Energy Liftoff Reports</vt:lpstr>
      <vt:lpstr>Pathways to Commercial Liftoff</vt:lpstr>
      <vt:lpstr>Liftoff reports are a cross-DOE effort to create a shared fact base for answering key investor and stakeholder questions</vt:lpstr>
      <vt:lpstr>Advanced nuclear includes five major technology types across two generations</vt:lpstr>
      <vt:lpstr>Achieving net-zero in the U.S. by 2050 would require ~550–770 GW of additional clean, firm capacity</vt:lpstr>
      <vt:lpstr>Nuclear has a unique value proposition for the net-zero grid</vt:lpstr>
      <vt:lpstr>Nuclear is expected to be cost competitive with other clean firm resources</vt:lpstr>
      <vt:lpstr>Three key stages inform path to deploying advanced nuclear at scale</vt:lpstr>
      <vt:lpstr>Waiting until mid-2030s to deploy at scale could lead to missing decarbonization targets or overbuilding supply chain</vt:lpstr>
      <vt:lpstr>Vogtle root causes and systemic issues</vt:lpstr>
      <vt:lpstr>Why will new projects be different than recent over-budget builds? </vt:lpstr>
      <vt:lpstr>Catalyzing the orderbook may require interventions to help manage completion risk</vt:lpstr>
      <vt:lpstr>Advanced Nuclear Pathways to Commercial Liftoff: Executive Summary </vt:lpstr>
      <vt:lpstr>Modeling results show demand for 200+GW of new nuclear capacity </vt:lpstr>
      <vt:lpstr>LCOE expected to achieve sub $60/MWh if capex costs reach &lt;$5000k/kW</vt:lpstr>
      <vt:lpstr>The IRA provides a powerful boost to nuclear power economics, but may not be sufficient to accelerate commitments for deployment at scale</vt:lpstr>
      <vt:lpstr>Small modular reactors can provide more certainty of hitting a predicted cost target</vt:lpstr>
      <vt:lpstr>Demonstration programs are underway to demonstrate the technological viability of novel nuclear technologies</vt:lpstr>
      <vt:lpstr>Break</vt:lpstr>
      <vt:lpstr>Briefing on the National Academies of Science Advanced Reactor Report</vt:lpstr>
      <vt:lpstr>PowerPoint Presentation</vt:lpstr>
      <vt:lpstr>PowerPoint Presentation</vt:lpstr>
      <vt:lpstr>The Current State of Nuclear Power in the U.S. </vt:lpstr>
      <vt:lpstr>U.S. Demand for Electricity Projected to Grow</vt:lpstr>
      <vt:lpstr>About the Study</vt:lpstr>
      <vt:lpstr>About the Study – Scope</vt:lpstr>
      <vt:lpstr>The Evolving Electricity System:  Different Opportunities and Challenges Every Decade</vt:lpstr>
      <vt:lpstr>Core Variables Crucial for Commercial Success</vt:lpstr>
      <vt:lpstr>What Are New and Advanced Nuclear Reactors?</vt:lpstr>
      <vt:lpstr>Reactor Technology R&amp;D</vt:lpstr>
      <vt:lpstr>Financial Incentives</vt:lpstr>
      <vt:lpstr>Electricity will be the Main Mission for Nuclear, but…</vt:lpstr>
      <vt:lpstr>Project Management and Construction</vt:lpstr>
      <vt:lpstr>Investment in Advanced Construction Techniques</vt:lpstr>
      <vt:lpstr>Ensuring Successful Project Management</vt:lpstr>
      <vt:lpstr>Preparing for an Expanded Workforce</vt:lpstr>
      <vt:lpstr>Timely Updates to Regulatory Requirements</vt:lpstr>
      <vt:lpstr>Community Engagement and Societal Acceptance</vt:lpstr>
      <vt:lpstr>Societal Acceptance: Making Best Practices Work</vt:lpstr>
      <vt:lpstr>Government Support in International Markets</vt:lpstr>
      <vt:lpstr>Sustained Effort, Robust Financial Support, and Prompt Regulatory Updates are Key</vt:lpstr>
      <vt:lpstr>PowerPoint Presentation</vt:lpstr>
      <vt:lpstr>Briefing on the National Academies of Science Fuel Cycle  Report</vt:lpstr>
      <vt:lpstr>PowerPoint Presentation</vt:lpstr>
      <vt:lpstr>PowerPoint Presentation</vt:lpstr>
      <vt:lpstr>About the Study – Committee</vt:lpstr>
      <vt:lpstr>Information Gathering</vt:lpstr>
      <vt:lpstr>PowerPoint Presentation</vt:lpstr>
      <vt:lpstr>Where are we now?  Status of Fuel Cycle for Light Water Reactors (LWRs) in the United States </vt:lpstr>
      <vt:lpstr>Where could we go?  Fuel cycle option with reprocessing for existing LWRs</vt:lpstr>
      <vt:lpstr>What advanced reactor designs did the committee consider? </vt:lpstr>
      <vt:lpstr>What advanced reactor designs did the committee consider? </vt:lpstr>
      <vt:lpstr>What we learned: Important Observations for Advanced Reactors</vt:lpstr>
      <vt:lpstr>The starting point for advanced reactors </vt:lpstr>
      <vt:lpstr>Non-LWR advanced reactors &amp; fuel cycle development – </vt:lpstr>
      <vt:lpstr>Support for advanced reactor &amp; fuel cycle development</vt:lpstr>
      <vt:lpstr>PowerPoint Presentation</vt:lpstr>
      <vt:lpstr>Front-end fuel cycle considerations – HALEU supply </vt:lpstr>
      <vt:lpstr>PowerPoint Presentation</vt:lpstr>
      <vt:lpstr>PowerPoint Presentation</vt:lpstr>
      <vt:lpstr>Fuel cycle development for advanced reactors – the bottom line!  </vt:lpstr>
      <vt:lpstr>PowerPoint Presentation</vt:lpstr>
      <vt:lpstr>Current Regulatory and Technical Structure for Spent Fuel Management Based on Large LWRs</vt:lpstr>
      <vt:lpstr>What is the status of spent nuclear fuel in the U.S.? </vt:lpstr>
      <vt:lpstr>Tackling the nuclear waste challenge</vt:lpstr>
      <vt:lpstr>Can advanced reactors “solve the waste problem”?</vt:lpstr>
      <vt:lpstr>Fuel cycle development for advanced reactors Back-end fuel cycle considerations</vt:lpstr>
      <vt:lpstr>What types of waste do advanced reactors generate?</vt:lpstr>
      <vt:lpstr>Disposing Wastes from Advanced Reactors</vt:lpstr>
      <vt:lpstr>Storage &amp; Transportation of Advanced Reactor Waste</vt:lpstr>
      <vt:lpstr>PowerPoint Presentation</vt:lpstr>
      <vt:lpstr>What features of advanced fuel cycles differ from the baseline LWR once-through cycle with UOX fuel?</vt:lpstr>
      <vt:lpstr>Nonproliferation Implications and Security Risks: HALEU</vt:lpstr>
      <vt:lpstr>Safeguards and Security for Advanced Fuel Cycles </vt:lpstr>
      <vt:lpstr>PowerPoint Presentation</vt:lpstr>
      <vt:lpstr>PowerPoint Presentation</vt:lpstr>
      <vt:lpstr>Thank you!  Any questions?</vt:lpstr>
      <vt:lpstr>Break</vt:lpstr>
      <vt:lpstr> Infrastructure</vt:lpstr>
      <vt:lpstr>Overview of the scope and progress of the Infrastructure subcommittee</vt:lpstr>
      <vt:lpstr>Summary of recommendations</vt:lpstr>
      <vt:lpstr>Detailed recommendations: General (1-2)</vt:lpstr>
      <vt:lpstr>Detailed recommendations: Short, medium and long-term (3-5)</vt:lpstr>
      <vt:lpstr>Detailed recommendations: Supply chain for advanced reactors (6-7)</vt:lpstr>
      <vt:lpstr>Detailed recommendations: Physical and intellectual infrastructure (8-9)</vt:lpstr>
      <vt:lpstr>Detailed recommendations: Advanced reactors and R&amp;D (10-11)</vt:lpstr>
      <vt:lpstr>Potential follow on topics for the Subcommittee</vt:lpstr>
      <vt:lpstr> Consent-Based Siting</vt:lpstr>
      <vt:lpstr>Overview of the scope and progress of the Consent-based siting subcommittee</vt:lpstr>
      <vt:lpstr>Summary of recommendations</vt:lpstr>
      <vt:lpstr>Follow on topics and next steps</vt:lpstr>
      <vt:lpstr>Lunch</vt:lpstr>
      <vt:lpstr>Workforce of the Future</vt:lpstr>
      <vt:lpstr>Overview of the scope and progress of the Workforce subcommittee</vt:lpstr>
      <vt:lpstr>Preliminary Recommendations</vt:lpstr>
      <vt:lpstr>Follow on topics and next steps for the Workforce Subcommittee</vt:lpstr>
      <vt:lpstr>Break</vt:lpstr>
      <vt:lpstr>International Engagement</vt:lpstr>
      <vt:lpstr>Overview of the scope and progress of the International subcommittee</vt:lpstr>
      <vt:lpstr>Summary of initial observations</vt:lpstr>
      <vt:lpstr>Primary Observations and Suggestions</vt:lpstr>
      <vt:lpstr>Focus Areas for the subcommittee</vt:lpstr>
      <vt:lpstr>Break</vt:lpstr>
      <vt:lpstr>Public Comment</vt:lpstr>
      <vt:lpstr>Closing Remarks</vt:lpstr>
    </vt:vector>
  </TitlesOfParts>
  <Company>U.S. Department of Energy</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FY 2016 FCO Budget Proposal</dc:title>
  <dc:creator>Andrew Richards</dc:creator>
  <cp:revision>2</cp:revision>
  <cp:lastPrinted>2021-02-02T19:34:08Z</cp:lastPrinted>
  <dcterms:created xsi:type="dcterms:W3CDTF">2013-02-14T14:25:28Z</dcterms:created>
  <dcterms:modified xsi:type="dcterms:W3CDTF">2023-08-09T20:19:0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D878BA840E264041A8A938721554CDF0</vt:lpwstr>
  </property>
  <property fmtid="{D5CDD505-2E9C-101B-9397-08002B2CF9AE}" pid="3" name="MediaServiceImageTags">
    <vt:lpwstr/>
  </property>
</Properties>
</file>